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9"/>
  </p:notesMasterIdLst>
  <p:sldIdLst>
    <p:sldId id="262" r:id="rId2"/>
    <p:sldId id="314" r:id="rId3"/>
    <p:sldId id="275" r:id="rId4"/>
    <p:sldId id="288" r:id="rId5"/>
    <p:sldId id="290" r:id="rId6"/>
    <p:sldId id="307" r:id="rId7"/>
    <p:sldId id="315" r:id="rId8"/>
    <p:sldId id="309" r:id="rId9"/>
    <p:sldId id="316" r:id="rId10"/>
    <p:sldId id="317" r:id="rId11"/>
    <p:sldId id="287" r:id="rId12"/>
    <p:sldId id="284" r:id="rId13"/>
    <p:sldId id="310" r:id="rId14"/>
    <p:sldId id="311" r:id="rId15"/>
    <p:sldId id="312" r:id="rId16"/>
    <p:sldId id="285" r:id="rId17"/>
    <p:sldId id="266" r:id="rId18"/>
    <p:sldId id="297" r:id="rId19"/>
    <p:sldId id="306" r:id="rId20"/>
    <p:sldId id="293" r:id="rId21"/>
    <p:sldId id="294" r:id="rId22"/>
    <p:sldId id="295" r:id="rId23"/>
    <p:sldId id="277" r:id="rId24"/>
    <p:sldId id="278" r:id="rId25"/>
    <p:sldId id="305" r:id="rId26"/>
    <p:sldId id="265" r:id="rId27"/>
    <p:sldId id="313" r:id="rId2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25159"/>
    <a:srgbClr val="005361"/>
    <a:srgbClr val="8C0B23"/>
    <a:srgbClr val="393939"/>
    <a:srgbClr val="6A6A6A"/>
    <a:srgbClr val="404040"/>
    <a:srgbClr val="7F7F7F"/>
    <a:srgbClr val="000000"/>
    <a:srgbClr val="BFBFB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AF606853-7671-496A-8E4F-DF71F8EC918B}" styleName="Dark Style 1 - Accent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0899" autoAdjust="0"/>
    <p:restoredTop sz="94660"/>
  </p:normalViewPr>
  <p:slideViewPr>
    <p:cSldViewPr snapToGrid="0">
      <p:cViewPr>
        <p:scale>
          <a:sx n="55" d="100"/>
          <a:sy n="55" d="100"/>
        </p:scale>
        <p:origin x="196" y="592"/>
      </p:cViewPr>
      <p:guideLst/>
    </p:cSldViewPr>
  </p:slid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presProps" Target="presProps.xml"/><Relationship Id="rId8" Type="http://schemas.openxmlformats.org/officeDocument/2006/relationships/slide" Target="slides/slide7.xml"/></Relationships>
</file>

<file path=ppt/diagrams/colors1.xml><?xml version="1.0" encoding="utf-8"?>
<dgm:colorsDef xmlns:dgm="http://schemas.openxmlformats.org/drawingml/2006/diagram" xmlns:a="http://schemas.openxmlformats.org/drawingml/2006/main" uniqueId="urn:microsoft.com/office/officeart/2005/8/colors/accent5_5">
  <dgm:title val=""/>
  <dgm:desc val=""/>
  <dgm:catLst>
    <dgm:cat type="accent5" pri="11500"/>
  </dgm:catLst>
  <dgm:styleLbl name="node0">
    <dgm:fillClrLst meth="cycle">
      <a:schemeClr val="accent5">
        <a:alpha val="80000"/>
      </a:schemeClr>
    </dgm:fillClrLst>
    <dgm:linClrLst meth="repeat">
      <a:schemeClr val="lt1"/>
    </dgm:linClrLst>
    <dgm:effectClrLst/>
    <dgm:txLinClrLst/>
    <dgm:txFillClrLst/>
    <dgm:txEffectClrLst/>
  </dgm:styleLbl>
  <dgm:styleLbl name="node1">
    <dgm:fillClrLst>
      <a:schemeClr val="accent5">
        <a:alpha val="90000"/>
      </a:schemeClr>
      <a:schemeClr val="accent5">
        <a:alpha val="50000"/>
      </a:schemeClr>
    </dgm:fillClrLst>
    <dgm:linClrLst meth="repeat">
      <a:schemeClr val="lt1"/>
    </dgm:linClrLst>
    <dgm:effectClrLst/>
    <dgm:txLinClrLst/>
    <dgm:txFillClrLst/>
    <dgm:txEffectClrLst/>
  </dgm:styleLbl>
  <dgm:styleLbl name="alignNode1">
    <dgm:fillClrLst>
      <a:schemeClr val="accent5">
        <a:alpha val="90000"/>
      </a:schemeClr>
      <a:schemeClr val="accent5">
        <a:alpha val="50000"/>
      </a:schemeClr>
    </dgm:fillClrLst>
    <dgm:linClrLst>
      <a:schemeClr val="accent5">
        <a:alpha val="90000"/>
      </a:schemeClr>
      <a:schemeClr val="accent5">
        <a:alpha val="50000"/>
      </a:schemeClr>
    </dgm:linClrLst>
    <dgm:effectClrLst/>
    <dgm:txLinClrLst/>
    <dgm:txFillClrLst/>
    <dgm:txEffectClrLst/>
  </dgm:styleLbl>
  <dgm:styleLbl name="lnNode1">
    <dgm:fillClrLst>
      <a:schemeClr val="accent5">
        <a:shade val="90000"/>
      </a:schemeClr>
      <a:schemeClr val="accent5">
        <a:alpha val="50000"/>
        <a:tint val="50000"/>
      </a:schemeClr>
    </dgm:fillClrLst>
    <dgm:linClrLst meth="repeat">
      <a:schemeClr val="lt1"/>
    </dgm:linClrLst>
    <dgm:effectClrLst/>
    <dgm:txLinClrLst/>
    <dgm:txFillClrLst/>
    <dgm:txEffectClrLst/>
  </dgm:styleLbl>
  <dgm:styleLbl name="vennNode1">
    <dgm:fillClrLst>
      <a:schemeClr val="accent5">
        <a:shade val="80000"/>
        <a:alpha val="50000"/>
      </a:schemeClr>
      <a:schemeClr val="accent5">
        <a:alpha val="20000"/>
      </a:schemeClr>
    </dgm:fillClrLst>
    <dgm:linClrLst meth="repeat">
      <a:schemeClr val="lt1"/>
    </dgm:linClrLst>
    <dgm:effectClrLst/>
    <dgm:txLinClrLst/>
    <dgm:txFillClrLst/>
    <dgm:txEffectClrLst/>
  </dgm:styleLbl>
  <dgm:styleLbl name="node2">
    <dgm:fillClrLst>
      <a:schemeClr val="accent5">
        <a:alpha val="70000"/>
      </a:schemeClr>
    </dgm:fillClrLst>
    <dgm:linClrLst meth="repeat">
      <a:schemeClr val="lt1"/>
    </dgm:linClrLst>
    <dgm:effectClrLst/>
    <dgm:txLinClrLst/>
    <dgm:txFillClrLst/>
    <dgm:txEffectClrLst/>
  </dgm:styleLbl>
  <dgm:styleLbl name="node3">
    <dgm:fillClrLst>
      <a:schemeClr val="accent5">
        <a:alpha val="50000"/>
      </a:schemeClr>
    </dgm:fillClrLst>
    <dgm:linClrLst meth="repeat">
      <a:schemeClr val="lt1"/>
    </dgm:linClrLst>
    <dgm:effectClrLst/>
    <dgm:txLinClrLst/>
    <dgm:txFillClrLst/>
    <dgm:txEffectClrLst/>
  </dgm:styleLbl>
  <dgm:styleLbl name="node4">
    <dgm:fillClrLst>
      <a:schemeClr val="accent5">
        <a:alpha val="30000"/>
      </a:schemeClr>
    </dgm:fillClrLst>
    <dgm:linClrLst meth="repeat">
      <a:schemeClr val="lt1"/>
    </dgm:linClrLst>
    <dgm:effectClrLst/>
    <dgm:txLinClrLst/>
    <dgm:txFillClrLst/>
    <dgm:txEffectClrLst/>
  </dgm:styleLbl>
  <dgm:styleLbl name="fgImgPlace1">
    <dgm:fillClrLst>
      <a:schemeClr val="accent5">
        <a:tint val="50000"/>
        <a:alpha val="90000"/>
      </a:schemeClr>
      <a:schemeClr val="accent5">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hade val="90000"/>
      </a:schemeClr>
      <a:schemeClr val="accent5">
        <a:tint val="50000"/>
      </a:schemeClr>
    </dgm:fillClrLst>
    <dgm:linClrLst>
      <a:schemeClr val="accent5">
        <a:shade val="90000"/>
      </a:schemeClr>
      <a:schemeClr val="accent5">
        <a:tint val="50000"/>
      </a:schemeClr>
    </dgm:linClrLst>
    <dgm:effectClrLst/>
    <dgm:txLinClrLst/>
    <dgm:txFillClrLst/>
    <dgm:txEffectClrLst/>
  </dgm:styleLbl>
  <dgm:styleLbl name="fgSibTrans2D1">
    <dgm:fillClrLst>
      <a:schemeClr val="accent5">
        <a:shade val="90000"/>
      </a:schemeClr>
      <a:schemeClr val="accent5">
        <a:tint val="50000"/>
      </a:schemeClr>
    </dgm:fillClrLst>
    <dgm:linClrLst>
      <a:schemeClr val="accent5">
        <a:shade val="90000"/>
      </a:schemeClr>
      <a:schemeClr val="accent5">
        <a:tint val="50000"/>
      </a:schemeClr>
    </dgm:linClrLst>
    <dgm:effectClrLst/>
    <dgm:txLinClrLst/>
    <dgm:txFillClrLst/>
    <dgm:txEffectClrLst/>
  </dgm:styleLbl>
  <dgm:styleLbl name="bgSibTrans2D1">
    <dgm:fillClrLst>
      <a:schemeClr val="accent5">
        <a:shade val="90000"/>
      </a:schemeClr>
      <a:schemeClr val="accent5">
        <a:tint val="50000"/>
      </a:schemeClr>
    </dgm:fillClrLst>
    <dgm:linClrLst>
      <a:schemeClr val="accent5">
        <a:shade val="90000"/>
      </a:schemeClr>
      <a:schemeClr val="accent5">
        <a:tint val="50000"/>
      </a:schemeClr>
    </dgm:linClrLst>
    <dgm:effectClrLst/>
    <dgm:txLinClrLst/>
    <dgm:txFillClrLst/>
    <dgm:txEffectClrLst/>
  </dgm:styleLbl>
  <dgm:styleLbl name="sibTrans1D1">
    <dgm:fillClrLst>
      <a:schemeClr val="accent5">
        <a:shade val="90000"/>
      </a:schemeClr>
      <a:schemeClr val="accent5">
        <a:tint val="50000"/>
      </a:schemeClr>
    </dgm:fillClrLst>
    <dgm:linClrLst>
      <a:schemeClr val="accent5">
        <a:shade val="90000"/>
      </a:schemeClr>
      <a:schemeClr val="accent5">
        <a:tint val="5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alpha val="90000"/>
      </a:schemeClr>
    </dgm:fillClrLst>
    <dgm:linClrLst meth="repeat">
      <a:schemeClr val="lt1"/>
    </dgm:linClrLst>
    <dgm:effectClrLst/>
    <dgm:txLinClrLst/>
    <dgm:txFillClrLst/>
    <dgm:txEffectClrLst/>
  </dgm:styleLbl>
  <dgm:styleLbl name="asst1">
    <dgm:fillClrLst meth="repeat">
      <a:schemeClr val="accent5">
        <a:alpha val="90000"/>
      </a:schemeClr>
    </dgm:fillClrLst>
    <dgm:linClrLst meth="repeat">
      <a:schemeClr val="lt1"/>
    </dgm:linClrLst>
    <dgm:effectClrLst/>
    <dgm:txLinClrLst/>
    <dgm:txFillClrLst/>
    <dgm:txEffectClrLst/>
  </dgm:styleLbl>
  <dgm:styleLbl name="asst2">
    <dgm:fillClrLst>
      <a:schemeClr val="accent5">
        <a:alpha val="90000"/>
      </a:schemeClr>
    </dgm:fillClrLst>
    <dgm:linClrLst meth="repeat">
      <a:schemeClr val="lt1"/>
    </dgm:linClrLst>
    <dgm:effectClrLst/>
    <dgm:txLinClrLst/>
    <dgm:txFillClrLst/>
    <dgm:txEffectClrLst/>
  </dgm:styleLbl>
  <dgm:styleLbl name="asst3">
    <dgm:fillClrLst>
      <a:schemeClr val="accent5">
        <a:alpha val="70000"/>
      </a:schemeClr>
    </dgm:fillClrLst>
    <dgm:linClrLst meth="repeat">
      <a:schemeClr val="lt1"/>
    </dgm:linClrLst>
    <dgm:effectClrLst/>
    <dgm:txLinClrLst/>
    <dgm:txFillClrLst/>
    <dgm:txEffectClrLst/>
  </dgm:styleLbl>
  <dgm:styleLbl name="asst4">
    <dgm:fillClrLst>
      <a:schemeClr val="accent5">
        <a:alpha val="50000"/>
      </a:schemeClr>
    </dgm:fillClrLst>
    <dgm:linClrLst meth="repeat">
      <a:schemeClr val="lt1"/>
    </dgm:linClrLst>
    <dgm:effectClrLst/>
    <dgm:txLinClrLst/>
    <dgm:txFillClrLst/>
    <dgm:txEffectClrLst/>
  </dgm:styleLbl>
  <dgm:styleLbl name="parChTrans2D1">
    <dgm:fillClrLst meth="repeat">
      <a:schemeClr val="accent5">
        <a:shade val="80000"/>
      </a:schemeClr>
    </dgm:fillClrLst>
    <dgm:linClrLst meth="repeat">
      <a:schemeClr val="accent5">
        <a:shade val="80000"/>
      </a:schemeClr>
    </dgm:linClrLst>
    <dgm:effectClrLst/>
    <dgm:txLinClrLst/>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dk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0000"/>
      </a:schemeClr>
    </dgm:fillClrLst>
    <dgm:linClrLst meth="repeat">
      <a:schemeClr val="accent5">
        <a:tint val="90000"/>
      </a:schemeClr>
    </dgm:linClrLst>
    <dgm:effectClrLst/>
    <dgm:txLinClrLst/>
    <dgm:txFillClrLst meth="repeat">
      <a:schemeClr val="tx1"/>
    </dgm:txFillClrLst>
    <dgm:txEffectClrLst/>
  </dgm:styleLbl>
  <dgm:styleLbl name="parChTrans1D3">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5">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5">
        <a:alpha val="90000"/>
      </a:schemeClr>
      <a:schemeClr val="accent5">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a:schemeClr val="accent5">
        <a:alpha val="90000"/>
        <a:tint val="40000"/>
      </a:schemeClr>
      <a:schemeClr val="accent5">
        <a:alpha val="5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50000"/>
      </a:schemeClr>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5_5">
  <dgm:title val=""/>
  <dgm:desc val=""/>
  <dgm:catLst>
    <dgm:cat type="accent5" pri="11500"/>
  </dgm:catLst>
  <dgm:styleLbl name="node0">
    <dgm:fillClrLst meth="cycle">
      <a:schemeClr val="accent5">
        <a:alpha val="80000"/>
      </a:schemeClr>
    </dgm:fillClrLst>
    <dgm:linClrLst meth="repeat">
      <a:schemeClr val="lt1"/>
    </dgm:linClrLst>
    <dgm:effectClrLst/>
    <dgm:txLinClrLst/>
    <dgm:txFillClrLst/>
    <dgm:txEffectClrLst/>
  </dgm:styleLbl>
  <dgm:styleLbl name="node1">
    <dgm:fillClrLst>
      <a:schemeClr val="accent5">
        <a:alpha val="90000"/>
      </a:schemeClr>
      <a:schemeClr val="accent5">
        <a:alpha val="50000"/>
      </a:schemeClr>
    </dgm:fillClrLst>
    <dgm:linClrLst meth="repeat">
      <a:schemeClr val="lt1"/>
    </dgm:linClrLst>
    <dgm:effectClrLst/>
    <dgm:txLinClrLst/>
    <dgm:txFillClrLst/>
    <dgm:txEffectClrLst/>
  </dgm:styleLbl>
  <dgm:styleLbl name="alignNode1">
    <dgm:fillClrLst>
      <a:schemeClr val="accent5">
        <a:alpha val="90000"/>
      </a:schemeClr>
      <a:schemeClr val="accent5">
        <a:alpha val="50000"/>
      </a:schemeClr>
    </dgm:fillClrLst>
    <dgm:linClrLst>
      <a:schemeClr val="accent5">
        <a:alpha val="90000"/>
      </a:schemeClr>
      <a:schemeClr val="accent5">
        <a:alpha val="50000"/>
      </a:schemeClr>
    </dgm:linClrLst>
    <dgm:effectClrLst/>
    <dgm:txLinClrLst/>
    <dgm:txFillClrLst/>
    <dgm:txEffectClrLst/>
  </dgm:styleLbl>
  <dgm:styleLbl name="lnNode1">
    <dgm:fillClrLst>
      <a:schemeClr val="accent5">
        <a:shade val="90000"/>
      </a:schemeClr>
      <a:schemeClr val="accent5">
        <a:alpha val="50000"/>
        <a:tint val="50000"/>
      </a:schemeClr>
    </dgm:fillClrLst>
    <dgm:linClrLst meth="repeat">
      <a:schemeClr val="lt1"/>
    </dgm:linClrLst>
    <dgm:effectClrLst/>
    <dgm:txLinClrLst/>
    <dgm:txFillClrLst/>
    <dgm:txEffectClrLst/>
  </dgm:styleLbl>
  <dgm:styleLbl name="vennNode1">
    <dgm:fillClrLst>
      <a:schemeClr val="accent5">
        <a:shade val="80000"/>
        <a:alpha val="50000"/>
      </a:schemeClr>
      <a:schemeClr val="accent5">
        <a:alpha val="20000"/>
      </a:schemeClr>
    </dgm:fillClrLst>
    <dgm:linClrLst meth="repeat">
      <a:schemeClr val="lt1"/>
    </dgm:linClrLst>
    <dgm:effectClrLst/>
    <dgm:txLinClrLst/>
    <dgm:txFillClrLst/>
    <dgm:txEffectClrLst/>
  </dgm:styleLbl>
  <dgm:styleLbl name="node2">
    <dgm:fillClrLst>
      <a:schemeClr val="accent5">
        <a:alpha val="70000"/>
      </a:schemeClr>
    </dgm:fillClrLst>
    <dgm:linClrLst meth="repeat">
      <a:schemeClr val="lt1"/>
    </dgm:linClrLst>
    <dgm:effectClrLst/>
    <dgm:txLinClrLst/>
    <dgm:txFillClrLst/>
    <dgm:txEffectClrLst/>
  </dgm:styleLbl>
  <dgm:styleLbl name="node3">
    <dgm:fillClrLst>
      <a:schemeClr val="accent5">
        <a:alpha val="50000"/>
      </a:schemeClr>
    </dgm:fillClrLst>
    <dgm:linClrLst meth="repeat">
      <a:schemeClr val="lt1"/>
    </dgm:linClrLst>
    <dgm:effectClrLst/>
    <dgm:txLinClrLst/>
    <dgm:txFillClrLst/>
    <dgm:txEffectClrLst/>
  </dgm:styleLbl>
  <dgm:styleLbl name="node4">
    <dgm:fillClrLst>
      <a:schemeClr val="accent5">
        <a:alpha val="30000"/>
      </a:schemeClr>
    </dgm:fillClrLst>
    <dgm:linClrLst meth="repeat">
      <a:schemeClr val="lt1"/>
    </dgm:linClrLst>
    <dgm:effectClrLst/>
    <dgm:txLinClrLst/>
    <dgm:txFillClrLst/>
    <dgm:txEffectClrLst/>
  </dgm:styleLbl>
  <dgm:styleLbl name="fgImgPlace1">
    <dgm:fillClrLst>
      <a:schemeClr val="accent5">
        <a:tint val="50000"/>
        <a:alpha val="90000"/>
      </a:schemeClr>
      <a:schemeClr val="accent5">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hade val="90000"/>
      </a:schemeClr>
      <a:schemeClr val="accent5">
        <a:tint val="50000"/>
      </a:schemeClr>
    </dgm:fillClrLst>
    <dgm:linClrLst>
      <a:schemeClr val="accent5">
        <a:shade val="90000"/>
      </a:schemeClr>
      <a:schemeClr val="accent5">
        <a:tint val="50000"/>
      </a:schemeClr>
    </dgm:linClrLst>
    <dgm:effectClrLst/>
    <dgm:txLinClrLst/>
    <dgm:txFillClrLst/>
    <dgm:txEffectClrLst/>
  </dgm:styleLbl>
  <dgm:styleLbl name="fgSibTrans2D1">
    <dgm:fillClrLst>
      <a:schemeClr val="accent5">
        <a:shade val="90000"/>
      </a:schemeClr>
      <a:schemeClr val="accent5">
        <a:tint val="50000"/>
      </a:schemeClr>
    </dgm:fillClrLst>
    <dgm:linClrLst>
      <a:schemeClr val="accent5">
        <a:shade val="90000"/>
      </a:schemeClr>
      <a:schemeClr val="accent5">
        <a:tint val="50000"/>
      </a:schemeClr>
    </dgm:linClrLst>
    <dgm:effectClrLst/>
    <dgm:txLinClrLst/>
    <dgm:txFillClrLst/>
    <dgm:txEffectClrLst/>
  </dgm:styleLbl>
  <dgm:styleLbl name="bgSibTrans2D1">
    <dgm:fillClrLst>
      <a:schemeClr val="accent5">
        <a:shade val="90000"/>
      </a:schemeClr>
      <a:schemeClr val="accent5">
        <a:tint val="50000"/>
      </a:schemeClr>
    </dgm:fillClrLst>
    <dgm:linClrLst>
      <a:schemeClr val="accent5">
        <a:shade val="90000"/>
      </a:schemeClr>
      <a:schemeClr val="accent5">
        <a:tint val="50000"/>
      </a:schemeClr>
    </dgm:linClrLst>
    <dgm:effectClrLst/>
    <dgm:txLinClrLst/>
    <dgm:txFillClrLst/>
    <dgm:txEffectClrLst/>
  </dgm:styleLbl>
  <dgm:styleLbl name="sibTrans1D1">
    <dgm:fillClrLst>
      <a:schemeClr val="accent5">
        <a:shade val="90000"/>
      </a:schemeClr>
      <a:schemeClr val="accent5">
        <a:tint val="50000"/>
      </a:schemeClr>
    </dgm:fillClrLst>
    <dgm:linClrLst>
      <a:schemeClr val="accent5">
        <a:shade val="90000"/>
      </a:schemeClr>
      <a:schemeClr val="accent5">
        <a:tint val="5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alpha val="90000"/>
      </a:schemeClr>
    </dgm:fillClrLst>
    <dgm:linClrLst meth="repeat">
      <a:schemeClr val="lt1"/>
    </dgm:linClrLst>
    <dgm:effectClrLst/>
    <dgm:txLinClrLst/>
    <dgm:txFillClrLst/>
    <dgm:txEffectClrLst/>
  </dgm:styleLbl>
  <dgm:styleLbl name="asst1">
    <dgm:fillClrLst meth="repeat">
      <a:schemeClr val="accent5">
        <a:alpha val="90000"/>
      </a:schemeClr>
    </dgm:fillClrLst>
    <dgm:linClrLst meth="repeat">
      <a:schemeClr val="lt1"/>
    </dgm:linClrLst>
    <dgm:effectClrLst/>
    <dgm:txLinClrLst/>
    <dgm:txFillClrLst/>
    <dgm:txEffectClrLst/>
  </dgm:styleLbl>
  <dgm:styleLbl name="asst2">
    <dgm:fillClrLst>
      <a:schemeClr val="accent5">
        <a:alpha val="90000"/>
      </a:schemeClr>
    </dgm:fillClrLst>
    <dgm:linClrLst meth="repeat">
      <a:schemeClr val="lt1"/>
    </dgm:linClrLst>
    <dgm:effectClrLst/>
    <dgm:txLinClrLst/>
    <dgm:txFillClrLst/>
    <dgm:txEffectClrLst/>
  </dgm:styleLbl>
  <dgm:styleLbl name="asst3">
    <dgm:fillClrLst>
      <a:schemeClr val="accent5">
        <a:alpha val="70000"/>
      </a:schemeClr>
    </dgm:fillClrLst>
    <dgm:linClrLst meth="repeat">
      <a:schemeClr val="lt1"/>
    </dgm:linClrLst>
    <dgm:effectClrLst/>
    <dgm:txLinClrLst/>
    <dgm:txFillClrLst/>
    <dgm:txEffectClrLst/>
  </dgm:styleLbl>
  <dgm:styleLbl name="asst4">
    <dgm:fillClrLst>
      <a:schemeClr val="accent5">
        <a:alpha val="50000"/>
      </a:schemeClr>
    </dgm:fillClrLst>
    <dgm:linClrLst meth="repeat">
      <a:schemeClr val="lt1"/>
    </dgm:linClrLst>
    <dgm:effectClrLst/>
    <dgm:txLinClrLst/>
    <dgm:txFillClrLst/>
    <dgm:txEffectClrLst/>
  </dgm:styleLbl>
  <dgm:styleLbl name="parChTrans2D1">
    <dgm:fillClrLst meth="repeat">
      <a:schemeClr val="accent5">
        <a:shade val="80000"/>
      </a:schemeClr>
    </dgm:fillClrLst>
    <dgm:linClrLst meth="repeat">
      <a:schemeClr val="accent5">
        <a:shade val="80000"/>
      </a:schemeClr>
    </dgm:linClrLst>
    <dgm:effectClrLst/>
    <dgm:txLinClrLst/>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dk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0000"/>
      </a:schemeClr>
    </dgm:fillClrLst>
    <dgm:linClrLst meth="repeat">
      <a:schemeClr val="accent5">
        <a:tint val="90000"/>
      </a:schemeClr>
    </dgm:linClrLst>
    <dgm:effectClrLst/>
    <dgm:txLinClrLst/>
    <dgm:txFillClrLst meth="repeat">
      <a:schemeClr val="tx1"/>
    </dgm:txFillClrLst>
    <dgm:txEffectClrLst/>
  </dgm:styleLbl>
  <dgm:styleLbl name="parChTrans1D3">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5">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5">
        <a:alpha val="90000"/>
      </a:schemeClr>
      <a:schemeClr val="accent5">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a:schemeClr val="accent5">
        <a:alpha val="90000"/>
        <a:tint val="40000"/>
      </a:schemeClr>
      <a:schemeClr val="accent5">
        <a:alpha val="5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50000"/>
      </a:schemeClr>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5_5">
  <dgm:title val=""/>
  <dgm:desc val=""/>
  <dgm:catLst>
    <dgm:cat type="accent5" pri="11500"/>
  </dgm:catLst>
  <dgm:styleLbl name="node0">
    <dgm:fillClrLst meth="cycle">
      <a:schemeClr val="accent5">
        <a:alpha val="80000"/>
      </a:schemeClr>
    </dgm:fillClrLst>
    <dgm:linClrLst meth="repeat">
      <a:schemeClr val="lt1"/>
    </dgm:linClrLst>
    <dgm:effectClrLst/>
    <dgm:txLinClrLst/>
    <dgm:txFillClrLst/>
    <dgm:txEffectClrLst/>
  </dgm:styleLbl>
  <dgm:styleLbl name="node1">
    <dgm:fillClrLst>
      <a:schemeClr val="accent5">
        <a:alpha val="90000"/>
      </a:schemeClr>
      <a:schemeClr val="accent5">
        <a:alpha val="50000"/>
      </a:schemeClr>
    </dgm:fillClrLst>
    <dgm:linClrLst meth="repeat">
      <a:schemeClr val="lt1"/>
    </dgm:linClrLst>
    <dgm:effectClrLst/>
    <dgm:txLinClrLst/>
    <dgm:txFillClrLst/>
    <dgm:txEffectClrLst/>
  </dgm:styleLbl>
  <dgm:styleLbl name="alignNode1">
    <dgm:fillClrLst>
      <a:schemeClr val="accent5">
        <a:alpha val="90000"/>
      </a:schemeClr>
      <a:schemeClr val="accent5">
        <a:alpha val="50000"/>
      </a:schemeClr>
    </dgm:fillClrLst>
    <dgm:linClrLst>
      <a:schemeClr val="accent5">
        <a:alpha val="90000"/>
      </a:schemeClr>
      <a:schemeClr val="accent5">
        <a:alpha val="50000"/>
      </a:schemeClr>
    </dgm:linClrLst>
    <dgm:effectClrLst/>
    <dgm:txLinClrLst/>
    <dgm:txFillClrLst/>
    <dgm:txEffectClrLst/>
  </dgm:styleLbl>
  <dgm:styleLbl name="lnNode1">
    <dgm:fillClrLst>
      <a:schemeClr val="accent5">
        <a:shade val="90000"/>
      </a:schemeClr>
      <a:schemeClr val="accent5">
        <a:alpha val="50000"/>
        <a:tint val="50000"/>
      </a:schemeClr>
    </dgm:fillClrLst>
    <dgm:linClrLst meth="repeat">
      <a:schemeClr val="lt1"/>
    </dgm:linClrLst>
    <dgm:effectClrLst/>
    <dgm:txLinClrLst/>
    <dgm:txFillClrLst/>
    <dgm:txEffectClrLst/>
  </dgm:styleLbl>
  <dgm:styleLbl name="vennNode1">
    <dgm:fillClrLst>
      <a:schemeClr val="accent5">
        <a:shade val="80000"/>
        <a:alpha val="50000"/>
      </a:schemeClr>
      <a:schemeClr val="accent5">
        <a:alpha val="20000"/>
      </a:schemeClr>
    </dgm:fillClrLst>
    <dgm:linClrLst meth="repeat">
      <a:schemeClr val="lt1"/>
    </dgm:linClrLst>
    <dgm:effectClrLst/>
    <dgm:txLinClrLst/>
    <dgm:txFillClrLst/>
    <dgm:txEffectClrLst/>
  </dgm:styleLbl>
  <dgm:styleLbl name="node2">
    <dgm:fillClrLst>
      <a:schemeClr val="accent5">
        <a:alpha val="70000"/>
      </a:schemeClr>
    </dgm:fillClrLst>
    <dgm:linClrLst meth="repeat">
      <a:schemeClr val="lt1"/>
    </dgm:linClrLst>
    <dgm:effectClrLst/>
    <dgm:txLinClrLst/>
    <dgm:txFillClrLst/>
    <dgm:txEffectClrLst/>
  </dgm:styleLbl>
  <dgm:styleLbl name="node3">
    <dgm:fillClrLst>
      <a:schemeClr val="accent5">
        <a:alpha val="50000"/>
      </a:schemeClr>
    </dgm:fillClrLst>
    <dgm:linClrLst meth="repeat">
      <a:schemeClr val="lt1"/>
    </dgm:linClrLst>
    <dgm:effectClrLst/>
    <dgm:txLinClrLst/>
    <dgm:txFillClrLst/>
    <dgm:txEffectClrLst/>
  </dgm:styleLbl>
  <dgm:styleLbl name="node4">
    <dgm:fillClrLst>
      <a:schemeClr val="accent5">
        <a:alpha val="30000"/>
      </a:schemeClr>
    </dgm:fillClrLst>
    <dgm:linClrLst meth="repeat">
      <a:schemeClr val="lt1"/>
    </dgm:linClrLst>
    <dgm:effectClrLst/>
    <dgm:txLinClrLst/>
    <dgm:txFillClrLst/>
    <dgm:txEffectClrLst/>
  </dgm:styleLbl>
  <dgm:styleLbl name="fgImgPlace1">
    <dgm:fillClrLst>
      <a:schemeClr val="accent5">
        <a:tint val="50000"/>
        <a:alpha val="90000"/>
      </a:schemeClr>
      <a:schemeClr val="accent5">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hade val="90000"/>
      </a:schemeClr>
      <a:schemeClr val="accent5">
        <a:tint val="50000"/>
      </a:schemeClr>
    </dgm:fillClrLst>
    <dgm:linClrLst>
      <a:schemeClr val="accent5">
        <a:shade val="90000"/>
      </a:schemeClr>
      <a:schemeClr val="accent5">
        <a:tint val="50000"/>
      </a:schemeClr>
    </dgm:linClrLst>
    <dgm:effectClrLst/>
    <dgm:txLinClrLst/>
    <dgm:txFillClrLst/>
    <dgm:txEffectClrLst/>
  </dgm:styleLbl>
  <dgm:styleLbl name="fgSibTrans2D1">
    <dgm:fillClrLst>
      <a:schemeClr val="accent5">
        <a:shade val="90000"/>
      </a:schemeClr>
      <a:schemeClr val="accent5">
        <a:tint val="50000"/>
      </a:schemeClr>
    </dgm:fillClrLst>
    <dgm:linClrLst>
      <a:schemeClr val="accent5">
        <a:shade val="90000"/>
      </a:schemeClr>
      <a:schemeClr val="accent5">
        <a:tint val="50000"/>
      </a:schemeClr>
    </dgm:linClrLst>
    <dgm:effectClrLst/>
    <dgm:txLinClrLst/>
    <dgm:txFillClrLst/>
    <dgm:txEffectClrLst/>
  </dgm:styleLbl>
  <dgm:styleLbl name="bgSibTrans2D1">
    <dgm:fillClrLst>
      <a:schemeClr val="accent5">
        <a:shade val="90000"/>
      </a:schemeClr>
      <a:schemeClr val="accent5">
        <a:tint val="50000"/>
      </a:schemeClr>
    </dgm:fillClrLst>
    <dgm:linClrLst>
      <a:schemeClr val="accent5">
        <a:shade val="90000"/>
      </a:schemeClr>
      <a:schemeClr val="accent5">
        <a:tint val="50000"/>
      </a:schemeClr>
    </dgm:linClrLst>
    <dgm:effectClrLst/>
    <dgm:txLinClrLst/>
    <dgm:txFillClrLst/>
    <dgm:txEffectClrLst/>
  </dgm:styleLbl>
  <dgm:styleLbl name="sibTrans1D1">
    <dgm:fillClrLst>
      <a:schemeClr val="accent5">
        <a:shade val="90000"/>
      </a:schemeClr>
      <a:schemeClr val="accent5">
        <a:tint val="50000"/>
      </a:schemeClr>
    </dgm:fillClrLst>
    <dgm:linClrLst>
      <a:schemeClr val="accent5">
        <a:shade val="90000"/>
      </a:schemeClr>
      <a:schemeClr val="accent5">
        <a:tint val="5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alpha val="90000"/>
      </a:schemeClr>
    </dgm:fillClrLst>
    <dgm:linClrLst meth="repeat">
      <a:schemeClr val="lt1"/>
    </dgm:linClrLst>
    <dgm:effectClrLst/>
    <dgm:txLinClrLst/>
    <dgm:txFillClrLst/>
    <dgm:txEffectClrLst/>
  </dgm:styleLbl>
  <dgm:styleLbl name="asst1">
    <dgm:fillClrLst meth="repeat">
      <a:schemeClr val="accent5">
        <a:alpha val="90000"/>
      </a:schemeClr>
    </dgm:fillClrLst>
    <dgm:linClrLst meth="repeat">
      <a:schemeClr val="lt1"/>
    </dgm:linClrLst>
    <dgm:effectClrLst/>
    <dgm:txLinClrLst/>
    <dgm:txFillClrLst/>
    <dgm:txEffectClrLst/>
  </dgm:styleLbl>
  <dgm:styleLbl name="asst2">
    <dgm:fillClrLst>
      <a:schemeClr val="accent5">
        <a:alpha val="90000"/>
      </a:schemeClr>
    </dgm:fillClrLst>
    <dgm:linClrLst meth="repeat">
      <a:schemeClr val="lt1"/>
    </dgm:linClrLst>
    <dgm:effectClrLst/>
    <dgm:txLinClrLst/>
    <dgm:txFillClrLst/>
    <dgm:txEffectClrLst/>
  </dgm:styleLbl>
  <dgm:styleLbl name="asst3">
    <dgm:fillClrLst>
      <a:schemeClr val="accent5">
        <a:alpha val="70000"/>
      </a:schemeClr>
    </dgm:fillClrLst>
    <dgm:linClrLst meth="repeat">
      <a:schemeClr val="lt1"/>
    </dgm:linClrLst>
    <dgm:effectClrLst/>
    <dgm:txLinClrLst/>
    <dgm:txFillClrLst/>
    <dgm:txEffectClrLst/>
  </dgm:styleLbl>
  <dgm:styleLbl name="asst4">
    <dgm:fillClrLst>
      <a:schemeClr val="accent5">
        <a:alpha val="50000"/>
      </a:schemeClr>
    </dgm:fillClrLst>
    <dgm:linClrLst meth="repeat">
      <a:schemeClr val="lt1"/>
    </dgm:linClrLst>
    <dgm:effectClrLst/>
    <dgm:txLinClrLst/>
    <dgm:txFillClrLst/>
    <dgm:txEffectClrLst/>
  </dgm:styleLbl>
  <dgm:styleLbl name="parChTrans2D1">
    <dgm:fillClrLst meth="repeat">
      <a:schemeClr val="accent5">
        <a:shade val="80000"/>
      </a:schemeClr>
    </dgm:fillClrLst>
    <dgm:linClrLst meth="repeat">
      <a:schemeClr val="accent5">
        <a:shade val="80000"/>
      </a:schemeClr>
    </dgm:linClrLst>
    <dgm:effectClrLst/>
    <dgm:txLinClrLst/>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dk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0000"/>
      </a:schemeClr>
    </dgm:fillClrLst>
    <dgm:linClrLst meth="repeat">
      <a:schemeClr val="accent5">
        <a:tint val="90000"/>
      </a:schemeClr>
    </dgm:linClrLst>
    <dgm:effectClrLst/>
    <dgm:txLinClrLst/>
    <dgm:txFillClrLst meth="repeat">
      <a:schemeClr val="tx1"/>
    </dgm:txFillClrLst>
    <dgm:txEffectClrLst/>
  </dgm:styleLbl>
  <dgm:styleLbl name="parChTrans1D3">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5">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5">
        <a:alpha val="90000"/>
      </a:schemeClr>
      <a:schemeClr val="accent5">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a:schemeClr val="accent5">
        <a:alpha val="90000"/>
        <a:tint val="40000"/>
      </a:schemeClr>
      <a:schemeClr val="accent5">
        <a:alpha val="5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50000"/>
      </a:schemeClr>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5_5">
  <dgm:title val=""/>
  <dgm:desc val=""/>
  <dgm:catLst>
    <dgm:cat type="accent5" pri="11500"/>
  </dgm:catLst>
  <dgm:styleLbl name="node0">
    <dgm:fillClrLst meth="cycle">
      <a:schemeClr val="accent5">
        <a:alpha val="80000"/>
      </a:schemeClr>
    </dgm:fillClrLst>
    <dgm:linClrLst meth="repeat">
      <a:schemeClr val="lt1"/>
    </dgm:linClrLst>
    <dgm:effectClrLst/>
    <dgm:txLinClrLst/>
    <dgm:txFillClrLst/>
    <dgm:txEffectClrLst/>
  </dgm:styleLbl>
  <dgm:styleLbl name="node1">
    <dgm:fillClrLst>
      <a:schemeClr val="accent5">
        <a:alpha val="90000"/>
      </a:schemeClr>
      <a:schemeClr val="accent5">
        <a:alpha val="50000"/>
      </a:schemeClr>
    </dgm:fillClrLst>
    <dgm:linClrLst meth="repeat">
      <a:schemeClr val="lt1"/>
    </dgm:linClrLst>
    <dgm:effectClrLst/>
    <dgm:txLinClrLst/>
    <dgm:txFillClrLst/>
    <dgm:txEffectClrLst/>
  </dgm:styleLbl>
  <dgm:styleLbl name="alignNode1">
    <dgm:fillClrLst>
      <a:schemeClr val="accent5">
        <a:alpha val="90000"/>
      </a:schemeClr>
      <a:schemeClr val="accent5">
        <a:alpha val="50000"/>
      </a:schemeClr>
    </dgm:fillClrLst>
    <dgm:linClrLst>
      <a:schemeClr val="accent5">
        <a:alpha val="90000"/>
      </a:schemeClr>
      <a:schemeClr val="accent5">
        <a:alpha val="50000"/>
      </a:schemeClr>
    </dgm:linClrLst>
    <dgm:effectClrLst/>
    <dgm:txLinClrLst/>
    <dgm:txFillClrLst/>
    <dgm:txEffectClrLst/>
  </dgm:styleLbl>
  <dgm:styleLbl name="lnNode1">
    <dgm:fillClrLst>
      <a:schemeClr val="accent5">
        <a:shade val="90000"/>
      </a:schemeClr>
      <a:schemeClr val="accent5">
        <a:alpha val="50000"/>
        <a:tint val="50000"/>
      </a:schemeClr>
    </dgm:fillClrLst>
    <dgm:linClrLst meth="repeat">
      <a:schemeClr val="lt1"/>
    </dgm:linClrLst>
    <dgm:effectClrLst/>
    <dgm:txLinClrLst/>
    <dgm:txFillClrLst/>
    <dgm:txEffectClrLst/>
  </dgm:styleLbl>
  <dgm:styleLbl name="vennNode1">
    <dgm:fillClrLst>
      <a:schemeClr val="accent5">
        <a:shade val="80000"/>
        <a:alpha val="50000"/>
      </a:schemeClr>
      <a:schemeClr val="accent5">
        <a:alpha val="20000"/>
      </a:schemeClr>
    </dgm:fillClrLst>
    <dgm:linClrLst meth="repeat">
      <a:schemeClr val="lt1"/>
    </dgm:linClrLst>
    <dgm:effectClrLst/>
    <dgm:txLinClrLst/>
    <dgm:txFillClrLst/>
    <dgm:txEffectClrLst/>
  </dgm:styleLbl>
  <dgm:styleLbl name="node2">
    <dgm:fillClrLst>
      <a:schemeClr val="accent5">
        <a:alpha val="70000"/>
      </a:schemeClr>
    </dgm:fillClrLst>
    <dgm:linClrLst meth="repeat">
      <a:schemeClr val="lt1"/>
    </dgm:linClrLst>
    <dgm:effectClrLst/>
    <dgm:txLinClrLst/>
    <dgm:txFillClrLst/>
    <dgm:txEffectClrLst/>
  </dgm:styleLbl>
  <dgm:styleLbl name="node3">
    <dgm:fillClrLst>
      <a:schemeClr val="accent5">
        <a:alpha val="50000"/>
      </a:schemeClr>
    </dgm:fillClrLst>
    <dgm:linClrLst meth="repeat">
      <a:schemeClr val="lt1"/>
    </dgm:linClrLst>
    <dgm:effectClrLst/>
    <dgm:txLinClrLst/>
    <dgm:txFillClrLst/>
    <dgm:txEffectClrLst/>
  </dgm:styleLbl>
  <dgm:styleLbl name="node4">
    <dgm:fillClrLst>
      <a:schemeClr val="accent5">
        <a:alpha val="30000"/>
      </a:schemeClr>
    </dgm:fillClrLst>
    <dgm:linClrLst meth="repeat">
      <a:schemeClr val="lt1"/>
    </dgm:linClrLst>
    <dgm:effectClrLst/>
    <dgm:txLinClrLst/>
    <dgm:txFillClrLst/>
    <dgm:txEffectClrLst/>
  </dgm:styleLbl>
  <dgm:styleLbl name="fgImgPlace1">
    <dgm:fillClrLst>
      <a:schemeClr val="accent5">
        <a:tint val="50000"/>
        <a:alpha val="90000"/>
      </a:schemeClr>
      <a:schemeClr val="accent5">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hade val="90000"/>
      </a:schemeClr>
      <a:schemeClr val="accent5">
        <a:tint val="50000"/>
      </a:schemeClr>
    </dgm:fillClrLst>
    <dgm:linClrLst>
      <a:schemeClr val="accent5">
        <a:shade val="90000"/>
      </a:schemeClr>
      <a:schemeClr val="accent5">
        <a:tint val="50000"/>
      </a:schemeClr>
    </dgm:linClrLst>
    <dgm:effectClrLst/>
    <dgm:txLinClrLst/>
    <dgm:txFillClrLst/>
    <dgm:txEffectClrLst/>
  </dgm:styleLbl>
  <dgm:styleLbl name="fgSibTrans2D1">
    <dgm:fillClrLst>
      <a:schemeClr val="accent5">
        <a:shade val="90000"/>
      </a:schemeClr>
      <a:schemeClr val="accent5">
        <a:tint val="50000"/>
      </a:schemeClr>
    </dgm:fillClrLst>
    <dgm:linClrLst>
      <a:schemeClr val="accent5">
        <a:shade val="90000"/>
      </a:schemeClr>
      <a:schemeClr val="accent5">
        <a:tint val="50000"/>
      </a:schemeClr>
    </dgm:linClrLst>
    <dgm:effectClrLst/>
    <dgm:txLinClrLst/>
    <dgm:txFillClrLst/>
    <dgm:txEffectClrLst/>
  </dgm:styleLbl>
  <dgm:styleLbl name="bgSibTrans2D1">
    <dgm:fillClrLst>
      <a:schemeClr val="accent5">
        <a:shade val="90000"/>
      </a:schemeClr>
      <a:schemeClr val="accent5">
        <a:tint val="50000"/>
      </a:schemeClr>
    </dgm:fillClrLst>
    <dgm:linClrLst>
      <a:schemeClr val="accent5">
        <a:shade val="90000"/>
      </a:schemeClr>
      <a:schemeClr val="accent5">
        <a:tint val="50000"/>
      </a:schemeClr>
    </dgm:linClrLst>
    <dgm:effectClrLst/>
    <dgm:txLinClrLst/>
    <dgm:txFillClrLst/>
    <dgm:txEffectClrLst/>
  </dgm:styleLbl>
  <dgm:styleLbl name="sibTrans1D1">
    <dgm:fillClrLst>
      <a:schemeClr val="accent5">
        <a:shade val="90000"/>
      </a:schemeClr>
      <a:schemeClr val="accent5">
        <a:tint val="50000"/>
      </a:schemeClr>
    </dgm:fillClrLst>
    <dgm:linClrLst>
      <a:schemeClr val="accent5">
        <a:shade val="90000"/>
      </a:schemeClr>
      <a:schemeClr val="accent5">
        <a:tint val="5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alpha val="90000"/>
      </a:schemeClr>
    </dgm:fillClrLst>
    <dgm:linClrLst meth="repeat">
      <a:schemeClr val="lt1"/>
    </dgm:linClrLst>
    <dgm:effectClrLst/>
    <dgm:txLinClrLst/>
    <dgm:txFillClrLst/>
    <dgm:txEffectClrLst/>
  </dgm:styleLbl>
  <dgm:styleLbl name="asst1">
    <dgm:fillClrLst meth="repeat">
      <a:schemeClr val="accent5">
        <a:alpha val="90000"/>
      </a:schemeClr>
    </dgm:fillClrLst>
    <dgm:linClrLst meth="repeat">
      <a:schemeClr val="lt1"/>
    </dgm:linClrLst>
    <dgm:effectClrLst/>
    <dgm:txLinClrLst/>
    <dgm:txFillClrLst/>
    <dgm:txEffectClrLst/>
  </dgm:styleLbl>
  <dgm:styleLbl name="asst2">
    <dgm:fillClrLst>
      <a:schemeClr val="accent5">
        <a:alpha val="90000"/>
      </a:schemeClr>
    </dgm:fillClrLst>
    <dgm:linClrLst meth="repeat">
      <a:schemeClr val="lt1"/>
    </dgm:linClrLst>
    <dgm:effectClrLst/>
    <dgm:txLinClrLst/>
    <dgm:txFillClrLst/>
    <dgm:txEffectClrLst/>
  </dgm:styleLbl>
  <dgm:styleLbl name="asst3">
    <dgm:fillClrLst>
      <a:schemeClr val="accent5">
        <a:alpha val="70000"/>
      </a:schemeClr>
    </dgm:fillClrLst>
    <dgm:linClrLst meth="repeat">
      <a:schemeClr val="lt1"/>
    </dgm:linClrLst>
    <dgm:effectClrLst/>
    <dgm:txLinClrLst/>
    <dgm:txFillClrLst/>
    <dgm:txEffectClrLst/>
  </dgm:styleLbl>
  <dgm:styleLbl name="asst4">
    <dgm:fillClrLst>
      <a:schemeClr val="accent5">
        <a:alpha val="50000"/>
      </a:schemeClr>
    </dgm:fillClrLst>
    <dgm:linClrLst meth="repeat">
      <a:schemeClr val="lt1"/>
    </dgm:linClrLst>
    <dgm:effectClrLst/>
    <dgm:txLinClrLst/>
    <dgm:txFillClrLst/>
    <dgm:txEffectClrLst/>
  </dgm:styleLbl>
  <dgm:styleLbl name="parChTrans2D1">
    <dgm:fillClrLst meth="repeat">
      <a:schemeClr val="accent5">
        <a:shade val="80000"/>
      </a:schemeClr>
    </dgm:fillClrLst>
    <dgm:linClrLst meth="repeat">
      <a:schemeClr val="accent5">
        <a:shade val="80000"/>
      </a:schemeClr>
    </dgm:linClrLst>
    <dgm:effectClrLst/>
    <dgm:txLinClrLst/>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dk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0000"/>
      </a:schemeClr>
    </dgm:fillClrLst>
    <dgm:linClrLst meth="repeat">
      <a:schemeClr val="accent5">
        <a:tint val="90000"/>
      </a:schemeClr>
    </dgm:linClrLst>
    <dgm:effectClrLst/>
    <dgm:txLinClrLst/>
    <dgm:txFillClrLst meth="repeat">
      <a:schemeClr val="tx1"/>
    </dgm:txFillClrLst>
    <dgm:txEffectClrLst/>
  </dgm:styleLbl>
  <dgm:styleLbl name="parChTrans1D3">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5">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5">
        <a:alpha val="90000"/>
      </a:schemeClr>
      <a:schemeClr val="accent5">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a:schemeClr val="accent5">
        <a:alpha val="90000"/>
        <a:tint val="40000"/>
      </a:schemeClr>
      <a:schemeClr val="accent5">
        <a:alpha val="5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50000"/>
      </a:schemeClr>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CD00963-08D1-4BF9-B4EE-694DDF0BAD6C}" type="doc">
      <dgm:prSet loTypeId="urn:microsoft.com/office/officeart/2005/8/layout/default" loCatId="list" qsTypeId="urn:microsoft.com/office/officeart/2005/8/quickstyle/simple1" qsCatId="simple" csTypeId="urn:microsoft.com/office/officeart/2005/8/colors/accent5_5" csCatId="accent5" phldr="1"/>
      <dgm:spPr/>
      <dgm:t>
        <a:bodyPr/>
        <a:lstStyle/>
        <a:p>
          <a:endParaRPr lang="en-US"/>
        </a:p>
      </dgm:t>
    </dgm:pt>
    <dgm:pt modelId="{FA0A2A8E-4C77-45D1-A603-1A3300E443C2}">
      <dgm:prSet phldrT="[Text]" custT="1"/>
      <dgm:spPr>
        <a:solidFill>
          <a:srgbClr val="005361">
            <a:alpha val="90000"/>
          </a:srgbClr>
        </a:solidFill>
      </dgm:spPr>
      <dgm:t>
        <a:bodyPr/>
        <a:lstStyle/>
        <a:p>
          <a:pPr algn="l">
            <a:lnSpc>
              <a:spcPct val="100000"/>
            </a:lnSpc>
            <a:spcAft>
              <a:spcPts val="0"/>
            </a:spcAft>
          </a:pPr>
          <a:r>
            <a:rPr lang="en-US" sz="1600" b="1" u="none" dirty="0" smtClean="0"/>
            <a:t>Collaboration:</a:t>
          </a:r>
          <a:r>
            <a:rPr lang="en-US" sz="1400" b="1" u="none" dirty="0" smtClean="0"/>
            <a:t/>
          </a:r>
          <a:br>
            <a:rPr lang="en-US" sz="1400" b="1" u="none" dirty="0" smtClean="0"/>
          </a:br>
          <a:r>
            <a:rPr lang="en-US" sz="1400" b="0" u="none" dirty="0" smtClean="0"/>
            <a:t>Collaboration was a key component of developing member content this past year. These projects included a series of Tuesdays at the Table conversations by the Connectional Table, a collection of 11 video devotions by our United Methodist bishops, interviews with missionaries in support of United Methodist Global Ministries’ Give Love end-of-year giving campaign and a partnership with the General Commission on Archives and History to promote events in England and the U.S. celebrating the 250th anniversary of Francis Asbury’s historical journey from Bristol to Philadelphia. </a:t>
          </a:r>
          <a:endParaRPr lang="en-US" sz="1400" b="0" dirty="0"/>
        </a:p>
      </dgm:t>
    </dgm:pt>
    <dgm:pt modelId="{A222DA07-6902-4C76-A03D-D662FC5F78DB}" type="parTrans" cxnId="{393326C7-EC81-40DD-AB42-2A79476BF16C}">
      <dgm:prSet/>
      <dgm:spPr/>
      <dgm:t>
        <a:bodyPr/>
        <a:lstStyle/>
        <a:p>
          <a:endParaRPr lang="en-US"/>
        </a:p>
      </dgm:t>
    </dgm:pt>
    <dgm:pt modelId="{C17FB0CF-5B48-40C0-9A9A-D6EE340A58BA}" type="sibTrans" cxnId="{393326C7-EC81-40DD-AB42-2A79476BF16C}">
      <dgm:prSet/>
      <dgm:spPr/>
      <dgm:t>
        <a:bodyPr/>
        <a:lstStyle/>
        <a:p>
          <a:endParaRPr lang="en-US"/>
        </a:p>
      </dgm:t>
    </dgm:pt>
    <dgm:pt modelId="{65DF7D62-14F4-4DE7-919E-DB5E222848B1}">
      <dgm:prSet phldrT="[Text]" custT="1"/>
      <dgm:spPr>
        <a:solidFill>
          <a:srgbClr val="005361">
            <a:alpha val="63000"/>
          </a:srgbClr>
        </a:solidFill>
      </dgm:spPr>
      <dgm:t>
        <a:bodyPr/>
        <a:lstStyle/>
        <a:p>
          <a:pPr algn="l">
            <a:lnSpc>
              <a:spcPct val="100000"/>
            </a:lnSpc>
            <a:spcAft>
              <a:spcPts val="0"/>
            </a:spcAft>
          </a:pPr>
          <a:r>
            <a:rPr lang="en-US" sz="1600" b="1" u="none" dirty="0" smtClean="0"/>
            <a:t>Story Content:</a:t>
          </a:r>
          <a:r>
            <a:rPr lang="en-US" sz="1400" b="1" u="none" dirty="0" smtClean="0"/>
            <a:t/>
          </a:r>
          <a:br>
            <a:rPr lang="en-US" sz="1400" b="1" u="none" dirty="0" smtClean="0"/>
          </a:br>
          <a:r>
            <a:rPr lang="en-US" sz="1400" u="none" dirty="0" smtClean="0"/>
            <a:t>Other highlights from the year included stories about church outreach during the COVID pandemic, the 100th episode of the Get Your Spirit in Shape podcast on International Podcast Day and a look back at the September 11 tragedy 20 years later.</a:t>
          </a:r>
          <a:endParaRPr lang="en-US" sz="1400" u="none" dirty="0"/>
        </a:p>
      </dgm:t>
    </dgm:pt>
    <dgm:pt modelId="{9B703340-5EF1-458F-8F93-B29696BD41FA}" type="parTrans" cxnId="{B259859F-EB79-47C5-8069-218E8C6B22E6}">
      <dgm:prSet/>
      <dgm:spPr/>
      <dgm:t>
        <a:bodyPr/>
        <a:lstStyle/>
        <a:p>
          <a:endParaRPr lang="en-US"/>
        </a:p>
      </dgm:t>
    </dgm:pt>
    <dgm:pt modelId="{C429DA44-5BD0-490B-8C35-5AC80CE61839}" type="sibTrans" cxnId="{B259859F-EB79-47C5-8069-218E8C6B22E6}">
      <dgm:prSet/>
      <dgm:spPr/>
      <dgm:t>
        <a:bodyPr/>
        <a:lstStyle/>
        <a:p>
          <a:endParaRPr lang="en-US"/>
        </a:p>
      </dgm:t>
    </dgm:pt>
    <dgm:pt modelId="{A9DAA45D-4F84-4296-BF08-16D4E2BBDEC4}">
      <dgm:prSet phldrT="[Text]" custT="1"/>
      <dgm:spPr>
        <a:solidFill>
          <a:srgbClr val="005361">
            <a:alpha val="77000"/>
          </a:srgbClr>
        </a:solidFill>
      </dgm:spPr>
      <dgm:t>
        <a:bodyPr/>
        <a:lstStyle/>
        <a:p>
          <a:pPr algn="l">
            <a:lnSpc>
              <a:spcPct val="100000"/>
            </a:lnSpc>
            <a:spcAft>
              <a:spcPts val="0"/>
            </a:spcAft>
          </a:pPr>
          <a:r>
            <a:rPr lang="en-US" sz="1600" b="1" u="none" dirty="0" smtClean="0"/>
            <a:t>Language Offerings:</a:t>
          </a:r>
        </a:p>
        <a:p>
          <a:pPr algn="l">
            <a:lnSpc>
              <a:spcPct val="100000"/>
            </a:lnSpc>
            <a:spcAft>
              <a:spcPts val="0"/>
            </a:spcAft>
          </a:pPr>
          <a:r>
            <a:rPr lang="en-US" sz="1400" b="0" u="none" dirty="0" smtClean="0"/>
            <a:t>Throughout 2021, the Member Communications Team increased production of content in Spanish, French, Korean and Portuguese. Users will note that UMC.org’s homepages in every language are now presenting consistent messaging.</a:t>
          </a:r>
          <a:endParaRPr lang="en-US" sz="1400" dirty="0"/>
        </a:p>
      </dgm:t>
    </dgm:pt>
    <dgm:pt modelId="{E42B3E78-B35B-46C6-83E4-8B854A0D6B04}" type="parTrans" cxnId="{EF529157-4A68-4627-BDB9-2E5AFD9B792C}">
      <dgm:prSet/>
      <dgm:spPr/>
      <dgm:t>
        <a:bodyPr/>
        <a:lstStyle/>
        <a:p>
          <a:endParaRPr lang="en-US"/>
        </a:p>
      </dgm:t>
    </dgm:pt>
    <dgm:pt modelId="{5F749165-6AC7-4863-8638-C1A15013C587}" type="sibTrans" cxnId="{EF529157-4A68-4627-BDB9-2E5AFD9B792C}">
      <dgm:prSet/>
      <dgm:spPr/>
      <dgm:t>
        <a:bodyPr/>
        <a:lstStyle/>
        <a:p>
          <a:endParaRPr lang="en-US"/>
        </a:p>
      </dgm:t>
    </dgm:pt>
    <dgm:pt modelId="{DC3E7F89-A788-4A06-B530-AB4670E58EDE}" type="pres">
      <dgm:prSet presAssocID="{CCD00963-08D1-4BF9-B4EE-694DDF0BAD6C}" presName="diagram" presStyleCnt="0">
        <dgm:presLayoutVars>
          <dgm:dir/>
          <dgm:resizeHandles val="exact"/>
        </dgm:presLayoutVars>
      </dgm:prSet>
      <dgm:spPr/>
      <dgm:t>
        <a:bodyPr/>
        <a:lstStyle/>
        <a:p>
          <a:endParaRPr lang="en-US"/>
        </a:p>
      </dgm:t>
    </dgm:pt>
    <dgm:pt modelId="{94821904-1098-4975-84E6-13EBC4F26875}" type="pres">
      <dgm:prSet presAssocID="{FA0A2A8E-4C77-45D1-A603-1A3300E443C2}" presName="node" presStyleLbl="node1" presStyleIdx="0" presStyleCnt="3" custScaleX="268582" custScaleY="168522" custLinFactNeighborX="-28514" custLinFactNeighborY="23004">
        <dgm:presLayoutVars>
          <dgm:bulletEnabled val="1"/>
        </dgm:presLayoutVars>
      </dgm:prSet>
      <dgm:spPr/>
      <dgm:t>
        <a:bodyPr/>
        <a:lstStyle/>
        <a:p>
          <a:endParaRPr lang="en-US"/>
        </a:p>
      </dgm:t>
    </dgm:pt>
    <dgm:pt modelId="{E6FFF0EA-3045-46C5-9F3B-ECF2FD3A96CC}" type="pres">
      <dgm:prSet presAssocID="{C17FB0CF-5B48-40C0-9A9A-D6EE340A58BA}" presName="sibTrans" presStyleCnt="0"/>
      <dgm:spPr/>
      <dgm:t>
        <a:bodyPr/>
        <a:lstStyle/>
        <a:p>
          <a:endParaRPr lang="en-US"/>
        </a:p>
      </dgm:t>
    </dgm:pt>
    <dgm:pt modelId="{D1668C84-9B95-4EF4-9A0C-C90F6020A647}" type="pres">
      <dgm:prSet presAssocID="{65DF7D62-14F4-4DE7-919E-DB5E222848B1}" presName="node" presStyleLbl="node1" presStyleIdx="1" presStyleCnt="3" custScaleX="269406" custScaleY="97238" custLinFactNeighborX="-28102" custLinFactNeighborY="9984">
        <dgm:presLayoutVars>
          <dgm:bulletEnabled val="1"/>
        </dgm:presLayoutVars>
      </dgm:prSet>
      <dgm:spPr/>
      <dgm:t>
        <a:bodyPr/>
        <a:lstStyle/>
        <a:p>
          <a:endParaRPr lang="en-US"/>
        </a:p>
      </dgm:t>
    </dgm:pt>
    <dgm:pt modelId="{5FB7EE5F-14F4-4DBD-913A-B363B426DD1F}" type="pres">
      <dgm:prSet presAssocID="{C429DA44-5BD0-490B-8C35-5AC80CE61839}" presName="sibTrans" presStyleCnt="0"/>
      <dgm:spPr/>
      <dgm:t>
        <a:bodyPr/>
        <a:lstStyle/>
        <a:p>
          <a:endParaRPr lang="en-US"/>
        </a:p>
      </dgm:t>
    </dgm:pt>
    <dgm:pt modelId="{9C14D276-B1A9-410B-8866-1F192E7B0F4C}" type="pres">
      <dgm:prSet presAssocID="{A9DAA45D-4F84-4296-BF08-16D4E2BBDEC4}" presName="node" presStyleLbl="node1" presStyleIdx="2" presStyleCnt="3" custScaleX="268797" custScaleY="108758" custLinFactNeighborX="-29432" custLinFactNeighborY="-2813">
        <dgm:presLayoutVars>
          <dgm:bulletEnabled val="1"/>
        </dgm:presLayoutVars>
      </dgm:prSet>
      <dgm:spPr/>
      <dgm:t>
        <a:bodyPr/>
        <a:lstStyle/>
        <a:p>
          <a:endParaRPr lang="en-US"/>
        </a:p>
      </dgm:t>
    </dgm:pt>
  </dgm:ptLst>
  <dgm:cxnLst>
    <dgm:cxn modelId="{B259859F-EB79-47C5-8069-218E8C6B22E6}" srcId="{CCD00963-08D1-4BF9-B4EE-694DDF0BAD6C}" destId="{65DF7D62-14F4-4DE7-919E-DB5E222848B1}" srcOrd="1" destOrd="0" parTransId="{9B703340-5EF1-458F-8F93-B29696BD41FA}" sibTransId="{C429DA44-5BD0-490B-8C35-5AC80CE61839}"/>
    <dgm:cxn modelId="{E715DE98-D313-4F3A-B2A8-954775BEE4EC}" type="presOf" srcId="{FA0A2A8E-4C77-45D1-A603-1A3300E443C2}" destId="{94821904-1098-4975-84E6-13EBC4F26875}" srcOrd="0" destOrd="0" presId="urn:microsoft.com/office/officeart/2005/8/layout/default"/>
    <dgm:cxn modelId="{42613C30-3DC1-4517-9887-7BC1FDD0E8A2}" type="presOf" srcId="{CCD00963-08D1-4BF9-B4EE-694DDF0BAD6C}" destId="{DC3E7F89-A788-4A06-B530-AB4670E58EDE}" srcOrd="0" destOrd="0" presId="urn:microsoft.com/office/officeart/2005/8/layout/default"/>
    <dgm:cxn modelId="{EF529157-4A68-4627-BDB9-2E5AFD9B792C}" srcId="{CCD00963-08D1-4BF9-B4EE-694DDF0BAD6C}" destId="{A9DAA45D-4F84-4296-BF08-16D4E2BBDEC4}" srcOrd="2" destOrd="0" parTransId="{E42B3E78-B35B-46C6-83E4-8B854A0D6B04}" sibTransId="{5F749165-6AC7-4863-8638-C1A15013C587}"/>
    <dgm:cxn modelId="{393326C7-EC81-40DD-AB42-2A79476BF16C}" srcId="{CCD00963-08D1-4BF9-B4EE-694DDF0BAD6C}" destId="{FA0A2A8E-4C77-45D1-A603-1A3300E443C2}" srcOrd="0" destOrd="0" parTransId="{A222DA07-6902-4C76-A03D-D662FC5F78DB}" sibTransId="{C17FB0CF-5B48-40C0-9A9A-D6EE340A58BA}"/>
    <dgm:cxn modelId="{77D1449D-5F0C-4EF7-9C68-E62459252247}" type="presOf" srcId="{65DF7D62-14F4-4DE7-919E-DB5E222848B1}" destId="{D1668C84-9B95-4EF4-9A0C-C90F6020A647}" srcOrd="0" destOrd="0" presId="urn:microsoft.com/office/officeart/2005/8/layout/default"/>
    <dgm:cxn modelId="{DCCC855F-0309-4BFA-A4DD-8F792B8DBCF6}" type="presOf" srcId="{A9DAA45D-4F84-4296-BF08-16D4E2BBDEC4}" destId="{9C14D276-B1A9-410B-8866-1F192E7B0F4C}" srcOrd="0" destOrd="0" presId="urn:microsoft.com/office/officeart/2005/8/layout/default"/>
    <dgm:cxn modelId="{B7C35BD2-20E2-4D83-B992-7FEDE1BD0528}" type="presParOf" srcId="{DC3E7F89-A788-4A06-B530-AB4670E58EDE}" destId="{94821904-1098-4975-84E6-13EBC4F26875}" srcOrd="0" destOrd="0" presId="urn:microsoft.com/office/officeart/2005/8/layout/default"/>
    <dgm:cxn modelId="{4D0A77AD-E113-4DAE-9C4B-3F143B654595}" type="presParOf" srcId="{DC3E7F89-A788-4A06-B530-AB4670E58EDE}" destId="{E6FFF0EA-3045-46C5-9F3B-ECF2FD3A96CC}" srcOrd="1" destOrd="0" presId="urn:microsoft.com/office/officeart/2005/8/layout/default"/>
    <dgm:cxn modelId="{97AA6CE3-6C56-4AF9-8CDA-3B5145524647}" type="presParOf" srcId="{DC3E7F89-A788-4A06-B530-AB4670E58EDE}" destId="{D1668C84-9B95-4EF4-9A0C-C90F6020A647}" srcOrd="2" destOrd="0" presId="urn:microsoft.com/office/officeart/2005/8/layout/default"/>
    <dgm:cxn modelId="{2E254099-8671-498A-82F6-DFD54CFA26F3}" type="presParOf" srcId="{DC3E7F89-A788-4A06-B530-AB4670E58EDE}" destId="{5FB7EE5F-14F4-4DBD-913A-B363B426DD1F}" srcOrd="3" destOrd="0" presId="urn:microsoft.com/office/officeart/2005/8/layout/default"/>
    <dgm:cxn modelId="{1ADFE8DD-2200-4EBD-9018-799314F61834}" type="presParOf" srcId="{DC3E7F89-A788-4A06-B530-AB4670E58EDE}" destId="{9C14D276-B1A9-410B-8866-1F192E7B0F4C}" srcOrd="4"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CD00963-08D1-4BF9-B4EE-694DDF0BAD6C}" type="doc">
      <dgm:prSet loTypeId="urn:microsoft.com/office/officeart/2005/8/layout/default" loCatId="list" qsTypeId="urn:microsoft.com/office/officeart/2005/8/quickstyle/simple1" qsCatId="simple" csTypeId="urn:microsoft.com/office/officeart/2005/8/colors/accent5_5" csCatId="accent5" phldr="1"/>
      <dgm:spPr/>
      <dgm:t>
        <a:bodyPr/>
        <a:lstStyle/>
        <a:p>
          <a:endParaRPr lang="en-US"/>
        </a:p>
      </dgm:t>
    </dgm:pt>
    <dgm:pt modelId="{FA0A2A8E-4C77-45D1-A603-1A3300E443C2}">
      <dgm:prSet phldrT="[Text]" custT="1"/>
      <dgm:spPr>
        <a:solidFill>
          <a:srgbClr val="005361">
            <a:alpha val="90000"/>
          </a:srgbClr>
        </a:solidFill>
      </dgm:spPr>
      <dgm:t>
        <a:bodyPr/>
        <a:lstStyle/>
        <a:p>
          <a:pPr algn="ctr"/>
          <a:r>
            <a:rPr lang="en-US" sz="1600" b="1" u="none" dirty="0" smtClean="0"/>
            <a:t>UMConnect:</a:t>
          </a:r>
        </a:p>
        <a:p>
          <a:pPr algn="l"/>
          <a:r>
            <a:rPr lang="en-US" sz="1600" b="1" u="none" dirty="0" smtClean="0"/>
            <a:t>900,241</a:t>
          </a:r>
          <a:r>
            <a:rPr lang="en-US" sz="1600" b="0" u="none" dirty="0" smtClean="0"/>
            <a:t> messages </a:t>
          </a:r>
          <a:br>
            <a:rPr lang="en-US" sz="1600" b="0" u="none" dirty="0" smtClean="0"/>
          </a:br>
          <a:r>
            <a:rPr lang="en-US" sz="1600" b="0" u="none" dirty="0" smtClean="0"/>
            <a:t>were sent or received on the platform. </a:t>
          </a:r>
          <a:br>
            <a:rPr lang="en-US" sz="1600" b="0" u="none" dirty="0" smtClean="0"/>
          </a:br>
          <a:endParaRPr lang="en-US" sz="1600" b="0" u="none" dirty="0" smtClean="0"/>
        </a:p>
        <a:p>
          <a:pPr algn="l"/>
          <a:r>
            <a:rPr lang="en-US" sz="1600" b="0" u="none" dirty="0" smtClean="0"/>
            <a:t>Reached people with important church news updates, lifesaving health messaging and more. </a:t>
          </a:r>
        </a:p>
      </dgm:t>
    </dgm:pt>
    <dgm:pt modelId="{A222DA07-6902-4C76-A03D-D662FC5F78DB}" type="parTrans" cxnId="{393326C7-EC81-40DD-AB42-2A79476BF16C}">
      <dgm:prSet/>
      <dgm:spPr/>
      <dgm:t>
        <a:bodyPr/>
        <a:lstStyle/>
        <a:p>
          <a:endParaRPr lang="en-US"/>
        </a:p>
      </dgm:t>
    </dgm:pt>
    <dgm:pt modelId="{C17FB0CF-5B48-40C0-9A9A-D6EE340A58BA}" type="sibTrans" cxnId="{393326C7-EC81-40DD-AB42-2A79476BF16C}">
      <dgm:prSet/>
      <dgm:spPr/>
      <dgm:t>
        <a:bodyPr/>
        <a:lstStyle/>
        <a:p>
          <a:endParaRPr lang="en-US"/>
        </a:p>
      </dgm:t>
    </dgm:pt>
    <dgm:pt modelId="{BFEB3D8F-37DE-4164-84E2-A25519A15794}">
      <dgm:prSet phldrT="[Text]" custT="1"/>
      <dgm:spPr>
        <a:solidFill>
          <a:srgbClr val="005361">
            <a:alpha val="77000"/>
          </a:srgbClr>
        </a:solidFill>
      </dgm:spPr>
      <dgm:t>
        <a:bodyPr/>
        <a:lstStyle/>
        <a:p>
          <a:pPr algn="ctr"/>
          <a:r>
            <a:rPr lang="en-US" sz="1600" b="1" u="none" dirty="0" smtClean="0"/>
            <a:t>Mapping: </a:t>
          </a:r>
        </a:p>
        <a:p>
          <a:pPr algn="l"/>
          <a:r>
            <a:rPr lang="en-US" sz="1600" u="none" dirty="0" smtClean="0"/>
            <a:t>After pausing due to COVID-19 concerns, mapping in the Philippines resumed as vaccines became available to mappers. Other mapping stayed dormant to ensure mapper safety. </a:t>
          </a:r>
        </a:p>
      </dgm:t>
    </dgm:pt>
    <dgm:pt modelId="{621417C1-E290-4B56-88D2-EAA01B043C39}" type="parTrans" cxnId="{ADD47D0F-9310-449D-ABDB-50B13CC6E214}">
      <dgm:prSet/>
      <dgm:spPr/>
      <dgm:t>
        <a:bodyPr/>
        <a:lstStyle/>
        <a:p>
          <a:endParaRPr lang="en-US"/>
        </a:p>
      </dgm:t>
    </dgm:pt>
    <dgm:pt modelId="{3983657E-552F-4075-8C88-2CE2C913F5D7}" type="sibTrans" cxnId="{ADD47D0F-9310-449D-ABDB-50B13CC6E214}">
      <dgm:prSet/>
      <dgm:spPr/>
      <dgm:t>
        <a:bodyPr/>
        <a:lstStyle/>
        <a:p>
          <a:endParaRPr lang="en-US"/>
        </a:p>
      </dgm:t>
    </dgm:pt>
    <dgm:pt modelId="{65DF7D62-14F4-4DE7-919E-DB5E222848B1}">
      <dgm:prSet phldrT="[Text]" custT="1"/>
      <dgm:spPr>
        <a:solidFill>
          <a:srgbClr val="005361">
            <a:alpha val="63000"/>
          </a:srgbClr>
        </a:solidFill>
      </dgm:spPr>
      <dgm:t>
        <a:bodyPr/>
        <a:lstStyle/>
        <a:p>
          <a:pPr algn="ctr"/>
          <a:r>
            <a:rPr lang="en-US" sz="1600" b="1" u="none" dirty="0" smtClean="0"/>
            <a:t>Radio / United Methodist Radio Network:</a:t>
          </a:r>
        </a:p>
        <a:p>
          <a:pPr algn="l"/>
          <a:r>
            <a:rPr lang="en-US" sz="1600" dirty="0" smtClean="0"/>
            <a:t>Expansion of Voice of Hope radio with a second station site established with help from UMCom</a:t>
          </a:r>
        </a:p>
        <a:p>
          <a:pPr algn="l"/>
          <a:r>
            <a:rPr lang="en-US" sz="1600" dirty="0" smtClean="0"/>
            <a:t>Groundbreaking of a radio station in Nigeria</a:t>
          </a:r>
        </a:p>
        <a:p>
          <a:pPr algn="l"/>
          <a:r>
            <a:rPr lang="en-US" sz="1600" dirty="0" smtClean="0"/>
            <a:t>Relaunch of Radio Lokole in Kinshasa, DRC</a:t>
          </a:r>
          <a:endParaRPr lang="en-US" sz="1600" u="none" dirty="0"/>
        </a:p>
      </dgm:t>
    </dgm:pt>
    <dgm:pt modelId="{9B703340-5EF1-458F-8F93-B29696BD41FA}" type="parTrans" cxnId="{B259859F-EB79-47C5-8069-218E8C6B22E6}">
      <dgm:prSet/>
      <dgm:spPr/>
      <dgm:t>
        <a:bodyPr/>
        <a:lstStyle/>
        <a:p>
          <a:endParaRPr lang="en-US"/>
        </a:p>
      </dgm:t>
    </dgm:pt>
    <dgm:pt modelId="{C429DA44-5BD0-490B-8C35-5AC80CE61839}" type="sibTrans" cxnId="{B259859F-EB79-47C5-8069-218E8C6B22E6}">
      <dgm:prSet/>
      <dgm:spPr/>
      <dgm:t>
        <a:bodyPr/>
        <a:lstStyle/>
        <a:p>
          <a:endParaRPr lang="en-US"/>
        </a:p>
      </dgm:t>
    </dgm:pt>
    <dgm:pt modelId="{DC3E7F89-A788-4A06-B530-AB4670E58EDE}" type="pres">
      <dgm:prSet presAssocID="{CCD00963-08D1-4BF9-B4EE-694DDF0BAD6C}" presName="diagram" presStyleCnt="0">
        <dgm:presLayoutVars>
          <dgm:dir/>
          <dgm:resizeHandles val="exact"/>
        </dgm:presLayoutVars>
      </dgm:prSet>
      <dgm:spPr/>
      <dgm:t>
        <a:bodyPr/>
        <a:lstStyle/>
        <a:p>
          <a:endParaRPr lang="en-US"/>
        </a:p>
      </dgm:t>
    </dgm:pt>
    <dgm:pt modelId="{94821904-1098-4975-84E6-13EBC4F26875}" type="pres">
      <dgm:prSet presAssocID="{FA0A2A8E-4C77-45D1-A603-1A3300E443C2}" presName="node" presStyleLbl="node1" presStyleIdx="0" presStyleCnt="3" custScaleX="109758" custScaleY="80662" custLinFactNeighborX="-9703" custLinFactNeighborY="4357">
        <dgm:presLayoutVars>
          <dgm:bulletEnabled val="1"/>
        </dgm:presLayoutVars>
      </dgm:prSet>
      <dgm:spPr/>
      <dgm:t>
        <a:bodyPr/>
        <a:lstStyle/>
        <a:p>
          <a:endParaRPr lang="en-US"/>
        </a:p>
      </dgm:t>
    </dgm:pt>
    <dgm:pt modelId="{E6FFF0EA-3045-46C5-9F3B-ECF2FD3A96CC}" type="pres">
      <dgm:prSet presAssocID="{C17FB0CF-5B48-40C0-9A9A-D6EE340A58BA}" presName="sibTrans" presStyleCnt="0"/>
      <dgm:spPr/>
      <dgm:t>
        <a:bodyPr/>
        <a:lstStyle/>
        <a:p>
          <a:endParaRPr lang="en-US"/>
        </a:p>
      </dgm:t>
    </dgm:pt>
    <dgm:pt modelId="{94AFBF67-C541-4A6B-B802-06C55C8FB6FF}" type="pres">
      <dgm:prSet presAssocID="{BFEB3D8F-37DE-4164-84E2-A25519A15794}" presName="node" presStyleLbl="node1" presStyleIdx="1" presStyleCnt="3" custScaleX="107697" custScaleY="99078" custLinFactY="11040" custLinFactNeighborX="15902" custLinFactNeighborY="100000">
        <dgm:presLayoutVars>
          <dgm:bulletEnabled val="1"/>
        </dgm:presLayoutVars>
      </dgm:prSet>
      <dgm:spPr/>
      <dgm:t>
        <a:bodyPr/>
        <a:lstStyle/>
        <a:p>
          <a:endParaRPr lang="en-US"/>
        </a:p>
      </dgm:t>
    </dgm:pt>
    <dgm:pt modelId="{D77D0292-D46C-4BF6-9BD1-C90C2105125E}" type="pres">
      <dgm:prSet presAssocID="{3983657E-552F-4075-8C88-2CE2C913F5D7}" presName="sibTrans" presStyleCnt="0"/>
      <dgm:spPr/>
      <dgm:t>
        <a:bodyPr/>
        <a:lstStyle/>
        <a:p>
          <a:endParaRPr lang="en-US"/>
        </a:p>
      </dgm:t>
    </dgm:pt>
    <dgm:pt modelId="{D1668C84-9B95-4EF4-9A0C-C90F6020A647}" type="pres">
      <dgm:prSet presAssocID="{65DF7D62-14F4-4DE7-919E-DB5E222848B1}" presName="node" presStyleLbl="node1" presStyleIdx="2" presStyleCnt="3" custScaleX="107571" custScaleY="99140" custLinFactY="-9378" custLinFactNeighborX="75844" custLinFactNeighborY="-100000">
        <dgm:presLayoutVars>
          <dgm:bulletEnabled val="1"/>
        </dgm:presLayoutVars>
      </dgm:prSet>
      <dgm:spPr/>
      <dgm:t>
        <a:bodyPr/>
        <a:lstStyle/>
        <a:p>
          <a:endParaRPr lang="en-US"/>
        </a:p>
      </dgm:t>
    </dgm:pt>
  </dgm:ptLst>
  <dgm:cxnLst>
    <dgm:cxn modelId="{F35E44B1-26C4-4577-B678-A8A3FDBF676D}" type="presOf" srcId="{BFEB3D8F-37DE-4164-84E2-A25519A15794}" destId="{94AFBF67-C541-4A6B-B802-06C55C8FB6FF}" srcOrd="0" destOrd="0" presId="urn:microsoft.com/office/officeart/2005/8/layout/default"/>
    <dgm:cxn modelId="{B259859F-EB79-47C5-8069-218E8C6B22E6}" srcId="{CCD00963-08D1-4BF9-B4EE-694DDF0BAD6C}" destId="{65DF7D62-14F4-4DE7-919E-DB5E222848B1}" srcOrd="2" destOrd="0" parTransId="{9B703340-5EF1-458F-8F93-B29696BD41FA}" sibTransId="{C429DA44-5BD0-490B-8C35-5AC80CE61839}"/>
    <dgm:cxn modelId="{ADD47D0F-9310-449D-ABDB-50B13CC6E214}" srcId="{CCD00963-08D1-4BF9-B4EE-694DDF0BAD6C}" destId="{BFEB3D8F-37DE-4164-84E2-A25519A15794}" srcOrd="1" destOrd="0" parTransId="{621417C1-E290-4B56-88D2-EAA01B043C39}" sibTransId="{3983657E-552F-4075-8C88-2CE2C913F5D7}"/>
    <dgm:cxn modelId="{E715DE98-D313-4F3A-B2A8-954775BEE4EC}" type="presOf" srcId="{FA0A2A8E-4C77-45D1-A603-1A3300E443C2}" destId="{94821904-1098-4975-84E6-13EBC4F26875}" srcOrd="0" destOrd="0" presId="urn:microsoft.com/office/officeart/2005/8/layout/default"/>
    <dgm:cxn modelId="{42613C30-3DC1-4517-9887-7BC1FDD0E8A2}" type="presOf" srcId="{CCD00963-08D1-4BF9-B4EE-694DDF0BAD6C}" destId="{DC3E7F89-A788-4A06-B530-AB4670E58EDE}" srcOrd="0" destOrd="0" presId="urn:microsoft.com/office/officeart/2005/8/layout/default"/>
    <dgm:cxn modelId="{393326C7-EC81-40DD-AB42-2A79476BF16C}" srcId="{CCD00963-08D1-4BF9-B4EE-694DDF0BAD6C}" destId="{FA0A2A8E-4C77-45D1-A603-1A3300E443C2}" srcOrd="0" destOrd="0" parTransId="{A222DA07-6902-4C76-A03D-D662FC5F78DB}" sibTransId="{C17FB0CF-5B48-40C0-9A9A-D6EE340A58BA}"/>
    <dgm:cxn modelId="{77D1449D-5F0C-4EF7-9C68-E62459252247}" type="presOf" srcId="{65DF7D62-14F4-4DE7-919E-DB5E222848B1}" destId="{D1668C84-9B95-4EF4-9A0C-C90F6020A647}" srcOrd="0" destOrd="0" presId="urn:microsoft.com/office/officeart/2005/8/layout/default"/>
    <dgm:cxn modelId="{B7C35BD2-20E2-4D83-B992-7FEDE1BD0528}" type="presParOf" srcId="{DC3E7F89-A788-4A06-B530-AB4670E58EDE}" destId="{94821904-1098-4975-84E6-13EBC4F26875}" srcOrd="0" destOrd="0" presId="urn:microsoft.com/office/officeart/2005/8/layout/default"/>
    <dgm:cxn modelId="{4D0A77AD-E113-4DAE-9C4B-3F143B654595}" type="presParOf" srcId="{DC3E7F89-A788-4A06-B530-AB4670E58EDE}" destId="{E6FFF0EA-3045-46C5-9F3B-ECF2FD3A96CC}" srcOrd="1" destOrd="0" presId="urn:microsoft.com/office/officeart/2005/8/layout/default"/>
    <dgm:cxn modelId="{BDA71CF0-5E1A-41F1-B203-2489B45628B0}" type="presParOf" srcId="{DC3E7F89-A788-4A06-B530-AB4670E58EDE}" destId="{94AFBF67-C541-4A6B-B802-06C55C8FB6FF}" srcOrd="2" destOrd="0" presId="urn:microsoft.com/office/officeart/2005/8/layout/default"/>
    <dgm:cxn modelId="{CA74DB0D-C202-4112-A0B2-3437BA21AB58}" type="presParOf" srcId="{DC3E7F89-A788-4A06-B530-AB4670E58EDE}" destId="{D77D0292-D46C-4BF6-9BD1-C90C2105125E}" srcOrd="3" destOrd="0" presId="urn:microsoft.com/office/officeart/2005/8/layout/default"/>
    <dgm:cxn modelId="{97AA6CE3-6C56-4AF9-8CDA-3B5145524647}" type="presParOf" srcId="{DC3E7F89-A788-4A06-B530-AB4670E58EDE}" destId="{D1668C84-9B95-4EF4-9A0C-C90F6020A647}" srcOrd="4"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CD00963-08D1-4BF9-B4EE-694DDF0BAD6C}" type="doc">
      <dgm:prSet loTypeId="urn:microsoft.com/office/officeart/2005/8/layout/default" loCatId="list" qsTypeId="urn:microsoft.com/office/officeart/2005/8/quickstyle/simple1" qsCatId="simple" csTypeId="urn:microsoft.com/office/officeart/2005/8/colors/accent5_5" csCatId="accent5" phldr="1"/>
      <dgm:spPr/>
      <dgm:t>
        <a:bodyPr/>
        <a:lstStyle/>
        <a:p>
          <a:endParaRPr lang="en-US"/>
        </a:p>
      </dgm:t>
    </dgm:pt>
    <dgm:pt modelId="{FA0A2A8E-4C77-45D1-A603-1A3300E443C2}">
      <dgm:prSet phldrT="[Text]" custT="1"/>
      <dgm:spPr>
        <a:solidFill>
          <a:srgbClr val="005361">
            <a:alpha val="90000"/>
          </a:srgbClr>
        </a:solidFill>
      </dgm:spPr>
      <dgm:t>
        <a:bodyPr/>
        <a:lstStyle/>
        <a:p>
          <a:pPr algn="ctr"/>
          <a:r>
            <a:rPr lang="en-US" sz="1600" b="1" u="none" dirty="0" smtClean="0"/>
            <a:t>Build Relational Bridges: </a:t>
          </a:r>
        </a:p>
        <a:p>
          <a:pPr algn="l"/>
          <a:r>
            <a:rPr lang="en-US" sz="1600" u="none" dirty="0" smtClean="0"/>
            <a:t>Engaged parties to pave the way for cordiality and resumption of projects. Completed a stakeholder analysis. Engaged church leaders where there has been lack of trust, such as in East Africa, West Angola, and DRC. Informed bishops and their leaders regarding benefits of specific UMCom services for the common good.</a:t>
          </a:r>
          <a:endParaRPr lang="en-US" sz="1600" dirty="0"/>
        </a:p>
      </dgm:t>
    </dgm:pt>
    <dgm:pt modelId="{A222DA07-6902-4C76-A03D-D662FC5F78DB}" type="parTrans" cxnId="{393326C7-EC81-40DD-AB42-2A79476BF16C}">
      <dgm:prSet/>
      <dgm:spPr/>
      <dgm:t>
        <a:bodyPr/>
        <a:lstStyle/>
        <a:p>
          <a:endParaRPr lang="en-US"/>
        </a:p>
      </dgm:t>
    </dgm:pt>
    <dgm:pt modelId="{C17FB0CF-5B48-40C0-9A9A-D6EE340A58BA}" type="sibTrans" cxnId="{393326C7-EC81-40DD-AB42-2A79476BF16C}">
      <dgm:prSet/>
      <dgm:spPr/>
      <dgm:t>
        <a:bodyPr/>
        <a:lstStyle/>
        <a:p>
          <a:endParaRPr lang="en-US"/>
        </a:p>
      </dgm:t>
    </dgm:pt>
    <dgm:pt modelId="{BFEB3D8F-37DE-4164-84E2-A25519A15794}">
      <dgm:prSet phldrT="[Text]" custT="1"/>
      <dgm:spPr>
        <a:solidFill>
          <a:srgbClr val="005361">
            <a:alpha val="77000"/>
          </a:srgbClr>
        </a:solidFill>
      </dgm:spPr>
      <dgm:t>
        <a:bodyPr/>
        <a:lstStyle/>
        <a:p>
          <a:pPr algn="ctr"/>
          <a:r>
            <a:rPr lang="en-US" sz="1600" b="1" u="none" dirty="0" smtClean="0"/>
            <a:t>Nurture Relationships: </a:t>
          </a:r>
        </a:p>
        <a:p>
          <a:pPr algn="l"/>
          <a:r>
            <a:rPr lang="en-US" sz="1600" u="none" dirty="0" smtClean="0"/>
            <a:t>Worked with leaders to foster accountability and transparency for successful UMCom- sponsored projects in East Africa, Angola, Nigeria, Zimbabwe, Mozambique, DRC and the Philippines. Guided UMCom teams to be protocol sensitive as context dictates.</a:t>
          </a:r>
        </a:p>
      </dgm:t>
    </dgm:pt>
    <dgm:pt modelId="{621417C1-E290-4B56-88D2-EAA01B043C39}" type="parTrans" cxnId="{ADD47D0F-9310-449D-ABDB-50B13CC6E214}">
      <dgm:prSet/>
      <dgm:spPr/>
      <dgm:t>
        <a:bodyPr/>
        <a:lstStyle/>
        <a:p>
          <a:endParaRPr lang="en-US"/>
        </a:p>
      </dgm:t>
    </dgm:pt>
    <dgm:pt modelId="{3983657E-552F-4075-8C88-2CE2C913F5D7}" type="sibTrans" cxnId="{ADD47D0F-9310-449D-ABDB-50B13CC6E214}">
      <dgm:prSet/>
      <dgm:spPr/>
      <dgm:t>
        <a:bodyPr/>
        <a:lstStyle/>
        <a:p>
          <a:endParaRPr lang="en-US"/>
        </a:p>
      </dgm:t>
    </dgm:pt>
    <dgm:pt modelId="{65DF7D62-14F4-4DE7-919E-DB5E222848B1}">
      <dgm:prSet phldrT="[Text]" custT="1"/>
      <dgm:spPr>
        <a:solidFill>
          <a:srgbClr val="005361">
            <a:alpha val="63000"/>
          </a:srgbClr>
        </a:solidFill>
      </dgm:spPr>
      <dgm:t>
        <a:bodyPr/>
        <a:lstStyle/>
        <a:p>
          <a:pPr algn="ctr"/>
          <a:r>
            <a:rPr lang="en-US" sz="1600" b="1" u="none" dirty="0" smtClean="0"/>
            <a:t>Assess Needs: </a:t>
          </a:r>
        </a:p>
        <a:p>
          <a:pPr algn="l"/>
          <a:r>
            <a:rPr lang="en-US" sz="1600" u="none" dirty="0" smtClean="0"/>
            <a:t>Identified equipment and training needs for South Africa, Burundi and South Congo for radio and television evangelization.</a:t>
          </a:r>
        </a:p>
        <a:p>
          <a:pPr algn="ctr"/>
          <a:endParaRPr lang="en-US" sz="1600" u="none" dirty="0"/>
        </a:p>
      </dgm:t>
    </dgm:pt>
    <dgm:pt modelId="{9B703340-5EF1-458F-8F93-B29696BD41FA}" type="parTrans" cxnId="{B259859F-EB79-47C5-8069-218E8C6B22E6}">
      <dgm:prSet/>
      <dgm:spPr/>
      <dgm:t>
        <a:bodyPr/>
        <a:lstStyle/>
        <a:p>
          <a:endParaRPr lang="en-US"/>
        </a:p>
      </dgm:t>
    </dgm:pt>
    <dgm:pt modelId="{C429DA44-5BD0-490B-8C35-5AC80CE61839}" type="sibTrans" cxnId="{B259859F-EB79-47C5-8069-218E8C6B22E6}">
      <dgm:prSet/>
      <dgm:spPr/>
      <dgm:t>
        <a:bodyPr/>
        <a:lstStyle/>
        <a:p>
          <a:endParaRPr lang="en-US"/>
        </a:p>
      </dgm:t>
    </dgm:pt>
    <dgm:pt modelId="{DC3E7F89-A788-4A06-B530-AB4670E58EDE}" type="pres">
      <dgm:prSet presAssocID="{CCD00963-08D1-4BF9-B4EE-694DDF0BAD6C}" presName="diagram" presStyleCnt="0">
        <dgm:presLayoutVars>
          <dgm:dir/>
          <dgm:resizeHandles val="exact"/>
        </dgm:presLayoutVars>
      </dgm:prSet>
      <dgm:spPr/>
      <dgm:t>
        <a:bodyPr/>
        <a:lstStyle/>
        <a:p>
          <a:endParaRPr lang="en-US"/>
        </a:p>
      </dgm:t>
    </dgm:pt>
    <dgm:pt modelId="{94821904-1098-4975-84E6-13EBC4F26875}" type="pres">
      <dgm:prSet presAssocID="{FA0A2A8E-4C77-45D1-A603-1A3300E443C2}" presName="node" presStyleLbl="node1" presStyleIdx="0" presStyleCnt="3" custScaleX="107384">
        <dgm:presLayoutVars>
          <dgm:bulletEnabled val="1"/>
        </dgm:presLayoutVars>
      </dgm:prSet>
      <dgm:spPr/>
      <dgm:t>
        <a:bodyPr/>
        <a:lstStyle/>
        <a:p>
          <a:endParaRPr lang="en-US"/>
        </a:p>
      </dgm:t>
    </dgm:pt>
    <dgm:pt modelId="{E6FFF0EA-3045-46C5-9F3B-ECF2FD3A96CC}" type="pres">
      <dgm:prSet presAssocID="{C17FB0CF-5B48-40C0-9A9A-D6EE340A58BA}" presName="sibTrans" presStyleCnt="0"/>
      <dgm:spPr/>
      <dgm:t>
        <a:bodyPr/>
        <a:lstStyle/>
        <a:p>
          <a:endParaRPr lang="en-US"/>
        </a:p>
      </dgm:t>
    </dgm:pt>
    <dgm:pt modelId="{94AFBF67-C541-4A6B-B802-06C55C8FB6FF}" type="pres">
      <dgm:prSet presAssocID="{BFEB3D8F-37DE-4164-84E2-A25519A15794}" presName="node" presStyleLbl="node1" presStyleIdx="1" presStyleCnt="3" custLinFactNeighborX="20259" custLinFactNeighborY="-6">
        <dgm:presLayoutVars>
          <dgm:bulletEnabled val="1"/>
        </dgm:presLayoutVars>
      </dgm:prSet>
      <dgm:spPr/>
      <dgm:t>
        <a:bodyPr/>
        <a:lstStyle/>
        <a:p>
          <a:endParaRPr lang="en-US"/>
        </a:p>
      </dgm:t>
    </dgm:pt>
    <dgm:pt modelId="{D77D0292-D46C-4BF6-9BD1-C90C2105125E}" type="pres">
      <dgm:prSet presAssocID="{3983657E-552F-4075-8C88-2CE2C913F5D7}" presName="sibTrans" presStyleCnt="0"/>
      <dgm:spPr/>
      <dgm:t>
        <a:bodyPr/>
        <a:lstStyle/>
        <a:p>
          <a:endParaRPr lang="en-US"/>
        </a:p>
      </dgm:t>
    </dgm:pt>
    <dgm:pt modelId="{D1668C84-9B95-4EF4-9A0C-C90F6020A647}" type="pres">
      <dgm:prSet presAssocID="{65DF7D62-14F4-4DE7-919E-DB5E222848B1}" presName="node" presStyleLbl="node1" presStyleIdx="2" presStyleCnt="3" custScaleX="108453" custLinFactNeighborX="-55535" custLinFactNeighborY="-9072">
        <dgm:presLayoutVars>
          <dgm:bulletEnabled val="1"/>
        </dgm:presLayoutVars>
      </dgm:prSet>
      <dgm:spPr/>
      <dgm:t>
        <a:bodyPr/>
        <a:lstStyle/>
        <a:p>
          <a:endParaRPr lang="en-US"/>
        </a:p>
      </dgm:t>
    </dgm:pt>
  </dgm:ptLst>
  <dgm:cxnLst>
    <dgm:cxn modelId="{F35E44B1-26C4-4577-B678-A8A3FDBF676D}" type="presOf" srcId="{BFEB3D8F-37DE-4164-84E2-A25519A15794}" destId="{94AFBF67-C541-4A6B-B802-06C55C8FB6FF}" srcOrd="0" destOrd="0" presId="urn:microsoft.com/office/officeart/2005/8/layout/default"/>
    <dgm:cxn modelId="{B259859F-EB79-47C5-8069-218E8C6B22E6}" srcId="{CCD00963-08D1-4BF9-B4EE-694DDF0BAD6C}" destId="{65DF7D62-14F4-4DE7-919E-DB5E222848B1}" srcOrd="2" destOrd="0" parTransId="{9B703340-5EF1-458F-8F93-B29696BD41FA}" sibTransId="{C429DA44-5BD0-490B-8C35-5AC80CE61839}"/>
    <dgm:cxn modelId="{ADD47D0F-9310-449D-ABDB-50B13CC6E214}" srcId="{CCD00963-08D1-4BF9-B4EE-694DDF0BAD6C}" destId="{BFEB3D8F-37DE-4164-84E2-A25519A15794}" srcOrd="1" destOrd="0" parTransId="{621417C1-E290-4B56-88D2-EAA01B043C39}" sibTransId="{3983657E-552F-4075-8C88-2CE2C913F5D7}"/>
    <dgm:cxn modelId="{E715DE98-D313-4F3A-B2A8-954775BEE4EC}" type="presOf" srcId="{FA0A2A8E-4C77-45D1-A603-1A3300E443C2}" destId="{94821904-1098-4975-84E6-13EBC4F26875}" srcOrd="0" destOrd="0" presId="urn:microsoft.com/office/officeart/2005/8/layout/default"/>
    <dgm:cxn modelId="{42613C30-3DC1-4517-9887-7BC1FDD0E8A2}" type="presOf" srcId="{CCD00963-08D1-4BF9-B4EE-694DDF0BAD6C}" destId="{DC3E7F89-A788-4A06-B530-AB4670E58EDE}" srcOrd="0" destOrd="0" presId="urn:microsoft.com/office/officeart/2005/8/layout/default"/>
    <dgm:cxn modelId="{393326C7-EC81-40DD-AB42-2A79476BF16C}" srcId="{CCD00963-08D1-4BF9-B4EE-694DDF0BAD6C}" destId="{FA0A2A8E-4C77-45D1-A603-1A3300E443C2}" srcOrd="0" destOrd="0" parTransId="{A222DA07-6902-4C76-A03D-D662FC5F78DB}" sibTransId="{C17FB0CF-5B48-40C0-9A9A-D6EE340A58BA}"/>
    <dgm:cxn modelId="{77D1449D-5F0C-4EF7-9C68-E62459252247}" type="presOf" srcId="{65DF7D62-14F4-4DE7-919E-DB5E222848B1}" destId="{D1668C84-9B95-4EF4-9A0C-C90F6020A647}" srcOrd="0" destOrd="0" presId="urn:microsoft.com/office/officeart/2005/8/layout/default"/>
    <dgm:cxn modelId="{B7C35BD2-20E2-4D83-B992-7FEDE1BD0528}" type="presParOf" srcId="{DC3E7F89-A788-4A06-B530-AB4670E58EDE}" destId="{94821904-1098-4975-84E6-13EBC4F26875}" srcOrd="0" destOrd="0" presId="urn:microsoft.com/office/officeart/2005/8/layout/default"/>
    <dgm:cxn modelId="{4D0A77AD-E113-4DAE-9C4B-3F143B654595}" type="presParOf" srcId="{DC3E7F89-A788-4A06-B530-AB4670E58EDE}" destId="{E6FFF0EA-3045-46C5-9F3B-ECF2FD3A96CC}" srcOrd="1" destOrd="0" presId="urn:microsoft.com/office/officeart/2005/8/layout/default"/>
    <dgm:cxn modelId="{BDA71CF0-5E1A-41F1-B203-2489B45628B0}" type="presParOf" srcId="{DC3E7F89-A788-4A06-B530-AB4670E58EDE}" destId="{94AFBF67-C541-4A6B-B802-06C55C8FB6FF}" srcOrd="2" destOrd="0" presId="urn:microsoft.com/office/officeart/2005/8/layout/default"/>
    <dgm:cxn modelId="{CA74DB0D-C202-4112-A0B2-3437BA21AB58}" type="presParOf" srcId="{DC3E7F89-A788-4A06-B530-AB4670E58EDE}" destId="{D77D0292-D46C-4BF6-9BD1-C90C2105125E}" srcOrd="3" destOrd="0" presId="urn:microsoft.com/office/officeart/2005/8/layout/default"/>
    <dgm:cxn modelId="{97AA6CE3-6C56-4AF9-8CDA-3B5145524647}" type="presParOf" srcId="{DC3E7F89-A788-4A06-B530-AB4670E58EDE}" destId="{D1668C84-9B95-4EF4-9A0C-C90F6020A647}" srcOrd="4"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CCD00963-08D1-4BF9-B4EE-694DDF0BAD6C}" type="doc">
      <dgm:prSet loTypeId="urn:microsoft.com/office/officeart/2005/8/layout/default" loCatId="list" qsTypeId="urn:microsoft.com/office/officeart/2005/8/quickstyle/simple1" qsCatId="simple" csTypeId="urn:microsoft.com/office/officeart/2005/8/colors/accent5_5" csCatId="accent5" phldr="1"/>
      <dgm:spPr/>
      <dgm:t>
        <a:bodyPr/>
        <a:lstStyle/>
        <a:p>
          <a:endParaRPr lang="en-US"/>
        </a:p>
      </dgm:t>
    </dgm:pt>
    <dgm:pt modelId="{FA0A2A8E-4C77-45D1-A603-1A3300E443C2}">
      <dgm:prSet phldrT="[Text]" custT="1"/>
      <dgm:spPr>
        <a:solidFill>
          <a:srgbClr val="005361">
            <a:alpha val="90000"/>
          </a:srgbClr>
        </a:solidFill>
      </dgm:spPr>
      <dgm:t>
        <a:bodyPr/>
        <a:lstStyle/>
        <a:p>
          <a:pPr algn="l"/>
          <a:r>
            <a:rPr lang="en-US" sz="1600" u="none" dirty="0" smtClean="0"/>
            <a:t>We leveraged our </a:t>
          </a:r>
          <a:r>
            <a:rPr lang="en-US" sz="1600" u="sng" dirty="0" smtClean="0"/>
            <a:t>Ethnic Leader Engagement Panels</a:t>
          </a:r>
          <a:r>
            <a:rPr lang="en-US" sz="1600" u="none" dirty="0" smtClean="0"/>
            <a:t> to r</a:t>
          </a:r>
          <a:r>
            <a:rPr lang="en-US" sz="1600" dirty="0" smtClean="0"/>
            <a:t>aise awareness of ways to connect with diverse audiences.</a:t>
          </a:r>
          <a:endParaRPr lang="en-US" sz="1600" dirty="0"/>
        </a:p>
      </dgm:t>
    </dgm:pt>
    <dgm:pt modelId="{A222DA07-6902-4C76-A03D-D662FC5F78DB}" type="parTrans" cxnId="{393326C7-EC81-40DD-AB42-2A79476BF16C}">
      <dgm:prSet/>
      <dgm:spPr/>
      <dgm:t>
        <a:bodyPr/>
        <a:lstStyle/>
        <a:p>
          <a:endParaRPr lang="en-US"/>
        </a:p>
      </dgm:t>
    </dgm:pt>
    <dgm:pt modelId="{C17FB0CF-5B48-40C0-9A9A-D6EE340A58BA}" type="sibTrans" cxnId="{393326C7-EC81-40DD-AB42-2A79476BF16C}">
      <dgm:prSet/>
      <dgm:spPr/>
      <dgm:t>
        <a:bodyPr/>
        <a:lstStyle/>
        <a:p>
          <a:endParaRPr lang="en-US"/>
        </a:p>
      </dgm:t>
    </dgm:pt>
    <dgm:pt modelId="{BFEB3D8F-37DE-4164-84E2-A25519A15794}">
      <dgm:prSet phldrT="[Text]" custT="1"/>
      <dgm:spPr>
        <a:solidFill>
          <a:srgbClr val="005361">
            <a:alpha val="77000"/>
          </a:srgbClr>
        </a:solidFill>
      </dgm:spPr>
      <dgm:t>
        <a:bodyPr/>
        <a:lstStyle/>
        <a:p>
          <a:pPr algn="l"/>
          <a:r>
            <a:rPr lang="en-US" sz="1600" u="none" dirty="0" smtClean="0"/>
            <a:t>The </a:t>
          </a:r>
          <a:r>
            <a:rPr lang="en-US" sz="1600" u="sng" dirty="0" smtClean="0"/>
            <a:t>Member Perspectives Study</a:t>
          </a:r>
          <a:r>
            <a:rPr lang="en-US" sz="1600" dirty="0" smtClean="0"/>
            <a:t> helps the agency understand how members are navigating the pandemic, attitudes about the UMC and social issues.</a:t>
          </a:r>
          <a:endParaRPr lang="en-US" sz="1600" dirty="0"/>
        </a:p>
      </dgm:t>
    </dgm:pt>
    <dgm:pt modelId="{621417C1-E290-4B56-88D2-EAA01B043C39}" type="parTrans" cxnId="{ADD47D0F-9310-449D-ABDB-50B13CC6E214}">
      <dgm:prSet/>
      <dgm:spPr/>
      <dgm:t>
        <a:bodyPr/>
        <a:lstStyle/>
        <a:p>
          <a:endParaRPr lang="en-US"/>
        </a:p>
      </dgm:t>
    </dgm:pt>
    <dgm:pt modelId="{3983657E-552F-4075-8C88-2CE2C913F5D7}" type="sibTrans" cxnId="{ADD47D0F-9310-449D-ABDB-50B13CC6E214}">
      <dgm:prSet/>
      <dgm:spPr/>
      <dgm:t>
        <a:bodyPr/>
        <a:lstStyle/>
        <a:p>
          <a:endParaRPr lang="en-US"/>
        </a:p>
      </dgm:t>
    </dgm:pt>
    <dgm:pt modelId="{65DF7D62-14F4-4DE7-919E-DB5E222848B1}">
      <dgm:prSet phldrT="[Text]" custT="1"/>
      <dgm:spPr>
        <a:solidFill>
          <a:srgbClr val="005361">
            <a:alpha val="63000"/>
          </a:srgbClr>
        </a:solidFill>
      </dgm:spPr>
      <dgm:t>
        <a:bodyPr/>
        <a:lstStyle/>
        <a:p>
          <a:pPr algn="l"/>
          <a:r>
            <a:rPr lang="en-US" sz="1600" u="none" dirty="0" smtClean="0"/>
            <a:t>Our </a:t>
          </a:r>
          <a:r>
            <a:rPr lang="en-US" sz="1600" u="sng" dirty="0" smtClean="0"/>
            <a:t>Spiritual Seeker Study </a:t>
          </a:r>
          <a:r>
            <a:rPr lang="en-US" sz="1600" u="none" dirty="0" smtClean="0"/>
            <a:t>reveals key learnings about this group to guide our marketing and communication efforts.</a:t>
          </a:r>
          <a:endParaRPr lang="en-US" sz="1600" u="none" dirty="0"/>
        </a:p>
      </dgm:t>
    </dgm:pt>
    <dgm:pt modelId="{9B703340-5EF1-458F-8F93-B29696BD41FA}" type="parTrans" cxnId="{B259859F-EB79-47C5-8069-218E8C6B22E6}">
      <dgm:prSet/>
      <dgm:spPr/>
      <dgm:t>
        <a:bodyPr/>
        <a:lstStyle/>
        <a:p>
          <a:endParaRPr lang="en-US"/>
        </a:p>
      </dgm:t>
    </dgm:pt>
    <dgm:pt modelId="{C429DA44-5BD0-490B-8C35-5AC80CE61839}" type="sibTrans" cxnId="{B259859F-EB79-47C5-8069-218E8C6B22E6}">
      <dgm:prSet/>
      <dgm:spPr/>
      <dgm:t>
        <a:bodyPr/>
        <a:lstStyle/>
        <a:p>
          <a:endParaRPr lang="en-US"/>
        </a:p>
      </dgm:t>
    </dgm:pt>
    <dgm:pt modelId="{DF660D7C-DB4A-4321-93F5-F7B93A892D34}">
      <dgm:prSet phldrT="[Text]" custT="1"/>
      <dgm:spPr>
        <a:solidFill>
          <a:srgbClr val="005361">
            <a:alpha val="50000"/>
          </a:srgbClr>
        </a:solidFill>
      </dgm:spPr>
      <dgm:t>
        <a:bodyPr/>
        <a:lstStyle/>
        <a:p>
          <a:pPr algn="l"/>
          <a:r>
            <a:rPr lang="en-US" sz="1600" u="none" dirty="0" smtClean="0"/>
            <a:t>After more than 10 years, the </a:t>
          </a:r>
          <a:r>
            <a:rPr lang="en-US" sz="1600" u="sng" dirty="0" smtClean="0"/>
            <a:t>MyCom Newsletter Evaluation</a:t>
          </a:r>
          <a:r>
            <a:rPr lang="en-US" sz="1600" dirty="0" smtClean="0"/>
            <a:t> results indicate </a:t>
          </a:r>
          <a:r>
            <a:rPr lang="en-US" sz="1600" b="1" dirty="0" smtClean="0"/>
            <a:t>90% </a:t>
          </a:r>
          <a:r>
            <a:rPr lang="en-US" sz="1600" dirty="0" smtClean="0"/>
            <a:t>are satisfied and </a:t>
          </a:r>
          <a:r>
            <a:rPr lang="en-US" sz="1600" b="1" dirty="0" smtClean="0"/>
            <a:t>80% </a:t>
          </a:r>
          <a:r>
            <a:rPr lang="en-US" sz="1600" dirty="0" smtClean="0"/>
            <a:t>say it is the best source for communication tips and tools.</a:t>
          </a:r>
          <a:endParaRPr lang="en-US" sz="1600" dirty="0"/>
        </a:p>
      </dgm:t>
    </dgm:pt>
    <dgm:pt modelId="{F5872D61-AA33-4E9A-AA8F-CBFFD22BD0E0}" type="parTrans" cxnId="{5712C546-CAC6-4B47-B355-ED35A4938470}">
      <dgm:prSet/>
      <dgm:spPr/>
      <dgm:t>
        <a:bodyPr/>
        <a:lstStyle/>
        <a:p>
          <a:endParaRPr lang="en-US"/>
        </a:p>
      </dgm:t>
    </dgm:pt>
    <dgm:pt modelId="{94B460EF-5282-4248-9254-2A7581F062D4}" type="sibTrans" cxnId="{5712C546-CAC6-4B47-B355-ED35A4938470}">
      <dgm:prSet/>
      <dgm:spPr/>
      <dgm:t>
        <a:bodyPr/>
        <a:lstStyle/>
        <a:p>
          <a:endParaRPr lang="en-US"/>
        </a:p>
      </dgm:t>
    </dgm:pt>
    <dgm:pt modelId="{DC3E7F89-A788-4A06-B530-AB4670E58EDE}" type="pres">
      <dgm:prSet presAssocID="{CCD00963-08D1-4BF9-B4EE-694DDF0BAD6C}" presName="diagram" presStyleCnt="0">
        <dgm:presLayoutVars>
          <dgm:dir/>
          <dgm:resizeHandles val="exact"/>
        </dgm:presLayoutVars>
      </dgm:prSet>
      <dgm:spPr/>
      <dgm:t>
        <a:bodyPr/>
        <a:lstStyle/>
        <a:p>
          <a:endParaRPr lang="en-US"/>
        </a:p>
      </dgm:t>
    </dgm:pt>
    <dgm:pt modelId="{94821904-1098-4975-84E6-13EBC4F26875}" type="pres">
      <dgm:prSet presAssocID="{FA0A2A8E-4C77-45D1-A603-1A3300E443C2}" presName="node" presStyleLbl="node1" presStyleIdx="0" presStyleCnt="4">
        <dgm:presLayoutVars>
          <dgm:bulletEnabled val="1"/>
        </dgm:presLayoutVars>
      </dgm:prSet>
      <dgm:spPr/>
      <dgm:t>
        <a:bodyPr/>
        <a:lstStyle/>
        <a:p>
          <a:endParaRPr lang="en-US"/>
        </a:p>
      </dgm:t>
    </dgm:pt>
    <dgm:pt modelId="{E6FFF0EA-3045-46C5-9F3B-ECF2FD3A96CC}" type="pres">
      <dgm:prSet presAssocID="{C17FB0CF-5B48-40C0-9A9A-D6EE340A58BA}" presName="sibTrans" presStyleCnt="0"/>
      <dgm:spPr/>
      <dgm:t>
        <a:bodyPr/>
        <a:lstStyle/>
        <a:p>
          <a:endParaRPr lang="en-US"/>
        </a:p>
      </dgm:t>
    </dgm:pt>
    <dgm:pt modelId="{94AFBF67-C541-4A6B-B802-06C55C8FB6FF}" type="pres">
      <dgm:prSet presAssocID="{BFEB3D8F-37DE-4164-84E2-A25519A15794}" presName="node" presStyleLbl="node1" presStyleIdx="1" presStyleCnt="4" custLinFactNeighborY="537">
        <dgm:presLayoutVars>
          <dgm:bulletEnabled val="1"/>
        </dgm:presLayoutVars>
      </dgm:prSet>
      <dgm:spPr/>
      <dgm:t>
        <a:bodyPr/>
        <a:lstStyle/>
        <a:p>
          <a:endParaRPr lang="en-US"/>
        </a:p>
      </dgm:t>
    </dgm:pt>
    <dgm:pt modelId="{D77D0292-D46C-4BF6-9BD1-C90C2105125E}" type="pres">
      <dgm:prSet presAssocID="{3983657E-552F-4075-8C88-2CE2C913F5D7}" presName="sibTrans" presStyleCnt="0"/>
      <dgm:spPr/>
      <dgm:t>
        <a:bodyPr/>
        <a:lstStyle/>
        <a:p>
          <a:endParaRPr lang="en-US"/>
        </a:p>
      </dgm:t>
    </dgm:pt>
    <dgm:pt modelId="{D1668C84-9B95-4EF4-9A0C-C90F6020A647}" type="pres">
      <dgm:prSet presAssocID="{65DF7D62-14F4-4DE7-919E-DB5E222848B1}" presName="node" presStyleLbl="node1" presStyleIdx="2" presStyleCnt="4">
        <dgm:presLayoutVars>
          <dgm:bulletEnabled val="1"/>
        </dgm:presLayoutVars>
      </dgm:prSet>
      <dgm:spPr/>
      <dgm:t>
        <a:bodyPr/>
        <a:lstStyle/>
        <a:p>
          <a:endParaRPr lang="en-US"/>
        </a:p>
      </dgm:t>
    </dgm:pt>
    <dgm:pt modelId="{5FB7EE5F-14F4-4DBD-913A-B363B426DD1F}" type="pres">
      <dgm:prSet presAssocID="{C429DA44-5BD0-490B-8C35-5AC80CE61839}" presName="sibTrans" presStyleCnt="0"/>
      <dgm:spPr/>
      <dgm:t>
        <a:bodyPr/>
        <a:lstStyle/>
        <a:p>
          <a:endParaRPr lang="en-US"/>
        </a:p>
      </dgm:t>
    </dgm:pt>
    <dgm:pt modelId="{5D3BCD07-E0A8-443D-9B5F-4635E98F6E4D}" type="pres">
      <dgm:prSet presAssocID="{DF660D7C-DB4A-4321-93F5-F7B93A892D34}" presName="node" presStyleLbl="node1" presStyleIdx="3" presStyleCnt="4">
        <dgm:presLayoutVars>
          <dgm:bulletEnabled val="1"/>
        </dgm:presLayoutVars>
      </dgm:prSet>
      <dgm:spPr/>
      <dgm:t>
        <a:bodyPr/>
        <a:lstStyle/>
        <a:p>
          <a:endParaRPr lang="en-US"/>
        </a:p>
      </dgm:t>
    </dgm:pt>
  </dgm:ptLst>
  <dgm:cxnLst>
    <dgm:cxn modelId="{F35E44B1-26C4-4577-B678-A8A3FDBF676D}" type="presOf" srcId="{BFEB3D8F-37DE-4164-84E2-A25519A15794}" destId="{94AFBF67-C541-4A6B-B802-06C55C8FB6FF}" srcOrd="0" destOrd="0" presId="urn:microsoft.com/office/officeart/2005/8/layout/default"/>
    <dgm:cxn modelId="{B259859F-EB79-47C5-8069-218E8C6B22E6}" srcId="{CCD00963-08D1-4BF9-B4EE-694DDF0BAD6C}" destId="{65DF7D62-14F4-4DE7-919E-DB5E222848B1}" srcOrd="2" destOrd="0" parTransId="{9B703340-5EF1-458F-8F93-B29696BD41FA}" sibTransId="{C429DA44-5BD0-490B-8C35-5AC80CE61839}"/>
    <dgm:cxn modelId="{ADD47D0F-9310-449D-ABDB-50B13CC6E214}" srcId="{CCD00963-08D1-4BF9-B4EE-694DDF0BAD6C}" destId="{BFEB3D8F-37DE-4164-84E2-A25519A15794}" srcOrd="1" destOrd="0" parTransId="{621417C1-E290-4B56-88D2-EAA01B043C39}" sibTransId="{3983657E-552F-4075-8C88-2CE2C913F5D7}"/>
    <dgm:cxn modelId="{E715DE98-D313-4F3A-B2A8-954775BEE4EC}" type="presOf" srcId="{FA0A2A8E-4C77-45D1-A603-1A3300E443C2}" destId="{94821904-1098-4975-84E6-13EBC4F26875}" srcOrd="0" destOrd="0" presId="urn:microsoft.com/office/officeart/2005/8/layout/default"/>
    <dgm:cxn modelId="{42613C30-3DC1-4517-9887-7BC1FDD0E8A2}" type="presOf" srcId="{CCD00963-08D1-4BF9-B4EE-694DDF0BAD6C}" destId="{DC3E7F89-A788-4A06-B530-AB4670E58EDE}" srcOrd="0" destOrd="0" presId="urn:microsoft.com/office/officeart/2005/8/layout/default"/>
    <dgm:cxn modelId="{393326C7-EC81-40DD-AB42-2A79476BF16C}" srcId="{CCD00963-08D1-4BF9-B4EE-694DDF0BAD6C}" destId="{FA0A2A8E-4C77-45D1-A603-1A3300E443C2}" srcOrd="0" destOrd="0" parTransId="{A222DA07-6902-4C76-A03D-D662FC5F78DB}" sibTransId="{C17FB0CF-5B48-40C0-9A9A-D6EE340A58BA}"/>
    <dgm:cxn modelId="{8BE56DB4-1DA5-4926-AB73-DBBDF482F434}" type="presOf" srcId="{DF660D7C-DB4A-4321-93F5-F7B93A892D34}" destId="{5D3BCD07-E0A8-443D-9B5F-4635E98F6E4D}" srcOrd="0" destOrd="0" presId="urn:microsoft.com/office/officeart/2005/8/layout/default"/>
    <dgm:cxn modelId="{77D1449D-5F0C-4EF7-9C68-E62459252247}" type="presOf" srcId="{65DF7D62-14F4-4DE7-919E-DB5E222848B1}" destId="{D1668C84-9B95-4EF4-9A0C-C90F6020A647}" srcOrd="0" destOrd="0" presId="urn:microsoft.com/office/officeart/2005/8/layout/default"/>
    <dgm:cxn modelId="{5712C546-CAC6-4B47-B355-ED35A4938470}" srcId="{CCD00963-08D1-4BF9-B4EE-694DDF0BAD6C}" destId="{DF660D7C-DB4A-4321-93F5-F7B93A892D34}" srcOrd="3" destOrd="0" parTransId="{F5872D61-AA33-4E9A-AA8F-CBFFD22BD0E0}" sibTransId="{94B460EF-5282-4248-9254-2A7581F062D4}"/>
    <dgm:cxn modelId="{B7C35BD2-20E2-4D83-B992-7FEDE1BD0528}" type="presParOf" srcId="{DC3E7F89-A788-4A06-B530-AB4670E58EDE}" destId="{94821904-1098-4975-84E6-13EBC4F26875}" srcOrd="0" destOrd="0" presId="urn:microsoft.com/office/officeart/2005/8/layout/default"/>
    <dgm:cxn modelId="{4D0A77AD-E113-4DAE-9C4B-3F143B654595}" type="presParOf" srcId="{DC3E7F89-A788-4A06-B530-AB4670E58EDE}" destId="{E6FFF0EA-3045-46C5-9F3B-ECF2FD3A96CC}" srcOrd="1" destOrd="0" presId="urn:microsoft.com/office/officeart/2005/8/layout/default"/>
    <dgm:cxn modelId="{BDA71CF0-5E1A-41F1-B203-2489B45628B0}" type="presParOf" srcId="{DC3E7F89-A788-4A06-B530-AB4670E58EDE}" destId="{94AFBF67-C541-4A6B-B802-06C55C8FB6FF}" srcOrd="2" destOrd="0" presId="urn:microsoft.com/office/officeart/2005/8/layout/default"/>
    <dgm:cxn modelId="{CA74DB0D-C202-4112-A0B2-3437BA21AB58}" type="presParOf" srcId="{DC3E7F89-A788-4A06-B530-AB4670E58EDE}" destId="{D77D0292-D46C-4BF6-9BD1-C90C2105125E}" srcOrd="3" destOrd="0" presId="urn:microsoft.com/office/officeart/2005/8/layout/default"/>
    <dgm:cxn modelId="{97AA6CE3-6C56-4AF9-8CDA-3B5145524647}" type="presParOf" srcId="{DC3E7F89-A788-4A06-B530-AB4670E58EDE}" destId="{D1668C84-9B95-4EF4-9A0C-C90F6020A647}" srcOrd="4" destOrd="0" presId="urn:microsoft.com/office/officeart/2005/8/layout/default"/>
    <dgm:cxn modelId="{BE667F30-061A-41D9-A321-B86E95522BFD}" type="presParOf" srcId="{DC3E7F89-A788-4A06-B530-AB4670E58EDE}" destId="{5FB7EE5F-14F4-4DBD-913A-B363B426DD1F}" srcOrd="5" destOrd="0" presId="urn:microsoft.com/office/officeart/2005/8/layout/default"/>
    <dgm:cxn modelId="{38285BF8-F08F-45A7-9E45-373D5D2830FE}" type="presParOf" srcId="{DC3E7F89-A788-4A06-B530-AB4670E58EDE}" destId="{5D3BCD07-E0A8-443D-9B5F-4635E98F6E4D}" srcOrd="6"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4821904-1098-4975-84E6-13EBC4F26875}">
      <dsp:nvSpPr>
        <dsp:cNvPr id="0" name=""/>
        <dsp:cNvSpPr/>
      </dsp:nvSpPr>
      <dsp:spPr>
        <a:xfrm>
          <a:off x="10875" y="293658"/>
          <a:ext cx="5700731" cy="2146157"/>
        </a:xfrm>
        <a:prstGeom prst="rect">
          <a:avLst/>
        </a:prstGeom>
        <a:solidFill>
          <a:srgbClr val="005361">
            <a:alpha val="90000"/>
          </a:srgb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l" defTabSz="711200">
            <a:lnSpc>
              <a:spcPct val="100000"/>
            </a:lnSpc>
            <a:spcBef>
              <a:spcPct val="0"/>
            </a:spcBef>
            <a:spcAft>
              <a:spcPts val="0"/>
            </a:spcAft>
          </a:pPr>
          <a:r>
            <a:rPr lang="en-US" sz="1600" b="1" u="none" kern="1200" dirty="0" smtClean="0"/>
            <a:t>Collaboration:</a:t>
          </a:r>
          <a:r>
            <a:rPr lang="en-US" sz="1400" b="1" u="none" kern="1200" dirty="0" smtClean="0"/>
            <a:t/>
          </a:r>
          <a:br>
            <a:rPr lang="en-US" sz="1400" b="1" u="none" kern="1200" dirty="0" smtClean="0"/>
          </a:br>
          <a:r>
            <a:rPr lang="en-US" sz="1400" b="0" u="none" kern="1200" dirty="0" smtClean="0"/>
            <a:t>Collaboration was a key component of developing member content this past year. These projects included a series of Tuesdays at the Table conversations by the Connectional Table, a collection of 11 video devotions by our United Methodist bishops, interviews with missionaries in support of United Methodist Global Ministries’ Give Love end-of-year giving campaign and a partnership with the General Commission on Archives and History to promote events in England and the U.S. celebrating the 250th anniversary of Francis Asbury’s historical journey from Bristol to Philadelphia. </a:t>
          </a:r>
          <a:endParaRPr lang="en-US" sz="1400" b="0" kern="1200" dirty="0"/>
        </a:p>
      </dsp:txBody>
      <dsp:txXfrm>
        <a:off x="10875" y="293658"/>
        <a:ext cx="5700731" cy="2146157"/>
      </dsp:txXfrm>
    </dsp:sp>
    <dsp:sp modelId="{D1668C84-9B95-4EF4-9A0C-C90F6020A647}">
      <dsp:nvSpPr>
        <dsp:cNvPr id="0" name=""/>
        <dsp:cNvSpPr/>
      </dsp:nvSpPr>
      <dsp:spPr>
        <a:xfrm>
          <a:off x="10875" y="2486256"/>
          <a:ext cx="5718221" cy="1238343"/>
        </a:xfrm>
        <a:prstGeom prst="rect">
          <a:avLst/>
        </a:prstGeom>
        <a:solidFill>
          <a:srgbClr val="005361">
            <a:alpha val="63000"/>
          </a:srgb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l" defTabSz="711200">
            <a:lnSpc>
              <a:spcPct val="100000"/>
            </a:lnSpc>
            <a:spcBef>
              <a:spcPct val="0"/>
            </a:spcBef>
            <a:spcAft>
              <a:spcPts val="0"/>
            </a:spcAft>
          </a:pPr>
          <a:r>
            <a:rPr lang="en-US" sz="1600" b="1" u="none" kern="1200" dirty="0" smtClean="0"/>
            <a:t>Story Content:</a:t>
          </a:r>
          <a:r>
            <a:rPr lang="en-US" sz="1400" b="1" u="none" kern="1200" dirty="0" smtClean="0"/>
            <a:t/>
          </a:r>
          <a:br>
            <a:rPr lang="en-US" sz="1400" b="1" u="none" kern="1200" dirty="0" smtClean="0"/>
          </a:br>
          <a:r>
            <a:rPr lang="en-US" sz="1400" u="none" kern="1200" dirty="0" smtClean="0"/>
            <a:t>Other highlights from the year included stories about church outreach during the COVID pandemic, the 100th episode of the Get Your Spirit in Shape podcast on International Podcast Day and a look back at the September 11 tragedy 20 years later.</a:t>
          </a:r>
          <a:endParaRPr lang="en-US" sz="1400" u="none" kern="1200" dirty="0"/>
        </a:p>
      </dsp:txBody>
      <dsp:txXfrm>
        <a:off x="10875" y="2486256"/>
        <a:ext cx="5718221" cy="1238343"/>
      </dsp:txXfrm>
    </dsp:sp>
    <dsp:sp modelId="{9C14D276-B1A9-410B-8866-1F192E7B0F4C}">
      <dsp:nvSpPr>
        <dsp:cNvPr id="0" name=""/>
        <dsp:cNvSpPr/>
      </dsp:nvSpPr>
      <dsp:spPr>
        <a:xfrm>
          <a:off x="0" y="3773880"/>
          <a:ext cx="5705295" cy="1385052"/>
        </a:xfrm>
        <a:prstGeom prst="rect">
          <a:avLst/>
        </a:prstGeom>
        <a:solidFill>
          <a:srgbClr val="005361">
            <a:alpha val="77000"/>
          </a:srgb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l" defTabSz="711200">
            <a:lnSpc>
              <a:spcPct val="100000"/>
            </a:lnSpc>
            <a:spcBef>
              <a:spcPct val="0"/>
            </a:spcBef>
            <a:spcAft>
              <a:spcPts val="0"/>
            </a:spcAft>
          </a:pPr>
          <a:r>
            <a:rPr lang="en-US" sz="1600" b="1" u="none" kern="1200" dirty="0" smtClean="0"/>
            <a:t>Language Offerings:</a:t>
          </a:r>
        </a:p>
        <a:p>
          <a:pPr lvl="0" algn="l" defTabSz="711200">
            <a:lnSpc>
              <a:spcPct val="100000"/>
            </a:lnSpc>
            <a:spcBef>
              <a:spcPct val="0"/>
            </a:spcBef>
            <a:spcAft>
              <a:spcPts val="0"/>
            </a:spcAft>
          </a:pPr>
          <a:r>
            <a:rPr lang="en-US" sz="1400" b="0" u="none" kern="1200" dirty="0" smtClean="0"/>
            <a:t>Throughout 2021, the Member Communications Team increased production of content in Spanish, French, Korean and Portuguese. Users will note that UMC.org’s homepages in every language are now presenting consistent messaging.</a:t>
          </a:r>
          <a:endParaRPr lang="en-US" sz="1400" kern="1200" dirty="0"/>
        </a:p>
      </dsp:txBody>
      <dsp:txXfrm>
        <a:off x="0" y="3773880"/>
        <a:ext cx="5705295" cy="138505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4821904-1098-4975-84E6-13EBC4F26875}">
      <dsp:nvSpPr>
        <dsp:cNvPr id="0" name=""/>
        <dsp:cNvSpPr/>
      </dsp:nvSpPr>
      <dsp:spPr>
        <a:xfrm>
          <a:off x="678238" y="329622"/>
          <a:ext cx="4419644" cy="1948818"/>
        </a:xfrm>
        <a:prstGeom prst="rect">
          <a:avLst/>
        </a:prstGeom>
        <a:solidFill>
          <a:srgbClr val="005361">
            <a:alpha val="90000"/>
          </a:srgb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b="1" u="none" kern="1200" dirty="0" smtClean="0"/>
            <a:t>UMConnect:</a:t>
          </a:r>
        </a:p>
        <a:p>
          <a:pPr lvl="0" algn="l" defTabSz="711200">
            <a:lnSpc>
              <a:spcPct val="90000"/>
            </a:lnSpc>
            <a:spcBef>
              <a:spcPct val="0"/>
            </a:spcBef>
            <a:spcAft>
              <a:spcPct val="35000"/>
            </a:spcAft>
          </a:pPr>
          <a:r>
            <a:rPr lang="en-US" sz="1600" b="1" u="none" kern="1200" dirty="0" smtClean="0"/>
            <a:t>900,241</a:t>
          </a:r>
          <a:r>
            <a:rPr lang="en-US" sz="1600" b="0" u="none" kern="1200" dirty="0" smtClean="0"/>
            <a:t> messages </a:t>
          </a:r>
          <a:br>
            <a:rPr lang="en-US" sz="1600" b="0" u="none" kern="1200" dirty="0" smtClean="0"/>
          </a:br>
          <a:r>
            <a:rPr lang="en-US" sz="1600" b="0" u="none" kern="1200" dirty="0" smtClean="0"/>
            <a:t>were sent or received on the platform. </a:t>
          </a:r>
          <a:br>
            <a:rPr lang="en-US" sz="1600" b="0" u="none" kern="1200" dirty="0" smtClean="0"/>
          </a:br>
          <a:endParaRPr lang="en-US" sz="1600" b="0" u="none" kern="1200" dirty="0" smtClean="0"/>
        </a:p>
        <a:p>
          <a:pPr lvl="0" algn="l" defTabSz="711200">
            <a:lnSpc>
              <a:spcPct val="90000"/>
            </a:lnSpc>
            <a:spcBef>
              <a:spcPct val="0"/>
            </a:spcBef>
            <a:spcAft>
              <a:spcPct val="35000"/>
            </a:spcAft>
          </a:pPr>
          <a:r>
            <a:rPr lang="en-US" sz="1600" b="0" u="none" kern="1200" dirty="0" smtClean="0"/>
            <a:t>Reached people with important church news updates, lifesaving health messaging and more. </a:t>
          </a:r>
        </a:p>
      </dsp:txBody>
      <dsp:txXfrm>
        <a:off x="678238" y="329622"/>
        <a:ext cx="4419644" cy="1948818"/>
      </dsp:txXfrm>
    </dsp:sp>
    <dsp:sp modelId="{94AFBF67-C541-4A6B-B802-06C55C8FB6FF}">
      <dsp:nvSpPr>
        <dsp:cNvPr id="0" name=""/>
        <dsp:cNvSpPr/>
      </dsp:nvSpPr>
      <dsp:spPr>
        <a:xfrm>
          <a:off x="6531595" y="2684648"/>
          <a:ext cx="4336653" cy="2393754"/>
        </a:xfrm>
        <a:prstGeom prst="rect">
          <a:avLst/>
        </a:prstGeom>
        <a:solidFill>
          <a:srgbClr val="005361">
            <a:alpha val="77000"/>
          </a:srgb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b="1" u="none" kern="1200" dirty="0" smtClean="0"/>
            <a:t>Mapping: </a:t>
          </a:r>
        </a:p>
        <a:p>
          <a:pPr lvl="0" algn="l" defTabSz="711200">
            <a:lnSpc>
              <a:spcPct val="90000"/>
            </a:lnSpc>
            <a:spcBef>
              <a:spcPct val="0"/>
            </a:spcBef>
            <a:spcAft>
              <a:spcPct val="35000"/>
            </a:spcAft>
          </a:pPr>
          <a:r>
            <a:rPr lang="en-US" sz="1600" u="none" kern="1200" dirty="0" smtClean="0"/>
            <a:t>After pausing due to COVID-19 concerns, mapping in the Philippines resumed as vaccines became available to mappers. Other mapping stayed dormant to ensure mapper safety. </a:t>
          </a:r>
        </a:p>
      </dsp:txBody>
      <dsp:txXfrm>
        <a:off x="6531595" y="2684648"/>
        <a:ext cx="4336653" cy="2393754"/>
      </dsp:txXfrm>
    </dsp:sp>
    <dsp:sp modelId="{D1668C84-9B95-4EF4-9A0C-C90F6020A647}">
      <dsp:nvSpPr>
        <dsp:cNvPr id="0" name=""/>
        <dsp:cNvSpPr/>
      </dsp:nvSpPr>
      <dsp:spPr>
        <a:xfrm>
          <a:off x="6536669" y="155708"/>
          <a:ext cx="4331579" cy="2395252"/>
        </a:xfrm>
        <a:prstGeom prst="rect">
          <a:avLst/>
        </a:prstGeom>
        <a:solidFill>
          <a:srgbClr val="005361">
            <a:alpha val="63000"/>
          </a:srgb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b="1" u="none" kern="1200" dirty="0" smtClean="0"/>
            <a:t>Radio / United Methodist Radio Network:</a:t>
          </a:r>
        </a:p>
        <a:p>
          <a:pPr lvl="0" algn="l" defTabSz="711200">
            <a:lnSpc>
              <a:spcPct val="90000"/>
            </a:lnSpc>
            <a:spcBef>
              <a:spcPct val="0"/>
            </a:spcBef>
            <a:spcAft>
              <a:spcPct val="35000"/>
            </a:spcAft>
          </a:pPr>
          <a:r>
            <a:rPr lang="en-US" sz="1600" kern="1200" dirty="0" smtClean="0"/>
            <a:t>Expansion of Voice of Hope radio with a second station site established with help from UMCom</a:t>
          </a:r>
        </a:p>
        <a:p>
          <a:pPr lvl="0" algn="l" defTabSz="711200">
            <a:lnSpc>
              <a:spcPct val="90000"/>
            </a:lnSpc>
            <a:spcBef>
              <a:spcPct val="0"/>
            </a:spcBef>
            <a:spcAft>
              <a:spcPct val="35000"/>
            </a:spcAft>
          </a:pPr>
          <a:r>
            <a:rPr lang="en-US" sz="1600" kern="1200" dirty="0" smtClean="0"/>
            <a:t>Groundbreaking of a radio station in Nigeria</a:t>
          </a:r>
        </a:p>
        <a:p>
          <a:pPr lvl="0" algn="l" defTabSz="711200">
            <a:lnSpc>
              <a:spcPct val="90000"/>
            </a:lnSpc>
            <a:spcBef>
              <a:spcPct val="0"/>
            </a:spcBef>
            <a:spcAft>
              <a:spcPct val="35000"/>
            </a:spcAft>
          </a:pPr>
          <a:r>
            <a:rPr lang="en-US" sz="1600" kern="1200" dirty="0" smtClean="0"/>
            <a:t>Relaunch of Radio Lokole in Kinshasa, DRC</a:t>
          </a:r>
          <a:endParaRPr lang="en-US" sz="1600" u="none" kern="1200" dirty="0"/>
        </a:p>
      </dsp:txBody>
      <dsp:txXfrm>
        <a:off x="6536669" y="155708"/>
        <a:ext cx="4331579" cy="239525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4821904-1098-4975-84E6-13EBC4F26875}">
      <dsp:nvSpPr>
        <dsp:cNvPr id="0" name=""/>
        <dsp:cNvSpPr/>
      </dsp:nvSpPr>
      <dsp:spPr>
        <a:xfrm>
          <a:off x="909499" y="137"/>
          <a:ext cx="4291378" cy="2397775"/>
        </a:xfrm>
        <a:prstGeom prst="rect">
          <a:avLst/>
        </a:prstGeom>
        <a:solidFill>
          <a:srgbClr val="005361">
            <a:alpha val="90000"/>
          </a:srgb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b="1" u="none" kern="1200" dirty="0" smtClean="0"/>
            <a:t>Build Relational Bridges: </a:t>
          </a:r>
        </a:p>
        <a:p>
          <a:pPr lvl="0" algn="l" defTabSz="711200">
            <a:lnSpc>
              <a:spcPct val="90000"/>
            </a:lnSpc>
            <a:spcBef>
              <a:spcPct val="0"/>
            </a:spcBef>
            <a:spcAft>
              <a:spcPct val="35000"/>
            </a:spcAft>
          </a:pPr>
          <a:r>
            <a:rPr lang="en-US" sz="1600" u="none" kern="1200" dirty="0" smtClean="0"/>
            <a:t>Engaged parties to pave the way for cordiality and resumption of projects. Completed a stakeholder analysis. Engaged church leaders where there has been lack of trust, such as in East Africa, West Angola, and DRC. Informed bishops and their leaders regarding benefits of specific UMCom services for the common good.</a:t>
          </a:r>
          <a:endParaRPr lang="en-US" sz="1600" kern="1200" dirty="0"/>
        </a:p>
      </dsp:txBody>
      <dsp:txXfrm>
        <a:off x="909499" y="137"/>
        <a:ext cx="4291378" cy="2397775"/>
      </dsp:txXfrm>
    </dsp:sp>
    <dsp:sp modelId="{94AFBF67-C541-4A6B-B802-06C55C8FB6FF}">
      <dsp:nvSpPr>
        <dsp:cNvPr id="0" name=""/>
        <dsp:cNvSpPr/>
      </dsp:nvSpPr>
      <dsp:spPr>
        <a:xfrm>
          <a:off x="6410115" y="0"/>
          <a:ext cx="3996292" cy="2397775"/>
        </a:xfrm>
        <a:prstGeom prst="rect">
          <a:avLst/>
        </a:prstGeom>
        <a:solidFill>
          <a:srgbClr val="005361">
            <a:alpha val="77000"/>
          </a:srgb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b="1" u="none" kern="1200" dirty="0" smtClean="0"/>
            <a:t>Nurture Relationships: </a:t>
          </a:r>
        </a:p>
        <a:p>
          <a:pPr lvl="0" algn="l" defTabSz="711200">
            <a:lnSpc>
              <a:spcPct val="90000"/>
            </a:lnSpc>
            <a:spcBef>
              <a:spcPct val="0"/>
            </a:spcBef>
            <a:spcAft>
              <a:spcPct val="35000"/>
            </a:spcAft>
          </a:pPr>
          <a:r>
            <a:rPr lang="en-US" sz="1600" u="none" kern="1200" dirty="0" smtClean="0"/>
            <a:t>Worked with leaders to foster accountability and transparency for successful UMCom- sponsored projects in East Africa, Angola, Nigeria, Zimbabwe, Mozambique, DRC and the Philippines. Guided UMCom teams to be protocol sensitive as context dictates.</a:t>
          </a:r>
        </a:p>
      </dsp:txBody>
      <dsp:txXfrm>
        <a:off x="6410115" y="0"/>
        <a:ext cx="3996292" cy="2397775"/>
      </dsp:txXfrm>
    </dsp:sp>
    <dsp:sp modelId="{D1668C84-9B95-4EF4-9A0C-C90F6020A647}">
      <dsp:nvSpPr>
        <dsp:cNvPr id="0" name=""/>
        <dsp:cNvSpPr/>
      </dsp:nvSpPr>
      <dsp:spPr>
        <a:xfrm>
          <a:off x="866758" y="2580015"/>
          <a:ext cx="4334098" cy="2397775"/>
        </a:xfrm>
        <a:prstGeom prst="rect">
          <a:avLst/>
        </a:prstGeom>
        <a:solidFill>
          <a:srgbClr val="005361">
            <a:alpha val="63000"/>
          </a:srgb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b="1" u="none" kern="1200" dirty="0" smtClean="0"/>
            <a:t>Assess Needs: </a:t>
          </a:r>
        </a:p>
        <a:p>
          <a:pPr lvl="0" algn="l" defTabSz="711200">
            <a:lnSpc>
              <a:spcPct val="90000"/>
            </a:lnSpc>
            <a:spcBef>
              <a:spcPct val="0"/>
            </a:spcBef>
            <a:spcAft>
              <a:spcPct val="35000"/>
            </a:spcAft>
          </a:pPr>
          <a:r>
            <a:rPr lang="en-US" sz="1600" u="none" kern="1200" dirty="0" smtClean="0"/>
            <a:t>Identified equipment and training needs for South Africa, Burundi and South Congo for radio and television evangelization.</a:t>
          </a:r>
        </a:p>
        <a:p>
          <a:pPr lvl="0" algn="ctr" defTabSz="711200">
            <a:lnSpc>
              <a:spcPct val="90000"/>
            </a:lnSpc>
            <a:spcBef>
              <a:spcPct val="0"/>
            </a:spcBef>
            <a:spcAft>
              <a:spcPct val="35000"/>
            </a:spcAft>
          </a:pPr>
          <a:endParaRPr lang="en-US" sz="1600" u="none" kern="1200" dirty="0"/>
        </a:p>
      </dsp:txBody>
      <dsp:txXfrm>
        <a:off x="866758" y="2580015"/>
        <a:ext cx="4334098" cy="2397775"/>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4821904-1098-4975-84E6-13EBC4F26875}">
      <dsp:nvSpPr>
        <dsp:cNvPr id="0" name=""/>
        <dsp:cNvSpPr/>
      </dsp:nvSpPr>
      <dsp:spPr>
        <a:xfrm>
          <a:off x="846" y="452347"/>
          <a:ext cx="3300583" cy="1980350"/>
        </a:xfrm>
        <a:prstGeom prst="rect">
          <a:avLst/>
        </a:prstGeom>
        <a:solidFill>
          <a:srgbClr val="005361">
            <a:alpha val="90000"/>
          </a:srgb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l" defTabSz="711200">
            <a:lnSpc>
              <a:spcPct val="90000"/>
            </a:lnSpc>
            <a:spcBef>
              <a:spcPct val="0"/>
            </a:spcBef>
            <a:spcAft>
              <a:spcPct val="35000"/>
            </a:spcAft>
          </a:pPr>
          <a:r>
            <a:rPr lang="en-US" sz="1600" u="none" kern="1200" dirty="0" smtClean="0"/>
            <a:t>We leveraged our </a:t>
          </a:r>
          <a:r>
            <a:rPr lang="en-US" sz="1600" u="sng" kern="1200" dirty="0" smtClean="0"/>
            <a:t>Ethnic Leader Engagement Panels</a:t>
          </a:r>
          <a:r>
            <a:rPr lang="en-US" sz="1600" u="none" kern="1200" dirty="0" smtClean="0"/>
            <a:t> to r</a:t>
          </a:r>
          <a:r>
            <a:rPr lang="en-US" sz="1600" kern="1200" dirty="0" smtClean="0"/>
            <a:t>aise awareness of ways to connect with diverse audiences.</a:t>
          </a:r>
          <a:endParaRPr lang="en-US" sz="1600" kern="1200" dirty="0"/>
        </a:p>
      </dsp:txBody>
      <dsp:txXfrm>
        <a:off x="846" y="452347"/>
        <a:ext cx="3300583" cy="1980350"/>
      </dsp:txXfrm>
    </dsp:sp>
    <dsp:sp modelId="{94AFBF67-C541-4A6B-B802-06C55C8FB6FF}">
      <dsp:nvSpPr>
        <dsp:cNvPr id="0" name=""/>
        <dsp:cNvSpPr/>
      </dsp:nvSpPr>
      <dsp:spPr>
        <a:xfrm>
          <a:off x="3631488" y="462982"/>
          <a:ext cx="3300583" cy="1980350"/>
        </a:xfrm>
        <a:prstGeom prst="rect">
          <a:avLst/>
        </a:prstGeom>
        <a:solidFill>
          <a:srgbClr val="005361">
            <a:alpha val="77000"/>
          </a:srgb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l" defTabSz="711200">
            <a:lnSpc>
              <a:spcPct val="90000"/>
            </a:lnSpc>
            <a:spcBef>
              <a:spcPct val="0"/>
            </a:spcBef>
            <a:spcAft>
              <a:spcPct val="35000"/>
            </a:spcAft>
          </a:pPr>
          <a:r>
            <a:rPr lang="en-US" sz="1600" u="none" kern="1200" dirty="0" smtClean="0"/>
            <a:t>The </a:t>
          </a:r>
          <a:r>
            <a:rPr lang="en-US" sz="1600" u="sng" kern="1200" dirty="0" smtClean="0"/>
            <a:t>Member Perspectives Study</a:t>
          </a:r>
          <a:r>
            <a:rPr lang="en-US" sz="1600" kern="1200" dirty="0" smtClean="0"/>
            <a:t> helps the agency understand how members are navigating the pandemic, attitudes about the UMC and social issues.</a:t>
          </a:r>
          <a:endParaRPr lang="en-US" sz="1600" kern="1200" dirty="0"/>
        </a:p>
      </dsp:txBody>
      <dsp:txXfrm>
        <a:off x="3631488" y="462982"/>
        <a:ext cx="3300583" cy="1980350"/>
      </dsp:txXfrm>
    </dsp:sp>
    <dsp:sp modelId="{D1668C84-9B95-4EF4-9A0C-C90F6020A647}">
      <dsp:nvSpPr>
        <dsp:cNvPr id="0" name=""/>
        <dsp:cNvSpPr/>
      </dsp:nvSpPr>
      <dsp:spPr>
        <a:xfrm>
          <a:off x="846" y="2762756"/>
          <a:ext cx="3300583" cy="1980350"/>
        </a:xfrm>
        <a:prstGeom prst="rect">
          <a:avLst/>
        </a:prstGeom>
        <a:solidFill>
          <a:srgbClr val="005361">
            <a:alpha val="63000"/>
          </a:srgb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l" defTabSz="711200">
            <a:lnSpc>
              <a:spcPct val="90000"/>
            </a:lnSpc>
            <a:spcBef>
              <a:spcPct val="0"/>
            </a:spcBef>
            <a:spcAft>
              <a:spcPct val="35000"/>
            </a:spcAft>
          </a:pPr>
          <a:r>
            <a:rPr lang="en-US" sz="1600" u="none" kern="1200" dirty="0" smtClean="0"/>
            <a:t>Our </a:t>
          </a:r>
          <a:r>
            <a:rPr lang="en-US" sz="1600" u="sng" kern="1200" dirty="0" smtClean="0"/>
            <a:t>Spiritual Seeker Study </a:t>
          </a:r>
          <a:r>
            <a:rPr lang="en-US" sz="1600" u="none" kern="1200" dirty="0" smtClean="0"/>
            <a:t>reveals key learnings about this group to guide our marketing and communication efforts.</a:t>
          </a:r>
          <a:endParaRPr lang="en-US" sz="1600" u="none" kern="1200" dirty="0"/>
        </a:p>
      </dsp:txBody>
      <dsp:txXfrm>
        <a:off x="846" y="2762756"/>
        <a:ext cx="3300583" cy="1980350"/>
      </dsp:txXfrm>
    </dsp:sp>
    <dsp:sp modelId="{5D3BCD07-E0A8-443D-9B5F-4635E98F6E4D}">
      <dsp:nvSpPr>
        <dsp:cNvPr id="0" name=""/>
        <dsp:cNvSpPr/>
      </dsp:nvSpPr>
      <dsp:spPr>
        <a:xfrm>
          <a:off x="3631488" y="2762756"/>
          <a:ext cx="3300583" cy="1980350"/>
        </a:xfrm>
        <a:prstGeom prst="rect">
          <a:avLst/>
        </a:prstGeom>
        <a:solidFill>
          <a:srgbClr val="005361">
            <a:alpha val="50000"/>
          </a:srgb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l" defTabSz="711200">
            <a:lnSpc>
              <a:spcPct val="90000"/>
            </a:lnSpc>
            <a:spcBef>
              <a:spcPct val="0"/>
            </a:spcBef>
            <a:spcAft>
              <a:spcPct val="35000"/>
            </a:spcAft>
          </a:pPr>
          <a:r>
            <a:rPr lang="en-US" sz="1600" u="none" kern="1200" dirty="0" smtClean="0"/>
            <a:t>After more than 10 years, the </a:t>
          </a:r>
          <a:r>
            <a:rPr lang="en-US" sz="1600" u="sng" kern="1200" dirty="0" smtClean="0"/>
            <a:t>MyCom Newsletter Evaluation</a:t>
          </a:r>
          <a:r>
            <a:rPr lang="en-US" sz="1600" kern="1200" dirty="0" smtClean="0"/>
            <a:t> results indicate </a:t>
          </a:r>
          <a:r>
            <a:rPr lang="en-US" sz="1600" b="1" kern="1200" dirty="0" smtClean="0"/>
            <a:t>90% </a:t>
          </a:r>
          <a:r>
            <a:rPr lang="en-US" sz="1600" kern="1200" dirty="0" smtClean="0"/>
            <a:t>are satisfied and </a:t>
          </a:r>
          <a:r>
            <a:rPr lang="en-US" sz="1600" b="1" kern="1200" dirty="0" smtClean="0"/>
            <a:t>80% </a:t>
          </a:r>
          <a:r>
            <a:rPr lang="en-US" sz="1600" kern="1200" dirty="0" smtClean="0"/>
            <a:t>say it is the best source for communication tips and tools.</a:t>
          </a:r>
          <a:endParaRPr lang="en-US" sz="1600" kern="1200" dirty="0"/>
        </a:p>
      </dsp:txBody>
      <dsp:txXfrm>
        <a:off x="3631488" y="2762756"/>
        <a:ext cx="3300583" cy="1980350"/>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85559DC-81A8-4F16-BD29-3A49DFCE3F92}" type="datetimeFigureOut">
              <a:rPr lang="en-US" smtClean="0"/>
              <a:t>3/23/2022</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83B7449-00DB-4A12-8BB4-11134F7A7FF8}" type="slidenum">
              <a:rPr lang="en-US" smtClean="0"/>
              <a:t>‹#›</a:t>
            </a:fld>
            <a:endParaRPr lang="en-US" dirty="0"/>
          </a:p>
        </p:txBody>
      </p:sp>
    </p:spTree>
    <p:extLst>
      <p:ext uri="{BB962C8B-B14F-4D97-AF65-F5344CB8AC3E}">
        <p14:creationId xmlns:p14="http://schemas.microsoft.com/office/powerpoint/2010/main" val="102280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F105DB2-FD3E-441D-8B7E-7AE83ECE27B3}" type="slidenum">
              <a:rPr lang="en-US" smtClean="0"/>
              <a:t>2</a:t>
            </a:fld>
            <a:endParaRPr lang="en-US" dirty="0"/>
          </a:p>
        </p:txBody>
      </p:sp>
    </p:spTree>
    <p:extLst>
      <p:ext uri="{BB962C8B-B14F-4D97-AF65-F5344CB8AC3E}">
        <p14:creationId xmlns:p14="http://schemas.microsoft.com/office/powerpoint/2010/main" val="37107669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1D14A12-AEDD-46BC-A580-46F09AA4669A}" type="slidenum">
              <a:rPr lang="en-US" smtClean="0"/>
              <a:t>3</a:t>
            </a:fld>
            <a:endParaRPr lang="en-US" dirty="0"/>
          </a:p>
        </p:txBody>
      </p:sp>
    </p:spTree>
    <p:extLst>
      <p:ext uri="{BB962C8B-B14F-4D97-AF65-F5344CB8AC3E}">
        <p14:creationId xmlns:p14="http://schemas.microsoft.com/office/powerpoint/2010/main" val="30498255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1D14A12-AEDD-46BC-A580-46F09AA4669A}" type="slidenum">
              <a:rPr lang="en-US" smtClean="0"/>
              <a:t>4</a:t>
            </a:fld>
            <a:endParaRPr lang="en-US" dirty="0"/>
          </a:p>
        </p:txBody>
      </p:sp>
    </p:spTree>
    <p:extLst>
      <p:ext uri="{BB962C8B-B14F-4D97-AF65-F5344CB8AC3E}">
        <p14:creationId xmlns:p14="http://schemas.microsoft.com/office/powerpoint/2010/main" val="296281000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1D14A12-AEDD-46BC-A580-46F09AA4669A}" type="slidenum">
              <a:rPr lang="en-US" smtClean="0"/>
              <a:t>10</a:t>
            </a:fld>
            <a:endParaRPr lang="en-US" dirty="0"/>
          </a:p>
        </p:txBody>
      </p:sp>
    </p:spTree>
    <p:extLst>
      <p:ext uri="{BB962C8B-B14F-4D97-AF65-F5344CB8AC3E}">
        <p14:creationId xmlns:p14="http://schemas.microsoft.com/office/powerpoint/2010/main" val="23912942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EC2078D-6435-744D-9024-212AE6058E94}" type="slidenum">
              <a:rPr lang="en-US" smtClean="0"/>
              <a:t>19</a:t>
            </a:fld>
            <a:endParaRPr lang="en-US" dirty="0"/>
          </a:p>
        </p:txBody>
      </p:sp>
    </p:spTree>
    <p:extLst>
      <p:ext uri="{BB962C8B-B14F-4D97-AF65-F5344CB8AC3E}">
        <p14:creationId xmlns:p14="http://schemas.microsoft.com/office/powerpoint/2010/main" val="114035749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Master" Target="../slideMasters/slideMaster1.xml"/><Relationship Id="rId1" Type="http://schemas.openxmlformats.org/officeDocument/2006/relationships/tags" Target="../tags/tag1.xml"/><Relationship Id="rId5" Type="http://schemas.openxmlformats.org/officeDocument/2006/relationships/image" Target="../media/image12.jpeg"/><Relationship Id="rId4" Type="http://schemas.openxmlformats.org/officeDocument/2006/relationships/image" Target="../media/image11.jpe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15.jpeg"/><Relationship Id="rId4" Type="http://schemas.openxmlformats.org/officeDocument/2006/relationships/image" Target="../media/image14.jpe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18.jpeg"/><Relationship Id="rId4" Type="http://schemas.openxmlformats.org/officeDocument/2006/relationships/image" Target="../media/image17.jpe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jpeg"/><Relationship Id="rId1" Type="http://schemas.openxmlformats.org/officeDocument/2006/relationships/slideMaster" Target="../slideMasters/slideMaster1.xml"/><Relationship Id="rId4" Type="http://schemas.openxmlformats.org/officeDocument/2006/relationships/image" Target="../media/image21.jpe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Master" Target="../slideMasters/slideMaster1.xml"/><Relationship Id="rId4" Type="http://schemas.openxmlformats.org/officeDocument/2006/relationships/image" Target="../media/image24.jpeg"/></Relationships>
</file>

<file path=ppt/slideLayouts/_rels/slideLayout3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3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duotone>
              <a:schemeClr val="bg2">
                <a:shade val="45000"/>
                <a:satMod val="135000"/>
              </a:schemeClr>
              <a:prstClr val="white"/>
            </a:duotone>
            <a:extLst>
              <a:ext uri="{28A0092B-C50C-407E-A947-70E740481C1C}">
                <a14:useLocalDpi xmlns:a14="http://schemas.microsoft.com/office/drawing/2010/main" val="0"/>
              </a:ext>
            </a:extLst>
          </a:blip>
          <a:srcRect t="7813" b="7813"/>
          <a:stretch/>
        </p:blipFill>
        <p:spPr>
          <a:xfrm>
            <a:off x="0" y="0"/>
            <a:ext cx="12192000" cy="6858000"/>
          </a:xfrm>
          <a:prstGeom prst="rect">
            <a:avLst/>
          </a:prstGeom>
        </p:spPr>
      </p:pic>
      <p:sp>
        <p:nvSpPr>
          <p:cNvPr id="5" name="Rectangle 4"/>
          <p:cNvSpPr/>
          <p:nvPr userDrawn="1"/>
        </p:nvSpPr>
        <p:spPr>
          <a:xfrm>
            <a:off x="0" y="1889760"/>
            <a:ext cx="12191999" cy="1881051"/>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lumMod val="95000"/>
                </a:schemeClr>
              </a:solidFill>
            </a:endParaRPr>
          </a:p>
        </p:txBody>
      </p:sp>
      <p:sp>
        <p:nvSpPr>
          <p:cNvPr id="6" name="Text Placeholder 6"/>
          <p:cNvSpPr>
            <a:spLocks noGrp="1"/>
          </p:cNvSpPr>
          <p:nvPr>
            <p:ph type="body" sz="quarter" idx="10" hasCustomPrompt="1"/>
          </p:nvPr>
        </p:nvSpPr>
        <p:spPr>
          <a:xfrm>
            <a:off x="539931" y="2124891"/>
            <a:ext cx="11268892" cy="1367246"/>
          </a:xfrm>
        </p:spPr>
        <p:txBody>
          <a:bodyPr>
            <a:normAutofit/>
          </a:bodyPr>
          <a:lstStyle>
            <a:lvl1pPr marL="0" indent="0" algn="ctr">
              <a:buNone/>
              <a:defRPr sz="3600" baseline="0">
                <a:solidFill>
                  <a:schemeClr val="bg1">
                    <a:lumMod val="95000"/>
                  </a:schemeClr>
                </a:solidFill>
              </a:defRPr>
            </a:lvl1pPr>
          </a:lstStyle>
          <a:p>
            <a:pPr lvl="0"/>
            <a:r>
              <a:rPr lang="en-US" dirty="0" smtClean="0"/>
              <a:t>Title Slide                                                                                   [add title of presentation and a tag line]</a:t>
            </a:r>
            <a:endParaRPr lang="en-US" dirty="0"/>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335588" y="5685434"/>
            <a:ext cx="2542557" cy="868757"/>
          </a:xfrm>
          <a:prstGeom prst="rect">
            <a:avLst/>
          </a:prstGeom>
        </p:spPr>
      </p:pic>
    </p:spTree>
    <p:extLst>
      <p:ext uri="{BB962C8B-B14F-4D97-AF65-F5344CB8AC3E}">
        <p14:creationId xmlns:p14="http://schemas.microsoft.com/office/powerpoint/2010/main" val="1145694543"/>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1 red">
    <p:spTree>
      <p:nvGrpSpPr>
        <p:cNvPr id="1" name=""/>
        <p:cNvGrpSpPr/>
        <p:nvPr/>
      </p:nvGrpSpPr>
      <p:grpSpPr>
        <a:xfrm>
          <a:off x="0" y="0"/>
          <a:ext cx="0" cy="0"/>
          <a:chOff x="0" y="0"/>
          <a:chExt cx="0" cy="0"/>
        </a:xfrm>
      </p:grpSpPr>
      <p:sp>
        <p:nvSpPr>
          <p:cNvPr id="7" name="Rectangle 6"/>
          <p:cNvSpPr/>
          <p:nvPr userDrawn="1"/>
        </p:nvSpPr>
        <p:spPr>
          <a:xfrm>
            <a:off x="0" y="0"/>
            <a:ext cx="6105525" cy="6858000"/>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ext Placeholder 8"/>
          <p:cNvSpPr>
            <a:spLocks noGrp="1"/>
          </p:cNvSpPr>
          <p:nvPr>
            <p:ph type="body" sz="quarter" idx="10" hasCustomPrompt="1"/>
          </p:nvPr>
        </p:nvSpPr>
        <p:spPr>
          <a:xfrm>
            <a:off x="6800850" y="1245325"/>
            <a:ext cx="4772025" cy="3269525"/>
          </a:xfrm>
        </p:spPr>
        <p:txBody>
          <a:bodyPr/>
          <a:lstStyle>
            <a:lvl1pPr marL="0" indent="0">
              <a:buNone/>
              <a:defRPr baseline="0"/>
            </a:lvl1pPr>
          </a:lstStyle>
          <a:p>
            <a:pPr lvl="0"/>
            <a:r>
              <a:rPr lang="en-US" dirty="0" smtClean="0"/>
              <a:t>Add content                              [tip – use a short title and bullet points with 1-2 words each to make the slide most readable.  Add a simple photo in the placeholder to the left]</a:t>
            </a:r>
            <a:endParaRPr lang="en-US" dirty="0"/>
          </a:p>
        </p:txBody>
      </p:sp>
      <p:sp>
        <p:nvSpPr>
          <p:cNvPr id="10" name="Rectangle 9"/>
          <p:cNvSpPr/>
          <p:nvPr userDrawn="1"/>
        </p:nvSpPr>
        <p:spPr>
          <a:xfrm>
            <a:off x="723901" y="5324476"/>
            <a:ext cx="8362950" cy="1238250"/>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ext Placeholder 11"/>
          <p:cNvSpPr>
            <a:spLocks noGrp="1"/>
          </p:cNvSpPr>
          <p:nvPr>
            <p:ph type="body" sz="quarter" idx="11" hasCustomPrompt="1"/>
          </p:nvPr>
        </p:nvSpPr>
        <p:spPr>
          <a:xfrm>
            <a:off x="1209675" y="5581650"/>
            <a:ext cx="7600950" cy="781050"/>
          </a:xfrm>
        </p:spPr>
        <p:txBody>
          <a:bodyPr>
            <a:noAutofit/>
          </a:bodyPr>
          <a:lstStyle>
            <a:lvl1pPr marL="0" indent="0" algn="ctr">
              <a:buNone/>
              <a:defRPr sz="6000" b="0">
                <a:solidFill>
                  <a:schemeClr val="bg1"/>
                </a:solidFill>
              </a:defRPr>
            </a:lvl1pPr>
          </a:lstStyle>
          <a:p>
            <a:pPr lvl="0"/>
            <a:r>
              <a:rPr lang="en-US" dirty="0" smtClean="0"/>
              <a:t>Title or Keywords</a:t>
            </a:r>
            <a:endParaRPr lang="en-US" dirty="0"/>
          </a:p>
        </p:txBody>
      </p:sp>
      <p:sp>
        <p:nvSpPr>
          <p:cNvPr id="14" name="Picture Placeholder 13"/>
          <p:cNvSpPr>
            <a:spLocks noGrp="1"/>
          </p:cNvSpPr>
          <p:nvPr>
            <p:ph type="pic" sz="quarter" idx="12"/>
          </p:nvPr>
        </p:nvSpPr>
        <p:spPr>
          <a:xfrm>
            <a:off x="723901" y="742950"/>
            <a:ext cx="4657724" cy="3771900"/>
          </a:xfrm>
        </p:spPr>
        <p:txBody>
          <a:bodyPr/>
          <a:lstStyle/>
          <a:p>
            <a:endParaRPr lang="en-US" dirty="0"/>
          </a:p>
        </p:txBody>
      </p:sp>
    </p:spTree>
    <p:extLst>
      <p:ext uri="{BB962C8B-B14F-4D97-AF65-F5344CB8AC3E}">
        <p14:creationId xmlns:p14="http://schemas.microsoft.com/office/powerpoint/2010/main" val="4131655845"/>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1 Teal">
    <p:spTree>
      <p:nvGrpSpPr>
        <p:cNvPr id="1" name=""/>
        <p:cNvGrpSpPr/>
        <p:nvPr/>
      </p:nvGrpSpPr>
      <p:grpSpPr>
        <a:xfrm>
          <a:off x="0" y="0"/>
          <a:ext cx="0" cy="0"/>
          <a:chOff x="0" y="0"/>
          <a:chExt cx="0" cy="0"/>
        </a:xfrm>
      </p:grpSpPr>
      <p:sp>
        <p:nvSpPr>
          <p:cNvPr id="7" name="Rectangle 6"/>
          <p:cNvSpPr/>
          <p:nvPr userDrawn="1"/>
        </p:nvSpPr>
        <p:spPr>
          <a:xfrm>
            <a:off x="0" y="0"/>
            <a:ext cx="6105525" cy="6858000"/>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ext Placeholder 8"/>
          <p:cNvSpPr>
            <a:spLocks noGrp="1"/>
          </p:cNvSpPr>
          <p:nvPr>
            <p:ph type="body" sz="quarter" idx="10" hasCustomPrompt="1"/>
          </p:nvPr>
        </p:nvSpPr>
        <p:spPr>
          <a:xfrm>
            <a:off x="6800850" y="1193073"/>
            <a:ext cx="4772025" cy="3321777"/>
          </a:xfrm>
        </p:spPr>
        <p:txBody>
          <a:bodyPr/>
          <a:lstStyle>
            <a:lvl1pPr marL="0" indent="0">
              <a:buNone/>
              <a:defRPr baseline="0"/>
            </a:lvl1pPr>
          </a:lstStyle>
          <a:p>
            <a:pPr lvl="0"/>
            <a:r>
              <a:rPr lang="en-US" dirty="0" smtClean="0"/>
              <a:t>Add content                              [tip – use a short title and bullet points with 1-2 words each to make the slide most readable.  Add a simple photo in the placeholder to the left]</a:t>
            </a:r>
            <a:endParaRPr lang="en-US" dirty="0"/>
          </a:p>
        </p:txBody>
      </p:sp>
      <p:sp>
        <p:nvSpPr>
          <p:cNvPr id="10" name="Rectangle 9"/>
          <p:cNvSpPr/>
          <p:nvPr userDrawn="1"/>
        </p:nvSpPr>
        <p:spPr>
          <a:xfrm>
            <a:off x="723901" y="5324476"/>
            <a:ext cx="8362950" cy="1238250"/>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ext Placeholder 11"/>
          <p:cNvSpPr>
            <a:spLocks noGrp="1"/>
          </p:cNvSpPr>
          <p:nvPr>
            <p:ph type="body" sz="quarter" idx="11" hasCustomPrompt="1"/>
          </p:nvPr>
        </p:nvSpPr>
        <p:spPr>
          <a:xfrm>
            <a:off x="1209675" y="5581650"/>
            <a:ext cx="7600950" cy="781050"/>
          </a:xfrm>
        </p:spPr>
        <p:txBody>
          <a:bodyPr>
            <a:noAutofit/>
          </a:bodyPr>
          <a:lstStyle>
            <a:lvl1pPr marL="0" indent="0" algn="ctr">
              <a:buNone/>
              <a:defRPr sz="6000" b="0">
                <a:solidFill>
                  <a:schemeClr val="bg1"/>
                </a:solidFill>
              </a:defRPr>
            </a:lvl1pPr>
          </a:lstStyle>
          <a:p>
            <a:pPr lvl="0"/>
            <a:r>
              <a:rPr lang="en-US" dirty="0" smtClean="0"/>
              <a:t>Title or Keywords</a:t>
            </a:r>
            <a:endParaRPr lang="en-US" dirty="0"/>
          </a:p>
        </p:txBody>
      </p:sp>
      <p:sp>
        <p:nvSpPr>
          <p:cNvPr id="14" name="Picture Placeholder 13"/>
          <p:cNvSpPr>
            <a:spLocks noGrp="1"/>
          </p:cNvSpPr>
          <p:nvPr>
            <p:ph type="pic" sz="quarter" idx="12"/>
          </p:nvPr>
        </p:nvSpPr>
        <p:spPr>
          <a:xfrm>
            <a:off x="723901" y="742950"/>
            <a:ext cx="4657724" cy="3771900"/>
          </a:xfrm>
        </p:spPr>
        <p:txBody>
          <a:bodyPr/>
          <a:lstStyle/>
          <a:p>
            <a:endParaRPr lang="en-US" dirty="0"/>
          </a:p>
        </p:txBody>
      </p:sp>
    </p:spTree>
    <p:extLst>
      <p:ext uri="{BB962C8B-B14F-4D97-AF65-F5344CB8AC3E}">
        <p14:creationId xmlns:p14="http://schemas.microsoft.com/office/powerpoint/2010/main" val="2040579311"/>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2 gray">
    <p:spTree>
      <p:nvGrpSpPr>
        <p:cNvPr id="1" name=""/>
        <p:cNvGrpSpPr/>
        <p:nvPr/>
      </p:nvGrpSpPr>
      <p:grpSpPr>
        <a:xfrm>
          <a:off x="0" y="0"/>
          <a:ext cx="0" cy="0"/>
          <a:chOff x="0" y="0"/>
          <a:chExt cx="0" cy="0"/>
        </a:xfrm>
      </p:grpSpPr>
      <p:sp>
        <p:nvSpPr>
          <p:cNvPr id="3" name="Rectangle 2"/>
          <p:cNvSpPr/>
          <p:nvPr userDrawn="1"/>
        </p:nvSpPr>
        <p:spPr>
          <a:xfrm>
            <a:off x="0" y="2943225"/>
            <a:ext cx="12192000" cy="391477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ectangle 3"/>
          <p:cNvSpPr/>
          <p:nvPr userDrawn="1"/>
        </p:nvSpPr>
        <p:spPr>
          <a:xfrm>
            <a:off x="3829050" y="1609725"/>
            <a:ext cx="8362950" cy="205740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dirty="0"/>
          </a:p>
        </p:txBody>
      </p:sp>
      <p:sp>
        <p:nvSpPr>
          <p:cNvPr id="5" name="Text Placeholder 11"/>
          <p:cNvSpPr>
            <a:spLocks noGrp="1"/>
          </p:cNvSpPr>
          <p:nvPr>
            <p:ph type="body" sz="quarter" idx="11" hasCustomPrompt="1"/>
          </p:nvPr>
        </p:nvSpPr>
        <p:spPr>
          <a:xfrm>
            <a:off x="4314824" y="1914525"/>
            <a:ext cx="7600950" cy="1552575"/>
          </a:xfrm>
        </p:spPr>
        <p:txBody>
          <a:bodyPr>
            <a:noAutofit/>
          </a:bodyPr>
          <a:lstStyle>
            <a:lvl1pPr marL="0" indent="0" algn="r">
              <a:buNone/>
              <a:defRPr sz="6000" b="0" baseline="0">
                <a:solidFill>
                  <a:schemeClr val="bg1"/>
                </a:solidFill>
              </a:defRPr>
            </a:lvl1pPr>
          </a:lstStyle>
          <a:p>
            <a:pPr lvl="0"/>
            <a:r>
              <a:rPr lang="en-US" dirty="0" smtClean="0"/>
              <a:t>Title or Keywords</a:t>
            </a:r>
            <a:endParaRPr lang="en-US" dirty="0"/>
          </a:p>
        </p:txBody>
      </p:sp>
      <p:sp>
        <p:nvSpPr>
          <p:cNvPr id="6" name="Text Placeholder 8"/>
          <p:cNvSpPr>
            <a:spLocks noGrp="1"/>
          </p:cNvSpPr>
          <p:nvPr>
            <p:ph type="body" sz="quarter" idx="10" hasCustomPrompt="1"/>
          </p:nvPr>
        </p:nvSpPr>
        <p:spPr>
          <a:xfrm>
            <a:off x="1733551" y="4181475"/>
            <a:ext cx="9848850" cy="2295525"/>
          </a:xfrm>
        </p:spPr>
        <p:txBody>
          <a:bodyPr/>
          <a:lstStyle>
            <a:lvl1pPr marL="0" indent="0">
              <a:buNone/>
              <a:defRPr sz="3200" baseline="0"/>
            </a:lvl1pPr>
          </a:lstStyle>
          <a:p>
            <a:pPr lvl="0"/>
            <a:r>
              <a:rPr lang="en-US" dirty="0" smtClean="0"/>
              <a:t>Add content                                                                              [tip – add a short phrase to emphasize what you are going to say.  Don’t use your content word-for-word]</a:t>
            </a:r>
            <a:endParaRPr lang="en-US" dirty="0"/>
          </a:p>
        </p:txBody>
      </p:sp>
    </p:spTree>
    <p:extLst>
      <p:ext uri="{BB962C8B-B14F-4D97-AF65-F5344CB8AC3E}">
        <p14:creationId xmlns:p14="http://schemas.microsoft.com/office/powerpoint/2010/main" val="1716069654"/>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2 red">
    <p:spTree>
      <p:nvGrpSpPr>
        <p:cNvPr id="1" name=""/>
        <p:cNvGrpSpPr/>
        <p:nvPr/>
      </p:nvGrpSpPr>
      <p:grpSpPr>
        <a:xfrm>
          <a:off x="0" y="0"/>
          <a:ext cx="0" cy="0"/>
          <a:chOff x="0" y="0"/>
          <a:chExt cx="0" cy="0"/>
        </a:xfrm>
      </p:grpSpPr>
      <p:sp>
        <p:nvSpPr>
          <p:cNvPr id="3" name="Rectangle 2"/>
          <p:cNvSpPr/>
          <p:nvPr userDrawn="1"/>
        </p:nvSpPr>
        <p:spPr>
          <a:xfrm>
            <a:off x="0" y="2943225"/>
            <a:ext cx="12192000" cy="3914775"/>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ectangle 3"/>
          <p:cNvSpPr/>
          <p:nvPr userDrawn="1"/>
        </p:nvSpPr>
        <p:spPr>
          <a:xfrm>
            <a:off x="3829050" y="1609725"/>
            <a:ext cx="8362950" cy="205740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dirty="0"/>
          </a:p>
        </p:txBody>
      </p:sp>
      <p:sp>
        <p:nvSpPr>
          <p:cNvPr id="5" name="Text Placeholder 11"/>
          <p:cNvSpPr>
            <a:spLocks noGrp="1"/>
          </p:cNvSpPr>
          <p:nvPr>
            <p:ph type="body" sz="quarter" idx="11" hasCustomPrompt="1"/>
          </p:nvPr>
        </p:nvSpPr>
        <p:spPr>
          <a:xfrm>
            <a:off x="4314824" y="1914525"/>
            <a:ext cx="7600950" cy="1552575"/>
          </a:xfrm>
        </p:spPr>
        <p:txBody>
          <a:bodyPr>
            <a:noAutofit/>
          </a:bodyPr>
          <a:lstStyle>
            <a:lvl1pPr marL="0" indent="0" algn="r">
              <a:buNone/>
              <a:defRPr sz="6000" b="0">
                <a:solidFill>
                  <a:schemeClr val="bg1"/>
                </a:solidFill>
              </a:defRPr>
            </a:lvl1pPr>
          </a:lstStyle>
          <a:p>
            <a:pPr lvl="0"/>
            <a:r>
              <a:rPr lang="en-US" dirty="0" smtClean="0"/>
              <a:t>Title or Keywords</a:t>
            </a:r>
            <a:endParaRPr lang="en-US" dirty="0"/>
          </a:p>
        </p:txBody>
      </p:sp>
      <p:sp>
        <p:nvSpPr>
          <p:cNvPr id="6" name="Text Placeholder 8"/>
          <p:cNvSpPr>
            <a:spLocks noGrp="1"/>
          </p:cNvSpPr>
          <p:nvPr>
            <p:ph type="body" sz="quarter" idx="10" hasCustomPrompt="1"/>
          </p:nvPr>
        </p:nvSpPr>
        <p:spPr>
          <a:xfrm>
            <a:off x="1733551" y="4181475"/>
            <a:ext cx="9848850" cy="2295525"/>
          </a:xfrm>
        </p:spPr>
        <p:txBody>
          <a:bodyPr/>
          <a:lstStyle>
            <a:lvl1pPr marL="0" indent="0">
              <a:buNone/>
              <a:defRPr sz="3200" baseline="0">
                <a:solidFill>
                  <a:schemeClr val="bg1"/>
                </a:solidFill>
              </a:defRPr>
            </a:lvl1pPr>
          </a:lstStyle>
          <a:p>
            <a:pPr lvl="0"/>
            <a:r>
              <a:rPr lang="en-US" dirty="0" smtClean="0"/>
              <a:t>Add content                                                                              [tip – add a short phrase to emphasize what you are going to say.  Don’t use your content word-for-word]</a:t>
            </a:r>
            <a:endParaRPr lang="en-US" dirty="0"/>
          </a:p>
        </p:txBody>
      </p:sp>
    </p:spTree>
    <p:extLst>
      <p:ext uri="{BB962C8B-B14F-4D97-AF65-F5344CB8AC3E}">
        <p14:creationId xmlns:p14="http://schemas.microsoft.com/office/powerpoint/2010/main" val="3036447229"/>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2 teal">
    <p:spTree>
      <p:nvGrpSpPr>
        <p:cNvPr id="1" name=""/>
        <p:cNvGrpSpPr/>
        <p:nvPr/>
      </p:nvGrpSpPr>
      <p:grpSpPr>
        <a:xfrm>
          <a:off x="0" y="0"/>
          <a:ext cx="0" cy="0"/>
          <a:chOff x="0" y="0"/>
          <a:chExt cx="0" cy="0"/>
        </a:xfrm>
      </p:grpSpPr>
      <p:sp>
        <p:nvSpPr>
          <p:cNvPr id="3" name="Rectangle 2"/>
          <p:cNvSpPr/>
          <p:nvPr userDrawn="1"/>
        </p:nvSpPr>
        <p:spPr>
          <a:xfrm>
            <a:off x="0" y="2943225"/>
            <a:ext cx="12192000" cy="3914775"/>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ectangle 3"/>
          <p:cNvSpPr/>
          <p:nvPr userDrawn="1"/>
        </p:nvSpPr>
        <p:spPr>
          <a:xfrm>
            <a:off x="3829050" y="1609725"/>
            <a:ext cx="8362950" cy="205740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dirty="0"/>
          </a:p>
        </p:txBody>
      </p:sp>
      <p:sp>
        <p:nvSpPr>
          <p:cNvPr id="5" name="Text Placeholder 11"/>
          <p:cNvSpPr>
            <a:spLocks noGrp="1"/>
          </p:cNvSpPr>
          <p:nvPr>
            <p:ph type="body" sz="quarter" idx="11" hasCustomPrompt="1"/>
          </p:nvPr>
        </p:nvSpPr>
        <p:spPr>
          <a:xfrm>
            <a:off x="4314824" y="1914525"/>
            <a:ext cx="7600950" cy="1552575"/>
          </a:xfrm>
        </p:spPr>
        <p:txBody>
          <a:bodyPr>
            <a:noAutofit/>
          </a:bodyPr>
          <a:lstStyle>
            <a:lvl1pPr marL="0" indent="0" algn="r">
              <a:buNone/>
              <a:defRPr sz="6000" b="0">
                <a:solidFill>
                  <a:schemeClr val="bg1"/>
                </a:solidFill>
              </a:defRPr>
            </a:lvl1pPr>
          </a:lstStyle>
          <a:p>
            <a:pPr lvl="0"/>
            <a:r>
              <a:rPr lang="en-US" dirty="0" smtClean="0"/>
              <a:t>Title or Keywords</a:t>
            </a:r>
            <a:endParaRPr lang="en-US" dirty="0"/>
          </a:p>
        </p:txBody>
      </p:sp>
      <p:sp>
        <p:nvSpPr>
          <p:cNvPr id="6" name="Text Placeholder 8"/>
          <p:cNvSpPr>
            <a:spLocks noGrp="1"/>
          </p:cNvSpPr>
          <p:nvPr>
            <p:ph type="body" sz="quarter" idx="10" hasCustomPrompt="1"/>
          </p:nvPr>
        </p:nvSpPr>
        <p:spPr>
          <a:xfrm>
            <a:off x="1733551" y="4181475"/>
            <a:ext cx="9848850" cy="2295525"/>
          </a:xfrm>
        </p:spPr>
        <p:txBody>
          <a:bodyPr/>
          <a:lstStyle>
            <a:lvl1pPr marL="0" indent="0">
              <a:buNone/>
              <a:defRPr sz="3200" baseline="0">
                <a:solidFill>
                  <a:schemeClr val="bg1"/>
                </a:solidFill>
              </a:defRPr>
            </a:lvl1pPr>
          </a:lstStyle>
          <a:p>
            <a:pPr lvl="0"/>
            <a:r>
              <a:rPr lang="en-US" dirty="0" smtClean="0"/>
              <a:t>Add content                                                                              [tip – add a short phrase to emphasize what you are going to say.  Don’t use your content word-for-word]</a:t>
            </a:r>
            <a:endParaRPr lang="en-US" dirty="0"/>
          </a:p>
        </p:txBody>
      </p:sp>
    </p:spTree>
    <p:extLst>
      <p:ext uri="{BB962C8B-B14F-4D97-AF65-F5344CB8AC3E}">
        <p14:creationId xmlns:p14="http://schemas.microsoft.com/office/powerpoint/2010/main" val="135043578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3">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57213" y="470263"/>
            <a:ext cx="4920478" cy="5860687"/>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4"/>
          <p:cNvSpPr/>
          <p:nvPr userDrawn="1"/>
        </p:nvSpPr>
        <p:spPr>
          <a:xfrm>
            <a:off x="6096000" y="0"/>
            <a:ext cx="6095999" cy="6858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 Placeholder 6"/>
          <p:cNvSpPr>
            <a:spLocks noGrp="1"/>
          </p:cNvSpPr>
          <p:nvPr>
            <p:ph type="body" sz="quarter" idx="11" hasCustomPrompt="1"/>
          </p:nvPr>
        </p:nvSpPr>
        <p:spPr>
          <a:xfrm>
            <a:off x="7219633" y="2322920"/>
            <a:ext cx="4214812" cy="2212159"/>
          </a:xfrm>
        </p:spPr>
        <p:txBody>
          <a:bodyPr>
            <a:normAutofit/>
          </a:bodyPr>
          <a:lstStyle>
            <a:lvl1pPr marL="0" indent="0" algn="ctr">
              <a:buNone/>
              <a:defRPr sz="6600" baseline="0"/>
            </a:lvl1pPr>
          </a:lstStyle>
          <a:p>
            <a:pPr lvl="0"/>
            <a:r>
              <a:rPr lang="en-US" dirty="0" smtClean="0"/>
              <a:t>Title or Keywords</a:t>
            </a:r>
            <a:endParaRPr lang="en-US" dirty="0"/>
          </a:p>
        </p:txBody>
      </p:sp>
    </p:spTree>
    <p:extLst>
      <p:ext uri="{BB962C8B-B14F-4D97-AF65-F5344CB8AC3E}">
        <p14:creationId xmlns:p14="http://schemas.microsoft.com/office/powerpoint/2010/main" val="848028866"/>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4">
    <p:spTree>
      <p:nvGrpSpPr>
        <p:cNvPr id="1" name=""/>
        <p:cNvGrpSpPr/>
        <p:nvPr/>
      </p:nvGrpSpPr>
      <p:grpSpPr>
        <a:xfrm>
          <a:off x="0" y="0"/>
          <a:ext cx="0" cy="0"/>
          <a:chOff x="0" y="0"/>
          <a:chExt cx="0" cy="0"/>
        </a:xfrm>
      </p:grpSpPr>
      <p:sp>
        <p:nvSpPr>
          <p:cNvPr id="8" name="Content Placeholder 7"/>
          <p:cNvSpPr>
            <a:spLocks noGrp="1"/>
          </p:cNvSpPr>
          <p:nvPr>
            <p:ph sz="quarter" idx="11" hasCustomPrompt="1"/>
          </p:nvPr>
        </p:nvSpPr>
        <p:spPr>
          <a:xfrm>
            <a:off x="6548392" y="1707379"/>
            <a:ext cx="5086259" cy="4710112"/>
          </a:xfrm>
        </p:spPr>
        <p:txBody>
          <a:bodyPr/>
          <a:lstStyle>
            <a:lvl1pPr marL="0" indent="0">
              <a:buNone/>
              <a:defRPr baseline="0"/>
            </a:lvl1pPr>
          </a:lstStyle>
          <a:p>
            <a:pPr lvl="0"/>
            <a:r>
              <a:rPr lang="en-US" dirty="0" smtClean="0"/>
              <a:t>Add Content</a:t>
            </a:r>
            <a:endParaRPr lang="en-US" dirty="0"/>
          </a:p>
        </p:txBody>
      </p:sp>
      <p:sp>
        <p:nvSpPr>
          <p:cNvPr id="9" name="Content Placeholder 7"/>
          <p:cNvSpPr>
            <a:spLocks noGrp="1"/>
          </p:cNvSpPr>
          <p:nvPr>
            <p:ph sz="quarter" idx="12" hasCustomPrompt="1"/>
          </p:nvPr>
        </p:nvSpPr>
        <p:spPr>
          <a:xfrm>
            <a:off x="770254" y="1707379"/>
            <a:ext cx="5086259" cy="4710112"/>
          </a:xfrm>
        </p:spPr>
        <p:txBody>
          <a:bodyPr/>
          <a:lstStyle>
            <a:lvl1pPr marL="0" indent="0">
              <a:buNone/>
              <a:defRPr baseline="0"/>
            </a:lvl1pPr>
          </a:lstStyle>
          <a:p>
            <a:pPr lvl="0"/>
            <a:r>
              <a:rPr lang="en-US" dirty="0" smtClean="0"/>
              <a:t>Add Content</a:t>
            </a:r>
            <a:endParaRPr lang="en-US" dirty="0"/>
          </a:p>
        </p:txBody>
      </p:sp>
      <p:sp>
        <p:nvSpPr>
          <p:cNvPr id="11" name="Text Placeholder 10"/>
          <p:cNvSpPr>
            <a:spLocks noGrp="1"/>
          </p:cNvSpPr>
          <p:nvPr>
            <p:ph type="body" sz="quarter" idx="13" hasCustomPrompt="1"/>
          </p:nvPr>
        </p:nvSpPr>
        <p:spPr>
          <a:xfrm>
            <a:off x="679450" y="357188"/>
            <a:ext cx="10955338" cy="984250"/>
          </a:xfrm>
        </p:spPr>
        <p:txBody>
          <a:bodyPr>
            <a:normAutofit/>
          </a:bodyPr>
          <a:lstStyle>
            <a:lvl1pPr marL="0" indent="0" algn="ctr">
              <a:buNone/>
              <a:defRPr sz="5400" baseline="0">
                <a:solidFill>
                  <a:schemeClr val="accent1">
                    <a:lumMod val="50000"/>
                  </a:schemeClr>
                </a:solidFill>
              </a:defRPr>
            </a:lvl1pPr>
          </a:lstStyle>
          <a:p>
            <a:pPr lvl="0"/>
            <a:r>
              <a:rPr lang="en-US" dirty="0" smtClean="0"/>
              <a:t>Title or Keywords</a:t>
            </a:r>
            <a:endParaRPr lang="en-US" dirty="0"/>
          </a:p>
        </p:txBody>
      </p:sp>
    </p:spTree>
    <p:extLst>
      <p:ext uri="{BB962C8B-B14F-4D97-AF65-F5344CB8AC3E}">
        <p14:creationId xmlns:p14="http://schemas.microsoft.com/office/powerpoint/2010/main" val="146241462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5">
    <p:spTree>
      <p:nvGrpSpPr>
        <p:cNvPr id="1" name=""/>
        <p:cNvGrpSpPr/>
        <p:nvPr/>
      </p:nvGrpSpPr>
      <p:grpSpPr>
        <a:xfrm>
          <a:off x="0" y="0"/>
          <a:ext cx="0" cy="0"/>
          <a:chOff x="0" y="0"/>
          <a:chExt cx="0" cy="0"/>
        </a:xfrm>
      </p:grpSpPr>
      <p:sp>
        <p:nvSpPr>
          <p:cNvPr id="8" name="Content Placeholder 7"/>
          <p:cNvSpPr>
            <a:spLocks noGrp="1"/>
          </p:cNvSpPr>
          <p:nvPr>
            <p:ph sz="quarter" idx="11" hasCustomPrompt="1"/>
          </p:nvPr>
        </p:nvSpPr>
        <p:spPr>
          <a:xfrm>
            <a:off x="6548529" y="357188"/>
            <a:ext cx="5086259" cy="4710112"/>
          </a:xfrm>
        </p:spPr>
        <p:txBody>
          <a:bodyPr/>
          <a:lstStyle>
            <a:lvl1pPr marL="0" indent="0">
              <a:buNone/>
              <a:defRPr baseline="0"/>
            </a:lvl1pPr>
          </a:lstStyle>
          <a:p>
            <a:pPr lvl="0"/>
            <a:r>
              <a:rPr lang="en-US" dirty="0" smtClean="0"/>
              <a:t>Add Content</a:t>
            </a:r>
            <a:endParaRPr lang="en-US" dirty="0"/>
          </a:p>
        </p:txBody>
      </p:sp>
      <p:sp>
        <p:nvSpPr>
          <p:cNvPr id="9" name="Content Placeholder 7"/>
          <p:cNvSpPr>
            <a:spLocks noGrp="1"/>
          </p:cNvSpPr>
          <p:nvPr>
            <p:ph sz="quarter" idx="12" hasCustomPrompt="1"/>
          </p:nvPr>
        </p:nvSpPr>
        <p:spPr>
          <a:xfrm>
            <a:off x="679450" y="357188"/>
            <a:ext cx="5086259" cy="4710112"/>
          </a:xfrm>
        </p:spPr>
        <p:txBody>
          <a:bodyPr/>
          <a:lstStyle>
            <a:lvl1pPr marL="0" indent="0">
              <a:buNone/>
              <a:defRPr baseline="0"/>
            </a:lvl1pPr>
          </a:lstStyle>
          <a:p>
            <a:pPr lvl="0"/>
            <a:r>
              <a:rPr lang="en-US" dirty="0" smtClean="0"/>
              <a:t>Add Content</a:t>
            </a:r>
            <a:endParaRPr lang="en-US" dirty="0"/>
          </a:p>
        </p:txBody>
      </p:sp>
      <p:sp>
        <p:nvSpPr>
          <p:cNvPr id="11" name="Text Placeholder 10"/>
          <p:cNvSpPr>
            <a:spLocks noGrp="1"/>
          </p:cNvSpPr>
          <p:nvPr>
            <p:ph type="body" sz="quarter" idx="13" hasCustomPrompt="1"/>
          </p:nvPr>
        </p:nvSpPr>
        <p:spPr>
          <a:xfrm>
            <a:off x="679450" y="5556205"/>
            <a:ext cx="10955338" cy="984250"/>
          </a:xfrm>
        </p:spPr>
        <p:txBody>
          <a:bodyPr>
            <a:normAutofit/>
          </a:bodyPr>
          <a:lstStyle>
            <a:lvl1pPr marL="0" indent="0" algn="ctr">
              <a:buNone/>
              <a:defRPr sz="5400" baseline="0">
                <a:solidFill>
                  <a:schemeClr val="accent6">
                    <a:lumMod val="50000"/>
                  </a:schemeClr>
                </a:solidFill>
              </a:defRPr>
            </a:lvl1pPr>
          </a:lstStyle>
          <a:p>
            <a:pPr lvl="0"/>
            <a:r>
              <a:rPr lang="en-US" dirty="0" smtClean="0"/>
              <a:t>Title or Keywords</a:t>
            </a:r>
            <a:endParaRPr lang="en-US" dirty="0"/>
          </a:p>
        </p:txBody>
      </p:sp>
    </p:spTree>
    <p:extLst>
      <p:ext uri="{BB962C8B-B14F-4D97-AF65-F5344CB8AC3E}">
        <p14:creationId xmlns:p14="http://schemas.microsoft.com/office/powerpoint/2010/main" val="2597454407"/>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ch conten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43934" y="676275"/>
            <a:ext cx="5974146" cy="4933950"/>
          </a:xfrm>
          <a:prstGeom prst="rect">
            <a:avLst/>
          </a:prstGeom>
        </p:spPr>
      </p:pic>
      <p:sp>
        <p:nvSpPr>
          <p:cNvPr id="5" name="Picture Placeholder 4"/>
          <p:cNvSpPr>
            <a:spLocks noGrp="1"/>
          </p:cNvSpPr>
          <p:nvPr>
            <p:ph type="pic" sz="quarter" idx="10"/>
          </p:nvPr>
        </p:nvSpPr>
        <p:spPr>
          <a:xfrm>
            <a:off x="1178307" y="1152525"/>
            <a:ext cx="5105400" cy="3133725"/>
          </a:xfrm>
          <a:ln>
            <a:solidFill>
              <a:schemeClr val="tx1"/>
            </a:solidFill>
          </a:ln>
        </p:spPr>
        <p:txBody>
          <a:bodyPr/>
          <a:lstStyle/>
          <a:p>
            <a:endParaRPr lang="en-US" dirty="0"/>
          </a:p>
        </p:txBody>
      </p:sp>
      <p:sp>
        <p:nvSpPr>
          <p:cNvPr id="7" name="Text Placeholder 6"/>
          <p:cNvSpPr>
            <a:spLocks noGrp="1"/>
          </p:cNvSpPr>
          <p:nvPr>
            <p:ph type="body" sz="quarter" idx="11" hasCustomPrompt="1"/>
          </p:nvPr>
        </p:nvSpPr>
        <p:spPr>
          <a:xfrm>
            <a:off x="6143625" y="5291137"/>
            <a:ext cx="5572125" cy="981075"/>
          </a:xfrm>
        </p:spPr>
        <p:txBody>
          <a:bodyPr>
            <a:normAutofit/>
          </a:bodyPr>
          <a:lstStyle>
            <a:lvl1pPr marL="0" indent="0" algn="r">
              <a:buNone/>
              <a:defRPr sz="5400">
                <a:solidFill>
                  <a:schemeClr val="accent1">
                    <a:lumMod val="50000"/>
                  </a:schemeClr>
                </a:solidFill>
              </a:defRPr>
            </a:lvl1pPr>
          </a:lstStyle>
          <a:p>
            <a:pPr lvl="0"/>
            <a:r>
              <a:rPr lang="en-US" dirty="0" smtClean="0"/>
              <a:t>Title or Keywords</a:t>
            </a:r>
            <a:endParaRPr lang="en-US" dirty="0"/>
          </a:p>
        </p:txBody>
      </p:sp>
    </p:spTree>
    <p:extLst>
      <p:ext uri="{BB962C8B-B14F-4D97-AF65-F5344CB8AC3E}">
        <p14:creationId xmlns:p14="http://schemas.microsoft.com/office/powerpoint/2010/main" val="3890093107"/>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ch content 2">
    <p:spTree>
      <p:nvGrpSpPr>
        <p:cNvPr id="1" name=""/>
        <p:cNvGrpSpPr/>
        <p:nvPr/>
      </p:nvGrpSpPr>
      <p:grpSpPr>
        <a:xfrm>
          <a:off x="0" y="0"/>
          <a:ext cx="0" cy="0"/>
          <a:chOff x="0" y="0"/>
          <a:chExt cx="0" cy="0"/>
        </a:xfrm>
      </p:grpSpPr>
      <p:sp>
        <p:nvSpPr>
          <p:cNvPr id="4" name="Rectangle 3"/>
          <p:cNvSpPr/>
          <p:nvPr userDrawn="1"/>
        </p:nvSpPr>
        <p:spPr>
          <a:xfrm>
            <a:off x="6638926" y="1"/>
            <a:ext cx="5553074" cy="6858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 name="Picture 2"/>
          <p:cNvPicPr>
            <a:picLocks noChangeAspect="1"/>
          </p:cNvPicPr>
          <p:nvPr userDrawn="1"/>
        </p:nvPicPr>
        <p:blipFill>
          <a:blip r:embed="rId2" cstate="print">
            <a:extLst>
              <a:ext uri="{BEBA8EAE-BF5A-486C-A8C5-ECC9F3942E4B}">
                <a14:imgProps xmlns:a14="http://schemas.microsoft.com/office/drawing/2010/main">
                  <a14:imgLayer r:embed="rId3">
                    <a14:imgEffect>
                      <a14:backgroundRemoval t="8333" b="96461" l="11983" r="97168"/>
                    </a14:imgEffect>
                  </a14:imgLayer>
                </a14:imgProps>
              </a:ext>
              <a:ext uri="{28A0092B-C50C-407E-A947-70E740481C1C}">
                <a14:useLocalDpi xmlns:a14="http://schemas.microsoft.com/office/drawing/2010/main" val="0"/>
              </a:ext>
            </a:extLst>
          </a:blip>
          <a:stretch>
            <a:fillRect/>
          </a:stretch>
        </p:blipFill>
        <p:spPr>
          <a:xfrm>
            <a:off x="4772026" y="-131828"/>
            <a:ext cx="3733800" cy="7121658"/>
          </a:xfrm>
          <a:prstGeom prst="rect">
            <a:avLst/>
          </a:prstGeom>
        </p:spPr>
      </p:pic>
      <p:sp>
        <p:nvSpPr>
          <p:cNvPr id="6" name="Picture Placeholder 5"/>
          <p:cNvSpPr>
            <a:spLocks noGrp="1"/>
          </p:cNvSpPr>
          <p:nvPr>
            <p:ph type="pic" sz="quarter" idx="10"/>
          </p:nvPr>
        </p:nvSpPr>
        <p:spPr>
          <a:xfrm>
            <a:off x="5467350" y="1438275"/>
            <a:ext cx="2438400" cy="4162425"/>
          </a:xfrm>
          <a:ln>
            <a:solidFill>
              <a:schemeClr val="tx1"/>
            </a:solidFill>
          </a:ln>
        </p:spPr>
        <p:txBody>
          <a:bodyPr/>
          <a:lstStyle/>
          <a:p>
            <a:endParaRPr lang="en-US" dirty="0"/>
          </a:p>
        </p:txBody>
      </p:sp>
      <p:sp>
        <p:nvSpPr>
          <p:cNvPr id="10" name="Text Placeholder 9"/>
          <p:cNvSpPr>
            <a:spLocks noGrp="1"/>
          </p:cNvSpPr>
          <p:nvPr>
            <p:ph type="body" sz="quarter" idx="11" hasCustomPrompt="1"/>
          </p:nvPr>
        </p:nvSpPr>
        <p:spPr>
          <a:xfrm>
            <a:off x="600075" y="952500"/>
            <a:ext cx="3990975" cy="5248275"/>
          </a:xfrm>
        </p:spPr>
        <p:txBody>
          <a:bodyPr/>
          <a:lstStyle>
            <a:lvl1pPr marL="0" indent="0">
              <a:buNone/>
              <a:defRPr baseline="0"/>
            </a:lvl1pPr>
          </a:lstStyle>
          <a:p>
            <a:pPr lvl="0"/>
            <a:r>
              <a:rPr lang="en-US" dirty="0" smtClean="0"/>
              <a:t>Add content                     [tip – add a photo or screenshot from a phone in the middle of the phone to enhance content]</a:t>
            </a:r>
            <a:endParaRPr lang="en-US" dirty="0"/>
          </a:p>
        </p:txBody>
      </p:sp>
      <p:sp>
        <p:nvSpPr>
          <p:cNvPr id="12" name="Text Placeholder 11"/>
          <p:cNvSpPr>
            <a:spLocks noGrp="1"/>
          </p:cNvSpPr>
          <p:nvPr>
            <p:ph type="body" sz="quarter" idx="12" hasCustomPrompt="1"/>
          </p:nvPr>
        </p:nvSpPr>
        <p:spPr>
          <a:xfrm>
            <a:off x="8343900" y="2828925"/>
            <a:ext cx="3381375" cy="981075"/>
          </a:xfrm>
        </p:spPr>
        <p:txBody>
          <a:bodyPr>
            <a:noAutofit/>
          </a:bodyPr>
          <a:lstStyle>
            <a:lvl1pPr marL="0" indent="0" algn="ctr">
              <a:buNone/>
              <a:defRPr sz="3600" baseline="0">
                <a:solidFill>
                  <a:schemeClr val="accent6">
                    <a:lumMod val="75000"/>
                  </a:schemeClr>
                </a:solidFill>
              </a:defRPr>
            </a:lvl1pPr>
          </a:lstStyle>
          <a:p>
            <a:pPr lvl="0"/>
            <a:r>
              <a:rPr lang="en-US" dirty="0" smtClean="0"/>
              <a:t>Title or Keywords</a:t>
            </a:r>
            <a:endParaRPr lang="en-US" dirty="0"/>
          </a:p>
        </p:txBody>
      </p:sp>
    </p:spTree>
    <p:extLst>
      <p:ext uri="{BB962C8B-B14F-4D97-AF65-F5344CB8AC3E}">
        <p14:creationId xmlns:p14="http://schemas.microsoft.com/office/powerpoint/2010/main" val="1378666032"/>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a:xfrm>
            <a:off x="0" y="0"/>
            <a:ext cx="3979817" cy="68580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ectangle 4"/>
          <p:cNvSpPr/>
          <p:nvPr userDrawn="1"/>
        </p:nvSpPr>
        <p:spPr>
          <a:xfrm>
            <a:off x="1236617" y="1349827"/>
            <a:ext cx="9126583" cy="2778035"/>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 Placeholder 6"/>
          <p:cNvSpPr>
            <a:spLocks noGrp="1"/>
          </p:cNvSpPr>
          <p:nvPr>
            <p:ph type="body" sz="quarter" idx="10" hasCustomPrompt="1"/>
          </p:nvPr>
        </p:nvSpPr>
        <p:spPr>
          <a:xfrm>
            <a:off x="1454332" y="1567542"/>
            <a:ext cx="8473440" cy="2325189"/>
          </a:xfrm>
        </p:spPr>
        <p:txBody>
          <a:bodyPr>
            <a:normAutofit/>
          </a:bodyPr>
          <a:lstStyle>
            <a:lvl1pPr marL="0" indent="0">
              <a:buNone/>
              <a:defRPr sz="3600" baseline="0"/>
            </a:lvl1pPr>
          </a:lstStyle>
          <a:p>
            <a:pPr lvl="0"/>
            <a:r>
              <a:rPr lang="en-US" dirty="0" smtClean="0"/>
              <a:t>Title Slide                                                        [add title of presentation and a tag line]</a:t>
            </a:r>
            <a:endParaRPr lang="en-US" dirty="0"/>
          </a:p>
        </p:txBody>
      </p:sp>
      <p:cxnSp>
        <p:nvCxnSpPr>
          <p:cNvPr id="9" name="Straight Connector 8"/>
          <p:cNvCxnSpPr/>
          <p:nvPr userDrawn="1"/>
        </p:nvCxnSpPr>
        <p:spPr>
          <a:xfrm>
            <a:off x="7123612" y="4598126"/>
            <a:ext cx="3239588" cy="0"/>
          </a:xfrm>
          <a:prstGeom prst="line">
            <a:avLst/>
          </a:prstGeom>
          <a:ln w="2857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335588" y="5685434"/>
            <a:ext cx="2542557" cy="868757"/>
          </a:xfrm>
          <a:prstGeom prst="rect">
            <a:avLst/>
          </a:prstGeom>
        </p:spPr>
      </p:pic>
    </p:spTree>
    <p:extLst>
      <p:ext uri="{BB962C8B-B14F-4D97-AF65-F5344CB8AC3E}">
        <p14:creationId xmlns:p14="http://schemas.microsoft.com/office/powerpoint/2010/main" val="1475803888"/>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ch content 3">
    <p:spTree>
      <p:nvGrpSpPr>
        <p:cNvPr id="1" name=""/>
        <p:cNvGrpSpPr/>
        <p:nvPr/>
      </p:nvGrpSpPr>
      <p:grpSpPr>
        <a:xfrm>
          <a:off x="0" y="0"/>
          <a:ext cx="0" cy="0"/>
          <a:chOff x="0" y="0"/>
          <a:chExt cx="0" cy="0"/>
        </a:xfrm>
      </p:grpSpPr>
      <p:sp>
        <p:nvSpPr>
          <p:cNvPr id="4" name="Rectangle 3"/>
          <p:cNvSpPr/>
          <p:nvPr userDrawn="1"/>
        </p:nvSpPr>
        <p:spPr>
          <a:xfrm>
            <a:off x="0" y="0"/>
            <a:ext cx="4244612" cy="6858000"/>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35223" y="1332908"/>
            <a:ext cx="7508731" cy="4344584"/>
          </a:xfrm>
          <a:prstGeom prst="rect">
            <a:avLst/>
          </a:prstGeom>
        </p:spPr>
      </p:pic>
      <p:sp>
        <p:nvSpPr>
          <p:cNvPr id="5" name="Text Placeholder 11"/>
          <p:cNvSpPr>
            <a:spLocks noGrp="1"/>
          </p:cNvSpPr>
          <p:nvPr>
            <p:ph type="body" sz="quarter" idx="12" hasCustomPrompt="1"/>
          </p:nvPr>
        </p:nvSpPr>
        <p:spPr>
          <a:xfrm>
            <a:off x="431618" y="2341245"/>
            <a:ext cx="3381375" cy="981075"/>
          </a:xfrm>
        </p:spPr>
        <p:txBody>
          <a:bodyPr>
            <a:noAutofit/>
          </a:bodyPr>
          <a:lstStyle>
            <a:lvl1pPr marL="0" indent="0" algn="ctr">
              <a:buNone/>
              <a:defRPr sz="3600" baseline="0">
                <a:solidFill>
                  <a:schemeClr val="accent1">
                    <a:lumMod val="50000"/>
                  </a:schemeClr>
                </a:solidFill>
              </a:defRPr>
            </a:lvl1pPr>
          </a:lstStyle>
          <a:p>
            <a:pPr lvl="0"/>
            <a:r>
              <a:rPr lang="en-US" dirty="0" smtClean="0"/>
              <a:t>Title or Keywords</a:t>
            </a:r>
            <a:endParaRPr lang="en-US" dirty="0"/>
          </a:p>
        </p:txBody>
      </p:sp>
      <p:sp>
        <p:nvSpPr>
          <p:cNvPr id="7" name="Picture Placeholder 6"/>
          <p:cNvSpPr>
            <a:spLocks noGrp="1"/>
          </p:cNvSpPr>
          <p:nvPr>
            <p:ph type="pic" sz="quarter" idx="13"/>
          </p:nvPr>
        </p:nvSpPr>
        <p:spPr>
          <a:xfrm>
            <a:off x="5921375" y="1950266"/>
            <a:ext cx="4921250" cy="2952750"/>
          </a:xfrm>
          <a:ln>
            <a:solidFill>
              <a:schemeClr val="tx1"/>
            </a:solidFill>
          </a:ln>
        </p:spPr>
        <p:txBody>
          <a:bodyPr/>
          <a:lstStyle/>
          <a:p>
            <a:endParaRPr lang="en-US" dirty="0"/>
          </a:p>
        </p:txBody>
      </p:sp>
    </p:spTree>
    <p:extLst>
      <p:ext uri="{BB962C8B-B14F-4D97-AF65-F5344CB8AC3E}">
        <p14:creationId xmlns:p14="http://schemas.microsoft.com/office/powerpoint/2010/main" val="1655173849"/>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ch content 4">
    <p:spTree>
      <p:nvGrpSpPr>
        <p:cNvPr id="1" name=""/>
        <p:cNvGrpSpPr/>
        <p:nvPr/>
      </p:nvGrpSpPr>
      <p:grpSpPr>
        <a:xfrm>
          <a:off x="0" y="0"/>
          <a:ext cx="0" cy="0"/>
          <a:chOff x="0" y="0"/>
          <a:chExt cx="0" cy="0"/>
        </a:xfrm>
      </p:grpSpPr>
      <p:grpSp>
        <p:nvGrpSpPr>
          <p:cNvPr id="5" name="Group 4"/>
          <p:cNvGrpSpPr>
            <a:grpSpLocks noChangeAspect="1"/>
          </p:cNvGrpSpPr>
          <p:nvPr userDrawn="1"/>
        </p:nvGrpSpPr>
        <p:grpSpPr>
          <a:xfrm>
            <a:off x="3595725" y="3089253"/>
            <a:ext cx="668426" cy="668426"/>
            <a:chOff x="11045825" y="2247900"/>
            <a:chExt cx="258763" cy="258763"/>
          </a:xfrm>
          <a:solidFill>
            <a:schemeClr val="bg1">
              <a:lumMod val="50000"/>
            </a:schemeClr>
          </a:solidFill>
        </p:grpSpPr>
        <p:sp>
          <p:nvSpPr>
            <p:cNvPr id="6" name="Freeform 207"/>
            <p:cNvSpPr>
              <a:spLocks/>
            </p:cNvSpPr>
            <p:nvPr/>
          </p:nvSpPr>
          <p:spPr bwMode="auto">
            <a:xfrm>
              <a:off x="11155363" y="2478088"/>
              <a:ext cx="38100" cy="9525"/>
            </a:xfrm>
            <a:custGeom>
              <a:avLst/>
              <a:gdLst>
                <a:gd name="T0" fmla="*/ 105 w 120"/>
                <a:gd name="T1" fmla="*/ 0 h 30"/>
                <a:gd name="T2" fmla="*/ 15 w 120"/>
                <a:gd name="T3" fmla="*/ 0 h 30"/>
                <a:gd name="T4" fmla="*/ 12 w 120"/>
                <a:gd name="T5" fmla="*/ 0 h 30"/>
                <a:gd name="T6" fmla="*/ 9 w 120"/>
                <a:gd name="T7" fmla="*/ 1 h 30"/>
                <a:gd name="T8" fmla="*/ 7 w 120"/>
                <a:gd name="T9" fmla="*/ 2 h 30"/>
                <a:gd name="T10" fmla="*/ 5 w 120"/>
                <a:gd name="T11" fmla="*/ 4 h 30"/>
                <a:gd name="T12" fmla="*/ 2 w 120"/>
                <a:gd name="T13" fmla="*/ 6 h 30"/>
                <a:gd name="T14" fmla="*/ 1 w 120"/>
                <a:gd name="T15" fmla="*/ 8 h 30"/>
                <a:gd name="T16" fmla="*/ 0 w 120"/>
                <a:gd name="T17" fmla="*/ 11 h 30"/>
                <a:gd name="T18" fmla="*/ 0 w 120"/>
                <a:gd name="T19" fmla="*/ 15 h 30"/>
                <a:gd name="T20" fmla="*/ 0 w 120"/>
                <a:gd name="T21" fmla="*/ 18 h 30"/>
                <a:gd name="T22" fmla="*/ 1 w 120"/>
                <a:gd name="T23" fmla="*/ 20 h 30"/>
                <a:gd name="T24" fmla="*/ 2 w 120"/>
                <a:gd name="T25" fmla="*/ 23 h 30"/>
                <a:gd name="T26" fmla="*/ 5 w 120"/>
                <a:gd name="T27" fmla="*/ 25 h 30"/>
                <a:gd name="T28" fmla="*/ 7 w 120"/>
                <a:gd name="T29" fmla="*/ 26 h 30"/>
                <a:gd name="T30" fmla="*/ 9 w 120"/>
                <a:gd name="T31" fmla="*/ 29 h 30"/>
                <a:gd name="T32" fmla="*/ 12 w 120"/>
                <a:gd name="T33" fmla="*/ 29 h 30"/>
                <a:gd name="T34" fmla="*/ 15 w 120"/>
                <a:gd name="T35" fmla="*/ 30 h 30"/>
                <a:gd name="T36" fmla="*/ 105 w 120"/>
                <a:gd name="T37" fmla="*/ 30 h 30"/>
                <a:gd name="T38" fmla="*/ 109 w 120"/>
                <a:gd name="T39" fmla="*/ 29 h 30"/>
                <a:gd name="T40" fmla="*/ 111 w 120"/>
                <a:gd name="T41" fmla="*/ 29 h 30"/>
                <a:gd name="T42" fmla="*/ 114 w 120"/>
                <a:gd name="T43" fmla="*/ 26 h 30"/>
                <a:gd name="T44" fmla="*/ 116 w 120"/>
                <a:gd name="T45" fmla="*/ 25 h 30"/>
                <a:gd name="T46" fmla="*/ 118 w 120"/>
                <a:gd name="T47" fmla="*/ 23 h 30"/>
                <a:gd name="T48" fmla="*/ 119 w 120"/>
                <a:gd name="T49" fmla="*/ 20 h 30"/>
                <a:gd name="T50" fmla="*/ 120 w 120"/>
                <a:gd name="T51" fmla="*/ 18 h 30"/>
                <a:gd name="T52" fmla="*/ 120 w 120"/>
                <a:gd name="T53" fmla="*/ 15 h 30"/>
                <a:gd name="T54" fmla="*/ 120 w 120"/>
                <a:gd name="T55" fmla="*/ 11 h 30"/>
                <a:gd name="T56" fmla="*/ 119 w 120"/>
                <a:gd name="T57" fmla="*/ 8 h 30"/>
                <a:gd name="T58" fmla="*/ 118 w 120"/>
                <a:gd name="T59" fmla="*/ 6 h 30"/>
                <a:gd name="T60" fmla="*/ 116 w 120"/>
                <a:gd name="T61" fmla="*/ 4 h 30"/>
                <a:gd name="T62" fmla="*/ 114 w 120"/>
                <a:gd name="T63" fmla="*/ 2 h 30"/>
                <a:gd name="T64" fmla="*/ 111 w 120"/>
                <a:gd name="T65" fmla="*/ 1 h 30"/>
                <a:gd name="T66" fmla="*/ 109 w 120"/>
                <a:gd name="T67" fmla="*/ 0 h 30"/>
                <a:gd name="T68" fmla="*/ 105 w 120"/>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0" h="30">
                  <a:moveTo>
                    <a:pt x="105" y="0"/>
                  </a:moveTo>
                  <a:lnTo>
                    <a:pt x="15" y="0"/>
                  </a:lnTo>
                  <a:lnTo>
                    <a:pt x="12" y="0"/>
                  </a:lnTo>
                  <a:lnTo>
                    <a:pt x="9" y="1"/>
                  </a:lnTo>
                  <a:lnTo>
                    <a:pt x="7" y="2"/>
                  </a:lnTo>
                  <a:lnTo>
                    <a:pt x="5" y="4"/>
                  </a:lnTo>
                  <a:lnTo>
                    <a:pt x="2" y="6"/>
                  </a:lnTo>
                  <a:lnTo>
                    <a:pt x="1" y="8"/>
                  </a:lnTo>
                  <a:lnTo>
                    <a:pt x="0" y="11"/>
                  </a:lnTo>
                  <a:lnTo>
                    <a:pt x="0" y="15"/>
                  </a:lnTo>
                  <a:lnTo>
                    <a:pt x="0" y="18"/>
                  </a:lnTo>
                  <a:lnTo>
                    <a:pt x="1" y="20"/>
                  </a:lnTo>
                  <a:lnTo>
                    <a:pt x="2" y="23"/>
                  </a:lnTo>
                  <a:lnTo>
                    <a:pt x="5" y="25"/>
                  </a:lnTo>
                  <a:lnTo>
                    <a:pt x="7" y="26"/>
                  </a:lnTo>
                  <a:lnTo>
                    <a:pt x="9" y="29"/>
                  </a:lnTo>
                  <a:lnTo>
                    <a:pt x="12" y="29"/>
                  </a:lnTo>
                  <a:lnTo>
                    <a:pt x="15" y="30"/>
                  </a:lnTo>
                  <a:lnTo>
                    <a:pt x="105" y="30"/>
                  </a:lnTo>
                  <a:lnTo>
                    <a:pt x="109" y="29"/>
                  </a:lnTo>
                  <a:lnTo>
                    <a:pt x="111" y="29"/>
                  </a:lnTo>
                  <a:lnTo>
                    <a:pt x="114" y="26"/>
                  </a:lnTo>
                  <a:lnTo>
                    <a:pt x="116" y="25"/>
                  </a:lnTo>
                  <a:lnTo>
                    <a:pt x="118" y="23"/>
                  </a:lnTo>
                  <a:lnTo>
                    <a:pt x="119" y="20"/>
                  </a:lnTo>
                  <a:lnTo>
                    <a:pt x="120" y="18"/>
                  </a:lnTo>
                  <a:lnTo>
                    <a:pt x="120" y="15"/>
                  </a:lnTo>
                  <a:lnTo>
                    <a:pt x="120" y="11"/>
                  </a:lnTo>
                  <a:lnTo>
                    <a:pt x="119" y="8"/>
                  </a:lnTo>
                  <a:lnTo>
                    <a:pt x="118" y="6"/>
                  </a:lnTo>
                  <a:lnTo>
                    <a:pt x="116" y="4"/>
                  </a:lnTo>
                  <a:lnTo>
                    <a:pt x="114" y="2"/>
                  </a:lnTo>
                  <a:lnTo>
                    <a:pt x="111" y="1"/>
                  </a:lnTo>
                  <a:lnTo>
                    <a:pt x="109" y="0"/>
                  </a:lnTo>
                  <a:lnTo>
                    <a:pt x="105" y="0"/>
                  </a:lnTo>
                  <a:close/>
                </a:path>
              </a:pathLst>
            </a:custGeom>
            <a:grpFill/>
            <a:ln>
              <a:solidFill>
                <a:schemeClr val="bg1">
                  <a:lumMod val="50000"/>
                </a:schemeClr>
              </a:solid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endParaRPr>
            </a:p>
          </p:txBody>
        </p:sp>
        <p:sp>
          <p:nvSpPr>
            <p:cNvPr id="7" name="Freeform 208"/>
            <p:cNvSpPr>
              <a:spLocks/>
            </p:cNvSpPr>
            <p:nvPr/>
          </p:nvSpPr>
          <p:spPr bwMode="auto">
            <a:xfrm>
              <a:off x="11164888" y="2497138"/>
              <a:ext cx="19050" cy="9525"/>
            </a:xfrm>
            <a:custGeom>
              <a:avLst/>
              <a:gdLst>
                <a:gd name="T0" fmla="*/ 45 w 60"/>
                <a:gd name="T1" fmla="*/ 0 h 30"/>
                <a:gd name="T2" fmla="*/ 15 w 60"/>
                <a:gd name="T3" fmla="*/ 0 h 30"/>
                <a:gd name="T4" fmla="*/ 12 w 60"/>
                <a:gd name="T5" fmla="*/ 0 h 30"/>
                <a:gd name="T6" fmla="*/ 9 w 60"/>
                <a:gd name="T7" fmla="*/ 1 h 30"/>
                <a:gd name="T8" fmla="*/ 7 w 60"/>
                <a:gd name="T9" fmla="*/ 2 h 30"/>
                <a:gd name="T10" fmla="*/ 5 w 60"/>
                <a:gd name="T11" fmla="*/ 4 h 30"/>
                <a:gd name="T12" fmla="*/ 3 w 60"/>
                <a:gd name="T13" fmla="*/ 6 h 30"/>
                <a:gd name="T14" fmla="*/ 1 w 60"/>
                <a:gd name="T15" fmla="*/ 8 h 30"/>
                <a:gd name="T16" fmla="*/ 0 w 60"/>
                <a:gd name="T17" fmla="*/ 12 h 30"/>
                <a:gd name="T18" fmla="*/ 0 w 60"/>
                <a:gd name="T19" fmla="*/ 15 h 30"/>
                <a:gd name="T20" fmla="*/ 0 w 60"/>
                <a:gd name="T21" fmla="*/ 18 h 30"/>
                <a:gd name="T22" fmla="*/ 1 w 60"/>
                <a:gd name="T23" fmla="*/ 20 h 30"/>
                <a:gd name="T24" fmla="*/ 3 w 60"/>
                <a:gd name="T25" fmla="*/ 23 h 30"/>
                <a:gd name="T26" fmla="*/ 5 w 60"/>
                <a:gd name="T27" fmla="*/ 25 h 30"/>
                <a:gd name="T28" fmla="*/ 7 w 60"/>
                <a:gd name="T29" fmla="*/ 28 h 30"/>
                <a:gd name="T30" fmla="*/ 9 w 60"/>
                <a:gd name="T31" fmla="*/ 29 h 30"/>
                <a:gd name="T32" fmla="*/ 12 w 60"/>
                <a:gd name="T33" fmla="*/ 30 h 30"/>
                <a:gd name="T34" fmla="*/ 15 w 60"/>
                <a:gd name="T35" fmla="*/ 30 h 30"/>
                <a:gd name="T36" fmla="*/ 45 w 60"/>
                <a:gd name="T37" fmla="*/ 30 h 30"/>
                <a:gd name="T38" fmla="*/ 49 w 60"/>
                <a:gd name="T39" fmla="*/ 30 h 30"/>
                <a:gd name="T40" fmla="*/ 51 w 60"/>
                <a:gd name="T41" fmla="*/ 29 h 30"/>
                <a:gd name="T42" fmla="*/ 54 w 60"/>
                <a:gd name="T43" fmla="*/ 28 h 30"/>
                <a:gd name="T44" fmla="*/ 56 w 60"/>
                <a:gd name="T45" fmla="*/ 25 h 30"/>
                <a:gd name="T46" fmla="*/ 57 w 60"/>
                <a:gd name="T47" fmla="*/ 23 h 30"/>
                <a:gd name="T48" fmla="*/ 59 w 60"/>
                <a:gd name="T49" fmla="*/ 20 h 30"/>
                <a:gd name="T50" fmla="*/ 60 w 60"/>
                <a:gd name="T51" fmla="*/ 18 h 30"/>
                <a:gd name="T52" fmla="*/ 60 w 60"/>
                <a:gd name="T53" fmla="*/ 15 h 30"/>
                <a:gd name="T54" fmla="*/ 60 w 60"/>
                <a:gd name="T55" fmla="*/ 12 h 30"/>
                <a:gd name="T56" fmla="*/ 59 w 60"/>
                <a:gd name="T57" fmla="*/ 8 h 30"/>
                <a:gd name="T58" fmla="*/ 57 w 60"/>
                <a:gd name="T59" fmla="*/ 6 h 30"/>
                <a:gd name="T60" fmla="*/ 56 w 60"/>
                <a:gd name="T61" fmla="*/ 4 h 30"/>
                <a:gd name="T62" fmla="*/ 54 w 60"/>
                <a:gd name="T63" fmla="*/ 2 h 30"/>
                <a:gd name="T64" fmla="*/ 51 w 60"/>
                <a:gd name="T65" fmla="*/ 1 h 30"/>
                <a:gd name="T66" fmla="*/ 49 w 60"/>
                <a:gd name="T67" fmla="*/ 0 h 30"/>
                <a:gd name="T68" fmla="*/ 45 w 60"/>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 h="30">
                  <a:moveTo>
                    <a:pt x="45" y="0"/>
                  </a:moveTo>
                  <a:lnTo>
                    <a:pt x="15" y="0"/>
                  </a:lnTo>
                  <a:lnTo>
                    <a:pt x="12" y="0"/>
                  </a:lnTo>
                  <a:lnTo>
                    <a:pt x="9" y="1"/>
                  </a:lnTo>
                  <a:lnTo>
                    <a:pt x="7" y="2"/>
                  </a:lnTo>
                  <a:lnTo>
                    <a:pt x="5" y="4"/>
                  </a:lnTo>
                  <a:lnTo>
                    <a:pt x="3" y="6"/>
                  </a:lnTo>
                  <a:lnTo>
                    <a:pt x="1" y="8"/>
                  </a:lnTo>
                  <a:lnTo>
                    <a:pt x="0" y="12"/>
                  </a:lnTo>
                  <a:lnTo>
                    <a:pt x="0" y="15"/>
                  </a:lnTo>
                  <a:lnTo>
                    <a:pt x="0" y="18"/>
                  </a:lnTo>
                  <a:lnTo>
                    <a:pt x="1" y="20"/>
                  </a:lnTo>
                  <a:lnTo>
                    <a:pt x="3" y="23"/>
                  </a:lnTo>
                  <a:lnTo>
                    <a:pt x="5" y="25"/>
                  </a:lnTo>
                  <a:lnTo>
                    <a:pt x="7" y="28"/>
                  </a:lnTo>
                  <a:lnTo>
                    <a:pt x="9" y="29"/>
                  </a:lnTo>
                  <a:lnTo>
                    <a:pt x="12" y="30"/>
                  </a:lnTo>
                  <a:lnTo>
                    <a:pt x="15" y="30"/>
                  </a:lnTo>
                  <a:lnTo>
                    <a:pt x="45" y="30"/>
                  </a:lnTo>
                  <a:lnTo>
                    <a:pt x="49" y="30"/>
                  </a:lnTo>
                  <a:lnTo>
                    <a:pt x="51" y="29"/>
                  </a:lnTo>
                  <a:lnTo>
                    <a:pt x="54" y="28"/>
                  </a:lnTo>
                  <a:lnTo>
                    <a:pt x="56" y="25"/>
                  </a:lnTo>
                  <a:lnTo>
                    <a:pt x="57" y="23"/>
                  </a:lnTo>
                  <a:lnTo>
                    <a:pt x="59" y="20"/>
                  </a:lnTo>
                  <a:lnTo>
                    <a:pt x="60" y="18"/>
                  </a:lnTo>
                  <a:lnTo>
                    <a:pt x="60" y="15"/>
                  </a:lnTo>
                  <a:lnTo>
                    <a:pt x="60" y="12"/>
                  </a:lnTo>
                  <a:lnTo>
                    <a:pt x="59" y="8"/>
                  </a:lnTo>
                  <a:lnTo>
                    <a:pt x="57" y="6"/>
                  </a:lnTo>
                  <a:lnTo>
                    <a:pt x="56" y="4"/>
                  </a:lnTo>
                  <a:lnTo>
                    <a:pt x="54" y="2"/>
                  </a:lnTo>
                  <a:lnTo>
                    <a:pt x="51" y="1"/>
                  </a:lnTo>
                  <a:lnTo>
                    <a:pt x="49" y="0"/>
                  </a:lnTo>
                  <a:lnTo>
                    <a:pt x="45" y="0"/>
                  </a:lnTo>
                  <a:close/>
                </a:path>
              </a:pathLst>
            </a:custGeom>
            <a:grpFill/>
            <a:ln>
              <a:solidFill>
                <a:schemeClr val="bg1">
                  <a:lumMod val="50000"/>
                </a:schemeClr>
              </a:solid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endParaRPr>
            </a:p>
          </p:txBody>
        </p:sp>
        <p:sp>
          <p:nvSpPr>
            <p:cNvPr id="8" name="Freeform 209"/>
            <p:cNvSpPr>
              <a:spLocks noEditPoints="1"/>
            </p:cNvSpPr>
            <p:nvPr/>
          </p:nvSpPr>
          <p:spPr bwMode="auto">
            <a:xfrm>
              <a:off x="11093450" y="2290763"/>
              <a:ext cx="163513" cy="177800"/>
            </a:xfrm>
            <a:custGeom>
              <a:avLst/>
              <a:gdLst>
                <a:gd name="T0" fmla="*/ 303 w 512"/>
                <a:gd name="T1" fmla="*/ 484 h 558"/>
                <a:gd name="T2" fmla="*/ 211 w 512"/>
                <a:gd name="T3" fmla="*/ 489 h 558"/>
                <a:gd name="T4" fmla="*/ 200 w 512"/>
                <a:gd name="T5" fmla="*/ 475 h 558"/>
                <a:gd name="T6" fmla="*/ 131 w 512"/>
                <a:gd name="T7" fmla="*/ 444 h 558"/>
                <a:gd name="T8" fmla="*/ 77 w 512"/>
                <a:gd name="T9" fmla="*/ 395 h 558"/>
                <a:gd name="T10" fmla="*/ 43 w 512"/>
                <a:gd name="T11" fmla="*/ 330 h 558"/>
                <a:gd name="T12" fmla="*/ 30 w 512"/>
                <a:gd name="T13" fmla="*/ 256 h 558"/>
                <a:gd name="T14" fmla="*/ 35 w 512"/>
                <a:gd name="T15" fmla="*/ 211 h 558"/>
                <a:gd name="T16" fmla="*/ 48 w 512"/>
                <a:gd name="T17" fmla="*/ 168 h 558"/>
                <a:gd name="T18" fmla="*/ 97 w 512"/>
                <a:gd name="T19" fmla="*/ 97 h 558"/>
                <a:gd name="T20" fmla="*/ 168 w 512"/>
                <a:gd name="T21" fmla="*/ 48 h 558"/>
                <a:gd name="T22" fmla="*/ 210 w 512"/>
                <a:gd name="T23" fmla="*/ 35 h 558"/>
                <a:gd name="T24" fmla="*/ 256 w 512"/>
                <a:gd name="T25" fmla="*/ 30 h 558"/>
                <a:gd name="T26" fmla="*/ 301 w 512"/>
                <a:gd name="T27" fmla="*/ 35 h 558"/>
                <a:gd name="T28" fmla="*/ 344 w 512"/>
                <a:gd name="T29" fmla="*/ 48 h 558"/>
                <a:gd name="T30" fmla="*/ 416 w 512"/>
                <a:gd name="T31" fmla="*/ 97 h 558"/>
                <a:gd name="T32" fmla="*/ 464 w 512"/>
                <a:gd name="T33" fmla="*/ 168 h 558"/>
                <a:gd name="T34" fmla="*/ 477 w 512"/>
                <a:gd name="T35" fmla="*/ 211 h 558"/>
                <a:gd name="T36" fmla="*/ 482 w 512"/>
                <a:gd name="T37" fmla="*/ 256 h 558"/>
                <a:gd name="T38" fmla="*/ 470 w 512"/>
                <a:gd name="T39" fmla="*/ 330 h 558"/>
                <a:gd name="T40" fmla="*/ 434 w 512"/>
                <a:gd name="T41" fmla="*/ 395 h 558"/>
                <a:gd name="T42" fmla="*/ 381 w 512"/>
                <a:gd name="T43" fmla="*/ 444 h 558"/>
                <a:gd name="T44" fmla="*/ 312 w 512"/>
                <a:gd name="T45" fmla="*/ 475 h 558"/>
                <a:gd name="T46" fmla="*/ 218 w 512"/>
                <a:gd name="T47" fmla="*/ 3 h 558"/>
                <a:gd name="T48" fmla="*/ 168 w 512"/>
                <a:gd name="T49" fmla="*/ 16 h 558"/>
                <a:gd name="T50" fmla="*/ 123 w 512"/>
                <a:gd name="T51" fmla="*/ 38 h 558"/>
                <a:gd name="T52" fmla="*/ 84 w 512"/>
                <a:gd name="T53" fmla="*/ 67 h 558"/>
                <a:gd name="T54" fmla="*/ 52 w 512"/>
                <a:gd name="T55" fmla="*/ 103 h 558"/>
                <a:gd name="T56" fmla="*/ 26 w 512"/>
                <a:gd name="T57" fmla="*/ 146 h 558"/>
                <a:gd name="T58" fmla="*/ 9 w 512"/>
                <a:gd name="T59" fmla="*/ 192 h 558"/>
                <a:gd name="T60" fmla="*/ 0 w 512"/>
                <a:gd name="T61" fmla="*/ 243 h 558"/>
                <a:gd name="T62" fmla="*/ 8 w 512"/>
                <a:gd name="T63" fmla="*/ 317 h 558"/>
                <a:gd name="T64" fmla="*/ 39 w 512"/>
                <a:gd name="T65" fmla="*/ 391 h 558"/>
                <a:gd name="T66" fmla="*/ 91 w 512"/>
                <a:gd name="T67" fmla="*/ 451 h 558"/>
                <a:gd name="T68" fmla="*/ 161 w 512"/>
                <a:gd name="T69" fmla="*/ 493 h 558"/>
                <a:gd name="T70" fmla="*/ 182 w 512"/>
                <a:gd name="T71" fmla="*/ 548 h 558"/>
                <a:gd name="T72" fmla="*/ 190 w 512"/>
                <a:gd name="T73" fmla="*/ 557 h 558"/>
                <a:gd name="T74" fmla="*/ 320 w 512"/>
                <a:gd name="T75" fmla="*/ 557 h 558"/>
                <a:gd name="T76" fmla="*/ 329 w 512"/>
                <a:gd name="T77" fmla="*/ 550 h 558"/>
                <a:gd name="T78" fmla="*/ 331 w 512"/>
                <a:gd name="T79" fmla="*/ 501 h 558"/>
                <a:gd name="T80" fmla="*/ 404 w 512"/>
                <a:gd name="T81" fmla="*/ 464 h 558"/>
                <a:gd name="T82" fmla="*/ 462 w 512"/>
                <a:gd name="T83" fmla="*/ 409 h 558"/>
                <a:gd name="T84" fmla="*/ 499 w 512"/>
                <a:gd name="T85" fmla="*/ 338 h 558"/>
                <a:gd name="T86" fmla="*/ 512 w 512"/>
                <a:gd name="T87" fmla="*/ 256 h 558"/>
                <a:gd name="T88" fmla="*/ 507 w 512"/>
                <a:gd name="T89" fmla="*/ 205 h 558"/>
                <a:gd name="T90" fmla="*/ 492 w 512"/>
                <a:gd name="T91" fmla="*/ 157 h 558"/>
                <a:gd name="T92" fmla="*/ 469 w 512"/>
                <a:gd name="T93" fmla="*/ 114 h 558"/>
                <a:gd name="T94" fmla="*/ 437 w 512"/>
                <a:gd name="T95" fmla="*/ 75 h 558"/>
                <a:gd name="T96" fmla="*/ 399 w 512"/>
                <a:gd name="T97" fmla="*/ 44 h 558"/>
                <a:gd name="T98" fmla="*/ 356 w 512"/>
                <a:gd name="T99" fmla="*/ 20 h 558"/>
                <a:gd name="T100" fmla="*/ 308 w 512"/>
                <a:gd name="T101" fmla="*/ 5 h 558"/>
                <a:gd name="T102" fmla="*/ 256 w 512"/>
                <a:gd name="T103" fmla="*/ 0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58">
                  <a:moveTo>
                    <a:pt x="312" y="475"/>
                  </a:moveTo>
                  <a:lnTo>
                    <a:pt x="308" y="476"/>
                  </a:lnTo>
                  <a:lnTo>
                    <a:pt x="305" y="480"/>
                  </a:lnTo>
                  <a:lnTo>
                    <a:pt x="303" y="484"/>
                  </a:lnTo>
                  <a:lnTo>
                    <a:pt x="301" y="489"/>
                  </a:lnTo>
                  <a:lnTo>
                    <a:pt x="301" y="528"/>
                  </a:lnTo>
                  <a:lnTo>
                    <a:pt x="211" y="528"/>
                  </a:lnTo>
                  <a:lnTo>
                    <a:pt x="211" y="489"/>
                  </a:lnTo>
                  <a:lnTo>
                    <a:pt x="210" y="484"/>
                  </a:lnTo>
                  <a:lnTo>
                    <a:pt x="208" y="480"/>
                  </a:lnTo>
                  <a:lnTo>
                    <a:pt x="204" y="476"/>
                  </a:lnTo>
                  <a:lnTo>
                    <a:pt x="200" y="475"/>
                  </a:lnTo>
                  <a:lnTo>
                    <a:pt x="181" y="469"/>
                  </a:lnTo>
                  <a:lnTo>
                    <a:pt x="164" y="462"/>
                  </a:lnTo>
                  <a:lnTo>
                    <a:pt x="147" y="454"/>
                  </a:lnTo>
                  <a:lnTo>
                    <a:pt x="131" y="444"/>
                  </a:lnTo>
                  <a:lnTo>
                    <a:pt x="116" y="433"/>
                  </a:lnTo>
                  <a:lnTo>
                    <a:pt x="102" y="421"/>
                  </a:lnTo>
                  <a:lnTo>
                    <a:pt x="89" y="409"/>
                  </a:lnTo>
                  <a:lnTo>
                    <a:pt x="77" y="395"/>
                  </a:lnTo>
                  <a:lnTo>
                    <a:pt x="67" y="380"/>
                  </a:lnTo>
                  <a:lnTo>
                    <a:pt x="58" y="364"/>
                  </a:lnTo>
                  <a:lnTo>
                    <a:pt x="49" y="347"/>
                  </a:lnTo>
                  <a:lnTo>
                    <a:pt x="43" y="330"/>
                  </a:lnTo>
                  <a:lnTo>
                    <a:pt x="38" y="312"/>
                  </a:lnTo>
                  <a:lnTo>
                    <a:pt x="33" y="294"/>
                  </a:lnTo>
                  <a:lnTo>
                    <a:pt x="31" y="276"/>
                  </a:lnTo>
                  <a:lnTo>
                    <a:pt x="30" y="256"/>
                  </a:lnTo>
                  <a:lnTo>
                    <a:pt x="31" y="245"/>
                  </a:lnTo>
                  <a:lnTo>
                    <a:pt x="31" y="233"/>
                  </a:lnTo>
                  <a:lnTo>
                    <a:pt x="33" y="222"/>
                  </a:lnTo>
                  <a:lnTo>
                    <a:pt x="35" y="211"/>
                  </a:lnTo>
                  <a:lnTo>
                    <a:pt x="38" y="199"/>
                  </a:lnTo>
                  <a:lnTo>
                    <a:pt x="41" y="189"/>
                  </a:lnTo>
                  <a:lnTo>
                    <a:pt x="44" y="179"/>
                  </a:lnTo>
                  <a:lnTo>
                    <a:pt x="48" y="168"/>
                  </a:lnTo>
                  <a:lnTo>
                    <a:pt x="58" y="149"/>
                  </a:lnTo>
                  <a:lnTo>
                    <a:pt x="69" y="130"/>
                  </a:lnTo>
                  <a:lnTo>
                    <a:pt x="82" y="113"/>
                  </a:lnTo>
                  <a:lnTo>
                    <a:pt x="97" y="97"/>
                  </a:lnTo>
                  <a:lnTo>
                    <a:pt x="113" y="83"/>
                  </a:lnTo>
                  <a:lnTo>
                    <a:pt x="130" y="69"/>
                  </a:lnTo>
                  <a:lnTo>
                    <a:pt x="149" y="58"/>
                  </a:lnTo>
                  <a:lnTo>
                    <a:pt x="168" y="48"/>
                  </a:lnTo>
                  <a:lnTo>
                    <a:pt x="178" y="44"/>
                  </a:lnTo>
                  <a:lnTo>
                    <a:pt x="189" y="41"/>
                  </a:lnTo>
                  <a:lnTo>
                    <a:pt x="200" y="38"/>
                  </a:lnTo>
                  <a:lnTo>
                    <a:pt x="210" y="35"/>
                  </a:lnTo>
                  <a:lnTo>
                    <a:pt x="222" y="33"/>
                  </a:lnTo>
                  <a:lnTo>
                    <a:pt x="233" y="32"/>
                  </a:lnTo>
                  <a:lnTo>
                    <a:pt x="245" y="31"/>
                  </a:lnTo>
                  <a:lnTo>
                    <a:pt x="256" y="30"/>
                  </a:lnTo>
                  <a:lnTo>
                    <a:pt x="268" y="31"/>
                  </a:lnTo>
                  <a:lnTo>
                    <a:pt x="279" y="31"/>
                  </a:lnTo>
                  <a:lnTo>
                    <a:pt x="291" y="33"/>
                  </a:lnTo>
                  <a:lnTo>
                    <a:pt x="301" y="35"/>
                  </a:lnTo>
                  <a:lnTo>
                    <a:pt x="312" y="38"/>
                  </a:lnTo>
                  <a:lnTo>
                    <a:pt x="323" y="41"/>
                  </a:lnTo>
                  <a:lnTo>
                    <a:pt x="334" y="44"/>
                  </a:lnTo>
                  <a:lnTo>
                    <a:pt x="344" y="48"/>
                  </a:lnTo>
                  <a:lnTo>
                    <a:pt x="364" y="58"/>
                  </a:lnTo>
                  <a:lnTo>
                    <a:pt x="382" y="69"/>
                  </a:lnTo>
                  <a:lnTo>
                    <a:pt x="400" y="83"/>
                  </a:lnTo>
                  <a:lnTo>
                    <a:pt x="416" y="97"/>
                  </a:lnTo>
                  <a:lnTo>
                    <a:pt x="430" y="113"/>
                  </a:lnTo>
                  <a:lnTo>
                    <a:pt x="443" y="130"/>
                  </a:lnTo>
                  <a:lnTo>
                    <a:pt x="455" y="149"/>
                  </a:lnTo>
                  <a:lnTo>
                    <a:pt x="464" y="168"/>
                  </a:lnTo>
                  <a:lnTo>
                    <a:pt x="468" y="179"/>
                  </a:lnTo>
                  <a:lnTo>
                    <a:pt x="472" y="189"/>
                  </a:lnTo>
                  <a:lnTo>
                    <a:pt x="475" y="199"/>
                  </a:lnTo>
                  <a:lnTo>
                    <a:pt x="477" y="211"/>
                  </a:lnTo>
                  <a:lnTo>
                    <a:pt x="479" y="222"/>
                  </a:lnTo>
                  <a:lnTo>
                    <a:pt x="481" y="233"/>
                  </a:lnTo>
                  <a:lnTo>
                    <a:pt x="482" y="245"/>
                  </a:lnTo>
                  <a:lnTo>
                    <a:pt x="482" y="256"/>
                  </a:lnTo>
                  <a:lnTo>
                    <a:pt x="482" y="276"/>
                  </a:lnTo>
                  <a:lnTo>
                    <a:pt x="478" y="294"/>
                  </a:lnTo>
                  <a:lnTo>
                    <a:pt x="475" y="312"/>
                  </a:lnTo>
                  <a:lnTo>
                    <a:pt x="470" y="330"/>
                  </a:lnTo>
                  <a:lnTo>
                    <a:pt x="462" y="347"/>
                  </a:lnTo>
                  <a:lnTo>
                    <a:pt x="455" y="364"/>
                  </a:lnTo>
                  <a:lnTo>
                    <a:pt x="445" y="380"/>
                  </a:lnTo>
                  <a:lnTo>
                    <a:pt x="434" y="395"/>
                  </a:lnTo>
                  <a:lnTo>
                    <a:pt x="423" y="409"/>
                  </a:lnTo>
                  <a:lnTo>
                    <a:pt x="410" y="421"/>
                  </a:lnTo>
                  <a:lnTo>
                    <a:pt x="396" y="433"/>
                  </a:lnTo>
                  <a:lnTo>
                    <a:pt x="381" y="444"/>
                  </a:lnTo>
                  <a:lnTo>
                    <a:pt x="365" y="454"/>
                  </a:lnTo>
                  <a:lnTo>
                    <a:pt x="349" y="462"/>
                  </a:lnTo>
                  <a:lnTo>
                    <a:pt x="331" y="469"/>
                  </a:lnTo>
                  <a:lnTo>
                    <a:pt x="312" y="475"/>
                  </a:lnTo>
                  <a:close/>
                  <a:moveTo>
                    <a:pt x="256" y="0"/>
                  </a:moveTo>
                  <a:lnTo>
                    <a:pt x="244" y="1"/>
                  </a:lnTo>
                  <a:lnTo>
                    <a:pt x="230" y="2"/>
                  </a:lnTo>
                  <a:lnTo>
                    <a:pt x="218" y="3"/>
                  </a:lnTo>
                  <a:lnTo>
                    <a:pt x="205" y="5"/>
                  </a:lnTo>
                  <a:lnTo>
                    <a:pt x="192" y="9"/>
                  </a:lnTo>
                  <a:lnTo>
                    <a:pt x="180" y="12"/>
                  </a:lnTo>
                  <a:lnTo>
                    <a:pt x="168" y="16"/>
                  </a:lnTo>
                  <a:lnTo>
                    <a:pt x="157" y="20"/>
                  </a:lnTo>
                  <a:lnTo>
                    <a:pt x="145" y="26"/>
                  </a:lnTo>
                  <a:lnTo>
                    <a:pt x="134" y="31"/>
                  </a:lnTo>
                  <a:lnTo>
                    <a:pt x="123" y="38"/>
                  </a:lnTo>
                  <a:lnTo>
                    <a:pt x="113" y="44"/>
                  </a:lnTo>
                  <a:lnTo>
                    <a:pt x="103" y="52"/>
                  </a:lnTo>
                  <a:lnTo>
                    <a:pt x="93" y="59"/>
                  </a:lnTo>
                  <a:lnTo>
                    <a:pt x="84" y="67"/>
                  </a:lnTo>
                  <a:lnTo>
                    <a:pt x="75" y="75"/>
                  </a:lnTo>
                  <a:lnTo>
                    <a:pt x="67" y="85"/>
                  </a:lnTo>
                  <a:lnTo>
                    <a:pt x="59" y="93"/>
                  </a:lnTo>
                  <a:lnTo>
                    <a:pt x="52" y="103"/>
                  </a:lnTo>
                  <a:lnTo>
                    <a:pt x="44" y="114"/>
                  </a:lnTo>
                  <a:lnTo>
                    <a:pt x="38" y="123"/>
                  </a:lnTo>
                  <a:lnTo>
                    <a:pt x="31" y="134"/>
                  </a:lnTo>
                  <a:lnTo>
                    <a:pt x="26" y="146"/>
                  </a:lnTo>
                  <a:lnTo>
                    <a:pt x="20" y="157"/>
                  </a:lnTo>
                  <a:lnTo>
                    <a:pt x="16" y="168"/>
                  </a:lnTo>
                  <a:lnTo>
                    <a:pt x="12" y="180"/>
                  </a:lnTo>
                  <a:lnTo>
                    <a:pt x="9" y="192"/>
                  </a:lnTo>
                  <a:lnTo>
                    <a:pt x="5" y="205"/>
                  </a:lnTo>
                  <a:lnTo>
                    <a:pt x="3" y="218"/>
                  </a:lnTo>
                  <a:lnTo>
                    <a:pt x="1" y="231"/>
                  </a:lnTo>
                  <a:lnTo>
                    <a:pt x="0" y="243"/>
                  </a:lnTo>
                  <a:lnTo>
                    <a:pt x="0" y="256"/>
                  </a:lnTo>
                  <a:lnTo>
                    <a:pt x="1" y="277"/>
                  </a:lnTo>
                  <a:lnTo>
                    <a:pt x="3" y="298"/>
                  </a:lnTo>
                  <a:lnTo>
                    <a:pt x="8" y="317"/>
                  </a:lnTo>
                  <a:lnTo>
                    <a:pt x="13" y="338"/>
                  </a:lnTo>
                  <a:lnTo>
                    <a:pt x="20" y="356"/>
                  </a:lnTo>
                  <a:lnTo>
                    <a:pt x="29" y="374"/>
                  </a:lnTo>
                  <a:lnTo>
                    <a:pt x="39" y="391"/>
                  </a:lnTo>
                  <a:lnTo>
                    <a:pt x="50" y="409"/>
                  </a:lnTo>
                  <a:lnTo>
                    <a:pt x="63" y="424"/>
                  </a:lnTo>
                  <a:lnTo>
                    <a:pt x="77" y="439"/>
                  </a:lnTo>
                  <a:lnTo>
                    <a:pt x="91" y="451"/>
                  </a:lnTo>
                  <a:lnTo>
                    <a:pt x="107" y="464"/>
                  </a:lnTo>
                  <a:lnTo>
                    <a:pt x="124" y="475"/>
                  </a:lnTo>
                  <a:lnTo>
                    <a:pt x="143" y="485"/>
                  </a:lnTo>
                  <a:lnTo>
                    <a:pt x="161" y="493"/>
                  </a:lnTo>
                  <a:lnTo>
                    <a:pt x="181" y="501"/>
                  </a:lnTo>
                  <a:lnTo>
                    <a:pt x="181" y="543"/>
                  </a:lnTo>
                  <a:lnTo>
                    <a:pt x="181" y="545"/>
                  </a:lnTo>
                  <a:lnTo>
                    <a:pt x="182" y="548"/>
                  </a:lnTo>
                  <a:lnTo>
                    <a:pt x="183" y="550"/>
                  </a:lnTo>
                  <a:lnTo>
                    <a:pt x="186" y="553"/>
                  </a:lnTo>
                  <a:lnTo>
                    <a:pt x="188" y="554"/>
                  </a:lnTo>
                  <a:lnTo>
                    <a:pt x="190" y="557"/>
                  </a:lnTo>
                  <a:lnTo>
                    <a:pt x="193" y="557"/>
                  </a:lnTo>
                  <a:lnTo>
                    <a:pt x="196" y="558"/>
                  </a:lnTo>
                  <a:lnTo>
                    <a:pt x="316" y="558"/>
                  </a:lnTo>
                  <a:lnTo>
                    <a:pt x="320" y="557"/>
                  </a:lnTo>
                  <a:lnTo>
                    <a:pt x="322" y="557"/>
                  </a:lnTo>
                  <a:lnTo>
                    <a:pt x="325" y="554"/>
                  </a:lnTo>
                  <a:lnTo>
                    <a:pt x="327" y="553"/>
                  </a:lnTo>
                  <a:lnTo>
                    <a:pt x="329" y="550"/>
                  </a:lnTo>
                  <a:lnTo>
                    <a:pt x="330" y="548"/>
                  </a:lnTo>
                  <a:lnTo>
                    <a:pt x="331" y="545"/>
                  </a:lnTo>
                  <a:lnTo>
                    <a:pt x="331" y="543"/>
                  </a:lnTo>
                  <a:lnTo>
                    <a:pt x="331" y="501"/>
                  </a:lnTo>
                  <a:lnTo>
                    <a:pt x="351" y="493"/>
                  </a:lnTo>
                  <a:lnTo>
                    <a:pt x="370" y="485"/>
                  </a:lnTo>
                  <a:lnTo>
                    <a:pt x="388" y="475"/>
                  </a:lnTo>
                  <a:lnTo>
                    <a:pt x="404" y="464"/>
                  </a:lnTo>
                  <a:lnTo>
                    <a:pt x="420" y="451"/>
                  </a:lnTo>
                  <a:lnTo>
                    <a:pt x="436" y="439"/>
                  </a:lnTo>
                  <a:lnTo>
                    <a:pt x="449" y="424"/>
                  </a:lnTo>
                  <a:lnTo>
                    <a:pt x="462" y="409"/>
                  </a:lnTo>
                  <a:lnTo>
                    <a:pt x="473" y="391"/>
                  </a:lnTo>
                  <a:lnTo>
                    <a:pt x="483" y="374"/>
                  </a:lnTo>
                  <a:lnTo>
                    <a:pt x="491" y="356"/>
                  </a:lnTo>
                  <a:lnTo>
                    <a:pt x="499" y="338"/>
                  </a:lnTo>
                  <a:lnTo>
                    <a:pt x="504" y="317"/>
                  </a:lnTo>
                  <a:lnTo>
                    <a:pt x="508" y="298"/>
                  </a:lnTo>
                  <a:lnTo>
                    <a:pt x="512" y="277"/>
                  </a:lnTo>
                  <a:lnTo>
                    <a:pt x="512" y="256"/>
                  </a:lnTo>
                  <a:lnTo>
                    <a:pt x="512" y="243"/>
                  </a:lnTo>
                  <a:lnTo>
                    <a:pt x="511" y="231"/>
                  </a:lnTo>
                  <a:lnTo>
                    <a:pt x="510" y="218"/>
                  </a:lnTo>
                  <a:lnTo>
                    <a:pt x="507" y="205"/>
                  </a:lnTo>
                  <a:lnTo>
                    <a:pt x="504" y="192"/>
                  </a:lnTo>
                  <a:lnTo>
                    <a:pt x="501" y="180"/>
                  </a:lnTo>
                  <a:lnTo>
                    <a:pt x="497" y="168"/>
                  </a:lnTo>
                  <a:lnTo>
                    <a:pt x="492" y="157"/>
                  </a:lnTo>
                  <a:lnTo>
                    <a:pt x="487" y="146"/>
                  </a:lnTo>
                  <a:lnTo>
                    <a:pt x="482" y="134"/>
                  </a:lnTo>
                  <a:lnTo>
                    <a:pt x="475" y="123"/>
                  </a:lnTo>
                  <a:lnTo>
                    <a:pt x="469" y="114"/>
                  </a:lnTo>
                  <a:lnTo>
                    <a:pt x="461" y="103"/>
                  </a:lnTo>
                  <a:lnTo>
                    <a:pt x="454" y="93"/>
                  </a:lnTo>
                  <a:lnTo>
                    <a:pt x="445" y="85"/>
                  </a:lnTo>
                  <a:lnTo>
                    <a:pt x="437" y="75"/>
                  </a:lnTo>
                  <a:lnTo>
                    <a:pt x="428" y="67"/>
                  </a:lnTo>
                  <a:lnTo>
                    <a:pt x="418" y="59"/>
                  </a:lnTo>
                  <a:lnTo>
                    <a:pt x="409" y="52"/>
                  </a:lnTo>
                  <a:lnTo>
                    <a:pt x="399" y="44"/>
                  </a:lnTo>
                  <a:lnTo>
                    <a:pt x="388" y="38"/>
                  </a:lnTo>
                  <a:lnTo>
                    <a:pt x="378" y="31"/>
                  </a:lnTo>
                  <a:lnTo>
                    <a:pt x="367" y="26"/>
                  </a:lnTo>
                  <a:lnTo>
                    <a:pt x="356" y="20"/>
                  </a:lnTo>
                  <a:lnTo>
                    <a:pt x="344" y="16"/>
                  </a:lnTo>
                  <a:lnTo>
                    <a:pt x="333" y="12"/>
                  </a:lnTo>
                  <a:lnTo>
                    <a:pt x="320" y="9"/>
                  </a:lnTo>
                  <a:lnTo>
                    <a:pt x="308" y="5"/>
                  </a:lnTo>
                  <a:lnTo>
                    <a:pt x="295" y="3"/>
                  </a:lnTo>
                  <a:lnTo>
                    <a:pt x="282" y="2"/>
                  </a:lnTo>
                  <a:lnTo>
                    <a:pt x="269" y="1"/>
                  </a:lnTo>
                  <a:lnTo>
                    <a:pt x="256" y="0"/>
                  </a:lnTo>
                  <a:close/>
                </a:path>
              </a:pathLst>
            </a:custGeom>
            <a:grpFill/>
            <a:ln>
              <a:solidFill>
                <a:schemeClr val="bg1">
                  <a:lumMod val="50000"/>
                </a:schemeClr>
              </a:solid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endParaRPr>
            </a:p>
          </p:txBody>
        </p:sp>
        <p:sp>
          <p:nvSpPr>
            <p:cNvPr id="9" name="Freeform 210"/>
            <p:cNvSpPr>
              <a:spLocks/>
            </p:cNvSpPr>
            <p:nvPr/>
          </p:nvSpPr>
          <p:spPr bwMode="auto">
            <a:xfrm>
              <a:off x="11045825" y="2363788"/>
              <a:ext cx="28575" cy="9525"/>
            </a:xfrm>
            <a:custGeom>
              <a:avLst/>
              <a:gdLst>
                <a:gd name="T0" fmla="*/ 75 w 90"/>
                <a:gd name="T1" fmla="*/ 0 h 30"/>
                <a:gd name="T2" fmla="*/ 15 w 90"/>
                <a:gd name="T3" fmla="*/ 0 h 30"/>
                <a:gd name="T4" fmla="*/ 12 w 90"/>
                <a:gd name="T5" fmla="*/ 0 h 30"/>
                <a:gd name="T6" fmla="*/ 9 w 90"/>
                <a:gd name="T7" fmla="*/ 1 h 30"/>
                <a:gd name="T8" fmla="*/ 6 w 90"/>
                <a:gd name="T9" fmla="*/ 2 h 30"/>
                <a:gd name="T10" fmla="*/ 4 w 90"/>
                <a:gd name="T11" fmla="*/ 5 h 30"/>
                <a:gd name="T12" fmla="*/ 2 w 90"/>
                <a:gd name="T13" fmla="*/ 7 h 30"/>
                <a:gd name="T14" fmla="*/ 1 w 90"/>
                <a:gd name="T15" fmla="*/ 9 h 30"/>
                <a:gd name="T16" fmla="*/ 0 w 90"/>
                <a:gd name="T17" fmla="*/ 12 h 30"/>
                <a:gd name="T18" fmla="*/ 0 w 90"/>
                <a:gd name="T19" fmla="*/ 15 h 30"/>
                <a:gd name="T20" fmla="*/ 0 w 90"/>
                <a:gd name="T21" fmla="*/ 19 h 30"/>
                <a:gd name="T22" fmla="*/ 1 w 90"/>
                <a:gd name="T23" fmla="*/ 21 h 30"/>
                <a:gd name="T24" fmla="*/ 2 w 90"/>
                <a:gd name="T25" fmla="*/ 24 h 30"/>
                <a:gd name="T26" fmla="*/ 4 w 90"/>
                <a:gd name="T27" fmla="*/ 26 h 30"/>
                <a:gd name="T28" fmla="*/ 6 w 90"/>
                <a:gd name="T29" fmla="*/ 28 h 30"/>
                <a:gd name="T30" fmla="*/ 9 w 90"/>
                <a:gd name="T31" fmla="*/ 29 h 30"/>
                <a:gd name="T32" fmla="*/ 12 w 90"/>
                <a:gd name="T33" fmla="*/ 30 h 30"/>
                <a:gd name="T34" fmla="*/ 15 w 90"/>
                <a:gd name="T35" fmla="*/ 30 h 30"/>
                <a:gd name="T36" fmla="*/ 75 w 90"/>
                <a:gd name="T37" fmla="*/ 30 h 30"/>
                <a:gd name="T38" fmla="*/ 78 w 90"/>
                <a:gd name="T39" fmla="*/ 30 h 30"/>
                <a:gd name="T40" fmla="*/ 80 w 90"/>
                <a:gd name="T41" fmla="*/ 29 h 30"/>
                <a:gd name="T42" fmla="*/ 84 w 90"/>
                <a:gd name="T43" fmla="*/ 27 h 30"/>
                <a:gd name="T44" fmla="*/ 86 w 90"/>
                <a:gd name="T45" fmla="*/ 26 h 30"/>
                <a:gd name="T46" fmla="*/ 88 w 90"/>
                <a:gd name="T47" fmla="*/ 24 h 30"/>
                <a:gd name="T48" fmla="*/ 89 w 90"/>
                <a:gd name="T49" fmla="*/ 21 h 30"/>
                <a:gd name="T50" fmla="*/ 90 w 90"/>
                <a:gd name="T51" fmla="*/ 19 h 30"/>
                <a:gd name="T52" fmla="*/ 90 w 90"/>
                <a:gd name="T53" fmla="*/ 15 h 30"/>
                <a:gd name="T54" fmla="*/ 90 w 90"/>
                <a:gd name="T55" fmla="*/ 12 h 30"/>
                <a:gd name="T56" fmla="*/ 89 w 90"/>
                <a:gd name="T57" fmla="*/ 9 h 30"/>
                <a:gd name="T58" fmla="*/ 88 w 90"/>
                <a:gd name="T59" fmla="*/ 7 h 30"/>
                <a:gd name="T60" fmla="*/ 86 w 90"/>
                <a:gd name="T61" fmla="*/ 5 h 30"/>
                <a:gd name="T62" fmla="*/ 84 w 90"/>
                <a:gd name="T63" fmla="*/ 2 h 30"/>
                <a:gd name="T64" fmla="*/ 80 w 90"/>
                <a:gd name="T65" fmla="*/ 1 h 30"/>
                <a:gd name="T66" fmla="*/ 78 w 90"/>
                <a:gd name="T67" fmla="*/ 0 h 30"/>
                <a:gd name="T68" fmla="*/ 75 w 90"/>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0" h="30">
                  <a:moveTo>
                    <a:pt x="75" y="0"/>
                  </a:moveTo>
                  <a:lnTo>
                    <a:pt x="15" y="0"/>
                  </a:lnTo>
                  <a:lnTo>
                    <a:pt x="12" y="0"/>
                  </a:lnTo>
                  <a:lnTo>
                    <a:pt x="9" y="1"/>
                  </a:lnTo>
                  <a:lnTo>
                    <a:pt x="6" y="2"/>
                  </a:lnTo>
                  <a:lnTo>
                    <a:pt x="4" y="5"/>
                  </a:lnTo>
                  <a:lnTo>
                    <a:pt x="2" y="7"/>
                  </a:lnTo>
                  <a:lnTo>
                    <a:pt x="1" y="9"/>
                  </a:lnTo>
                  <a:lnTo>
                    <a:pt x="0" y="12"/>
                  </a:lnTo>
                  <a:lnTo>
                    <a:pt x="0" y="15"/>
                  </a:lnTo>
                  <a:lnTo>
                    <a:pt x="0" y="19"/>
                  </a:lnTo>
                  <a:lnTo>
                    <a:pt x="1" y="21"/>
                  </a:lnTo>
                  <a:lnTo>
                    <a:pt x="2" y="24"/>
                  </a:lnTo>
                  <a:lnTo>
                    <a:pt x="4" y="26"/>
                  </a:lnTo>
                  <a:lnTo>
                    <a:pt x="6" y="28"/>
                  </a:lnTo>
                  <a:lnTo>
                    <a:pt x="9" y="29"/>
                  </a:lnTo>
                  <a:lnTo>
                    <a:pt x="12" y="30"/>
                  </a:lnTo>
                  <a:lnTo>
                    <a:pt x="15" y="30"/>
                  </a:lnTo>
                  <a:lnTo>
                    <a:pt x="75" y="30"/>
                  </a:lnTo>
                  <a:lnTo>
                    <a:pt x="78" y="30"/>
                  </a:lnTo>
                  <a:lnTo>
                    <a:pt x="80" y="29"/>
                  </a:lnTo>
                  <a:lnTo>
                    <a:pt x="84" y="27"/>
                  </a:lnTo>
                  <a:lnTo>
                    <a:pt x="86" y="26"/>
                  </a:lnTo>
                  <a:lnTo>
                    <a:pt x="88" y="24"/>
                  </a:lnTo>
                  <a:lnTo>
                    <a:pt x="89" y="21"/>
                  </a:lnTo>
                  <a:lnTo>
                    <a:pt x="90" y="19"/>
                  </a:lnTo>
                  <a:lnTo>
                    <a:pt x="90" y="15"/>
                  </a:lnTo>
                  <a:lnTo>
                    <a:pt x="90" y="12"/>
                  </a:lnTo>
                  <a:lnTo>
                    <a:pt x="89" y="9"/>
                  </a:lnTo>
                  <a:lnTo>
                    <a:pt x="88" y="7"/>
                  </a:lnTo>
                  <a:lnTo>
                    <a:pt x="86" y="5"/>
                  </a:lnTo>
                  <a:lnTo>
                    <a:pt x="84" y="2"/>
                  </a:lnTo>
                  <a:lnTo>
                    <a:pt x="80" y="1"/>
                  </a:lnTo>
                  <a:lnTo>
                    <a:pt x="78" y="0"/>
                  </a:lnTo>
                  <a:lnTo>
                    <a:pt x="75" y="0"/>
                  </a:lnTo>
                  <a:close/>
                </a:path>
              </a:pathLst>
            </a:custGeom>
            <a:grpFill/>
            <a:ln>
              <a:solidFill>
                <a:schemeClr val="bg1">
                  <a:lumMod val="50000"/>
                </a:schemeClr>
              </a:solid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endParaRPr>
            </a:p>
          </p:txBody>
        </p:sp>
        <p:sp>
          <p:nvSpPr>
            <p:cNvPr id="10" name="Freeform 211"/>
            <p:cNvSpPr>
              <a:spLocks/>
            </p:cNvSpPr>
            <p:nvPr/>
          </p:nvSpPr>
          <p:spPr bwMode="auto">
            <a:xfrm>
              <a:off x="11074400" y="2276475"/>
              <a:ext cx="33338" cy="33338"/>
            </a:xfrm>
            <a:custGeom>
              <a:avLst/>
              <a:gdLst>
                <a:gd name="T0" fmla="*/ 90 w 105"/>
                <a:gd name="T1" fmla="*/ 105 h 105"/>
                <a:gd name="T2" fmla="*/ 93 w 105"/>
                <a:gd name="T3" fmla="*/ 105 h 105"/>
                <a:gd name="T4" fmla="*/ 97 w 105"/>
                <a:gd name="T5" fmla="*/ 104 h 105"/>
                <a:gd name="T6" fmla="*/ 99 w 105"/>
                <a:gd name="T7" fmla="*/ 103 h 105"/>
                <a:gd name="T8" fmla="*/ 101 w 105"/>
                <a:gd name="T9" fmla="*/ 101 h 105"/>
                <a:gd name="T10" fmla="*/ 103 w 105"/>
                <a:gd name="T11" fmla="*/ 99 h 105"/>
                <a:gd name="T12" fmla="*/ 104 w 105"/>
                <a:gd name="T13" fmla="*/ 97 h 105"/>
                <a:gd name="T14" fmla="*/ 105 w 105"/>
                <a:gd name="T15" fmla="*/ 93 h 105"/>
                <a:gd name="T16" fmla="*/ 105 w 105"/>
                <a:gd name="T17" fmla="*/ 90 h 105"/>
                <a:gd name="T18" fmla="*/ 105 w 105"/>
                <a:gd name="T19" fmla="*/ 88 h 105"/>
                <a:gd name="T20" fmla="*/ 104 w 105"/>
                <a:gd name="T21" fmla="*/ 85 h 105"/>
                <a:gd name="T22" fmla="*/ 103 w 105"/>
                <a:gd name="T23" fmla="*/ 83 h 105"/>
                <a:gd name="T24" fmla="*/ 101 w 105"/>
                <a:gd name="T25" fmla="*/ 79 h 105"/>
                <a:gd name="T26" fmla="*/ 26 w 105"/>
                <a:gd name="T27" fmla="*/ 4 h 105"/>
                <a:gd name="T28" fmla="*/ 24 w 105"/>
                <a:gd name="T29" fmla="*/ 2 h 105"/>
                <a:gd name="T30" fmla="*/ 20 w 105"/>
                <a:gd name="T31" fmla="*/ 1 h 105"/>
                <a:gd name="T32" fmla="*/ 18 w 105"/>
                <a:gd name="T33" fmla="*/ 0 h 105"/>
                <a:gd name="T34" fmla="*/ 15 w 105"/>
                <a:gd name="T35" fmla="*/ 0 h 105"/>
                <a:gd name="T36" fmla="*/ 12 w 105"/>
                <a:gd name="T37" fmla="*/ 0 h 105"/>
                <a:gd name="T38" fmla="*/ 10 w 105"/>
                <a:gd name="T39" fmla="*/ 1 h 105"/>
                <a:gd name="T40" fmla="*/ 6 w 105"/>
                <a:gd name="T41" fmla="*/ 3 h 105"/>
                <a:gd name="T42" fmla="*/ 4 w 105"/>
                <a:gd name="T43" fmla="*/ 4 h 105"/>
                <a:gd name="T44" fmla="*/ 2 w 105"/>
                <a:gd name="T45" fmla="*/ 6 h 105"/>
                <a:gd name="T46" fmla="*/ 1 w 105"/>
                <a:gd name="T47" fmla="*/ 10 h 105"/>
                <a:gd name="T48" fmla="*/ 0 w 105"/>
                <a:gd name="T49" fmla="*/ 13 h 105"/>
                <a:gd name="T50" fmla="*/ 0 w 105"/>
                <a:gd name="T51" fmla="*/ 15 h 105"/>
                <a:gd name="T52" fmla="*/ 0 w 105"/>
                <a:gd name="T53" fmla="*/ 18 h 105"/>
                <a:gd name="T54" fmla="*/ 1 w 105"/>
                <a:gd name="T55" fmla="*/ 21 h 105"/>
                <a:gd name="T56" fmla="*/ 2 w 105"/>
                <a:gd name="T57" fmla="*/ 24 h 105"/>
                <a:gd name="T58" fmla="*/ 4 w 105"/>
                <a:gd name="T59" fmla="*/ 26 h 105"/>
                <a:gd name="T60" fmla="*/ 79 w 105"/>
                <a:gd name="T61" fmla="*/ 101 h 105"/>
                <a:gd name="T62" fmla="*/ 83 w 105"/>
                <a:gd name="T63" fmla="*/ 103 h 105"/>
                <a:gd name="T64" fmla="*/ 85 w 105"/>
                <a:gd name="T65" fmla="*/ 104 h 105"/>
                <a:gd name="T66" fmla="*/ 88 w 105"/>
                <a:gd name="T67" fmla="*/ 105 h 105"/>
                <a:gd name="T68" fmla="*/ 90 w 105"/>
                <a:gd name="T69"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5" h="105">
                  <a:moveTo>
                    <a:pt x="90" y="105"/>
                  </a:moveTo>
                  <a:lnTo>
                    <a:pt x="93" y="105"/>
                  </a:lnTo>
                  <a:lnTo>
                    <a:pt x="97" y="104"/>
                  </a:lnTo>
                  <a:lnTo>
                    <a:pt x="99" y="103"/>
                  </a:lnTo>
                  <a:lnTo>
                    <a:pt x="101" y="101"/>
                  </a:lnTo>
                  <a:lnTo>
                    <a:pt x="103" y="99"/>
                  </a:lnTo>
                  <a:lnTo>
                    <a:pt x="104" y="97"/>
                  </a:lnTo>
                  <a:lnTo>
                    <a:pt x="105" y="93"/>
                  </a:lnTo>
                  <a:lnTo>
                    <a:pt x="105" y="90"/>
                  </a:lnTo>
                  <a:lnTo>
                    <a:pt x="105" y="88"/>
                  </a:lnTo>
                  <a:lnTo>
                    <a:pt x="104" y="85"/>
                  </a:lnTo>
                  <a:lnTo>
                    <a:pt x="103" y="83"/>
                  </a:lnTo>
                  <a:lnTo>
                    <a:pt x="101" y="79"/>
                  </a:lnTo>
                  <a:lnTo>
                    <a:pt x="26" y="4"/>
                  </a:lnTo>
                  <a:lnTo>
                    <a:pt x="24" y="2"/>
                  </a:lnTo>
                  <a:lnTo>
                    <a:pt x="20" y="1"/>
                  </a:lnTo>
                  <a:lnTo>
                    <a:pt x="18" y="0"/>
                  </a:lnTo>
                  <a:lnTo>
                    <a:pt x="15" y="0"/>
                  </a:lnTo>
                  <a:lnTo>
                    <a:pt x="12" y="0"/>
                  </a:lnTo>
                  <a:lnTo>
                    <a:pt x="10" y="1"/>
                  </a:lnTo>
                  <a:lnTo>
                    <a:pt x="6" y="3"/>
                  </a:lnTo>
                  <a:lnTo>
                    <a:pt x="4" y="4"/>
                  </a:lnTo>
                  <a:lnTo>
                    <a:pt x="2" y="6"/>
                  </a:lnTo>
                  <a:lnTo>
                    <a:pt x="1" y="10"/>
                  </a:lnTo>
                  <a:lnTo>
                    <a:pt x="0" y="13"/>
                  </a:lnTo>
                  <a:lnTo>
                    <a:pt x="0" y="15"/>
                  </a:lnTo>
                  <a:lnTo>
                    <a:pt x="0" y="18"/>
                  </a:lnTo>
                  <a:lnTo>
                    <a:pt x="1" y="21"/>
                  </a:lnTo>
                  <a:lnTo>
                    <a:pt x="2" y="24"/>
                  </a:lnTo>
                  <a:lnTo>
                    <a:pt x="4" y="26"/>
                  </a:lnTo>
                  <a:lnTo>
                    <a:pt x="79" y="101"/>
                  </a:lnTo>
                  <a:lnTo>
                    <a:pt x="83" y="103"/>
                  </a:lnTo>
                  <a:lnTo>
                    <a:pt x="85" y="104"/>
                  </a:lnTo>
                  <a:lnTo>
                    <a:pt x="88" y="105"/>
                  </a:lnTo>
                  <a:lnTo>
                    <a:pt x="90" y="105"/>
                  </a:lnTo>
                  <a:close/>
                </a:path>
              </a:pathLst>
            </a:custGeom>
            <a:grpFill/>
            <a:ln>
              <a:solidFill>
                <a:schemeClr val="bg1">
                  <a:lumMod val="50000"/>
                </a:schemeClr>
              </a:solid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endParaRPr>
            </a:p>
          </p:txBody>
        </p:sp>
        <p:sp>
          <p:nvSpPr>
            <p:cNvPr id="11" name="Freeform 212"/>
            <p:cNvSpPr>
              <a:spLocks/>
            </p:cNvSpPr>
            <p:nvPr/>
          </p:nvSpPr>
          <p:spPr bwMode="auto">
            <a:xfrm>
              <a:off x="11169650" y="2247900"/>
              <a:ext cx="9525" cy="28575"/>
            </a:xfrm>
            <a:custGeom>
              <a:avLst/>
              <a:gdLst>
                <a:gd name="T0" fmla="*/ 15 w 30"/>
                <a:gd name="T1" fmla="*/ 90 h 90"/>
                <a:gd name="T2" fmla="*/ 19 w 30"/>
                <a:gd name="T3" fmla="*/ 90 h 90"/>
                <a:gd name="T4" fmla="*/ 21 w 30"/>
                <a:gd name="T5" fmla="*/ 89 h 90"/>
                <a:gd name="T6" fmla="*/ 24 w 30"/>
                <a:gd name="T7" fmla="*/ 88 h 90"/>
                <a:gd name="T8" fmla="*/ 26 w 30"/>
                <a:gd name="T9" fmla="*/ 86 h 90"/>
                <a:gd name="T10" fmla="*/ 27 w 30"/>
                <a:gd name="T11" fmla="*/ 84 h 90"/>
                <a:gd name="T12" fmla="*/ 29 w 30"/>
                <a:gd name="T13" fmla="*/ 81 h 90"/>
                <a:gd name="T14" fmla="*/ 30 w 30"/>
                <a:gd name="T15" fmla="*/ 78 h 90"/>
                <a:gd name="T16" fmla="*/ 30 w 30"/>
                <a:gd name="T17" fmla="*/ 75 h 90"/>
                <a:gd name="T18" fmla="*/ 30 w 30"/>
                <a:gd name="T19" fmla="*/ 15 h 90"/>
                <a:gd name="T20" fmla="*/ 30 w 30"/>
                <a:gd name="T21" fmla="*/ 12 h 90"/>
                <a:gd name="T22" fmla="*/ 29 w 30"/>
                <a:gd name="T23" fmla="*/ 10 h 90"/>
                <a:gd name="T24" fmla="*/ 27 w 30"/>
                <a:gd name="T25" fmla="*/ 6 h 90"/>
                <a:gd name="T26" fmla="*/ 26 w 30"/>
                <a:gd name="T27" fmla="*/ 4 h 90"/>
                <a:gd name="T28" fmla="*/ 24 w 30"/>
                <a:gd name="T29" fmla="*/ 2 h 90"/>
                <a:gd name="T30" fmla="*/ 21 w 30"/>
                <a:gd name="T31" fmla="*/ 1 h 90"/>
                <a:gd name="T32" fmla="*/ 19 w 30"/>
                <a:gd name="T33" fmla="*/ 0 h 90"/>
                <a:gd name="T34" fmla="*/ 15 w 30"/>
                <a:gd name="T35" fmla="*/ 0 h 90"/>
                <a:gd name="T36" fmla="*/ 12 w 30"/>
                <a:gd name="T37" fmla="*/ 0 h 90"/>
                <a:gd name="T38" fmla="*/ 9 w 30"/>
                <a:gd name="T39" fmla="*/ 1 h 90"/>
                <a:gd name="T40" fmla="*/ 7 w 30"/>
                <a:gd name="T41" fmla="*/ 2 h 90"/>
                <a:gd name="T42" fmla="*/ 5 w 30"/>
                <a:gd name="T43" fmla="*/ 4 h 90"/>
                <a:gd name="T44" fmla="*/ 3 w 30"/>
                <a:gd name="T45" fmla="*/ 6 h 90"/>
                <a:gd name="T46" fmla="*/ 1 w 30"/>
                <a:gd name="T47" fmla="*/ 10 h 90"/>
                <a:gd name="T48" fmla="*/ 0 w 30"/>
                <a:gd name="T49" fmla="*/ 12 h 90"/>
                <a:gd name="T50" fmla="*/ 0 w 30"/>
                <a:gd name="T51" fmla="*/ 15 h 90"/>
                <a:gd name="T52" fmla="*/ 0 w 30"/>
                <a:gd name="T53" fmla="*/ 75 h 90"/>
                <a:gd name="T54" fmla="*/ 0 w 30"/>
                <a:gd name="T55" fmla="*/ 78 h 90"/>
                <a:gd name="T56" fmla="*/ 1 w 30"/>
                <a:gd name="T57" fmla="*/ 81 h 90"/>
                <a:gd name="T58" fmla="*/ 3 w 30"/>
                <a:gd name="T59" fmla="*/ 84 h 90"/>
                <a:gd name="T60" fmla="*/ 5 w 30"/>
                <a:gd name="T61" fmla="*/ 86 h 90"/>
                <a:gd name="T62" fmla="*/ 7 w 30"/>
                <a:gd name="T63" fmla="*/ 88 h 90"/>
                <a:gd name="T64" fmla="*/ 9 w 30"/>
                <a:gd name="T65" fmla="*/ 89 h 90"/>
                <a:gd name="T66" fmla="*/ 12 w 30"/>
                <a:gd name="T67" fmla="*/ 90 h 90"/>
                <a:gd name="T68" fmla="*/ 15 w 30"/>
                <a:gd name="T69"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 h="90">
                  <a:moveTo>
                    <a:pt x="15" y="90"/>
                  </a:moveTo>
                  <a:lnTo>
                    <a:pt x="19" y="90"/>
                  </a:lnTo>
                  <a:lnTo>
                    <a:pt x="21" y="89"/>
                  </a:lnTo>
                  <a:lnTo>
                    <a:pt x="24" y="88"/>
                  </a:lnTo>
                  <a:lnTo>
                    <a:pt x="26" y="86"/>
                  </a:lnTo>
                  <a:lnTo>
                    <a:pt x="27" y="84"/>
                  </a:lnTo>
                  <a:lnTo>
                    <a:pt x="29" y="81"/>
                  </a:lnTo>
                  <a:lnTo>
                    <a:pt x="30" y="78"/>
                  </a:lnTo>
                  <a:lnTo>
                    <a:pt x="30" y="75"/>
                  </a:lnTo>
                  <a:lnTo>
                    <a:pt x="30" y="15"/>
                  </a:lnTo>
                  <a:lnTo>
                    <a:pt x="30" y="12"/>
                  </a:lnTo>
                  <a:lnTo>
                    <a:pt x="29" y="10"/>
                  </a:lnTo>
                  <a:lnTo>
                    <a:pt x="27" y="6"/>
                  </a:lnTo>
                  <a:lnTo>
                    <a:pt x="26" y="4"/>
                  </a:lnTo>
                  <a:lnTo>
                    <a:pt x="24" y="2"/>
                  </a:lnTo>
                  <a:lnTo>
                    <a:pt x="21" y="1"/>
                  </a:lnTo>
                  <a:lnTo>
                    <a:pt x="19" y="0"/>
                  </a:lnTo>
                  <a:lnTo>
                    <a:pt x="15" y="0"/>
                  </a:lnTo>
                  <a:lnTo>
                    <a:pt x="12" y="0"/>
                  </a:lnTo>
                  <a:lnTo>
                    <a:pt x="9" y="1"/>
                  </a:lnTo>
                  <a:lnTo>
                    <a:pt x="7" y="2"/>
                  </a:lnTo>
                  <a:lnTo>
                    <a:pt x="5" y="4"/>
                  </a:lnTo>
                  <a:lnTo>
                    <a:pt x="3" y="6"/>
                  </a:lnTo>
                  <a:lnTo>
                    <a:pt x="1" y="10"/>
                  </a:lnTo>
                  <a:lnTo>
                    <a:pt x="0" y="12"/>
                  </a:lnTo>
                  <a:lnTo>
                    <a:pt x="0" y="15"/>
                  </a:lnTo>
                  <a:lnTo>
                    <a:pt x="0" y="75"/>
                  </a:lnTo>
                  <a:lnTo>
                    <a:pt x="0" y="78"/>
                  </a:lnTo>
                  <a:lnTo>
                    <a:pt x="1" y="81"/>
                  </a:lnTo>
                  <a:lnTo>
                    <a:pt x="3" y="84"/>
                  </a:lnTo>
                  <a:lnTo>
                    <a:pt x="5" y="86"/>
                  </a:lnTo>
                  <a:lnTo>
                    <a:pt x="7" y="88"/>
                  </a:lnTo>
                  <a:lnTo>
                    <a:pt x="9" y="89"/>
                  </a:lnTo>
                  <a:lnTo>
                    <a:pt x="12" y="90"/>
                  </a:lnTo>
                  <a:lnTo>
                    <a:pt x="15" y="90"/>
                  </a:lnTo>
                  <a:close/>
                </a:path>
              </a:pathLst>
            </a:custGeom>
            <a:grpFill/>
            <a:ln>
              <a:solidFill>
                <a:schemeClr val="bg1">
                  <a:lumMod val="50000"/>
                </a:schemeClr>
              </a:solid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endParaRPr>
            </a:p>
          </p:txBody>
        </p:sp>
        <p:sp>
          <p:nvSpPr>
            <p:cNvPr id="12" name="Freeform 213"/>
            <p:cNvSpPr>
              <a:spLocks/>
            </p:cNvSpPr>
            <p:nvPr/>
          </p:nvSpPr>
          <p:spPr bwMode="auto">
            <a:xfrm>
              <a:off x="11242675" y="2276475"/>
              <a:ext cx="33338" cy="33338"/>
            </a:xfrm>
            <a:custGeom>
              <a:avLst/>
              <a:gdLst>
                <a:gd name="T0" fmla="*/ 100 w 106"/>
                <a:gd name="T1" fmla="*/ 4 h 105"/>
                <a:gd name="T2" fmla="*/ 98 w 106"/>
                <a:gd name="T3" fmla="*/ 2 h 105"/>
                <a:gd name="T4" fmla="*/ 96 w 106"/>
                <a:gd name="T5" fmla="*/ 1 h 105"/>
                <a:gd name="T6" fmla="*/ 93 w 106"/>
                <a:gd name="T7" fmla="*/ 0 h 105"/>
                <a:gd name="T8" fmla="*/ 90 w 106"/>
                <a:gd name="T9" fmla="*/ 0 h 105"/>
                <a:gd name="T10" fmla="*/ 88 w 106"/>
                <a:gd name="T11" fmla="*/ 0 h 105"/>
                <a:gd name="T12" fmla="*/ 84 w 106"/>
                <a:gd name="T13" fmla="*/ 1 h 105"/>
                <a:gd name="T14" fmla="*/ 82 w 106"/>
                <a:gd name="T15" fmla="*/ 3 h 105"/>
                <a:gd name="T16" fmla="*/ 80 w 106"/>
                <a:gd name="T17" fmla="*/ 4 h 105"/>
                <a:gd name="T18" fmla="*/ 4 w 106"/>
                <a:gd name="T19" fmla="*/ 79 h 105"/>
                <a:gd name="T20" fmla="*/ 3 w 106"/>
                <a:gd name="T21" fmla="*/ 83 h 105"/>
                <a:gd name="T22" fmla="*/ 1 w 106"/>
                <a:gd name="T23" fmla="*/ 85 h 105"/>
                <a:gd name="T24" fmla="*/ 0 w 106"/>
                <a:gd name="T25" fmla="*/ 88 h 105"/>
                <a:gd name="T26" fmla="*/ 0 w 106"/>
                <a:gd name="T27" fmla="*/ 90 h 105"/>
                <a:gd name="T28" fmla="*/ 0 w 106"/>
                <a:gd name="T29" fmla="*/ 93 h 105"/>
                <a:gd name="T30" fmla="*/ 1 w 106"/>
                <a:gd name="T31" fmla="*/ 97 h 105"/>
                <a:gd name="T32" fmla="*/ 3 w 106"/>
                <a:gd name="T33" fmla="*/ 99 h 105"/>
                <a:gd name="T34" fmla="*/ 4 w 106"/>
                <a:gd name="T35" fmla="*/ 101 h 105"/>
                <a:gd name="T36" fmla="*/ 7 w 106"/>
                <a:gd name="T37" fmla="*/ 103 h 105"/>
                <a:gd name="T38" fmla="*/ 9 w 106"/>
                <a:gd name="T39" fmla="*/ 104 h 105"/>
                <a:gd name="T40" fmla="*/ 12 w 106"/>
                <a:gd name="T41" fmla="*/ 105 h 105"/>
                <a:gd name="T42" fmla="*/ 15 w 106"/>
                <a:gd name="T43" fmla="*/ 105 h 105"/>
                <a:gd name="T44" fmla="*/ 18 w 106"/>
                <a:gd name="T45" fmla="*/ 105 h 105"/>
                <a:gd name="T46" fmla="*/ 21 w 106"/>
                <a:gd name="T47" fmla="*/ 104 h 105"/>
                <a:gd name="T48" fmla="*/ 23 w 106"/>
                <a:gd name="T49" fmla="*/ 103 h 105"/>
                <a:gd name="T50" fmla="*/ 25 w 106"/>
                <a:gd name="T51" fmla="*/ 101 h 105"/>
                <a:gd name="T52" fmla="*/ 100 w 106"/>
                <a:gd name="T53" fmla="*/ 26 h 105"/>
                <a:gd name="T54" fmla="*/ 103 w 106"/>
                <a:gd name="T55" fmla="*/ 24 h 105"/>
                <a:gd name="T56" fmla="*/ 105 w 106"/>
                <a:gd name="T57" fmla="*/ 21 h 105"/>
                <a:gd name="T58" fmla="*/ 105 w 106"/>
                <a:gd name="T59" fmla="*/ 18 h 105"/>
                <a:gd name="T60" fmla="*/ 106 w 106"/>
                <a:gd name="T61" fmla="*/ 15 h 105"/>
                <a:gd name="T62" fmla="*/ 105 w 106"/>
                <a:gd name="T63" fmla="*/ 13 h 105"/>
                <a:gd name="T64" fmla="*/ 105 w 106"/>
                <a:gd name="T65" fmla="*/ 10 h 105"/>
                <a:gd name="T66" fmla="*/ 103 w 106"/>
                <a:gd name="T67" fmla="*/ 6 h 105"/>
                <a:gd name="T68" fmla="*/ 100 w 106"/>
                <a:gd name="T69" fmla="*/ 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6" h="105">
                  <a:moveTo>
                    <a:pt x="100" y="4"/>
                  </a:moveTo>
                  <a:lnTo>
                    <a:pt x="98" y="2"/>
                  </a:lnTo>
                  <a:lnTo>
                    <a:pt x="96" y="1"/>
                  </a:lnTo>
                  <a:lnTo>
                    <a:pt x="93" y="0"/>
                  </a:lnTo>
                  <a:lnTo>
                    <a:pt x="90" y="0"/>
                  </a:lnTo>
                  <a:lnTo>
                    <a:pt x="88" y="0"/>
                  </a:lnTo>
                  <a:lnTo>
                    <a:pt x="84" y="1"/>
                  </a:lnTo>
                  <a:lnTo>
                    <a:pt x="82" y="3"/>
                  </a:lnTo>
                  <a:lnTo>
                    <a:pt x="80" y="4"/>
                  </a:lnTo>
                  <a:lnTo>
                    <a:pt x="4" y="79"/>
                  </a:lnTo>
                  <a:lnTo>
                    <a:pt x="3" y="83"/>
                  </a:lnTo>
                  <a:lnTo>
                    <a:pt x="1" y="85"/>
                  </a:lnTo>
                  <a:lnTo>
                    <a:pt x="0" y="88"/>
                  </a:lnTo>
                  <a:lnTo>
                    <a:pt x="0" y="90"/>
                  </a:lnTo>
                  <a:lnTo>
                    <a:pt x="0" y="93"/>
                  </a:lnTo>
                  <a:lnTo>
                    <a:pt x="1" y="97"/>
                  </a:lnTo>
                  <a:lnTo>
                    <a:pt x="3" y="99"/>
                  </a:lnTo>
                  <a:lnTo>
                    <a:pt x="4" y="101"/>
                  </a:lnTo>
                  <a:lnTo>
                    <a:pt x="7" y="103"/>
                  </a:lnTo>
                  <a:lnTo>
                    <a:pt x="9" y="104"/>
                  </a:lnTo>
                  <a:lnTo>
                    <a:pt x="12" y="105"/>
                  </a:lnTo>
                  <a:lnTo>
                    <a:pt x="15" y="105"/>
                  </a:lnTo>
                  <a:lnTo>
                    <a:pt x="18" y="105"/>
                  </a:lnTo>
                  <a:lnTo>
                    <a:pt x="21" y="104"/>
                  </a:lnTo>
                  <a:lnTo>
                    <a:pt x="23" y="103"/>
                  </a:lnTo>
                  <a:lnTo>
                    <a:pt x="25" y="101"/>
                  </a:lnTo>
                  <a:lnTo>
                    <a:pt x="100" y="26"/>
                  </a:lnTo>
                  <a:lnTo>
                    <a:pt x="103" y="24"/>
                  </a:lnTo>
                  <a:lnTo>
                    <a:pt x="105" y="21"/>
                  </a:lnTo>
                  <a:lnTo>
                    <a:pt x="105" y="18"/>
                  </a:lnTo>
                  <a:lnTo>
                    <a:pt x="106" y="15"/>
                  </a:lnTo>
                  <a:lnTo>
                    <a:pt x="105" y="13"/>
                  </a:lnTo>
                  <a:lnTo>
                    <a:pt x="105" y="10"/>
                  </a:lnTo>
                  <a:lnTo>
                    <a:pt x="103" y="6"/>
                  </a:lnTo>
                  <a:lnTo>
                    <a:pt x="100" y="4"/>
                  </a:lnTo>
                  <a:close/>
                </a:path>
              </a:pathLst>
            </a:custGeom>
            <a:grpFill/>
            <a:ln>
              <a:solidFill>
                <a:schemeClr val="bg1">
                  <a:lumMod val="50000"/>
                </a:schemeClr>
              </a:solid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endParaRPr>
            </a:p>
          </p:txBody>
        </p:sp>
        <p:sp>
          <p:nvSpPr>
            <p:cNvPr id="13" name="Freeform 214"/>
            <p:cNvSpPr>
              <a:spLocks/>
            </p:cNvSpPr>
            <p:nvPr/>
          </p:nvSpPr>
          <p:spPr bwMode="auto">
            <a:xfrm>
              <a:off x="11276013" y="2363788"/>
              <a:ext cx="28575" cy="9525"/>
            </a:xfrm>
            <a:custGeom>
              <a:avLst/>
              <a:gdLst>
                <a:gd name="T0" fmla="*/ 75 w 90"/>
                <a:gd name="T1" fmla="*/ 0 h 30"/>
                <a:gd name="T2" fmla="*/ 15 w 90"/>
                <a:gd name="T3" fmla="*/ 0 h 30"/>
                <a:gd name="T4" fmla="*/ 12 w 90"/>
                <a:gd name="T5" fmla="*/ 0 h 30"/>
                <a:gd name="T6" fmla="*/ 8 w 90"/>
                <a:gd name="T7" fmla="*/ 1 h 30"/>
                <a:gd name="T8" fmla="*/ 6 w 90"/>
                <a:gd name="T9" fmla="*/ 2 h 30"/>
                <a:gd name="T10" fmla="*/ 4 w 90"/>
                <a:gd name="T11" fmla="*/ 5 h 30"/>
                <a:gd name="T12" fmla="*/ 2 w 90"/>
                <a:gd name="T13" fmla="*/ 7 h 30"/>
                <a:gd name="T14" fmla="*/ 1 w 90"/>
                <a:gd name="T15" fmla="*/ 9 h 30"/>
                <a:gd name="T16" fmla="*/ 0 w 90"/>
                <a:gd name="T17" fmla="*/ 12 h 30"/>
                <a:gd name="T18" fmla="*/ 0 w 90"/>
                <a:gd name="T19" fmla="*/ 15 h 30"/>
                <a:gd name="T20" fmla="*/ 0 w 90"/>
                <a:gd name="T21" fmla="*/ 19 h 30"/>
                <a:gd name="T22" fmla="*/ 1 w 90"/>
                <a:gd name="T23" fmla="*/ 21 h 30"/>
                <a:gd name="T24" fmla="*/ 2 w 90"/>
                <a:gd name="T25" fmla="*/ 24 h 30"/>
                <a:gd name="T26" fmla="*/ 4 w 90"/>
                <a:gd name="T27" fmla="*/ 26 h 30"/>
                <a:gd name="T28" fmla="*/ 6 w 90"/>
                <a:gd name="T29" fmla="*/ 28 h 30"/>
                <a:gd name="T30" fmla="*/ 8 w 90"/>
                <a:gd name="T31" fmla="*/ 29 h 30"/>
                <a:gd name="T32" fmla="*/ 12 w 90"/>
                <a:gd name="T33" fmla="*/ 30 h 30"/>
                <a:gd name="T34" fmla="*/ 15 w 90"/>
                <a:gd name="T35" fmla="*/ 30 h 30"/>
                <a:gd name="T36" fmla="*/ 75 w 90"/>
                <a:gd name="T37" fmla="*/ 30 h 30"/>
                <a:gd name="T38" fmla="*/ 78 w 90"/>
                <a:gd name="T39" fmla="*/ 30 h 30"/>
                <a:gd name="T40" fmla="*/ 80 w 90"/>
                <a:gd name="T41" fmla="*/ 29 h 30"/>
                <a:gd name="T42" fmla="*/ 83 w 90"/>
                <a:gd name="T43" fmla="*/ 27 h 30"/>
                <a:gd name="T44" fmla="*/ 86 w 90"/>
                <a:gd name="T45" fmla="*/ 26 h 30"/>
                <a:gd name="T46" fmla="*/ 87 w 90"/>
                <a:gd name="T47" fmla="*/ 24 h 30"/>
                <a:gd name="T48" fmla="*/ 89 w 90"/>
                <a:gd name="T49" fmla="*/ 21 h 30"/>
                <a:gd name="T50" fmla="*/ 89 w 90"/>
                <a:gd name="T51" fmla="*/ 19 h 30"/>
                <a:gd name="T52" fmla="*/ 90 w 90"/>
                <a:gd name="T53" fmla="*/ 15 h 30"/>
                <a:gd name="T54" fmla="*/ 89 w 90"/>
                <a:gd name="T55" fmla="*/ 12 h 30"/>
                <a:gd name="T56" fmla="*/ 89 w 90"/>
                <a:gd name="T57" fmla="*/ 9 h 30"/>
                <a:gd name="T58" fmla="*/ 87 w 90"/>
                <a:gd name="T59" fmla="*/ 7 h 30"/>
                <a:gd name="T60" fmla="*/ 86 w 90"/>
                <a:gd name="T61" fmla="*/ 5 h 30"/>
                <a:gd name="T62" fmla="*/ 83 w 90"/>
                <a:gd name="T63" fmla="*/ 2 h 30"/>
                <a:gd name="T64" fmla="*/ 80 w 90"/>
                <a:gd name="T65" fmla="*/ 1 h 30"/>
                <a:gd name="T66" fmla="*/ 77 w 90"/>
                <a:gd name="T67" fmla="*/ 0 h 30"/>
                <a:gd name="T68" fmla="*/ 75 w 90"/>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0" h="30">
                  <a:moveTo>
                    <a:pt x="75" y="0"/>
                  </a:moveTo>
                  <a:lnTo>
                    <a:pt x="15" y="0"/>
                  </a:lnTo>
                  <a:lnTo>
                    <a:pt x="12" y="0"/>
                  </a:lnTo>
                  <a:lnTo>
                    <a:pt x="8" y="1"/>
                  </a:lnTo>
                  <a:lnTo>
                    <a:pt x="6" y="2"/>
                  </a:lnTo>
                  <a:lnTo>
                    <a:pt x="4" y="5"/>
                  </a:lnTo>
                  <a:lnTo>
                    <a:pt x="2" y="7"/>
                  </a:lnTo>
                  <a:lnTo>
                    <a:pt x="1" y="9"/>
                  </a:lnTo>
                  <a:lnTo>
                    <a:pt x="0" y="12"/>
                  </a:lnTo>
                  <a:lnTo>
                    <a:pt x="0" y="15"/>
                  </a:lnTo>
                  <a:lnTo>
                    <a:pt x="0" y="19"/>
                  </a:lnTo>
                  <a:lnTo>
                    <a:pt x="1" y="21"/>
                  </a:lnTo>
                  <a:lnTo>
                    <a:pt x="2" y="24"/>
                  </a:lnTo>
                  <a:lnTo>
                    <a:pt x="4" y="26"/>
                  </a:lnTo>
                  <a:lnTo>
                    <a:pt x="6" y="28"/>
                  </a:lnTo>
                  <a:lnTo>
                    <a:pt x="8" y="29"/>
                  </a:lnTo>
                  <a:lnTo>
                    <a:pt x="12" y="30"/>
                  </a:lnTo>
                  <a:lnTo>
                    <a:pt x="15" y="30"/>
                  </a:lnTo>
                  <a:lnTo>
                    <a:pt x="75" y="30"/>
                  </a:lnTo>
                  <a:lnTo>
                    <a:pt x="78" y="30"/>
                  </a:lnTo>
                  <a:lnTo>
                    <a:pt x="80" y="29"/>
                  </a:lnTo>
                  <a:lnTo>
                    <a:pt x="83" y="27"/>
                  </a:lnTo>
                  <a:lnTo>
                    <a:pt x="86" y="26"/>
                  </a:lnTo>
                  <a:lnTo>
                    <a:pt x="87" y="24"/>
                  </a:lnTo>
                  <a:lnTo>
                    <a:pt x="89" y="21"/>
                  </a:lnTo>
                  <a:lnTo>
                    <a:pt x="89" y="19"/>
                  </a:lnTo>
                  <a:lnTo>
                    <a:pt x="90" y="15"/>
                  </a:lnTo>
                  <a:lnTo>
                    <a:pt x="89" y="12"/>
                  </a:lnTo>
                  <a:lnTo>
                    <a:pt x="89" y="9"/>
                  </a:lnTo>
                  <a:lnTo>
                    <a:pt x="87" y="7"/>
                  </a:lnTo>
                  <a:lnTo>
                    <a:pt x="86" y="5"/>
                  </a:lnTo>
                  <a:lnTo>
                    <a:pt x="83" y="2"/>
                  </a:lnTo>
                  <a:lnTo>
                    <a:pt x="80" y="1"/>
                  </a:lnTo>
                  <a:lnTo>
                    <a:pt x="77" y="0"/>
                  </a:lnTo>
                  <a:lnTo>
                    <a:pt x="75" y="0"/>
                  </a:lnTo>
                  <a:close/>
                </a:path>
              </a:pathLst>
            </a:custGeom>
            <a:grpFill/>
            <a:ln>
              <a:solidFill>
                <a:schemeClr val="bg1">
                  <a:lumMod val="50000"/>
                </a:schemeClr>
              </a:solid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endParaRPr>
            </a:p>
          </p:txBody>
        </p:sp>
      </p:grpSp>
      <p:sp>
        <p:nvSpPr>
          <p:cNvPr id="26" name="Freeform 25"/>
          <p:cNvSpPr/>
          <p:nvPr userDrawn="1"/>
        </p:nvSpPr>
        <p:spPr>
          <a:xfrm>
            <a:off x="4905570" y="3089255"/>
            <a:ext cx="2493291" cy="2493291"/>
          </a:xfrm>
          <a:custGeom>
            <a:avLst/>
            <a:gdLst>
              <a:gd name="connsiteX0" fmla="*/ 346363 w 692727"/>
              <a:gd name="connsiteY0" fmla="*/ 43625 h 692727"/>
              <a:gd name="connsiteX1" fmla="*/ 43625 w 692727"/>
              <a:gd name="connsiteY1" fmla="*/ 346363 h 692727"/>
              <a:gd name="connsiteX2" fmla="*/ 346363 w 692727"/>
              <a:gd name="connsiteY2" fmla="*/ 649101 h 692727"/>
              <a:gd name="connsiteX3" fmla="*/ 649101 w 692727"/>
              <a:gd name="connsiteY3" fmla="*/ 346363 h 692727"/>
              <a:gd name="connsiteX4" fmla="*/ 346363 w 692727"/>
              <a:gd name="connsiteY4" fmla="*/ 43625 h 692727"/>
              <a:gd name="connsiteX5" fmla="*/ 346364 w 692727"/>
              <a:gd name="connsiteY5" fmla="*/ 0 h 692727"/>
              <a:gd name="connsiteX6" fmla="*/ 692727 w 692727"/>
              <a:gd name="connsiteY6" fmla="*/ 346364 h 692727"/>
              <a:gd name="connsiteX7" fmla="*/ 346364 w 692727"/>
              <a:gd name="connsiteY7" fmla="*/ 692727 h 692727"/>
              <a:gd name="connsiteX8" fmla="*/ 0 w 692727"/>
              <a:gd name="connsiteY8" fmla="*/ 346364 h 692727"/>
              <a:gd name="connsiteX9" fmla="*/ 346364 w 692727"/>
              <a:gd name="connsiteY9" fmla="*/ 0 h 692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92727" h="692727">
                <a:moveTo>
                  <a:pt x="346363" y="43625"/>
                </a:moveTo>
                <a:cubicBezTo>
                  <a:pt x="179165" y="43625"/>
                  <a:pt x="43625" y="179165"/>
                  <a:pt x="43625" y="346363"/>
                </a:cubicBezTo>
                <a:cubicBezTo>
                  <a:pt x="43625" y="513561"/>
                  <a:pt x="179165" y="649101"/>
                  <a:pt x="346363" y="649101"/>
                </a:cubicBezTo>
                <a:cubicBezTo>
                  <a:pt x="513561" y="649101"/>
                  <a:pt x="649101" y="513561"/>
                  <a:pt x="649101" y="346363"/>
                </a:cubicBezTo>
                <a:cubicBezTo>
                  <a:pt x="649101" y="179165"/>
                  <a:pt x="513561" y="43625"/>
                  <a:pt x="346363" y="43625"/>
                </a:cubicBezTo>
                <a:close/>
                <a:moveTo>
                  <a:pt x="346364" y="0"/>
                </a:moveTo>
                <a:cubicBezTo>
                  <a:pt x="537655" y="0"/>
                  <a:pt x="692727" y="155072"/>
                  <a:pt x="692727" y="346364"/>
                </a:cubicBezTo>
                <a:cubicBezTo>
                  <a:pt x="692727" y="537655"/>
                  <a:pt x="537655" y="692727"/>
                  <a:pt x="346364" y="692727"/>
                </a:cubicBezTo>
                <a:cubicBezTo>
                  <a:pt x="155072" y="692727"/>
                  <a:pt x="0" y="537655"/>
                  <a:pt x="0" y="346364"/>
                </a:cubicBezTo>
                <a:cubicBezTo>
                  <a:pt x="0" y="155072"/>
                  <a:pt x="155072" y="0"/>
                  <a:pt x="346364" y="0"/>
                </a:cubicBezTo>
                <a:close/>
              </a:path>
            </a:pathLst>
          </a:custGeom>
          <a:gradFill flip="none" rotWithShape="1">
            <a:gsLst>
              <a:gs pos="0">
                <a:schemeClr val="bg1">
                  <a:lumMod val="85000"/>
                </a:schemeClr>
              </a:gs>
              <a:gs pos="82000">
                <a:schemeClr val="accent6">
                  <a:lumMod val="50000"/>
                </a:scheme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33" name="Freeform 146"/>
          <p:cNvSpPr>
            <a:spLocks noEditPoints="1"/>
          </p:cNvSpPr>
          <p:nvPr userDrawn="1"/>
        </p:nvSpPr>
        <p:spPr bwMode="auto">
          <a:xfrm>
            <a:off x="3752583" y="5053284"/>
            <a:ext cx="351637" cy="456969"/>
          </a:xfrm>
          <a:custGeom>
            <a:avLst/>
            <a:gdLst>
              <a:gd name="T0" fmla="*/ 197 w 561"/>
              <a:gd name="T1" fmla="*/ 636 h 764"/>
              <a:gd name="T2" fmla="*/ 365 w 561"/>
              <a:gd name="T3" fmla="*/ 636 h 764"/>
              <a:gd name="T4" fmla="*/ 89 w 561"/>
              <a:gd name="T5" fmla="*/ 738 h 764"/>
              <a:gd name="T6" fmla="*/ 338 w 561"/>
              <a:gd name="T7" fmla="*/ 403 h 764"/>
              <a:gd name="T8" fmla="*/ 403 w 561"/>
              <a:gd name="T9" fmla="*/ 437 h 764"/>
              <a:gd name="T10" fmla="*/ 449 w 561"/>
              <a:gd name="T11" fmla="*/ 493 h 764"/>
              <a:gd name="T12" fmla="*/ 470 w 561"/>
              <a:gd name="T13" fmla="*/ 566 h 764"/>
              <a:gd name="T14" fmla="*/ 290 w 561"/>
              <a:gd name="T15" fmla="*/ 525 h 764"/>
              <a:gd name="T16" fmla="*/ 272 w 561"/>
              <a:gd name="T17" fmla="*/ 525 h 764"/>
              <a:gd name="T18" fmla="*/ 90 w 561"/>
              <a:gd name="T19" fmla="*/ 566 h 764"/>
              <a:gd name="T20" fmla="*/ 112 w 561"/>
              <a:gd name="T21" fmla="*/ 494 h 764"/>
              <a:gd name="T22" fmla="*/ 158 w 561"/>
              <a:gd name="T23" fmla="*/ 437 h 764"/>
              <a:gd name="T24" fmla="*/ 223 w 561"/>
              <a:gd name="T25" fmla="*/ 403 h 764"/>
              <a:gd name="T26" fmla="*/ 137 w 561"/>
              <a:gd name="T27" fmla="*/ 305 h 764"/>
              <a:gd name="T28" fmla="*/ 379 w 561"/>
              <a:gd name="T29" fmla="*/ 343 h 764"/>
              <a:gd name="T30" fmla="*/ 333 w 561"/>
              <a:gd name="T31" fmla="*/ 362 h 764"/>
              <a:gd name="T32" fmla="*/ 291 w 561"/>
              <a:gd name="T33" fmla="*/ 369 h 764"/>
              <a:gd name="T34" fmla="*/ 249 w 561"/>
              <a:gd name="T35" fmla="*/ 366 h 764"/>
              <a:gd name="T36" fmla="*/ 209 w 561"/>
              <a:gd name="T37" fmla="*/ 356 h 764"/>
              <a:gd name="T38" fmla="*/ 151 w 561"/>
              <a:gd name="T39" fmla="*/ 319 h 764"/>
              <a:gd name="T40" fmla="*/ 471 w 561"/>
              <a:gd name="T41" fmla="*/ 178 h 764"/>
              <a:gd name="T42" fmla="*/ 464 w 561"/>
              <a:gd name="T43" fmla="*/ 232 h 764"/>
              <a:gd name="T44" fmla="*/ 443 w 561"/>
              <a:gd name="T45" fmla="*/ 280 h 764"/>
              <a:gd name="T46" fmla="*/ 101 w 561"/>
              <a:gd name="T47" fmla="*/ 245 h 764"/>
              <a:gd name="T48" fmla="*/ 90 w 561"/>
              <a:gd name="T49" fmla="*/ 192 h 764"/>
              <a:gd name="T50" fmla="*/ 497 w 561"/>
              <a:gd name="T51" fmla="*/ 738 h 764"/>
              <a:gd name="T52" fmla="*/ 491 w 561"/>
              <a:gd name="T53" fmla="*/ 534 h 764"/>
              <a:gd name="T54" fmla="*/ 466 w 561"/>
              <a:gd name="T55" fmla="*/ 472 h 764"/>
              <a:gd name="T56" fmla="*/ 425 w 561"/>
              <a:gd name="T57" fmla="*/ 422 h 764"/>
              <a:gd name="T58" fmla="*/ 370 w 561"/>
              <a:gd name="T59" fmla="*/ 388 h 764"/>
              <a:gd name="T60" fmla="*/ 399 w 561"/>
              <a:gd name="T61" fmla="*/ 360 h 764"/>
              <a:gd name="T62" fmla="*/ 448 w 561"/>
              <a:gd name="T63" fmla="*/ 318 h 764"/>
              <a:gd name="T64" fmla="*/ 481 w 561"/>
              <a:gd name="T65" fmla="*/ 262 h 764"/>
              <a:gd name="T66" fmla="*/ 496 w 561"/>
              <a:gd name="T67" fmla="*/ 196 h 764"/>
              <a:gd name="T68" fmla="*/ 553 w 561"/>
              <a:gd name="T69" fmla="*/ 25 h 764"/>
              <a:gd name="T70" fmla="*/ 559 w 561"/>
              <a:gd name="T71" fmla="*/ 8 h 764"/>
              <a:gd name="T72" fmla="*/ 484 w 561"/>
              <a:gd name="T73" fmla="*/ 0 h 764"/>
              <a:gd name="T74" fmla="*/ 4 w 561"/>
              <a:gd name="T75" fmla="*/ 3 h 764"/>
              <a:gd name="T76" fmla="*/ 4 w 561"/>
              <a:gd name="T77" fmla="*/ 22 h 764"/>
              <a:gd name="T78" fmla="*/ 64 w 561"/>
              <a:gd name="T79" fmla="*/ 178 h 764"/>
              <a:gd name="T80" fmla="*/ 73 w 561"/>
              <a:gd name="T81" fmla="*/ 242 h 764"/>
              <a:gd name="T82" fmla="*/ 99 w 561"/>
              <a:gd name="T83" fmla="*/ 298 h 764"/>
              <a:gd name="T84" fmla="*/ 122 w 561"/>
              <a:gd name="T85" fmla="*/ 328 h 764"/>
              <a:gd name="T86" fmla="*/ 176 w 561"/>
              <a:gd name="T87" fmla="*/ 369 h 764"/>
              <a:gd name="T88" fmla="*/ 176 w 561"/>
              <a:gd name="T89" fmla="*/ 395 h 764"/>
              <a:gd name="T90" fmla="*/ 125 w 561"/>
              <a:gd name="T91" fmla="*/ 435 h 764"/>
              <a:gd name="T92" fmla="*/ 87 w 561"/>
              <a:gd name="T93" fmla="*/ 488 h 764"/>
              <a:gd name="T94" fmla="*/ 67 w 561"/>
              <a:gd name="T95" fmla="*/ 551 h 764"/>
              <a:gd name="T96" fmla="*/ 13 w 561"/>
              <a:gd name="T97" fmla="*/ 738 h 764"/>
              <a:gd name="T98" fmla="*/ 0 w 561"/>
              <a:gd name="T99" fmla="*/ 751 h 764"/>
              <a:gd name="T100" fmla="*/ 13 w 561"/>
              <a:gd name="T101" fmla="*/ 764 h 764"/>
              <a:gd name="T102" fmla="*/ 553 w 561"/>
              <a:gd name="T103" fmla="*/ 763 h 764"/>
              <a:gd name="T104" fmla="*/ 559 w 561"/>
              <a:gd name="T105" fmla="*/ 747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61" h="764">
                <a:moveTo>
                  <a:pt x="89" y="738"/>
                </a:moveTo>
                <a:lnTo>
                  <a:pt x="89" y="637"/>
                </a:lnTo>
                <a:lnTo>
                  <a:pt x="191" y="637"/>
                </a:lnTo>
                <a:lnTo>
                  <a:pt x="197" y="636"/>
                </a:lnTo>
                <a:lnTo>
                  <a:pt x="201" y="633"/>
                </a:lnTo>
                <a:lnTo>
                  <a:pt x="280" y="554"/>
                </a:lnTo>
                <a:lnTo>
                  <a:pt x="361" y="633"/>
                </a:lnTo>
                <a:lnTo>
                  <a:pt x="365" y="636"/>
                </a:lnTo>
                <a:lnTo>
                  <a:pt x="369" y="637"/>
                </a:lnTo>
                <a:lnTo>
                  <a:pt x="471" y="637"/>
                </a:lnTo>
                <a:lnTo>
                  <a:pt x="471" y="738"/>
                </a:lnTo>
                <a:lnTo>
                  <a:pt x="89" y="738"/>
                </a:lnTo>
                <a:close/>
                <a:moveTo>
                  <a:pt x="280" y="394"/>
                </a:moveTo>
                <a:lnTo>
                  <a:pt x="301" y="395"/>
                </a:lnTo>
                <a:lnTo>
                  <a:pt x="320" y="399"/>
                </a:lnTo>
                <a:lnTo>
                  <a:pt x="338" y="403"/>
                </a:lnTo>
                <a:lnTo>
                  <a:pt x="355" y="409"/>
                </a:lnTo>
                <a:lnTo>
                  <a:pt x="373" y="417"/>
                </a:lnTo>
                <a:lnTo>
                  <a:pt x="389" y="427"/>
                </a:lnTo>
                <a:lnTo>
                  <a:pt x="403" y="437"/>
                </a:lnTo>
                <a:lnTo>
                  <a:pt x="417" y="449"/>
                </a:lnTo>
                <a:lnTo>
                  <a:pt x="428" y="463"/>
                </a:lnTo>
                <a:lnTo>
                  <a:pt x="439" y="478"/>
                </a:lnTo>
                <a:lnTo>
                  <a:pt x="449" y="493"/>
                </a:lnTo>
                <a:lnTo>
                  <a:pt x="456" y="510"/>
                </a:lnTo>
                <a:lnTo>
                  <a:pt x="463" y="527"/>
                </a:lnTo>
                <a:lnTo>
                  <a:pt x="467" y="547"/>
                </a:lnTo>
                <a:lnTo>
                  <a:pt x="470" y="566"/>
                </a:lnTo>
                <a:lnTo>
                  <a:pt x="471" y="585"/>
                </a:lnTo>
                <a:lnTo>
                  <a:pt x="471" y="611"/>
                </a:lnTo>
                <a:lnTo>
                  <a:pt x="375" y="611"/>
                </a:lnTo>
                <a:lnTo>
                  <a:pt x="290" y="525"/>
                </a:lnTo>
                <a:lnTo>
                  <a:pt x="286" y="523"/>
                </a:lnTo>
                <a:lnTo>
                  <a:pt x="280" y="522"/>
                </a:lnTo>
                <a:lnTo>
                  <a:pt x="276" y="523"/>
                </a:lnTo>
                <a:lnTo>
                  <a:pt x="272" y="525"/>
                </a:lnTo>
                <a:lnTo>
                  <a:pt x="186" y="611"/>
                </a:lnTo>
                <a:lnTo>
                  <a:pt x="89" y="611"/>
                </a:lnTo>
                <a:lnTo>
                  <a:pt x="89" y="585"/>
                </a:lnTo>
                <a:lnTo>
                  <a:pt x="90" y="566"/>
                </a:lnTo>
                <a:lnTo>
                  <a:pt x="93" y="547"/>
                </a:lnTo>
                <a:lnTo>
                  <a:pt x="98" y="529"/>
                </a:lnTo>
                <a:lnTo>
                  <a:pt x="104" y="510"/>
                </a:lnTo>
                <a:lnTo>
                  <a:pt x="112" y="494"/>
                </a:lnTo>
                <a:lnTo>
                  <a:pt x="121" y="478"/>
                </a:lnTo>
                <a:lnTo>
                  <a:pt x="132" y="463"/>
                </a:lnTo>
                <a:lnTo>
                  <a:pt x="145" y="450"/>
                </a:lnTo>
                <a:lnTo>
                  <a:pt x="158" y="437"/>
                </a:lnTo>
                <a:lnTo>
                  <a:pt x="173" y="427"/>
                </a:lnTo>
                <a:lnTo>
                  <a:pt x="189" y="417"/>
                </a:lnTo>
                <a:lnTo>
                  <a:pt x="205" y="409"/>
                </a:lnTo>
                <a:lnTo>
                  <a:pt x="223" y="403"/>
                </a:lnTo>
                <a:lnTo>
                  <a:pt x="242" y="399"/>
                </a:lnTo>
                <a:lnTo>
                  <a:pt x="261" y="395"/>
                </a:lnTo>
                <a:lnTo>
                  <a:pt x="280" y="394"/>
                </a:lnTo>
                <a:close/>
                <a:moveTo>
                  <a:pt x="137" y="305"/>
                </a:moveTo>
                <a:lnTo>
                  <a:pt x="424" y="305"/>
                </a:lnTo>
                <a:lnTo>
                  <a:pt x="411" y="319"/>
                </a:lnTo>
                <a:lnTo>
                  <a:pt x="395" y="332"/>
                </a:lnTo>
                <a:lnTo>
                  <a:pt x="379" y="343"/>
                </a:lnTo>
                <a:lnTo>
                  <a:pt x="362" y="352"/>
                </a:lnTo>
                <a:lnTo>
                  <a:pt x="352" y="356"/>
                </a:lnTo>
                <a:lnTo>
                  <a:pt x="343" y="359"/>
                </a:lnTo>
                <a:lnTo>
                  <a:pt x="333" y="362"/>
                </a:lnTo>
                <a:lnTo>
                  <a:pt x="323" y="364"/>
                </a:lnTo>
                <a:lnTo>
                  <a:pt x="312" y="366"/>
                </a:lnTo>
                <a:lnTo>
                  <a:pt x="302" y="369"/>
                </a:lnTo>
                <a:lnTo>
                  <a:pt x="291" y="369"/>
                </a:lnTo>
                <a:lnTo>
                  <a:pt x="280" y="370"/>
                </a:lnTo>
                <a:lnTo>
                  <a:pt x="270" y="369"/>
                </a:lnTo>
                <a:lnTo>
                  <a:pt x="259" y="369"/>
                </a:lnTo>
                <a:lnTo>
                  <a:pt x="249" y="366"/>
                </a:lnTo>
                <a:lnTo>
                  <a:pt x="238" y="364"/>
                </a:lnTo>
                <a:lnTo>
                  <a:pt x="229" y="362"/>
                </a:lnTo>
                <a:lnTo>
                  <a:pt x="219" y="359"/>
                </a:lnTo>
                <a:lnTo>
                  <a:pt x="209" y="356"/>
                </a:lnTo>
                <a:lnTo>
                  <a:pt x="200" y="352"/>
                </a:lnTo>
                <a:lnTo>
                  <a:pt x="183" y="343"/>
                </a:lnTo>
                <a:lnTo>
                  <a:pt x="166" y="332"/>
                </a:lnTo>
                <a:lnTo>
                  <a:pt x="151" y="319"/>
                </a:lnTo>
                <a:lnTo>
                  <a:pt x="137" y="305"/>
                </a:lnTo>
                <a:close/>
                <a:moveTo>
                  <a:pt x="89" y="25"/>
                </a:moveTo>
                <a:lnTo>
                  <a:pt x="471" y="25"/>
                </a:lnTo>
                <a:lnTo>
                  <a:pt x="471" y="178"/>
                </a:lnTo>
                <a:lnTo>
                  <a:pt x="471" y="192"/>
                </a:lnTo>
                <a:lnTo>
                  <a:pt x="469" y="206"/>
                </a:lnTo>
                <a:lnTo>
                  <a:pt x="467" y="219"/>
                </a:lnTo>
                <a:lnTo>
                  <a:pt x="464" y="232"/>
                </a:lnTo>
                <a:lnTo>
                  <a:pt x="460" y="245"/>
                </a:lnTo>
                <a:lnTo>
                  <a:pt x="455" y="257"/>
                </a:lnTo>
                <a:lnTo>
                  <a:pt x="450" y="269"/>
                </a:lnTo>
                <a:lnTo>
                  <a:pt x="443" y="280"/>
                </a:lnTo>
                <a:lnTo>
                  <a:pt x="118" y="280"/>
                </a:lnTo>
                <a:lnTo>
                  <a:pt x="112" y="269"/>
                </a:lnTo>
                <a:lnTo>
                  <a:pt x="106" y="257"/>
                </a:lnTo>
                <a:lnTo>
                  <a:pt x="101" y="245"/>
                </a:lnTo>
                <a:lnTo>
                  <a:pt x="97" y="232"/>
                </a:lnTo>
                <a:lnTo>
                  <a:pt x="93" y="219"/>
                </a:lnTo>
                <a:lnTo>
                  <a:pt x="91" y="206"/>
                </a:lnTo>
                <a:lnTo>
                  <a:pt x="90" y="192"/>
                </a:lnTo>
                <a:lnTo>
                  <a:pt x="89" y="178"/>
                </a:lnTo>
                <a:lnTo>
                  <a:pt x="89" y="25"/>
                </a:lnTo>
                <a:close/>
                <a:moveTo>
                  <a:pt x="548" y="738"/>
                </a:moveTo>
                <a:lnTo>
                  <a:pt x="497" y="738"/>
                </a:lnTo>
                <a:lnTo>
                  <a:pt x="497" y="585"/>
                </a:lnTo>
                <a:lnTo>
                  <a:pt x="496" y="567"/>
                </a:lnTo>
                <a:lnTo>
                  <a:pt x="494" y="550"/>
                </a:lnTo>
                <a:lnTo>
                  <a:pt x="491" y="534"/>
                </a:lnTo>
                <a:lnTo>
                  <a:pt x="486" y="517"/>
                </a:lnTo>
                <a:lnTo>
                  <a:pt x="481" y="502"/>
                </a:lnTo>
                <a:lnTo>
                  <a:pt x="474" y="487"/>
                </a:lnTo>
                <a:lnTo>
                  <a:pt x="466" y="472"/>
                </a:lnTo>
                <a:lnTo>
                  <a:pt x="457" y="459"/>
                </a:lnTo>
                <a:lnTo>
                  <a:pt x="448" y="446"/>
                </a:lnTo>
                <a:lnTo>
                  <a:pt x="437" y="434"/>
                </a:lnTo>
                <a:lnTo>
                  <a:pt x="425" y="422"/>
                </a:lnTo>
                <a:lnTo>
                  <a:pt x="412" y="413"/>
                </a:lnTo>
                <a:lnTo>
                  <a:pt x="399" y="403"/>
                </a:lnTo>
                <a:lnTo>
                  <a:pt x="386" y="395"/>
                </a:lnTo>
                <a:lnTo>
                  <a:pt x="370" y="388"/>
                </a:lnTo>
                <a:lnTo>
                  <a:pt x="355" y="381"/>
                </a:lnTo>
                <a:lnTo>
                  <a:pt x="370" y="376"/>
                </a:lnTo>
                <a:lnTo>
                  <a:pt x="386" y="369"/>
                </a:lnTo>
                <a:lnTo>
                  <a:pt x="399" y="360"/>
                </a:lnTo>
                <a:lnTo>
                  <a:pt x="412" y="351"/>
                </a:lnTo>
                <a:lnTo>
                  <a:pt x="425" y="341"/>
                </a:lnTo>
                <a:lnTo>
                  <a:pt x="437" y="330"/>
                </a:lnTo>
                <a:lnTo>
                  <a:pt x="448" y="318"/>
                </a:lnTo>
                <a:lnTo>
                  <a:pt x="457" y="305"/>
                </a:lnTo>
                <a:lnTo>
                  <a:pt x="466" y="291"/>
                </a:lnTo>
                <a:lnTo>
                  <a:pt x="474" y="277"/>
                </a:lnTo>
                <a:lnTo>
                  <a:pt x="481" y="262"/>
                </a:lnTo>
                <a:lnTo>
                  <a:pt x="486" y="246"/>
                </a:lnTo>
                <a:lnTo>
                  <a:pt x="491" y="230"/>
                </a:lnTo>
                <a:lnTo>
                  <a:pt x="494" y="214"/>
                </a:lnTo>
                <a:lnTo>
                  <a:pt x="496" y="196"/>
                </a:lnTo>
                <a:lnTo>
                  <a:pt x="497" y="178"/>
                </a:lnTo>
                <a:lnTo>
                  <a:pt x="497" y="25"/>
                </a:lnTo>
                <a:lnTo>
                  <a:pt x="548" y="25"/>
                </a:lnTo>
                <a:lnTo>
                  <a:pt x="553" y="25"/>
                </a:lnTo>
                <a:lnTo>
                  <a:pt x="557" y="22"/>
                </a:lnTo>
                <a:lnTo>
                  <a:pt x="559" y="17"/>
                </a:lnTo>
                <a:lnTo>
                  <a:pt x="561" y="13"/>
                </a:lnTo>
                <a:lnTo>
                  <a:pt x="559" y="8"/>
                </a:lnTo>
                <a:lnTo>
                  <a:pt x="557" y="3"/>
                </a:lnTo>
                <a:lnTo>
                  <a:pt x="553" y="1"/>
                </a:lnTo>
                <a:lnTo>
                  <a:pt x="548" y="0"/>
                </a:lnTo>
                <a:lnTo>
                  <a:pt x="484" y="0"/>
                </a:lnTo>
                <a:lnTo>
                  <a:pt x="76" y="0"/>
                </a:lnTo>
                <a:lnTo>
                  <a:pt x="13" y="0"/>
                </a:lnTo>
                <a:lnTo>
                  <a:pt x="8" y="1"/>
                </a:lnTo>
                <a:lnTo>
                  <a:pt x="4" y="3"/>
                </a:lnTo>
                <a:lnTo>
                  <a:pt x="1" y="8"/>
                </a:lnTo>
                <a:lnTo>
                  <a:pt x="0" y="13"/>
                </a:lnTo>
                <a:lnTo>
                  <a:pt x="1" y="17"/>
                </a:lnTo>
                <a:lnTo>
                  <a:pt x="4" y="22"/>
                </a:lnTo>
                <a:lnTo>
                  <a:pt x="8" y="25"/>
                </a:lnTo>
                <a:lnTo>
                  <a:pt x="13" y="25"/>
                </a:lnTo>
                <a:lnTo>
                  <a:pt x="64" y="25"/>
                </a:lnTo>
                <a:lnTo>
                  <a:pt x="64" y="178"/>
                </a:lnTo>
                <a:lnTo>
                  <a:pt x="64" y="195"/>
                </a:lnTo>
                <a:lnTo>
                  <a:pt x="67" y="211"/>
                </a:lnTo>
                <a:lnTo>
                  <a:pt x="69" y="227"/>
                </a:lnTo>
                <a:lnTo>
                  <a:pt x="73" y="242"/>
                </a:lnTo>
                <a:lnTo>
                  <a:pt x="78" y="257"/>
                </a:lnTo>
                <a:lnTo>
                  <a:pt x="84" y="271"/>
                </a:lnTo>
                <a:lnTo>
                  <a:pt x="91" y="285"/>
                </a:lnTo>
                <a:lnTo>
                  <a:pt x="99" y="298"/>
                </a:lnTo>
                <a:lnTo>
                  <a:pt x="100" y="301"/>
                </a:lnTo>
                <a:lnTo>
                  <a:pt x="102" y="303"/>
                </a:lnTo>
                <a:lnTo>
                  <a:pt x="112" y="316"/>
                </a:lnTo>
                <a:lnTo>
                  <a:pt x="122" y="328"/>
                </a:lnTo>
                <a:lnTo>
                  <a:pt x="135" y="340"/>
                </a:lnTo>
                <a:lnTo>
                  <a:pt x="147" y="350"/>
                </a:lnTo>
                <a:lnTo>
                  <a:pt x="161" y="360"/>
                </a:lnTo>
                <a:lnTo>
                  <a:pt x="176" y="369"/>
                </a:lnTo>
                <a:lnTo>
                  <a:pt x="191" y="376"/>
                </a:lnTo>
                <a:lnTo>
                  <a:pt x="206" y="381"/>
                </a:lnTo>
                <a:lnTo>
                  <a:pt x="191" y="388"/>
                </a:lnTo>
                <a:lnTo>
                  <a:pt x="176" y="395"/>
                </a:lnTo>
                <a:lnTo>
                  <a:pt x="162" y="404"/>
                </a:lnTo>
                <a:lnTo>
                  <a:pt x="149" y="414"/>
                </a:lnTo>
                <a:lnTo>
                  <a:pt x="136" y="423"/>
                </a:lnTo>
                <a:lnTo>
                  <a:pt x="125" y="435"/>
                </a:lnTo>
                <a:lnTo>
                  <a:pt x="114" y="447"/>
                </a:lnTo>
                <a:lnTo>
                  <a:pt x="104" y="460"/>
                </a:lnTo>
                <a:lnTo>
                  <a:pt x="95" y="474"/>
                </a:lnTo>
                <a:lnTo>
                  <a:pt x="87" y="488"/>
                </a:lnTo>
                <a:lnTo>
                  <a:pt x="81" y="503"/>
                </a:lnTo>
                <a:lnTo>
                  <a:pt x="74" y="518"/>
                </a:lnTo>
                <a:lnTo>
                  <a:pt x="70" y="534"/>
                </a:lnTo>
                <a:lnTo>
                  <a:pt x="67" y="551"/>
                </a:lnTo>
                <a:lnTo>
                  <a:pt x="64" y="568"/>
                </a:lnTo>
                <a:lnTo>
                  <a:pt x="64" y="585"/>
                </a:lnTo>
                <a:lnTo>
                  <a:pt x="64" y="738"/>
                </a:lnTo>
                <a:lnTo>
                  <a:pt x="13" y="738"/>
                </a:lnTo>
                <a:lnTo>
                  <a:pt x="8" y="739"/>
                </a:lnTo>
                <a:lnTo>
                  <a:pt x="4" y="742"/>
                </a:lnTo>
                <a:lnTo>
                  <a:pt x="1" y="747"/>
                </a:lnTo>
                <a:lnTo>
                  <a:pt x="0" y="751"/>
                </a:lnTo>
                <a:lnTo>
                  <a:pt x="1" y="756"/>
                </a:lnTo>
                <a:lnTo>
                  <a:pt x="4" y="760"/>
                </a:lnTo>
                <a:lnTo>
                  <a:pt x="8" y="763"/>
                </a:lnTo>
                <a:lnTo>
                  <a:pt x="13" y="764"/>
                </a:lnTo>
                <a:lnTo>
                  <a:pt x="76" y="764"/>
                </a:lnTo>
                <a:lnTo>
                  <a:pt x="484" y="764"/>
                </a:lnTo>
                <a:lnTo>
                  <a:pt x="548" y="764"/>
                </a:lnTo>
                <a:lnTo>
                  <a:pt x="553" y="763"/>
                </a:lnTo>
                <a:lnTo>
                  <a:pt x="557" y="760"/>
                </a:lnTo>
                <a:lnTo>
                  <a:pt x="559" y="756"/>
                </a:lnTo>
                <a:lnTo>
                  <a:pt x="561" y="751"/>
                </a:lnTo>
                <a:lnTo>
                  <a:pt x="559" y="747"/>
                </a:lnTo>
                <a:lnTo>
                  <a:pt x="557" y="742"/>
                </a:lnTo>
                <a:lnTo>
                  <a:pt x="553" y="739"/>
                </a:lnTo>
                <a:lnTo>
                  <a:pt x="548" y="738"/>
                </a:lnTo>
                <a:close/>
              </a:path>
            </a:pathLst>
          </a:custGeom>
          <a:gradFill>
            <a:gsLst>
              <a:gs pos="1000">
                <a:schemeClr val="tx2">
                  <a:alpha val="85000"/>
                </a:schemeClr>
              </a:gs>
              <a:gs pos="100000">
                <a:schemeClr val="accent4">
                  <a:lumMod val="75000"/>
                  <a:alpha val="85000"/>
                </a:schemeClr>
              </a:gs>
            </a:gsLst>
            <a:lin ang="5400000" scaled="1"/>
          </a:gradFill>
          <a:ln>
            <a:solidFill>
              <a:schemeClr val="bg1">
                <a:lumMod val="50000"/>
              </a:schemeClr>
            </a:solid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endParaRPr>
          </a:p>
        </p:txBody>
      </p:sp>
      <p:grpSp>
        <p:nvGrpSpPr>
          <p:cNvPr id="34" name="Group 33"/>
          <p:cNvGrpSpPr/>
          <p:nvPr userDrawn="1"/>
        </p:nvGrpSpPr>
        <p:grpSpPr>
          <a:xfrm>
            <a:off x="8031103" y="4982827"/>
            <a:ext cx="506877" cy="527426"/>
            <a:chOff x="946151" y="3240088"/>
            <a:chExt cx="293688" cy="303213"/>
          </a:xfrm>
        </p:grpSpPr>
        <p:sp>
          <p:nvSpPr>
            <p:cNvPr id="35" name="Freeform 57"/>
            <p:cNvSpPr>
              <a:spLocks noEditPoints="1"/>
            </p:cNvSpPr>
            <p:nvPr/>
          </p:nvSpPr>
          <p:spPr bwMode="auto">
            <a:xfrm>
              <a:off x="1066801" y="3240088"/>
              <a:ext cx="173038" cy="171450"/>
            </a:xfrm>
            <a:custGeom>
              <a:avLst/>
              <a:gdLst>
                <a:gd name="T0" fmla="*/ 326 w 435"/>
                <a:gd name="T1" fmla="*/ 327 h 432"/>
                <a:gd name="T2" fmla="*/ 296 w 435"/>
                <a:gd name="T3" fmla="*/ 346 h 432"/>
                <a:gd name="T4" fmla="*/ 259 w 435"/>
                <a:gd name="T5" fmla="*/ 368 h 432"/>
                <a:gd name="T6" fmla="*/ 186 w 435"/>
                <a:gd name="T7" fmla="*/ 406 h 432"/>
                <a:gd name="T8" fmla="*/ 180 w 435"/>
                <a:gd name="T9" fmla="*/ 363 h 432"/>
                <a:gd name="T10" fmla="*/ 150 w 435"/>
                <a:gd name="T11" fmla="*/ 353 h 432"/>
                <a:gd name="T12" fmla="*/ 116 w 435"/>
                <a:gd name="T13" fmla="*/ 328 h 432"/>
                <a:gd name="T14" fmla="*/ 65 w 435"/>
                <a:gd name="T15" fmla="*/ 350 h 432"/>
                <a:gd name="T16" fmla="*/ 73 w 435"/>
                <a:gd name="T17" fmla="*/ 261 h 432"/>
                <a:gd name="T18" fmla="*/ 70 w 435"/>
                <a:gd name="T19" fmla="*/ 222 h 432"/>
                <a:gd name="T20" fmla="*/ 73 w 435"/>
                <a:gd name="T21" fmla="*/ 182 h 432"/>
                <a:gd name="T22" fmla="*/ 66 w 435"/>
                <a:gd name="T23" fmla="*/ 93 h 432"/>
                <a:gd name="T24" fmla="*/ 117 w 435"/>
                <a:gd name="T25" fmla="*/ 114 h 432"/>
                <a:gd name="T26" fmla="*/ 150 w 435"/>
                <a:gd name="T27" fmla="*/ 90 h 432"/>
                <a:gd name="T28" fmla="*/ 180 w 435"/>
                <a:gd name="T29" fmla="*/ 79 h 432"/>
                <a:gd name="T30" fmla="*/ 186 w 435"/>
                <a:gd name="T31" fmla="*/ 25 h 432"/>
                <a:gd name="T32" fmla="*/ 259 w 435"/>
                <a:gd name="T33" fmla="*/ 75 h 432"/>
                <a:gd name="T34" fmla="*/ 296 w 435"/>
                <a:gd name="T35" fmla="*/ 96 h 432"/>
                <a:gd name="T36" fmla="*/ 326 w 435"/>
                <a:gd name="T37" fmla="*/ 115 h 432"/>
                <a:gd name="T38" fmla="*/ 405 w 435"/>
                <a:gd name="T39" fmla="*/ 154 h 432"/>
                <a:gd name="T40" fmla="*/ 362 w 435"/>
                <a:gd name="T41" fmla="*/ 185 h 432"/>
                <a:gd name="T42" fmla="*/ 365 w 435"/>
                <a:gd name="T43" fmla="*/ 238 h 432"/>
                <a:gd name="T44" fmla="*/ 365 w 435"/>
                <a:gd name="T45" fmla="*/ 265 h 432"/>
                <a:gd name="T46" fmla="*/ 428 w 435"/>
                <a:gd name="T47" fmla="*/ 272 h 432"/>
                <a:gd name="T48" fmla="*/ 389 w 435"/>
                <a:gd name="T49" fmla="*/ 207 h 432"/>
                <a:gd name="T50" fmla="*/ 435 w 435"/>
                <a:gd name="T51" fmla="*/ 161 h 432"/>
                <a:gd name="T52" fmla="*/ 382 w 435"/>
                <a:gd name="T53" fmla="*/ 65 h 432"/>
                <a:gd name="T54" fmla="*/ 329 w 435"/>
                <a:gd name="T55" fmla="*/ 88 h 432"/>
                <a:gd name="T56" fmla="*/ 282 w 435"/>
                <a:gd name="T57" fmla="*/ 59 h 432"/>
                <a:gd name="T58" fmla="*/ 275 w 435"/>
                <a:gd name="T59" fmla="*/ 2 h 432"/>
                <a:gd name="T60" fmla="*/ 164 w 435"/>
                <a:gd name="T61" fmla="*/ 4 h 432"/>
                <a:gd name="T62" fmla="*/ 152 w 435"/>
                <a:gd name="T63" fmla="*/ 62 h 432"/>
                <a:gd name="T64" fmla="*/ 119 w 435"/>
                <a:gd name="T65" fmla="*/ 79 h 432"/>
                <a:gd name="T66" fmla="*/ 59 w 435"/>
                <a:gd name="T67" fmla="*/ 63 h 432"/>
                <a:gd name="T68" fmla="*/ 1 w 435"/>
                <a:gd name="T69" fmla="*/ 157 h 432"/>
                <a:gd name="T70" fmla="*/ 5 w 435"/>
                <a:gd name="T71" fmla="*/ 168 h 432"/>
                <a:gd name="T72" fmla="*/ 44 w 435"/>
                <a:gd name="T73" fmla="*/ 221 h 432"/>
                <a:gd name="T74" fmla="*/ 3 w 435"/>
                <a:gd name="T75" fmla="*/ 276 h 432"/>
                <a:gd name="T76" fmla="*/ 49 w 435"/>
                <a:gd name="T77" fmla="*/ 373 h 432"/>
                <a:gd name="T78" fmla="*/ 67 w 435"/>
                <a:gd name="T79" fmla="*/ 378 h 432"/>
                <a:gd name="T80" fmla="*/ 144 w 435"/>
                <a:gd name="T81" fmla="*/ 378 h 432"/>
                <a:gd name="T82" fmla="*/ 164 w 435"/>
                <a:gd name="T83" fmla="*/ 428 h 432"/>
                <a:gd name="T84" fmla="*/ 275 w 435"/>
                <a:gd name="T85" fmla="*/ 431 h 432"/>
                <a:gd name="T86" fmla="*/ 282 w 435"/>
                <a:gd name="T87" fmla="*/ 382 h 432"/>
                <a:gd name="T88" fmla="*/ 329 w 435"/>
                <a:gd name="T89" fmla="*/ 356 h 432"/>
                <a:gd name="T90" fmla="*/ 380 w 435"/>
                <a:gd name="T91" fmla="*/ 378 h 432"/>
                <a:gd name="T92" fmla="*/ 434 w 435"/>
                <a:gd name="T93" fmla="*/ 290 h 432"/>
                <a:gd name="T94" fmla="*/ 428 w 435"/>
                <a:gd name="T95" fmla="*/ 27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35" h="432">
                  <a:moveTo>
                    <a:pt x="369" y="350"/>
                  </a:moveTo>
                  <a:lnTo>
                    <a:pt x="335" y="329"/>
                  </a:lnTo>
                  <a:lnTo>
                    <a:pt x="330" y="327"/>
                  </a:lnTo>
                  <a:lnTo>
                    <a:pt x="326" y="327"/>
                  </a:lnTo>
                  <a:lnTo>
                    <a:pt x="323" y="328"/>
                  </a:lnTo>
                  <a:lnTo>
                    <a:pt x="319" y="330"/>
                  </a:lnTo>
                  <a:lnTo>
                    <a:pt x="309" y="339"/>
                  </a:lnTo>
                  <a:lnTo>
                    <a:pt x="296" y="346"/>
                  </a:lnTo>
                  <a:lnTo>
                    <a:pt x="281" y="355"/>
                  </a:lnTo>
                  <a:lnTo>
                    <a:pt x="264" y="363"/>
                  </a:lnTo>
                  <a:lnTo>
                    <a:pt x="261" y="364"/>
                  </a:lnTo>
                  <a:lnTo>
                    <a:pt x="259" y="368"/>
                  </a:lnTo>
                  <a:lnTo>
                    <a:pt x="257" y="371"/>
                  </a:lnTo>
                  <a:lnTo>
                    <a:pt x="256" y="374"/>
                  </a:lnTo>
                  <a:lnTo>
                    <a:pt x="256" y="406"/>
                  </a:lnTo>
                  <a:lnTo>
                    <a:pt x="186" y="406"/>
                  </a:lnTo>
                  <a:lnTo>
                    <a:pt x="186" y="374"/>
                  </a:lnTo>
                  <a:lnTo>
                    <a:pt x="186" y="370"/>
                  </a:lnTo>
                  <a:lnTo>
                    <a:pt x="183" y="367"/>
                  </a:lnTo>
                  <a:lnTo>
                    <a:pt x="180" y="363"/>
                  </a:lnTo>
                  <a:lnTo>
                    <a:pt x="176" y="361"/>
                  </a:lnTo>
                  <a:lnTo>
                    <a:pt x="166" y="359"/>
                  </a:lnTo>
                  <a:lnTo>
                    <a:pt x="158" y="356"/>
                  </a:lnTo>
                  <a:lnTo>
                    <a:pt x="150" y="353"/>
                  </a:lnTo>
                  <a:lnTo>
                    <a:pt x="144" y="349"/>
                  </a:lnTo>
                  <a:lnTo>
                    <a:pt x="132" y="341"/>
                  </a:lnTo>
                  <a:lnTo>
                    <a:pt x="120" y="330"/>
                  </a:lnTo>
                  <a:lnTo>
                    <a:pt x="116" y="328"/>
                  </a:lnTo>
                  <a:lnTo>
                    <a:pt x="112" y="327"/>
                  </a:lnTo>
                  <a:lnTo>
                    <a:pt x="108" y="327"/>
                  </a:lnTo>
                  <a:lnTo>
                    <a:pt x="105" y="329"/>
                  </a:lnTo>
                  <a:lnTo>
                    <a:pt x="65" y="350"/>
                  </a:lnTo>
                  <a:lnTo>
                    <a:pt x="30" y="289"/>
                  </a:lnTo>
                  <a:lnTo>
                    <a:pt x="67" y="268"/>
                  </a:lnTo>
                  <a:lnTo>
                    <a:pt x="71" y="265"/>
                  </a:lnTo>
                  <a:lnTo>
                    <a:pt x="73" y="261"/>
                  </a:lnTo>
                  <a:lnTo>
                    <a:pt x="74" y="257"/>
                  </a:lnTo>
                  <a:lnTo>
                    <a:pt x="73" y="254"/>
                  </a:lnTo>
                  <a:lnTo>
                    <a:pt x="71" y="238"/>
                  </a:lnTo>
                  <a:lnTo>
                    <a:pt x="70" y="222"/>
                  </a:lnTo>
                  <a:lnTo>
                    <a:pt x="71" y="206"/>
                  </a:lnTo>
                  <a:lnTo>
                    <a:pt x="74" y="189"/>
                  </a:lnTo>
                  <a:lnTo>
                    <a:pt x="74" y="185"/>
                  </a:lnTo>
                  <a:lnTo>
                    <a:pt x="73" y="182"/>
                  </a:lnTo>
                  <a:lnTo>
                    <a:pt x="71" y="179"/>
                  </a:lnTo>
                  <a:lnTo>
                    <a:pt x="67" y="175"/>
                  </a:lnTo>
                  <a:lnTo>
                    <a:pt x="31" y="154"/>
                  </a:lnTo>
                  <a:lnTo>
                    <a:pt x="66" y="93"/>
                  </a:lnTo>
                  <a:lnTo>
                    <a:pt x="105" y="114"/>
                  </a:lnTo>
                  <a:lnTo>
                    <a:pt x="108" y="116"/>
                  </a:lnTo>
                  <a:lnTo>
                    <a:pt x="112" y="115"/>
                  </a:lnTo>
                  <a:lnTo>
                    <a:pt x="117" y="114"/>
                  </a:lnTo>
                  <a:lnTo>
                    <a:pt x="120" y="112"/>
                  </a:lnTo>
                  <a:lnTo>
                    <a:pt x="132" y="101"/>
                  </a:lnTo>
                  <a:lnTo>
                    <a:pt x="144" y="93"/>
                  </a:lnTo>
                  <a:lnTo>
                    <a:pt x="150" y="90"/>
                  </a:lnTo>
                  <a:lnTo>
                    <a:pt x="158" y="86"/>
                  </a:lnTo>
                  <a:lnTo>
                    <a:pt x="166" y="83"/>
                  </a:lnTo>
                  <a:lnTo>
                    <a:pt x="176" y="80"/>
                  </a:lnTo>
                  <a:lnTo>
                    <a:pt x="180" y="79"/>
                  </a:lnTo>
                  <a:lnTo>
                    <a:pt x="183" y="76"/>
                  </a:lnTo>
                  <a:lnTo>
                    <a:pt x="186" y="72"/>
                  </a:lnTo>
                  <a:lnTo>
                    <a:pt x="186" y="68"/>
                  </a:lnTo>
                  <a:lnTo>
                    <a:pt x="186" y="25"/>
                  </a:lnTo>
                  <a:lnTo>
                    <a:pt x="256" y="25"/>
                  </a:lnTo>
                  <a:lnTo>
                    <a:pt x="256" y="68"/>
                  </a:lnTo>
                  <a:lnTo>
                    <a:pt x="257" y="71"/>
                  </a:lnTo>
                  <a:lnTo>
                    <a:pt x="259" y="75"/>
                  </a:lnTo>
                  <a:lnTo>
                    <a:pt x="261" y="78"/>
                  </a:lnTo>
                  <a:lnTo>
                    <a:pt x="264" y="80"/>
                  </a:lnTo>
                  <a:lnTo>
                    <a:pt x="281" y="88"/>
                  </a:lnTo>
                  <a:lnTo>
                    <a:pt x="296" y="96"/>
                  </a:lnTo>
                  <a:lnTo>
                    <a:pt x="309" y="105"/>
                  </a:lnTo>
                  <a:lnTo>
                    <a:pt x="319" y="112"/>
                  </a:lnTo>
                  <a:lnTo>
                    <a:pt x="323" y="114"/>
                  </a:lnTo>
                  <a:lnTo>
                    <a:pt x="326" y="115"/>
                  </a:lnTo>
                  <a:lnTo>
                    <a:pt x="330" y="115"/>
                  </a:lnTo>
                  <a:lnTo>
                    <a:pt x="335" y="113"/>
                  </a:lnTo>
                  <a:lnTo>
                    <a:pt x="369" y="93"/>
                  </a:lnTo>
                  <a:lnTo>
                    <a:pt x="405" y="154"/>
                  </a:lnTo>
                  <a:lnTo>
                    <a:pt x="368" y="175"/>
                  </a:lnTo>
                  <a:lnTo>
                    <a:pt x="365" y="179"/>
                  </a:lnTo>
                  <a:lnTo>
                    <a:pt x="363" y="182"/>
                  </a:lnTo>
                  <a:lnTo>
                    <a:pt x="362" y="185"/>
                  </a:lnTo>
                  <a:lnTo>
                    <a:pt x="362" y="189"/>
                  </a:lnTo>
                  <a:lnTo>
                    <a:pt x="364" y="206"/>
                  </a:lnTo>
                  <a:lnTo>
                    <a:pt x="365" y="222"/>
                  </a:lnTo>
                  <a:lnTo>
                    <a:pt x="365" y="238"/>
                  </a:lnTo>
                  <a:lnTo>
                    <a:pt x="362" y="254"/>
                  </a:lnTo>
                  <a:lnTo>
                    <a:pt x="362" y="257"/>
                  </a:lnTo>
                  <a:lnTo>
                    <a:pt x="363" y="261"/>
                  </a:lnTo>
                  <a:lnTo>
                    <a:pt x="365" y="265"/>
                  </a:lnTo>
                  <a:lnTo>
                    <a:pt x="368" y="268"/>
                  </a:lnTo>
                  <a:lnTo>
                    <a:pt x="405" y="289"/>
                  </a:lnTo>
                  <a:lnTo>
                    <a:pt x="369" y="350"/>
                  </a:lnTo>
                  <a:close/>
                  <a:moveTo>
                    <a:pt x="428" y="272"/>
                  </a:moveTo>
                  <a:lnTo>
                    <a:pt x="388" y="250"/>
                  </a:lnTo>
                  <a:lnTo>
                    <a:pt x="389" y="236"/>
                  </a:lnTo>
                  <a:lnTo>
                    <a:pt x="391" y="221"/>
                  </a:lnTo>
                  <a:lnTo>
                    <a:pt x="389" y="207"/>
                  </a:lnTo>
                  <a:lnTo>
                    <a:pt x="388" y="193"/>
                  </a:lnTo>
                  <a:lnTo>
                    <a:pt x="428" y="169"/>
                  </a:lnTo>
                  <a:lnTo>
                    <a:pt x="432" y="166"/>
                  </a:lnTo>
                  <a:lnTo>
                    <a:pt x="435" y="161"/>
                  </a:lnTo>
                  <a:lnTo>
                    <a:pt x="435" y="157"/>
                  </a:lnTo>
                  <a:lnTo>
                    <a:pt x="434" y="153"/>
                  </a:lnTo>
                  <a:lnTo>
                    <a:pt x="385" y="69"/>
                  </a:lnTo>
                  <a:lnTo>
                    <a:pt x="382" y="65"/>
                  </a:lnTo>
                  <a:lnTo>
                    <a:pt x="378" y="63"/>
                  </a:lnTo>
                  <a:lnTo>
                    <a:pt x="372" y="63"/>
                  </a:lnTo>
                  <a:lnTo>
                    <a:pt x="367" y="64"/>
                  </a:lnTo>
                  <a:lnTo>
                    <a:pt x="329" y="88"/>
                  </a:lnTo>
                  <a:lnTo>
                    <a:pt x="320" y="81"/>
                  </a:lnTo>
                  <a:lnTo>
                    <a:pt x="308" y="73"/>
                  </a:lnTo>
                  <a:lnTo>
                    <a:pt x="296" y="67"/>
                  </a:lnTo>
                  <a:lnTo>
                    <a:pt x="282" y="59"/>
                  </a:lnTo>
                  <a:lnTo>
                    <a:pt x="282" y="13"/>
                  </a:lnTo>
                  <a:lnTo>
                    <a:pt x="281" y="8"/>
                  </a:lnTo>
                  <a:lnTo>
                    <a:pt x="279" y="4"/>
                  </a:lnTo>
                  <a:lnTo>
                    <a:pt x="275" y="2"/>
                  </a:lnTo>
                  <a:lnTo>
                    <a:pt x="269" y="0"/>
                  </a:lnTo>
                  <a:lnTo>
                    <a:pt x="173" y="0"/>
                  </a:lnTo>
                  <a:lnTo>
                    <a:pt x="168" y="2"/>
                  </a:lnTo>
                  <a:lnTo>
                    <a:pt x="164" y="4"/>
                  </a:lnTo>
                  <a:lnTo>
                    <a:pt x="161" y="8"/>
                  </a:lnTo>
                  <a:lnTo>
                    <a:pt x="161" y="13"/>
                  </a:lnTo>
                  <a:lnTo>
                    <a:pt x="161" y="58"/>
                  </a:lnTo>
                  <a:lnTo>
                    <a:pt x="152" y="62"/>
                  </a:lnTo>
                  <a:lnTo>
                    <a:pt x="144" y="64"/>
                  </a:lnTo>
                  <a:lnTo>
                    <a:pt x="137" y="67"/>
                  </a:lnTo>
                  <a:lnTo>
                    <a:pt x="131" y="71"/>
                  </a:lnTo>
                  <a:lnTo>
                    <a:pt x="119" y="79"/>
                  </a:lnTo>
                  <a:lnTo>
                    <a:pt x="109" y="88"/>
                  </a:lnTo>
                  <a:lnTo>
                    <a:pt x="68" y="64"/>
                  </a:lnTo>
                  <a:lnTo>
                    <a:pt x="63" y="63"/>
                  </a:lnTo>
                  <a:lnTo>
                    <a:pt x="59" y="63"/>
                  </a:lnTo>
                  <a:lnTo>
                    <a:pt x="55" y="65"/>
                  </a:lnTo>
                  <a:lnTo>
                    <a:pt x="50" y="69"/>
                  </a:lnTo>
                  <a:lnTo>
                    <a:pt x="2" y="152"/>
                  </a:lnTo>
                  <a:lnTo>
                    <a:pt x="1" y="157"/>
                  </a:lnTo>
                  <a:lnTo>
                    <a:pt x="1" y="161"/>
                  </a:lnTo>
                  <a:lnTo>
                    <a:pt x="2" y="165"/>
                  </a:lnTo>
                  <a:lnTo>
                    <a:pt x="3" y="167"/>
                  </a:lnTo>
                  <a:lnTo>
                    <a:pt x="5" y="168"/>
                  </a:lnTo>
                  <a:lnTo>
                    <a:pt x="6" y="169"/>
                  </a:lnTo>
                  <a:lnTo>
                    <a:pt x="47" y="193"/>
                  </a:lnTo>
                  <a:lnTo>
                    <a:pt x="45" y="207"/>
                  </a:lnTo>
                  <a:lnTo>
                    <a:pt x="44" y="221"/>
                  </a:lnTo>
                  <a:lnTo>
                    <a:pt x="45" y="236"/>
                  </a:lnTo>
                  <a:lnTo>
                    <a:pt x="47" y="250"/>
                  </a:lnTo>
                  <a:lnTo>
                    <a:pt x="6" y="272"/>
                  </a:lnTo>
                  <a:lnTo>
                    <a:pt x="3" y="276"/>
                  </a:lnTo>
                  <a:lnTo>
                    <a:pt x="0" y="281"/>
                  </a:lnTo>
                  <a:lnTo>
                    <a:pt x="0" y="286"/>
                  </a:lnTo>
                  <a:lnTo>
                    <a:pt x="2" y="290"/>
                  </a:lnTo>
                  <a:lnTo>
                    <a:pt x="49" y="373"/>
                  </a:lnTo>
                  <a:lnTo>
                    <a:pt x="53" y="377"/>
                  </a:lnTo>
                  <a:lnTo>
                    <a:pt x="58" y="379"/>
                  </a:lnTo>
                  <a:lnTo>
                    <a:pt x="62" y="379"/>
                  </a:lnTo>
                  <a:lnTo>
                    <a:pt x="67" y="378"/>
                  </a:lnTo>
                  <a:lnTo>
                    <a:pt x="109" y="356"/>
                  </a:lnTo>
                  <a:lnTo>
                    <a:pt x="119" y="363"/>
                  </a:lnTo>
                  <a:lnTo>
                    <a:pt x="131" y="372"/>
                  </a:lnTo>
                  <a:lnTo>
                    <a:pt x="144" y="378"/>
                  </a:lnTo>
                  <a:lnTo>
                    <a:pt x="161" y="385"/>
                  </a:lnTo>
                  <a:lnTo>
                    <a:pt x="161" y="419"/>
                  </a:lnTo>
                  <a:lnTo>
                    <a:pt x="161" y="425"/>
                  </a:lnTo>
                  <a:lnTo>
                    <a:pt x="164" y="428"/>
                  </a:lnTo>
                  <a:lnTo>
                    <a:pt x="168" y="431"/>
                  </a:lnTo>
                  <a:lnTo>
                    <a:pt x="173" y="432"/>
                  </a:lnTo>
                  <a:lnTo>
                    <a:pt x="269" y="432"/>
                  </a:lnTo>
                  <a:lnTo>
                    <a:pt x="275" y="431"/>
                  </a:lnTo>
                  <a:lnTo>
                    <a:pt x="279" y="428"/>
                  </a:lnTo>
                  <a:lnTo>
                    <a:pt x="281" y="425"/>
                  </a:lnTo>
                  <a:lnTo>
                    <a:pt x="282" y="419"/>
                  </a:lnTo>
                  <a:lnTo>
                    <a:pt x="282" y="382"/>
                  </a:lnTo>
                  <a:lnTo>
                    <a:pt x="296" y="375"/>
                  </a:lnTo>
                  <a:lnTo>
                    <a:pt x="308" y="369"/>
                  </a:lnTo>
                  <a:lnTo>
                    <a:pt x="320" y="362"/>
                  </a:lnTo>
                  <a:lnTo>
                    <a:pt x="329" y="356"/>
                  </a:lnTo>
                  <a:lnTo>
                    <a:pt x="367" y="378"/>
                  </a:lnTo>
                  <a:lnTo>
                    <a:pt x="372" y="379"/>
                  </a:lnTo>
                  <a:lnTo>
                    <a:pt x="378" y="379"/>
                  </a:lnTo>
                  <a:lnTo>
                    <a:pt x="380" y="378"/>
                  </a:lnTo>
                  <a:lnTo>
                    <a:pt x="382" y="377"/>
                  </a:lnTo>
                  <a:lnTo>
                    <a:pt x="383" y="375"/>
                  </a:lnTo>
                  <a:lnTo>
                    <a:pt x="385" y="373"/>
                  </a:lnTo>
                  <a:lnTo>
                    <a:pt x="434" y="290"/>
                  </a:lnTo>
                  <a:lnTo>
                    <a:pt x="435" y="285"/>
                  </a:lnTo>
                  <a:lnTo>
                    <a:pt x="435" y="281"/>
                  </a:lnTo>
                  <a:lnTo>
                    <a:pt x="432" y="276"/>
                  </a:lnTo>
                  <a:lnTo>
                    <a:pt x="428" y="272"/>
                  </a:lnTo>
                  <a:close/>
                </a:path>
              </a:pathLst>
            </a:custGeom>
            <a:gradFill>
              <a:gsLst>
                <a:gs pos="1000">
                  <a:schemeClr val="tx2">
                    <a:alpha val="85000"/>
                  </a:schemeClr>
                </a:gs>
                <a:gs pos="100000">
                  <a:schemeClr val="accent4">
                    <a:lumMod val="75000"/>
                    <a:alpha val="85000"/>
                  </a:schemeClr>
                </a:gs>
              </a:gsLst>
              <a:lin ang="5400000" scaled="1"/>
            </a:gradFill>
            <a:ln>
              <a:solidFill>
                <a:schemeClr val="bg1">
                  <a:lumMod val="50000"/>
                </a:schemeClr>
              </a:solid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endParaRPr>
            </a:p>
          </p:txBody>
        </p:sp>
        <p:sp>
          <p:nvSpPr>
            <p:cNvPr id="36" name="Freeform 58"/>
            <p:cNvSpPr>
              <a:spLocks noEditPoints="1"/>
            </p:cNvSpPr>
            <p:nvPr/>
          </p:nvSpPr>
          <p:spPr bwMode="auto">
            <a:xfrm>
              <a:off x="1122363" y="3297238"/>
              <a:ext cx="61913" cy="60325"/>
            </a:xfrm>
            <a:custGeom>
              <a:avLst/>
              <a:gdLst>
                <a:gd name="T0" fmla="*/ 67 w 154"/>
                <a:gd name="T1" fmla="*/ 128 h 154"/>
                <a:gd name="T2" fmla="*/ 49 w 154"/>
                <a:gd name="T3" fmla="*/ 119 h 154"/>
                <a:gd name="T4" fmla="*/ 35 w 154"/>
                <a:gd name="T5" fmla="*/ 107 h 154"/>
                <a:gd name="T6" fmla="*/ 27 w 154"/>
                <a:gd name="T7" fmla="*/ 88 h 154"/>
                <a:gd name="T8" fmla="*/ 27 w 154"/>
                <a:gd name="T9" fmla="*/ 67 h 154"/>
                <a:gd name="T10" fmla="*/ 35 w 154"/>
                <a:gd name="T11" fmla="*/ 49 h 154"/>
                <a:gd name="T12" fmla="*/ 49 w 154"/>
                <a:gd name="T13" fmla="*/ 35 h 154"/>
                <a:gd name="T14" fmla="*/ 67 w 154"/>
                <a:gd name="T15" fmla="*/ 26 h 154"/>
                <a:gd name="T16" fmla="*/ 87 w 154"/>
                <a:gd name="T17" fmla="*/ 26 h 154"/>
                <a:gd name="T18" fmla="*/ 106 w 154"/>
                <a:gd name="T19" fmla="*/ 35 h 154"/>
                <a:gd name="T20" fmla="*/ 120 w 154"/>
                <a:gd name="T21" fmla="*/ 49 h 154"/>
                <a:gd name="T22" fmla="*/ 128 w 154"/>
                <a:gd name="T23" fmla="*/ 67 h 154"/>
                <a:gd name="T24" fmla="*/ 128 w 154"/>
                <a:gd name="T25" fmla="*/ 88 h 154"/>
                <a:gd name="T26" fmla="*/ 120 w 154"/>
                <a:gd name="T27" fmla="*/ 107 h 154"/>
                <a:gd name="T28" fmla="*/ 106 w 154"/>
                <a:gd name="T29" fmla="*/ 119 h 154"/>
                <a:gd name="T30" fmla="*/ 87 w 154"/>
                <a:gd name="T31" fmla="*/ 128 h 154"/>
                <a:gd name="T32" fmla="*/ 78 w 154"/>
                <a:gd name="T33" fmla="*/ 0 h 154"/>
                <a:gd name="T34" fmla="*/ 62 w 154"/>
                <a:gd name="T35" fmla="*/ 1 h 154"/>
                <a:gd name="T36" fmla="*/ 48 w 154"/>
                <a:gd name="T37" fmla="*/ 6 h 154"/>
                <a:gd name="T38" fmla="*/ 35 w 154"/>
                <a:gd name="T39" fmla="*/ 13 h 154"/>
                <a:gd name="T40" fmla="*/ 23 w 154"/>
                <a:gd name="T41" fmla="*/ 23 h 154"/>
                <a:gd name="T42" fmla="*/ 13 w 154"/>
                <a:gd name="T43" fmla="*/ 34 h 154"/>
                <a:gd name="T44" fmla="*/ 7 w 154"/>
                <a:gd name="T45" fmla="*/ 48 h 154"/>
                <a:gd name="T46" fmla="*/ 1 w 154"/>
                <a:gd name="T47" fmla="*/ 62 h 154"/>
                <a:gd name="T48" fmla="*/ 0 w 154"/>
                <a:gd name="T49" fmla="*/ 78 h 154"/>
                <a:gd name="T50" fmla="*/ 1 w 154"/>
                <a:gd name="T51" fmla="*/ 93 h 154"/>
                <a:gd name="T52" fmla="*/ 7 w 154"/>
                <a:gd name="T53" fmla="*/ 108 h 154"/>
                <a:gd name="T54" fmla="*/ 13 w 154"/>
                <a:gd name="T55" fmla="*/ 121 h 154"/>
                <a:gd name="T56" fmla="*/ 23 w 154"/>
                <a:gd name="T57" fmla="*/ 131 h 154"/>
                <a:gd name="T58" fmla="*/ 35 w 154"/>
                <a:gd name="T59" fmla="*/ 141 h 154"/>
                <a:gd name="T60" fmla="*/ 48 w 154"/>
                <a:gd name="T61" fmla="*/ 148 h 154"/>
                <a:gd name="T62" fmla="*/ 62 w 154"/>
                <a:gd name="T63" fmla="*/ 153 h 154"/>
                <a:gd name="T64" fmla="*/ 78 w 154"/>
                <a:gd name="T65" fmla="*/ 154 h 154"/>
                <a:gd name="T66" fmla="*/ 93 w 154"/>
                <a:gd name="T67" fmla="*/ 153 h 154"/>
                <a:gd name="T68" fmla="*/ 108 w 154"/>
                <a:gd name="T69" fmla="*/ 148 h 154"/>
                <a:gd name="T70" fmla="*/ 121 w 154"/>
                <a:gd name="T71" fmla="*/ 141 h 154"/>
                <a:gd name="T72" fmla="*/ 131 w 154"/>
                <a:gd name="T73" fmla="*/ 131 h 154"/>
                <a:gd name="T74" fmla="*/ 141 w 154"/>
                <a:gd name="T75" fmla="*/ 121 h 154"/>
                <a:gd name="T76" fmla="*/ 149 w 154"/>
                <a:gd name="T77" fmla="*/ 108 h 154"/>
                <a:gd name="T78" fmla="*/ 153 w 154"/>
                <a:gd name="T79" fmla="*/ 93 h 154"/>
                <a:gd name="T80" fmla="*/ 154 w 154"/>
                <a:gd name="T81" fmla="*/ 78 h 154"/>
                <a:gd name="T82" fmla="*/ 153 w 154"/>
                <a:gd name="T83" fmla="*/ 62 h 154"/>
                <a:gd name="T84" fmla="*/ 149 w 154"/>
                <a:gd name="T85" fmla="*/ 48 h 154"/>
                <a:gd name="T86" fmla="*/ 141 w 154"/>
                <a:gd name="T87" fmla="*/ 34 h 154"/>
                <a:gd name="T88" fmla="*/ 131 w 154"/>
                <a:gd name="T89" fmla="*/ 23 h 154"/>
                <a:gd name="T90" fmla="*/ 121 w 154"/>
                <a:gd name="T91" fmla="*/ 13 h 154"/>
                <a:gd name="T92" fmla="*/ 108 w 154"/>
                <a:gd name="T93" fmla="*/ 6 h 154"/>
                <a:gd name="T94" fmla="*/ 93 w 154"/>
                <a:gd name="T95" fmla="*/ 1 h 154"/>
                <a:gd name="T96" fmla="*/ 78 w 154"/>
                <a:gd name="T97"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4" h="154">
                  <a:moveTo>
                    <a:pt x="78" y="128"/>
                  </a:moveTo>
                  <a:lnTo>
                    <a:pt x="67" y="128"/>
                  </a:lnTo>
                  <a:lnTo>
                    <a:pt x="57" y="125"/>
                  </a:lnTo>
                  <a:lnTo>
                    <a:pt x="49" y="119"/>
                  </a:lnTo>
                  <a:lnTo>
                    <a:pt x="41" y="114"/>
                  </a:lnTo>
                  <a:lnTo>
                    <a:pt x="35" y="107"/>
                  </a:lnTo>
                  <a:lnTo>
                    <a:pt x="29" y="97"/>
                  </a:lnTo>
                  <a:lnTo>
                    <a:pt x="27" y="88"/>
                  </a:lnTo>
                  <a:lnTo>
                    <a:pt x="26" y="78"/>
                  </a:lnTo>
                  <a:lnTo>
                    <a:pt x="27" y="67"/>
                  </a:lnTo>
                  <a:lnTo>
                    <a:pt x="29" y="57"/>
                  </a:lnTo>
                  <a:lnTo>
                    <a:pt x="35" y="49"/>
                  </a:lnTo>
                  <a:lnTo>
                    <a:pt x="41" y="41"/>
                  </a:lnTo>
                  <a:lnTo>
                    <a:pt x="49" y="35"/>
                  </a:lnTo>
                  <a:lnTo>
                    <a:pt x="57" y="29"/>
                  </a:lnTo>
                  <a:lnTo>
                    <a:pt x="67" y="26"/>
                  </a:lnTo>
                  <a:lnTo>
                    <a:pt x="78" y="25"/>
                  </a:lnTo>
                  <a:lnTo>
                    <a:pt x="87" y="26"/>
                  </a:lnTo>
                  <a:lnTo>
                    <a:pt x="97" y="29"/>
                  </a:lnTo>
                  <a:lnTo>
                    <a:pt x="106" y="35"/>
                  </a:lnTo>
                  <a:lnTo>
                    <a:pt x="114" y="41"/>
                  </a:lnTo>
                  <a:lnTo>
                    <a:pt x="120" y="49"/>
                  </a:lnTo>
                  <a:lnTo>
                    <a:pt x="125" y="57"/>
                  </a:lnTo>
                  <a:lnTo>
                    <a:pt x="128" y="67"/>
                  </a:lnTo>
                  <a:lnTo>
                    <a:pt x="129" y="78"/>
                  </a:lnTo>
                  <a:lnTo>
                    <a:pt x="128" y="88"/>
                  </a:lnTo>
                  <a:lnTo>
                    <a:pt x="125" y="97"/>
                  </a:lnTo>
                  <a:lnTo>
                    <a:pt x="120" y="107"/>
                  </a:lnTo>
                  <a:lnTo>
                    <a:pt x="114" y="114"/>
                  </a:lnTo>
                  <a:lnTo>
                    <a:pt x="106" y="119"/>
                  </a:lnTo>
                  <a:lnTo>
                    <a:pt x="97" y="125"/>
                  </a:lnTo>
                  <a:lnTo>
                    <a:pt x="87" y="128"/>
                  </a:lnTo>
                  <a:lnTo>
                    <a:pt x="78" y="128"/>
                  </a:lnTo>
                  <a:close/>
                  <a:moveTo>
                    <a:pt x="78" y="0"/>
                  </a:moveTo>
                  <a:lnTo>
                    <a:pt x="69" y="0"/>
                  </a:lnTo>
                  <a:lnTo>
                    <a:pt x="62" y="1"/>
                  </a:lnTo>
                  <a:lnTo>
                    <a:pt x="54" y="4"/>
                  </a:lnTo>
                  <a:lnTo>
                    <a:pt x="48" y="6"/>
                  </a:lnTo>
                  <a:lnTo>
                    <a:pt x="41" y="9"/>
                  </a:lnTo>
                  <a:lnTo>
                    <a:pt x="35" y="13"/>
                  </a:lnTo>
                  <a:lnTo>
                    <a:pt x="28" y="17"/>
                  </a:lnTo>
                  <a:lnTo>
                    <a:pt x="23" y="23"/>
                  </a:lnTo>
                  <a:lnTo>
                    <a:pt x="18" y="28"/>
                  </a:lnTo>
                  <a:lnTo>
                    <a:pt x="13" y="34"/>
                  </a:lnTo>
                  <a:lnTo>
                    <a:pt x="10" y="40"/>
                  </a:lnTo>
                  <a:lnTo>
                    <a:pt x="7" y="48"/>
                  </a:lnTo>
                  <a:lnTo>
                    <a:pt x="4" y="54"/>
                  </a:lnTo>
                  <a:lnTo>
                    <a:pt x="1" y="62"/>
                  </a:lnTo>
                  <a:lnTo>
                    <a:pt x="0" y="70"/>
                  </a:lnTo>
                  <a:lnTo>
                    <a:pt x="0" y="78"/>
                  </a:lnTo>
                  <a:lnTo>
                    <a:pt x="0" y="85"/>
                  </a:lnTo>
                  <a:lnTo>
                    <a:pt x="1" y="93"/>
                  </a:lnTo>
                  <a:lnTo>
                    <a:pt x="4" y="100"/>
                  </a:lnTo>
                  <a:lnTo>
                    <a:pt x="7" y="108"/>
                  </a:lnTo>
                  <a:lnTo>
                    <a:pt x="10" y="114"/>
                  </a:lnTo>
                  <a:lnTo>
                    <a:pt x="13" y="121"/>
                  </a:lnTo>
                  <a:lnTo>
                    <a:pt x="18" y="126"/>
                  </a:lnTo>
                  <a:lnTo>
                    <a:pt x="23" y="131"/>
                  </a:lnTo>
                  <a:lnTo>
                    <a:pt x="28" y="137"/>
                  </a:lnTo>
                  <a:lnTo>
                    <a:pt x="35" y="141"/>
                  </a:lnTo>
                  <a:lnTo>
                    <a:pt x="41" y="145"/>
                  </a:lnTo>
                  <a:lnTo>
                    <a:pt x="48" y="148"/>
                  </a:lnTo>
                  <a:lnTo>
                    <a:pt x="54" y="151"/>
                  </a:lnTo>
                  <a:lnTo>
                    <a:pt x="62" y="153"/>
                  </a:lnTo>
                  <a:lnTo>
                    <a:pt x="69" y="154"/>
                  </a:lnTo>
                  <a:lnTo>
                    <a:pt x="78" y="154"/>
                  </a:lnTo>
                  <a:lnTo>
                    <a:pt x="85" y="154"/>
                  </a:lnTo>
                  <a:lnTo>
                    <a:pt x="93" y="153"/>
                  </a:lnTo>
                  <a:lnTo>
                    <a:pt x="100" y="151"/>
                  </a:lnTo>
                  <a:lnTo>
                    <a:pt x="108" y="148"/>
                  </a:lnTo>
                  <a:lnTo>
                    <a:pt x="114" y="145"/>
                  </a:lnTo>
                  <a:lnTo>
                    <a:pt x="121" y="141"/>
                  </a:lnTo>
                  <a:lnTo>
                    <a:pt x="126" y="137"/>
                  </a:lnTo>
                  <a:lnTo>
                    <a:pt x="131" y="131"/>
                  </a:lnTo>
                  <a:lnTo>
                    <a:pt x="137" y="126"/>
                  </a:lnTo>
                  <a:lnTo>
                    <a:pt x="141" y="121"/>
                  </a:lnTo>
                  <a:lnTo>
                    <a:pt x="145" y="114"/>
                  </a:lnTo>
                  <a:lnTo>
                    <a:pt x="149" y="108"/>
                  </a:lnTo>
                  <a:lnTo>
                    <a:pt x="151" y="100"/>
                  </a:lnTo>
                  <a:lnTo>
                    <a:pt x="153" y="93"/>
                  </a:lnTo>
                  <a:lnTo>
                    <a:pt x="154" y="85"/>
                  </a:lnTo>
                  <a:lnTo>
                    <a:pt x="154" y="78"/>
                  </a:lnTo>
                  <a:lnTo>
                    <a:pt x="154" y="70"/>
                  </a:lnTo>
                  <a:lnTo>
                    <a:pt x="153" y="62"/>
                  </a:lnTo>
                  <a:lnTo>
                    <a:pt x="151" y="54"/>
                  </a:lnTo>
                  <a:lnTo>
                    <a:pt x="149" y="48"/>
                  </a:lnTo>
                  <a:lnTo>
                    <a:pt x="145" y="40"/>
                  </a:lnTo>
                  <a:lnTo>
                    <a:pt x="141" y="34"/>
                  </a:lnTo>
                  <a:lnTo>
                    <a:pt x="137" y="28"/>
                  </a:lnTo>
                  <a:lnTo>
                    <a:pt x="131" y="23"/>
                  </a:lnTo>
                  <a:lnTo>
                    <a:pt x="126" y="17"/>
                  </a:lnTo>
                  <a:lnTo>
                    <a:pt x="121" y="13"/>
                  </a:lnTo>
                  <a:lnTo>
                    <a:pt x="114" y="9"/>
                  </a:lnTo>
                  <a:lnTo>
                    <a:pt x="108" y="6"/>
                  </a:lnTo>
                  <a:lnTo>
                    <a:pt x="100" y="4"/>
                  </a:lnTo>
                  <a:lnTo>
                    <a:pt x="93" y="1"/>
                  </a:lnTo>
                  <a:lnTo>
                    <a:pt x="85" y="0"/>
                  </a:lnTo>
                  <a:lnTo>
                    <a:pt x="78" y="0"/>
                  </a:lnTo>
                  <a:close/>
                </a:path>
              </a:pathLst>
            </a:custGeom>
            <a:gradFill>
              <a:gsLst>
                <a:gs pos="1000">
                  <a:schemeClr val="tx2">
                    <a:alpha val="85000"/>
                  </a:schemeClr>
                </a:gs>
                <a:gs pos="100000">
                  <a:schemeClr val="accent4">
                    <a:lumMod val="75000"/>
                    <a:alpha val="85000"/>
                  </a:schemeClr>
                </a:gs>
              </a:gsLst>
              <a:lin ang="5400000" scaled="1"/>
            </a:gradFill>
            <a:ln>
              <a:solidFill>
                <a:schemeClr val="bg1">
                  <a:lumMod val="50000"/>
                </a:schemeClr>
              </a:solid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endParaRPr>
            </a:p>
          </p:txBody>
        </p:sp>
        <p:sp>
          <p:nvSpPr>
            <p:cNvPr id="37" name="Freeform 59"/>
            <p:cNvSpPr>
              <a:spLocks noEditPoints="1"/>
            </p:cNvSpPr>
            <p:nvPr/>
          </p:nvSpPr>
          <p:spPr bwMode="auto">
            <a:xfrm>
              <a:off x="946151" y="3371851"/>
              <a:ext cx="173038" cy="171450"/>
            </a:xfrm>
            <a:custGeom>
              <a:avLst/>
              <a:gdLst>
                <a:gd name="T0" fmla="*/ 362 w 435"/>
                <a:gd name="T1" fmla="*/ 176 h 434"/>
                <a:gd name="T2" fmla="*/ 364 w 435"/>
                <a:gd name="T3" fmla="*/ 229 h 434"/>
                <a:gd name="T4" fmla="*/ 365 w 435"/>
                <a:gd name="T5" fmla="*/ 256 h 434"/>
                <a:gd name="T6" fmla="*/ 334 w 435"/>
                <a:gd name="T7" fmla="*/ 319 h 434"/>
                <a:gd name="T8" fmla="*/ 319 w 435"/>
                <a:gd name="T9" fmla="*/ 321 h 434"/>
                <a:gd name="T10" fmla="*/ 264 w 435"/>
                <a:gd name="T11" fmla="*/ 354 h 434"/>
                <a:gd name="T12" fmla="*/ 256 w 435"/>
                <a:gd name="T13" fmla="*/ 365 h 434"/>
                <a:gd name="T14" fmla="*/ 185 w 435"/>
                <a:gd name="T15" fmla="*/ 362 h 434"/>
                <a:gd name="T16" fmla="*/ 166 w 435"/>
                <a:gd name="T17" fmla="*/ 350 h 434"/>
                <a:gd name="T18" fmla="*/ 132 w 435"/>
                <a:gd name="T19" fmla="*/ 332 h 434"/>
                <a:gd name="T20" fmla="*/ 108 w 435"/>
                <a:gd name="T21" fmla="*/ 318 h 434"/>
                <a:gd name="T22" fmla="*/ 67 w 435"/>
                <a:gd name="T23" fmla="*/ 259 h 434"/>
                <a:gd name="T24" fmla="*/ 73 w 435"/>
                <a:gd name="T25" fmla="*/ 245 h 434"/>
                <a:gd name="T26" fmla="*/ 73 w 435"/>
                <a:gd name="T27" fmla="*/ 180 h 434"/>
                <a:gd name="T28" fmla="*/ 67 w 435"/>
                <a:gd name="T29" fmla="*/ 166 h 434"/>
                <a:gd name="T30" fmla="*/ 108 w 435"/>
                <a:gd name="T31" fmla="*/ 106 h 434"/>
                <a:gd name="T32" fmla="*/ 132 w 435"/>
                <a:gd name="T33" fmla="*/ 92 h 434"/>
                <a:gd name="T34" fmla="*/ 166 w 435"/>
                <a:gd name="T35" fmla="*/ 74 h 434"/>
                <a:gd name="T36" fmla="*/ 185 w 435"/>
                <a:gd name="T37" fmla="*/ 63 h 434"/>
                <a:gd name="T38" fmla="*/ 256 w 435"/>
                <a:gd name="T39" fmla="*/ 60 h 434"/>
                <a:gd name="T40" fmla="*/ 264 w 435"/>
                <a:gd name="T41" fmla="*/ 71 h 434"/>
                <a:gd name="T42" fmla="*/ 319 w 435"/>
                <a:gd name="T43" fmla="*/ 103 h 434"/>
                <a:gd name="T44" fmla="*/ 334 w 435"/>
                <a:gd name="T45" fmla="*/ 105 h 434"/>
                <a:gd name="T46" fmla="*/ 435 w 435"/>
                <a:gd name="T47" fmla="*/ 153 h 434"/>
                <a:gd name="T48" fmla="*/ 383 w 435"/>
                <a:gd name="T49" fmla="*/ 58 h 434"/>
                <a:gd name="T50" fmla="*/ 375 w 435"/>
                <a:gd name="T51" fmla="*/ 54 h 434"/>
                <a:gd name="T52" fmla="*/ 328 w 435"/>
                <a:gd name="T53" fmla="*/ 78 h 434"/>
                <a:gd name="T54" fmla="*/ 282 w 435"/>
                <a:gd name="T55" fmla="*/ 51 h 434"/>
                <a:gd name="T56" fmla="*/ 275 w 435"/>
                <a:gd name="T57" fmla="*/ 1 h 434"/>
                <a:gd name="T58" fmla="*/ 164 w 435"/>
                <a:gd name="T59" fmla="*/ 4 h 434"/>
                <a:gd name="T60" fmla="*/ 151 w 435"/>
                <a:gd name="T61" fmla="*/ 52 h 434"/>
                <a:gd name="T62" fmla="*/ 119 w 435"/>
                <a:gd name="T63" fmla="*/ 70 h 434"/>
                <a:gd name="T64" fmla="*/ 58 w 435"/>
                <a:gd name="T65" fmla="*/ 54 h 434"/>
                <a:gd name="T66" fmla="*/ 0 w 435"/>
                <a:gd name="T67" fmla="*/ 148 h 434"/>
                <a:gd name="T68" fmla="*/ 4 w 435"/>
                <a:gd name="T69" fmla="*/ 159 h 434"/>
                <a:gd name="T70" fmla="*/ 44 w 435"/>
                <a:gd name="T71" fmla="*/ 213 h 434"/>
                <a:gd name="T72" fmla="*/ 2 w 435"/>
                <a:gd name="T73" fmla="*/ 267 h 434"/>
                <a:gd name="T74" fmla="*/ 49 w 435"/>
                <a:gd name="T75" fmla="*/ 365 h 434"/>
                <a:gd name="T76" fmla="*/ 66 w 435"/>
                <a:gd name="T77" fmla="*/ 369 h 434"/>
                <a:gd name="T78" fmla="*/ 137 w 435"/>
                <a:gd name="T79" fmla="*/ 366 h 434"/>
                <a:gd name="T80" fmla="*/ 160 w 435"/>
                <a:gd name="T81" fmla="*/ 421 h 434"/>
                <a:gd name="T82" fmla="*/ 173 w 435"/>
                <a:gd name="T83" fmla="*/ 434 h 434"/>
                <a:gd name="T84" fmla="*/ 281 w 435"/>
                <a:gd name="T85" fmla="*/ 426 h 434"/>
                <a:gd name="T86" fmla="*/ 308 w 435"/>
                <a:gd name="T87" fmla="*/ 360 h 434"/>
                <a:gd name="T88" fmla="*/ 369 w 435"/>
                <a:gd name="T89" fmla="*/ 371 h 434"/>
                <a:gd name="T90" fmla="*/ 380 w 435"/>
                <a:gd name="T91" fmla="*/ 371 h 434"/>
                <a:gd name="T92" fmla="*/ 434 w 435"/>
                <a:gd name="T93" fmla="*/ 281 h 434"/>
                <a:gd name="T94" fmla="*/ 428 w 435"/>
                <a:gd name="T95" fmla="*/ 263 h 434"/>
                <a:gd name="T96" fmla="*/ 390 w 435"/>
                <a:gd name="T97" fmla="*/ 199 h 434"/>
                <a:gd name="T98" fmla="*/ 433 w 435"/>
                <a:gd name="T99" fmla="*/ 158 h 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35" h="434">
                  <a:moveTo>
                    <a:pt x="368" y="166"/>
                  </a:moveTo>
                  <a:lnTo>
                    <a:pt x="365" y="169"/>
                  </a:lnTo>
                  <a:lnTo>
                    <a:pt x="363" y="172"/>
                  </a:lnTo>
                  <a:lnTo>
                    <a:pt x="362" y="176"/>
                  </a:lnTo>
                  <a:lnTo>
                    <a:pt x="362" y="180"/>
                  </a:lnTo>
                  <a:lnTo>
                    <a:pt x="364" y="197"/>
                  </a:lnTo>
                  <a:lnTo>
                    <a:pt x="365" y="213"/>
                  </a:lnTo>
                  <a:lnTo>
                    <a:pt x="364" y="229"/>
                  </a:lnTo>
                  <a:lnTo>
                    <a:pt x="362" y="245"/>
                  </a:lnTo>
                  <a:lnTo>
                    <a:pt x="362" y="248"/>
                  </a:lnTo>
                  <a:lnTo>
                    <a:pt x="363" y="252"/>
                  </a:lnTo>
                  <a:lnTo>
                    <a:pt x="365" y="256"/>
                  </a:lnTo>
                  <a:lnTo>
                    <a:pt x="368" y="259"/>
                  </a:lnTo>
                  <a:lnTo>
                    <a:pt x="405" y="280"/>
                  </a:lnTo>
                  <a:lnTo>
                    <a:pt x="369" y="342"/>
                  </a:lnTo>
                  <a:lnTo>
                    <a:pt x="334" y="319"/>
                  </a:lnTo>
                  <a:lnTo>
                    <a:pt x="331" y="318"/>
                  </a:lnTo>
                  <a:lnTo>
                    <a:pt x="326" y="318"/>
                  </a:lnTo>
                  <a:lnTo>
                    <a:pt x="323" y="319"/>
                  </a:lnTo>
                  <a:lnTo>
                    <a:pt x="319" y="321"/>
                  </a:lnTo>
                  <a:lnTo>
                    <a:pt x="309" y="330"/>
                  </a:lnTo>
                  <a:lnTo>
                    <a:pt x="296" y="337"/>
                  </a:lnTo>
                  <a:lnTo>
                    <a:pt x="281" y="346"/>
                  </a:lnTo>
                  <a:lnTo>
                    <a:pt x="264" y="354"/>
                  </a:lnTo>
                  <a:lnTo>
                    <a:pt x="261" y="357"/>
                  </a:lnTo>
                  <a:lnTo>
                    <a:pt x="259" y="359"/>
                  </a:lnTo>
                  <a:lnTo>
                    <a:pt x="258" y="362"/>
                  </a:lnTo>
                  <a:lnTo>
                    <a:pt x="256" y="365"/>
                  </a:lnTo>
                  <a:lnTo>
                    <a:pt x="256" y="409"/>
                  </a:lnTo>
                  <a:lnTo>
                    <a:pt x="186" y="409"/>
                  </a:lnTo>
                  <a:lnTo>
                    <a:pt x="186" y="365"/>
                  </a:lnTo>
                  <a:lnTo>
                    <a:pt x="185" y="362"/>
                  </a:lnTo>
                  <a:lnTo>
                    <a:pt x="183" y="358"/>
                  </a:lnTo>
                  <a:lnTo>
                    <a:pt x="180" y="354"/>
                  </a:lnTo>
                  <a:lnTo>
                    <a:pt x="176" y="352"/>
                  </a:lnTo>
                  <a:lnTo>
                    <a:pt x="166" y="350"/>
                  </a:lnTo>
                  <a:lnTo>
                    <a:pt x="158" y="347"/>
                  </a:lnTo>
                  <a:lnTo>
                    <a:pt x="150" y="344"/>
                  </a:lnTo>
                  <a:lnTo>
                    <a:pt x="144" y="340"/>
                  </a:lnTo>
                  <a:lnTo>
                    <a:pt x="132" y="332"/>
                  </a:lnTo>
                  <a:lnTo>
                    <a:pt x="119" y="321"/>
                  </a:lnTo>
                  <a:lnTo>
                    <a:pt x="116" y="319"/>
                  </a:lnTo>
                  <a:lnTo>
                    <a:pt x="113" y="318"/>
                  </a:lnTo>
                  <a:lnTo>
                    <a:pt x="108" y="318"/>
                  </a:lnTo>
                  <a:lnTo>
                    <a:pt x="105" y="319"/>
                  </a:lnTo>
                  <a:lnTo>
                    <a:pt x="65" y="342"/>
                  </a:lnTo>
                  <a:lnTo>
                    <a:pt x="30" y="280"/>
                  </a:lnTo>
                  <a:lnTo>
                    <a:pt x="67" y="259"/>
                  </a:lnTo>
                  <a:lnTo>
                    <a:pt x="71" y="256"/>
                  </a:lnTo>
                  <a:lnTo>
                    <a:pt x="73" y="252"/>
                  </a:lnTo>
                  <a:lnTo>
                    <a:pt x="74" y="248"/>
                  </a:lnTo>
                  <a:lnTo>
                    <a:pt x="73" y="245"/>
                  </a:lnTo>
                  <a:lnTo>
                    <a:pt x="71" y="229"/>
                  </a:lnTo>
                  <a:lnTo>
                    <a:pt x="70" y="213"/>
                  </a:lnTo>
                  <a:lnTo>
                    <a:pt x="71" y="197"/>
                  </a:lnTo>
                  <a:lnTo>
                    <a:pt x="73" y="180"/>
                  </a:lnTo>
                  <a:lnTo>
                    <a:pt x="74" y="176"/>
                  </a:lnTo>
                  <a:lnTo>
                    <a:pt x="73" y="172"/>
                  </a:lnTo>
                  <a:lnTo>
                    <a:pt x="71" y="169"/>
                  </a:lnTo>
                  <a:lnTo>
                    <a:pt x="67" y="166"/>
                  </a:lnTo>
                  <a:lnTo>
                    <a:pt x="30" y="145"/>
                  </a:lnTo>
                  <a:lnTo>
                    <a:pt x="66" y="84"/>
                  </a:lnTo>
                  <a:lnTo>
                    <a:pt x="105" y="105"/>
                  </a:lnTo>
                  <a:lnTo>
                    <a:pt x="108" y="106"/>
                  </a:lnTo>
                  <a:lnTo>
                    <a:pt x="113" y="106"/>
                  </a:lnTo>
                  <a:lnTo>
                    <a:pt x="117" y="105"/>
                  </a:lnTo>
                  <a:lnTo>
                    <a:pt x="120" y="103"/>
                  </a:lnTo>
                  <a:lnTo>
                    <a:pt x="132" y="92"/>
                  </a:lnTo>
                  <a:lnTo>
                    <a:pt x="144" y="84"/>
                  </a:lnTo>
                  <a:lnTo>
                    <a:pt x="150" y="80"/>
                  </a:lnTo>
                  <a:lnTo>
                    <a:pt x="158" y="76"/>
                  </a:lnTo>
                  <a:lnTo>
                    <a:pt x="166" y="74"/>
                  </a:lnTo>
                  <a:lnTo>
                    <a:pt x="176" y="71"/>
                  </a:lnTo>
                  <a:lnTo>
                    <a:pt x="180" y="70"/>
                  </a:lnTo>
                  <a:lnTo>
                    <a:pt x="183" y="67"/>
                  </a:lnTo>
                  <a:lnTo>
                    <a:pt x="185" y="63"/>
                  </a:lnTo>
                  <a:lnTo>
                    <a:pt x="186" y="60"/>
                  </a:lnTo>
                  <a:lnTo>
                    <a:pt x="186" y="26"/>
                  </a:lnTo>
                  <a:lnTo>
                    <a:pt x="256" y="26"/>
                  </a:lnTo>
                  <a:lnTo>
                    <a:pt x="256" y="60"/>
                  </a:lnTo>
                  <a:lnTo>
                    <a:pt x="258" y="63"/>
                  </a:lnTo>
                  <a:lnTo>
                    <a:pt x="259" y="67"/>
                  </a:lnTo>
                  <a:lnTo>
                    <a:pt x="261" y="69"/>
                  </a:lnTo>
                  <a:lnTo>
                    <a:pt x="264" y="71"/>
                  </a:lnTo>
                  <a:lnTo>
                    <a:pt x="281" y="80"/>
                  </a:lnTo>
                  <a:lnTo>
                    <a:pt x="296" y="87"/>
                  </a:lnTo>
                  <a:lnTo>
                    <a:pt x="309" y="96"/>
                  </a:lnTo>
                  <a:lnTo>
                    <a:pt x="319" y="103"/>
                  </a:lnTo>
                  <a:lnTo>
                    <a:pt x="322" y="105"/>
                  </a:lnTo>
                  <a:lnTo>
                    <a:pt x="326" y="106"/>
                  </a:lnTo>
                  <a:lnTo>
                    <a:pt x="331" y="106"/>
                  </a:lnTo>
                  <a:lnTo>
                    <a:pt x="334" y="105"/>
                  </a:lnTo>
                  <a:lnTo>
                    <a:pt x="369" y="84"/>
                  </a:lnTo>
                  <a:lnTo>
                    <a:pt x="405" y="145"/>
                  </a:lnTo>
                  <a:lnTo>
                    <a:pt x="368" y="166"/>
                  </a:lnTo>
                  <a:close/>
                  <a:moveTo>
                    <a:pt x="435" y="153"/>
                  </a:moveTo>
                  <a:lnTo>
                    <a:pt x="435" y="148"/>
                  </a:lnTo>
                  <a:lnTo>
                    <a:pt x="434" y="144"/>
                  </a:lnTo>
                  <a:lnTo>
                    <a:pt x="385" y="60"/>
                  </a:lnTo>
                  <a:lnTo>
                    <a:pt x="383" y="58"/>
                  </a:lnTo>
                  <a:lnTo>
                    <a:pt x="382" y="56"/>
                  </a:lnTo>
                  <a:lnTo>
                    <a:pt x="380" y="55"/>
                  </a:lnTo>
                  <a:lnTo>
                    <a:pt x="377" y="55"/>
                  </a:lnTo>
                  <a:lnTo>
                    <a:pt x="375" y="54"/>
                  </a:lnTo>
                  <a:lnTo>
                    <a:pt x="372" y="54"/>
                  </a:lnTo>
                  <a:lnTo>
                    <a:pt x="370" y="55"/>
                  </a:lnTo>
                  <a:lnTo>
                    <a:pt x="367" y="56"/>
                  </a:lnTo>
                  <a:lnTo>
                    <a:pt x="328" y="78"/>
                  </a:lnTo>
                  <a:lnTo>
                    <a:pt x="320" y="71"/>
                  </a:lnTo>
                  <a:lnTo>
                    <a:pt x="308" y="64"/>
                  </a:lnTo>
                  <a:lnTo>
                    <a:pt x="296" y="58"/>
                  </a:lnTo>
                  <a:lnTo>
                    <a:pt x="282" y="51"/>
                  </a:lnTo>
                  <a:lnTo>
                    <a:pt x="282" y="13"/>
                  </a:lnTo>
                  <a:lnTo>
                    <a:pt x="281" y="8"/>
                  </a:lnTo>
                  <a:lnTo>
                    <a:pt x="278" y="4"/>
                  </a:lnTo>
                  <a:lnTo>
                    <a:pt x="275" y="1"/>
                  </a:lnTo>
                  <a:lnTo>
                    <a:pt x="269" y="0"/>
                  </a:lnTo>
                  <a:lnTo>
                    <a:pt x="173" y="0"/>
                  </a:lnTo>
                  <a:lnTo>
                    <a:pt x="168" y="1"/>
                  </a:lnTo>
                  <a:lnTo>
                    <a:pt x="164" y="4"/>
                  </a:lnTo>
                  <a:lnTo>
                    <a:pt x="161" y="8"/>
                  </a:lnTo>
                  <a:lnTo>
                    <a:pt x="160" y="13"/>
                  </a:lnTo>
                  <a:lnTo>
                    <a:pt x="160" y="49"/>
                  </a:lnTo>
                  <a:lnTo>
                    <a:pt x="151" y="52"/>
                  </a:lnTo>
                  <a:lnTo>
                    <a:pt x="144" y="55"/>
                  </a:lnTo>
                  <a:lnTo>
                    <a:pt x="137" y="58"/>
                  </a:lnTo>
                  <a:lnTo>
                    <a:pt x="131" y="62"/>
                  </a:lnTo>
                  <a:lnTo>
                    <a:pt x="119" y="70"/>
                  </a:lnTo>
                  <a:lnTo>
                    <a:pt x="109" y="78"/>
                  </a:lnTo>
                  <a:lnTo>
                    <a:pt x="67" y="55"/>
                  </a:lnTo>
                  <a:lnTo>
                    <a:pt x="63" y="54"/>
                  </a:lnTo>
                  <a:lnTo>
                    <a:pt x="58" y="54"/>
                  </a:lnTo>
                  <a:lnTo>
                    <a:pt x="54" y="56"/>
                  </a:lnTo>
                  <a:lnTo>
                    <a:pt x="50" y="60"/>
                  </a:lnTo>
                  <a:lnTo>
                    <a:pt x="2" y="144"/>
                  </a:lnTo>
                  <a:lnTo>
                    <a:pt x="0" y="148"/>
                  </a:lnTo>
                  <a:lnTo>
                    <a:pt x="1" y="153"/>
                  </a:lnTo>
                  <a:lnTo>
                    <a:pt x="2" y="156"/>
                  </a:lnTo>
                  <a:lnTo>
                    <a:pt x="3" y="158"/>
                  </a:lnTo>
                  <a:lnTo>
                    <a:pt x="4" y="159"/>
                  </a:lnTo>
                  <a:lnTo>
                    <a:pt x="6" y="160"/>
                  </a:lnTo>
                  <a:lnTo>
                    <a:pt x="47" y="185"/>
                  </a:lnTo>
                  <a:lnTo>
                    <a:pt x="45" y="199"/>
                  </a:lnTo>
                  <a:lnTo>
                    <a:pt x="44" y="213"/>
                  </a:lnTo>
                  <a:lnTo>
                    <a:pt x="45" y="227"/>
                  </a:lnTo>
                  <a:lnTo>
                    <a:pt x="47" y="241"/>
                  </a:lnTo>
                  <a:lnTo>
                    <a:pt x="6" y="263"/>
                  </a:lnTo>
                  <a:lnTo>
                    <a:pt x="2" y="267"/>
                  </a:lnTo>
                  <a:lnTo>
                    <a:pt x="0" y="273"/>
                  </a:lnTo>
                  <a:lnTo>
                    <a:pt x="0" y="277"/>
                  </a:lnTo>
                  <a:lnTo>
                    <a:pt x="2" y="281"/>
                  </a:lnTo>
                  <a:lnTo>
                    <a:pt x="49" y="365"/>
                  </a:lnTo>
                  <a:lnTo>
                    <a:pt x="52" y="368"/>
                  </a:lnTo>
                  <a:lnTo>
                    <a:pt x="57" y="371"/>
                  </a:lnTo>
                  <a:lnTo>
                    <a:pt x="62" y="371"/>
                  </a:lnTo>
                  <a:lnTo>
                    <a:pt x="66" y="369"/>
                  </a:lnTo>
                  <a:lnTo>
                    <a:pt x="109" y="346"/>
                  </a:lnTo>
                  <a:lnTo>
                    <a:pt x="119" y="354"/>
                  </a:lnTo>
                  <a:lnTo>
                    <a:pt x="131" y="363"/>
                  </a:lnTo>
                  <a:lnTo>
                    <a:pt x="137" y="366"/>
                  </a:lnTo>
                  <a:lnTo>
                    <a:pt x="144" y="369"/>
                  </a:lnTo>
                  <a:lnTo>
                    <a:pt x="151" y="373"/>
                  </a:lnTo>
                  <a:lnTo>
                    <a:pt x="160" y="376"/>
                  </a:lnTo>
                  <a:lnTo>
                    <a:pt x="160" y="421"/>
                  </a:lnTo>
                  <a:lnTo>
                    <a:pt x="161" y="426"/>
                  </a:lnTo>
                  <a:lnTo>
                    <a:pt x="164" y="431"/>
                  </a:lnTo>
                  <a:lnTo>
                    <a:pt x="168" y="433"/>
                  </a:lnTo>
                  <a:lnTo>
                    <a:pt x="173" y="434"/>
                  </a:lnTo>
                  <a:lnTo>
                    <a:pt x="269" y="434"/>
                  </a:lnTo>
                  <a:lnTo>
                    <a:pt x="275" y="433"/>
                  </a:lnTo>
                  <a:lnTo>
                    <a:pt x="278" y="431"/>
                  </a:lnTo>
                  <a:lnTo>
                    <a:pt x="281" y="426"/>
                  </a:lnTo>
                  <a:lnTo>
                    <a:pt x="282" y="421"/>
                  </a:lnTo>
                  <a:lnTo>
                    <a:pt x="282" y="374"/>
                  </a:lnTo>
                  <a:lnTo>
                    <a:pt x="296" y="367"/>
                  </a:lnTo>
                  <a:lnTo>
                    <a:pt x="308" y="360"/>
                  </a:lnTo>
                  <a:lnTo>
                    <a:pt x="320" y="353"/>
                  </a:lnTo>
                  <a:lnTo>
                    <a:pt x="329" y="346"/>
                  </a:lnTo>
                  <a:lnTo>
                    <a:pt x="367" y="369"/>
                  </a:lnTo>
                  <a:lnTo>
                    <a:pt x="369" y="371"/>
                  </a:lnTo>
                  <a:lnTo>
                    <a:pt x="372" y="372"/>
                  </a:lnTo>
                  <a:lnTo>
                    <a:pt x="375" y="372"/>
                  </a:lnTo>
                  <a:lnTo>
                    <a:pt x="377" y="371"/>
                  </a:lnTo>
                  <a:lnTo>
                    <a:pt x="380" y="371"/>
                  </a:lnTo>
                  <a:lnTo>
                    <a:pt x="382" y="368"/>
                  </a:lnTo>
                  <a:lnTo>
                    <a:pt x="383" y="367"/>
                  </a:lnTo>
                  <a:lnTo>
                    <a:pt x="385" y="365"/>
                  </a:lnTo>
                  <a:lnTo>
                    <a:pt x="434" y="281"/>
                  </a:lnTo>
                  <a:lnTo>
                    <a:pt x="435" y="277"/>
                  </a:lnTo>
                  <a:lnTo>
                    <a:pt x="435" y="273"/>
                  </a:lnTo>
                  <a:lnTo>
                    <a:pt x="433" y="267"/>
                  </a:lnTo>
                  <a:lnTo>
                    <a:pt x="428" y="263"/>
                  </a:lnTo>
                  <a:lnTo>
                    <a:pt x="389" y="241"/>
                  </a:lnTo>
                  <a:lnTo>
                    <a:pt x="390" y="227"/>
                  </a:lnTo>
                  <a:lnTo>
                    <a:pt x="391" y="213"/>
                  </a:lnTo>
                  <a:lnTo>
                    <a:pt x="390" y="199"/>
                  </a:lnTo>
                  <a:lnTo>
                    <a:pt x="389" y="185"/>
                  </a:lnTo>
                  <a:lnTo>
                    <a:pt x="428" y="160"/>
                  </a:lnTo>
                  <a:lnTo>
                    <a:pt x="430" y="159"/>
                  </a:lnTo>
                  <a:lnTo>
                    <a:pt x="433" y="158"/>
                  </a:lnTo>
                  <a:lnTo>
                    <a:pt x="434" y="156"/>
                  </a:lnTo>
                  <a:lnTo>
                    <a:pt x="435" y="153"/>
                  </a:lnTo>
                  <a:close/>
                </a:path>
              </a:pathLst>
            </a:custGeom>
            <a:gradFill>
              <a:gsLst>
                <a:gs pos="1000">
                  <a:schemeClr val="tx2">
                    <a:alpha val="85000"/>
                  </a:schemeClr>
                </a:gs>
                <a:gs pos="100000">
                  <a:schemeClr val="accent4">
                    <a:lumMod val="75000"/>
                    <a:alpha val="85000"/>
                  </a:schemeClr>
                </a:gs>
              </a:gsLst>
              <a:lin ang="5400000" scaled="1"/>
            </a:gradFill>
            <a:ln>
              <a:solidFill>
                <a:schemeClr val="bg1">
                  <a:lumMod val="50000"/>
                </a:schemeClr>
              </a:solid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endParaRPr>
            </a:p>
          </p:txBody>
        </p:sp>
        <p:sp>
          <p:nvSpPr>
            <p:cNvPr id="38" name="Freeform 60"/>
            <p:cNvSpPr>
              <a:spLocks noEditPoints="1"/>
            </p:cNvSpPr>
            <p:nvPr/>
          </p:nvSpPr>
          <p:spPr bwMode="auto">
            <a:xfrm>
              <a:off x="1001713" y="3424238"/>
              <a:ext cx="61913" cy="61913"/>
            </a:xfrm>
            <a:custGeom>
              <a:avLst/>
              <a:gdLst>
                <a:gd name="T0" fmla="*/ 67 w 154"/>
                <a:gd name="T1" fmla="*/ 127 h 154"/>
                <a:gd name="T2" fmla="*/ 49 w 154"/>
                <a:gd name="T3" fmla="*/ 120 h 154"/>
                <a:gd name="T4" fmla="*/ 35 w 154"/>
                <a:gd name="T5" fmla="*/ 106 h 154"/>
                <a:gd name="T6" fmla="*/ 27 w 154"/>
                <a:gd name="T7" fmla="*/ 87 h 154"/>
                <a:gd name="T8" fmla="*/ 27 w 154"/>
                <a:gd name="T9" fmla="*/ 67 h 154"/>
                <a:gd name="T10" fmla="*/ 35 w 154"/>
                <a:gd name="T11" fmla="*/ 49 h 154"/>
                <a:gd name="T12" fmla="*/ 49 w 154"/>
                <a:gd name="T13" fmla="*/ 35 h 154"/>
                <a:gd name="T14" fmla="*/ 67 w 154"/>
                <a:gd name="T15" fmla="*/ 26 h 154"/>
                <a:gd name="T16" fmla="*/ 87 w 154"/>
                <a:gd name="T17" fmla="*/ 26 h 154"/>
                <a:gd name="T18" fmla="*/ 106 w 154"/>
                <a:gd name="T19" fmla="*/ 35 h 154"/>
                <a:gd name="T20" fmla="*/ 120 w 154"/>
                <a:gd name="T21" fmla="*/ 49 h 154"/>
                <a:gd name="T22" fmla="*/ 128 w 154"/>
                <a:gd name="T23" fmla="*/ 67 h 154"/>
                <a:gd name="T24" fmla="*/ 128 w 154"/>
                <a:gd name="T25" fmla="*/ 87 h 154"/>
                <a:gd name="T26" fmla="*/ 120 w 154"/>
                <a:gd name="T27" fmla="*/ 106 h 154"/>
                <a:gd name="T28" fmla="*/ 106 w 154"/>
                <a:gd name="T29" fmla="*/ 120 h 154"/>
                <a:gd name="T30" fmla="*/ 87 w 154"/>
                <a:gd name="T31" fmla="*/ 127 h 154"/>
                <a:gd name="T32" fmla="*/ 78 w 154"/>
                <a:gd name="T33" fmla="*/ 0 h 154"/>
                <a:gd name="T34" fmla="*/ 62 w 154"/>
                <a:gd name="T35" fmla="*/ 1 h 154"/>
                <a:gd name="T36" fmla="*/ 48 w 154"/>
                <a:gd name="T37" fmla="*/ 6 h 154"/>
                <a:gd name="T38" fmla="*/ 35 w 154"/>
                <a:gd name="T39" fmla="*/ 13 h 154"/>
                <a:gd name="T40" fmla="*/ 23 w 154"/>
                <a:gd name="T41" fmla="*/ 23 h 154"/>
                <a:gd name="T42" fmla="*/ 13 w 154"/>
                <a:gd name="T43" fmla="*/ 35 h 154"/>
                <a:gd name="T44" fmla="*/ 7 w 154"/>
                <a:gd name="T45" fmla="*/ 48 h 154"/>
                <a:gd name="T46" fmla="*/ 2 w 154"/>
                <a:gd name="T47" fmla="*/ 63 h 154"/>
                <a:gd name="T48" fmla="*/ 0 w 154"/>
                <a:gd name="T49" fmla="*/ 78 h 154"/>
                <a:gd name="T50" fmla="*/ 2 w 154"/>
                <a:gd name="T51" fmla="*/ 93 h 154"/>
                <a:gd name="T52" fmla="*/ 7 w 154"/>
                <a:gd name="T53" fmla="*/ 108 h 154"/>
                <a:gd name="T54" fmla="*/ 13 w 154"/>
                <a:gd name="T55" fmla="*/ 121 h 154"/>
                <a:gd name="T56" fmla="*/ 23 w 154"/>
                <a:gd name="T57" fmla="*/ 131 h 154"/>
                <a:gd name="T58" fmla="*/ 35 w 154"/>
                <a:gd name="T59" fmla="*/ 141 h 154"/>
                <a:gd name="T60" fmla="*/ 48 w 154"/>
                <a:gd name="T61" fmla="*/ 147 h 154"/>
                <a:gd name="T62" fmla="*/ 62 w 154"/>
                <a:gd name="T63" fmla="*/ 153 h 154"/>
                <a:gd name="T64" fmla="*/ 78 w 154"/>
                <a:gd name="T65" fmla="*/ 154 h 154"/>
                <a:gd name="T66" fmla="*/ 93 w 154"/>
                <a:gd name="T67" fmla="*/ 153 h 154"/>
                <a:gd name="T68" fmla="*/ 107 w 154"/>
                <a:gd name="T69" fmla="*/ 147 h 154"/>
                <a:gd name="T70" fmla="*/ 121 w 154"/>
                <a:gd name="T71" fmla="*/ 141 h 154"/>
                <a:gd name="T72" fmla="*/ 131 w 154"/>
                <a:gd name="T73" fmla="*/ 131 h 154"/>
                <a:gd name="T74" fmla="*/ 141 w 154"/>
                <a:gd name="T75" fmla="*/ 121 h 154"/>
                <a:gd name="T76" fmla="*/ 149 w 154"/>
                <a:gd name="T77" fmla="*/ 108 h 154"/>
                <a:gd name="T78" fmla="*/ 153 w 154"/>
                <a:gd name="T79" fmla="*/ 93 h 154"/>
                <a:gd name="T80" fmla="*/ 154 w 154"/>
                <a:gd name="T81" fmla="*/ 78 h 154"/>
                <a:gd name="T82" fmla="*/ 153 w 154"/>
                <a:gd name="T83" fmla="*/ 63 h 154"/>
                <a:gd name="T84" fmla="*/ 149 w 154"/>
                <a:gd name="T85" fmla="*/ 48 h 154"/>
                <a:gd name="T86" fmla="*/ 141 w 154"/>
                <a:gd name="T87" fmla="*/ 35 h 154"/>
                <a:gd name="T88" fmla="*/ 131 w 154"/>
                <a:gd name="T89" fmla="*/ 23 h 154"/>
                <a:gd name="T90" fmla="*/ 121 w 154"/>
                <a:gd name="T91" fmla="*/ 13 h 154"/>
                <a:gd name="T92" fmla="*/ 107 w 154"/>
                <a:gd name="T93" fmla="*/ 6 h 154"/>
                <a:gd name="T94" fmla="*/ 93 w 154"/>
                <a:gd name="T95" fmla="*/ 1 h 154"/>
                <a:gd name="T96" fmla="*/ 78 w 154"/>
                <a:gd name="T97"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4" h="154">
                  <a:moveTo>
                    <a:pt x="78" y="128"/>
                  </a:moveTo>
                  <a:lnTo>
                    <a:pt x="67" y="127"/>
                  </a:lnTo>
                  <a:lnTo>
                    <a:pt x="57" y="125"/>
                  </a:lnTo>
                  <a:lnTo>
                    <a:pt x="49" y="120"/>
                  </a:lnTo>
                  <a:lnTo>
                    <a:pt x="41" y="113"/>
                  </a:lnTo>
                  <a:lnTo>
                    <a:pt x="35" y="106"/>
                  </a:lnTo>
                  <a:lnTo>
                    <a:pt x="29" y="97"/>
                  </a:lnTo>
                  <a:lnTo>
                    <a:pt x="27" y="87"/>
                  </a:lnTo>
                  <a:lnTo>
                    <a:pt x="26" y="78"/>
                  </a:lnTo>
                  <a:lnTo>
                    <a:pt x="27" y="67"/>
                  </a:lnTo>
                  <a:lnTo>
                    <a:pt x="29" y="57"/>
                  </a:lnTo>
                  <a:lnTo>
                    <a:pt x="35" y="49"/>
                  </a:lnTo>
                  <a:lnTo>
                    <a:pt x="41" y="41"/>
                  </a:lnTo>
                  <a:lnTo>
                    <a:pt x="49" y="35"/>
                  </a:lnTo>
                  <a:lnTo>
                    <a:pt x="57" y="29"/>
                  </a:lnTo>
                  <a:lnTo>
                    <a:pt x="67" y="26"/>
                  </a:lnTo>
                  <a:lnTo>
                    <a:pt x="78" y="25"/>
                  </a:lnTo>
                  <a:lnTo>
                    <a:pt x="87" y="26"/>
                  </a:lnTo>
                  <a:lnTo>
                    <a:pt x="97" y="29"/>
                  </a:lnTo>
                  <a:lnTo>
                    <a:pt x="106" y="35"/>
                  </a:lnTo>
                  <a:lnTo>
                    <a:pt x="113" y="41"/>
                  </a:lnTo>
                  <a:lnTo>
                    <a:pt x="120" y="49"/>
                  </a:lnTo>
                  <a:lnTo>
                    <a:pt x="125" y="57"/>
                  </a:lnTo>
                  <a:lnTo>
                    <a:pt x="128" y="67"/>
                  </a:lnTo>
                  <a:lnTo>
                    <a:pt x="129" y="78"/>
                  </a:lnTo>
                  <a:lnTo>
                    <a:pt x="128" y="87"/>
                  </a:lnTo>
                  <a:lnTo>
                    <a:pt x="125" y="97"/>
                  </a:lnTo>
                  <a:lnTo>
                    <a:pt x="120" y="106"/>
                  </a:lnTo>
                  <a:lnTo>
                    <a:pt x="113" y="113"/>
                  </a:lnTo>
                  <a:lnTo>
                    <a:pt x="106" y="120"/>
                  </a:lnTo>
                  <a:lnTo>
                    <a:pt x="97" y="125"/>
                  </a:lnTo>
                  <a:lnTo>
                    <a:pt x="87" y="127"/>
                  </a:lnTo>
                  <a:lnTo>
                    <a:pt x="78" y="128"/>
                  </a:lnTo>
                  <a:close/>
                  <a:moveTo>
                    <a:pt x="78" y="0"/>
                  </a:moveTo>
                  <a:lnTo>
                    <a:pt x="69" y="0"/>
                  </a:lnTo>
                  <a:lnTo>
                    <a:pt x="62" y="1"/>
                  </a:lnTo>
                  <a:lnTo>
                    <a:pt x="54" y="4"/>
                  </a:lnTo>
                  <a:lnTo>
                    <a:pt x="48" y="6"/>
                  </a:lnTo>
                  <a:lnTo>
                    <a:pt x="40" y="9"/>
                  </a:lnTo>
                  <a:lnTo>
                    <a:pt x="35" y="13"/>
                  </a:lnTo>
                  <a:lnTo>
                    <a:pt x="28" y="18"/>
                  </a:lnTo>
                  <a:lnTo>
                    <a:pt x="23" y="23"/>
                  </a:lnTo>
                  <a:lnTo>
                    <a:pt x="18" y="28"/>
                  </a:lnTo>
                  <a:lnTo>
                    <a:pt x="13" y="35"/>
                  </a:lnTo>
                  <a:lnTo>
                    <a:pt x="10" y="41"/>
                  </a:lnTo>
                  <a:lnTo>
                    <a:pt x="7" y="48"/>
                  </a:lnTo>
                  <a:lnTo>
                    <a:pt x="4" y="55"/>
                  </a:lnTo>
                  <a:lnTo>
                    <a:pt x="2" y="63"/>
                  </a:lnTo>
                  <a:lnTo>
                    <a:pt x="0" y="70"/>
                  </a:lnTo>
                  <a:lnTo>
                    <a:pt x="0" y="78"/>
                  </a:lnTo>
                  <a:lnTo>
                    <a:pt x="0" y="85"/>
                  </a:lnTo>
                  <a:lnTo>
                    <a:pt x="2" y="93"/>
                  </a:lnTo>
                  <a:lnTo>
                    <a:pt x="4" y="100"/>
                  </a:lnTo>
                  <a:lnTo>
                    <a:pt x="7" y="108"/>
                  </a:lnTo>
                  <a:lnTo>
                    <a:pt x="10" y="114"/>
                  </a:lnTo>
                  <a:lnTo>
                    <a:pt x="13" y="121"/>
                  </a:lnTo>
                  <a:lnTo>
                    <a:pt x="18" y="126"/>
                  </a:lnTo>
                  <a:lnTo>
                    <a:pt x="23" y="131"/>
                  </a:lnTo>
                  <a:lnTo>
                    <a:pt x="28" y="137"/>
                  </a:lnTo>
                  <a:lnTo>
                    <a:pt x="35" y="141"/>
                  </a:lnTo>
                  <a:lnTo>
                    <a:pt x="40" y="144"/>
                  </a:lnTo>
                  <a:lnTo>
                    <a:pt x="48" y="147"/>
                  </a:lnTo>
                  <a:lnTo>
                    <a:pt x="54" y="151"/>
                  </a:lnTo>
                  <a:lnTo>
                    <a:pt x="62" y="153"/>
                  </a:lnTo>
                  <a:lnTo>
                    <a:pt x="69" y="154"/>
                  </a:lnTo>
                  <a:lnTo>
                    <a:pt x="78" y="154"/>
                  </a:lnTo>
                  <a:lnTo>
                    <a:pt x="85" y="154"/>
                  </a:lnTo>
                  <a:lnTo>
                    <a:pt x="93" y="153"/>
                  </a:lnTo>
                  <a:lnTo>
                    <a:pt x="100" y="151"/>
                  </a:lnTo>
                  <a:lnTo>
                    <a:pt x="107" y="147"/>
                  </a:lnTo>
                  <a:lnTo>
                    <a:pt x="114" y="144"/>
                  </a:lnTo>
                  <a:lnTo>
                    <a:pt x="121" y="141"/>
                  </a:lnTo>
                  <a:lnTo>
                    <a:pt x="126" y="137"/>
                  </a:lnTo>
                  <a:lnTo>
                    <a:pt x="131" y="131"/>
                  </a:lnTo>
                  <a:lnTo>
                    <a:pt x="137" y="126"/>
                  </a:lnTo>
                  <a:lnTo>
                    <a:pt x="141" y="121"/>
                  </a:lnTo>
                  <a:lnTo>
                    <a:pt x="145" y="114"/>
                  </a:lnTo>
                  <a:lnTo>
                    <a:pt x="149" y="108"/>
                  </a:lnTo>
                  <a:lnTo>
                    <a:pt x="151" y="100"/>
                  </a:lnTo>
                  <a:lnTo>
                    <a:pt x="153" y="93"/>
                  </a:lnTo>
                  <a:lnTo>
                    <a:pt x="154" y="85"/>
                  </a:lnTo>
                  <a:lnTo>
                    <a:pt x="154" y="78"/>
                  </a:lnTo>
                  <a:lnTo>
                    <a:pt x="154" y="70"/>
                  </a:lnTo>
                  <a:lnTo>
                    <a:pt x="153" y="63"/>
                  </a:lnTo>
                  <a:lnTo>
                    <a:pt x="151" y="55"/>
                  </a:lnTo>
                  <a:lnTo>
                    <a:pt x="149" y="48"/>
                  </a:lnTo>
                  <a:lnTo>
                    <a:pt x="145" y="41"/>
                  </a:lnTo>
                  <a:lnTo>
                    <a:pt x="141" y="35"/>
                  </a:lnTo>
                  <a:lnTo>
                    <a:pt x="137" y="28"/>
                  </a:lnTo>
                  <a:lnTo>
                    <a:pt x="131" y="23"/>
                  </a:lnTo>
                  <a:lnTo>
                    <a:pt x="126" y="18"/>
                  </a:lnTo>
                  <a:lnTo>
                    <a:pt x="121" y="13"/>
                  </a:lnTo>
                  <a:lnTo>
                    <a:pt x="114" y="9"/>
                  </a:lnTo>
                  <a:lnTo>
                    <a:pt x="107" y="6"/>
                  </a:lnTo>
                  <a:lnTo>
                    <a:pt x="100" y="4"/>
                  </a:lnTo>
                  <a:lnTo>
                    <a:pt x="93" y="1"/>
                  </a:lnTo>
                  <a:lnTo>
                    <a:pt x="85" y="0"/>
                  </a:lnTo>
                  <a:lnTo>
                    <a:pt x="78" y="0"/>
                  </a:lnTo>
                  <a:close/>
                </a:path>
              </a:pathLst>
            </a:custGeom>
            <a:gradFill>
              <a:gsLst>
                <a:gs pos="1000">
                  <a:schemeClr val="tx2">
                    <a:alpha val="85000"/>
                  </a:schemeClr>
                </a:gs>
                <a:gs pos="100000">
                  <a:schemeClr val="accent4">
                    <a:lumMod val="75000"/>
                    <a:alpha val="85000"/>
                  </a:schemeClr>
                </a:gs>
              </a:gsLst>
              <a:lin ang="5400000" scaled="1"/>
            </a:gradFill>
            <a:ln>
              <a:solidFill>
                <a:schemeClr val="bg1">
                  <a:lumMod val="50000"/>
                </a:schemeClr>
              </a:solid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endParaRPr>
            </a:p>
          </p:txBody>
        </p:sp>
      </p:grpSp>
      <p:grpSp>
        <p:nvGrpSpPr>
          <p:cNvPr id="39" name="Group 38"/>
          <p:cNvGrpSpPr/>
          <p:nvPr userDrawn="1"/>
        </p:nvGrpSpPr>
        <p:grpSpPr>
          <a:xfrm>
            <a:off x="8004468" y="3092386"/>
            <a:ext cx="533512" cy="395539"/>
            <a:chOff x="4906963" y="792163"/>
            <a:chExt cx="287338" cy="268288"/>
          </a:xfrm>
        </p:grpSpPr>
        <p:sp>
          <p:nvSpPr>
            <p:cNvPr id="40" name="Freeform 59"/>
            <p:cNvSpPr>
              <a:spLocks noEditPoints="1"/>
            </p:cNvSpPr>
            <p:nvPr/>
          </p:nvSpPr>
          <p:spPr bwMode="auto">
            <a:xfrm>
              <a:off x="4906963" y="792163"/>
              <a:ext cx="287338" cy="268288"/>
            </a:xfrm>
            <a:custGeom>
              <a:avLst/>
              <a:gdLst>
                <a:gd name="T0" fmla="*/ 677 w 905"/>
                <a:gd name="T1" fmla="*/ 807 h 845"/>
                <a:gd name="T2" fmla="*/ 561 w 905"/>
                <a:gd name="T3" fmla="*/ 807 h 845"/>
                <a:gd name="T4" fmla="*/ 313 w 905"/>
                <a:gd name="T5" fmla="*/ 593 h 845"/>
                <a:gd name="T6" fmla="*/ 273 w 905"/>
                <a:gd name="T7" fmla="*/ 565 h 845"/>
                <a:gd name="T8" fmla="*/ 231 w 905"/>
                <a:gd name="T9" fmla="*/ 577 h 845"/>
                <a:gd name="T10" fmla="*/ 217 w 905"/>
                <a:gd name="T11" fmla="*/ 608 h 845"/>
                <a:gd name="T12" fmla="*/ 226 w 905"/>
                <a:gd name="T13" fmla="*/ 646 h 845"/>
                <a:gd name="T14" fmla="*/ 254 w 905"/>
                <a:gd name="T15" fmla="*/ 684 h 845"/>
                <a:gd name="T16" fmla="*/ 265 w 905"/>
                <a:gd name="T17" fmla="*/ 716 h 845"/>
                <a:gd name="T18" fmla="*/ 254 w 905"/>
                <a:gd name="T19" fmla="*/ 748 h 845"/>
                <a:gd name="T20" fmla="*/ 227 w 905"/>
                <a:gd name="T21" fmla="*/ 771 h 845"/>
                <a:gd name="T22" fmla="*/ 193 w 905"/>
                <a:gd name="T23" fmla="*/ 774 h 845"/>
                <a:gd name="T24" fmla="*/ 161 w 905"/>
                <a:gd name="T25" fmla="*/ 758 h 845"/>
                <a:gd name="T26" fmla="*/ 86 w 905"/>
                <a:gd name="T27" fmla="*/ 657 h 845"/>
                <a:gd name="T28" fmla="*/ 42 w 905"/>
                <a:gd name="T29" fmla="*/ 537 h 845"/>
                <a:gd name="T30" fmla="*/ 31 w 905"/>
                <a:gd name="T31" fmla="*/ 408 h 845"/>
                <a:gd name="T32" fmla="*/ 58 w 905"/>
                <a:gd name="T33" fmla="*/ 284 h 845"/>
                <a:gd name="T34" fmla="*/ 120 w 905"/>
                <a:gd name="T35" fmla="*/ 177 h 845"/>
                <a:gd name="T36" fmla="*/ 208 w 905"/>
                <a:gd name="T37" fmla="*/ 97 h 845"/>
                <a:gd name="T38" fmla="*/ 313 w 905"/>
                <a:gd name="T39" fmla="*/ 47 h 845"/>
                <a:gd name="T40" fmla="*/ 430 w 905"/>
                <a:gd name="T41" fmla="*/ 30 h 845"/>
                <a:gd name="T42" fmla="*/ 558 w 905"/>
                <a:gd name="T43" fmla="*/ 49 h 845"/>
                <a:gd name="T44" fmla="*/ 676 w 905"/>
                <a:gd name="T45" fmla="*/ 105 h 845"/>
                <a:gd name="T46" fmla="*/ 773 w 905"/>
                <a:gd name="T47" fmla="*/ 195 h 845"/>
                <a:gd name="T48" fmla="*/ 840 w 905"/>
                <a:gd name="T49" fmla="*/ 303 h 845"/>
                <a:gd name="T50" fmla="*/ 871 w 905"/>
                <a:gd name="T51" fmla="*/ 423 h 845"/>
                <a:gd name="T52" fmla="*/ 869 w 905"/>
                <a:gd name="T53" fmla="*/ 543 h 845"/>
                <a:gd name="T54" fmla="*/ 832 w 905"/>
                <a:gd name="T55" fmla="*/ 658 h 845"/>
                <a:gd name="T56" fmla="*/ 758 w 905"/>
                <a:gd name="T57" fmla="*/ 758 h 845"/>
                <a:gd name="T58" fmla="*/ 673 w 905"/>
                <a:gd name="T59" fmla="*/ 68 h 845"/>
                <a:gd name="T60" fmla="*/ 545 w 905"/>
                <a:gd name="T61" fmla="*/ 14 h 845"/>
                <a:gd name="T62" fmla="*/ 409 w 905"/>
                <a:gd name="T63" fmla="*/ 0 h 845"/>
                <a:gd name="T64" fmla="*/ 284 w 905"/>
                <a:gd name="T65" fmla="*/ 25 h 845"/>
                <a:gd name="T66" fmla="*/ 173 w 905"/>
                <a:gd name="T67" fmla="*/ 84 h 845"/>
                <a:gd name="T68" fmla="*/ 82 w 905"/>
                <a:gd name="T69" fmla="*/ 176 h 845"/>
                <a:gd name="T70" fmla="*/ 23 w 905"/>
                <a:gd name="T71" fmla="*/ 295 h 845"/>
                <a:gd name="T72" fmla="*/ 0 w 905"/>
                <a:gd name="T73" fmla="*/ 429 h 845"/>
                <a:gd name="T74" fmla="*/ 17 w 905"/>
                <a:gd name="T75" fmla="*/ 566 h 845"/>
                <a:gd name="T76" fmla="*/ 71 w 905"/>
                <a:gd name="T77" fmla="*/ 690 h 845"/>
                <a:gd name="T78" fmla="*/ 147 w 905"/>
                <a:gd name="T79" fmla="*/ 786 h 845"/>
                <a:gd name="T80" fmla="*/ 195 w 905"/>
                <a:gd name="T81" fmla="*/ 805 h 845"/>
                <a:gd name="T82" fmla="*/ 246 w 905"/>
                <a:gd name="T83" fmla="*/ 796 h 845"/>
                <a:gd name="T84" fmla="*/ 284 w 905"/>
                <a:gd name="T85" fmla="*/ 758 h 845"/>
                <a:gd name="T86" fmla="*/ 294 w 905"/>
                <a:gd name="T87" fmla="*/ 708 h 845"/>
                <a:gd name="T88" fmla="*/ 273 w 905"/>
                <a:gd name="T89" fmla="*/ 659 h 845"/>
                <a:gd name="T90" fmla="*/ 248 w 905"/>
                <a:gd name="T91" fmla="*/ 614 h 845"/>
                <a:gd name="T92" fmla="*/ 265 w 905"/>
                <a:gd name="T93" fmla="*/ 594 h 845"/>
                <a:gd name="T94" fmla="*/ 473 w 905"/>
                <a:gd name="T95" fmla="*/ 795 h 845"/>
                <a:gd name="T96" fmla="*/ 530 w 905"/>
                <a:gd name="T97" fmla="*/ 828 h 845"/>
                <a:gd name="T98" fmla="*/ 596 w 905"/>
                <a:gd name="T99" fmla="*/ 844 h 845"/>
                <a:gd name="T100" fmla="*/ 664 w 905"/>
                <a:gd name="T101" fmla="*/ 841 h 845"/>
                <a:gd name="T102" fmla="*/ 727 w 905"/>
                <a:gd name="T103" fmla="*/ 819 h 845"/>
                <a:gd name="T104" fmla="*/ 780 w 905"/>
                <a:gd name="T105" fmla="*/ 780 h 845"/>
                <a:gd name="T106" fmla="*/ 858 w 905"/>
                <a:gd name="T107" fmla="*/ 672 h 845"/>
                <a:gd name="T108" fmla="*/ 898 w 905"/>
                <a:gd name="T109" fmla="*/ 550 h 845"/>
                <a:gd name="T110" fmla="*/ 901 w 905"/>
                <a:gd name="T111" fmla="*/ 419 h 845"/>
                <a:gd name="T112" fmla="*/ 868 w 905"/>
                <a:gd name="T113" fmla="*/ 291 h 845"/>
                <a:gd name="T114" fmla="*/ 797 w 905"/>
                <a:gd name="T115" fmla="*/ 175 h 8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05" h="845">
                  <a:moveTo>
                    <a:pt x="758" y="758"/>
                  </a:moveTo>
                  <a:lnTo>
                    <a:pt x="744" y="771"/>
                  </a:lnTo>
                  <a:lnTo>
                    <a:pt x="729" y="783"/>
                  </a:lnTo>
                  <a:lnTo>
                    <a:pt x="712" y="793"/>
                  </a:lnTo>
                  <a:lnTo>
                    <a:pt x="695" y="800"/>
                  </a:lnTo>
                  <a:lnTo>
                    <a:pt x="677" y="807"/>
                  </a:lnTo>
                  <a:lnTo>
                    <a:pt x="658" y="811"/>
                  </a:lnTo>
                  <a:lnTo>
                    <a:pt x="639" y="814"/>
                  </a:lnTo>
                  <a:lnTo>
                    <a:pt x="619" y="815"/>
                  </a:lnTo>
                  <a:lnTo>
                    <a:pt x="599" y="814"/>
                  </a:lnTo>
                  <a:lnTo>
                    <a:pt x="580" y="811"/>
                  </a:lnTo>
                  <a:lnTo>
                    <a:pt x="561" y="807"/>
                  </a:lnTo>
                  <a:lnTo>
                    <a:pt x="542" y="800"/>
                  </a:lnTo>
                  <a:lnTo>
                    <a:pt x="525" y="793"/>
                  </a:lnTo>
                  <a:lnTo>
                    <a:pt x="509" y="783"/>
                  </a:lnTo>
                  <a:lnTo>
                    <a:pt x="493" y="771"/>
                  </a:lnTo>
                  <a:lnTo>
                    <a:pt x="479" y="758"/>
                  </a:lnTo>
                  <a:lnTo>
                    <a:pt x="313" y="593"/>
                  </a:lnTo>
                  <a:lnTo>
                    <a:pt x="306" y="585"/>
                  </a:lnTo>
                  <a:lnTo>
                    <a:pt x="298" y="580"/>
                  </a:lnTo>
                  <a:lnTo>
                    <a:pt x="292" y="574"/>
                  </a:lnTo>
                  <a:lnTo>
                    <a:pt x="285" y="570"/>
                  </a:lnTo>
                  <a:lnTo>
                    <a:pt x="279" y="567"/>
                  </a:lnTo>
                  <a:lnTo>
                    <a:pt x="273" y="565"/>
                  </a:lnTo>
                  <a:lnTo>
                    <a:pt x="267" y="563"/>
                  </a:lnTo>
                  <a:lnTo>
                    <a:pt x="261" y="563"/>
                  </a:lnTo>
                  <a:lnTo>
                    <a:pt x="254" y="563"/>
                  </a:lnTo>
                  <a:lnTo>
                    <a:pt x="245" y="567"/>
                  </a:lnTo>
                  <a:lnTo>
                    <a:pt x="239" y="571"/>
                  </a:lnTo>
                  <a:lnTo>
                    <a:pt x="231" y="577"/>
                  </a:lnTo>
                  <a:lnTo>
                    <a:pt x="227" y="582"/>
                  </a:lnTo>
                  <a:lnTo>
                    <a:pt x="225" y="586"/>
                  </a:lnTo>
                  <a:lnTo>
                    <a:pt x="222" y="590"/>
                  </a:lnTo>
                  <a:lnTo>
                    <a:pt x="220" y="596"/>
                  </a:lnTo>
                  <a:lnTo>
                    <a:pt x="218" y="601"/>
                  </a:lnTo>
                  <a:lnTo>
                    <a:pt x="217" y="608"/>
                  </a:lnTo>
                  <a:lnTo>
                    <a:pt x="217" y="613"/>
                  </a:lnTo>
                  <a:lnTo>
                    <a:pt x="217" y="619"/>
                  </a:lnTo>
                  <a:lnTo>
                    <a:pt x="218" y="626"/>
                  </a:lnTo>
                  <a:lnTo>
                    <a:pt x="220" y="632"/>
                  </a:lnTo>
                  <a:lnTo>
                    <a:pt x="223" y="640"/>
                  </a:lnTo>
                  <a:lnTo>
                    <a:pt x="226" y="646"/>
                  </a:lnTo>
                  <a:lnTo>
                    <a:pt x="229" y="653"/>
                  </a:lnTo>
                  <a:lnTo>
                    <a:pt x="235" y="660"/>
                  </a:lnTo>
                  <a:lnTo>
                    <a:pt x="240" y="667"/>
                  </a:lnTo>
                  <a:lnTo>
                    <a:pt x="246" y="674"/>
                  </a:lnTo>
                  <a:lnTo>
                    <a:pt x="251" y="679"/>
                  </a:lnTo>
                  <a:lnTo>
                    <a:pt x="254" y="684"/>
                  </a:lnTo>
                  <a:lnTo>
                    <a:pt x="257" y="688"/>
                  </a:lnTo>
                  <a:lnTo>
                    <a:pt x="259" y="694"/>
                  </a:lnTo>
                  <a:lnTo>
                    <a:pt x="261" y="699"/>
                  </a:lnTo>
                  <a:lnTo>
                    <a:pt x="263" y="705"/>
                  </a:lnTo>
                  <a:lnTo>
                    <a:pt x="264" y="711"/>
                  </a:lnTo>
                  <a:lnTo>
                    <a:pt x="265" y="716"/>
                  </a:lnTo>
                  <a:lnTo>
                    <a:pt x="264" y="722"/>
                  </a:lnTo>
                  <a:lnTo>
                    <a:pt x="263" y="727"/>
                  </a:lnTo>
                  <a:lnTo>
                    <a:pt x="261" y="733"/>
                  </a:lnTo>
                  <a:lnTo>
                    <a:pt x="259" y="739"/>
                  </a:lnTo>
                  <a:lnTo>
                    <a:pt x="257" y="744"/>
                  </a:lnTo>
                  <a:lnTo>
                    <a:pt x="254" y="748"/>
                  </a:lnTo>
                  <a:lnTo>
                    <a:pt x="251" y="754"/>
                  </a:lnTo>
                  <a:lnTo>
                    <a:pt x="246" y="758"/>
                  </a:lnTo>
                  <a:lnTo>
                    <a:pt x="242" y="762"/>
                  </a:lnTo>
                  <a:lnTo>
                    <a:pt x="237" y="766"/>
                  </a:lnTo>
                  <a:lnTo>
                    <a:pt x="231" y="769"/>
                  </a:lnTo>
                  <a:lnTo>
                    <a:pt x="227" y="771"/>
                  </a:lnTo>
                  <a:lnTo>
                    <a:pt x="221" y="773"/>
                  </a:lnTo>
                  <a:lnTo>
                    <a:pt x="215" y="774"/>
                  </a:lnTo>
                  <a:lnTo>
                    <a:pt x="210" y="775"/>
                  </a:lnTo>
                  <a:lnTo>
                    <a:pt x="204" y="775"/>
                  </a:lnTo>
                  <a:lnTo>
                    <a:pt x="198" y="775"/>
                  </a:lnTo>
                  <a:lnTo>
                    <a:pt x="193" y="774"/>
                  </a:lnTo>
                  <a:lnTo>
                    <a:pt x="187" y="773"/>
                  </a:lnTo>
                  <a:lnTo>
                    <a:pt x="182" y="771"/>
                  </a:lnTo>
                  <a:lnTo>
                    <a:pt x="177" y="769"/>
                  </a:lnTo>
                  <a:lnTo>
                    <a:pt x="171" y="766"/>
                  </a:lnTo>
                  <a:lnTo>
                    <a:pt x="167" y="762"/>
                  </a:lnTo>
                  <a:lnTo>
                    <a:pt x="161" y="758"/>
                  </a:lnTo>
                  <a:lnTo>
                    <a:pt x="147" y="743"/>
                  </a:lnTo>
                  <a:lnTo>
                    <a:pt x="134" y="727"/>
                  </a:lnTo>
                  <a:lnTo>
                    <a:pt x="121" y="710"/>
                  </a:lnTo>
                  <a:lnTo>
                    <a:pt x="109" y="693"/>
                  </a:lnTo>
                  <a:lnTo>
                    <a:pt x="97" y="675"/>
                  </a:lnTo>
                  <a:lnTo>
                    <a:pt x="86" y="657"/>
                  </a:lnTo>
                  <a:lnTo>
                    <a:pt x="76" y="638"/>
                  </a:lnTo>
                  <a:lnTo>
                    <a:pt x="68" y="618"/>
                  </a:lnTo>
                  <a:lnTo>
                    <a:pt x="60" y="599"/>
                  </a:lnTo>
                  <a:lnTo>
                    <a:pt x="53" y="579"/>
                  </a:lnTo>
                  <a:lnTo>
                    <a:pt x="46" y="558"/>
                  </a:lnTo>
                  <a:lnTo>
                    <a:pt x="42" y="537"/>
                  </a:lnTo>
                  <a:lnTo>
                    <a:pt x="38" y="516"/>
                  </a:lnTo>
                  <a:lnTo>
                    <a:pt x="35" y="495"/>
                  </a:lnTo>
                  <a:lnTo>
                    <a:pt x="32" y="473"/>
                  </a:lnTo>
                  <a:lnTo>
                    <a:pt x="30" y="452"/>
                  </a:lnTo>
                  <a:lnTo>
                    <a:pt x="30" y="430"/>
                  </a:lnTo>
                  <a:lnTo>
                    <a:pt x="31" y="408"/>
                  </a:lnTo>
                  <a:lnTo>
                    <a:pt x="33" y="386"/>
                  </a:lnTo>
                  <a:lnTo>
                    <a:pt x="37" y="366"/>
                  </a:lnTo>
                  <a:lnTo>
                    <a:pt x="40" y="344"/>
                  </a:lnTo>
                  <a:lnTo>
                    <a:pt x="45" y="324"/>
                  </a:lnTo>
                  <a:lnTo>
                    <a:pt x="51" y="304"/>
                  </a:lnTo>
                  <a:lnTo>
                    <a:pt x="58" y="284"/>
                  </a:lnTo>
                  <a:lnTo>
                    <a:pt x="66" y="265"/>
                  </a:lnTo>
                  <a:lnTo>
                    <a:pt x="74" y="246"/>
                  </a:lnTo>
                  <a:lnTo>
                    <a:pt x="84" y="228"/>
                  </a:lnTo>
                  <a:lnTo>
                    <a:pt x="95" y="211"/>
                  </a:lnTo>
                  <a:lnTo>
                    <a:pt x="107" y="194"/>
                  </a:lnTo>
                  <a:lnTo>
                    <a:pt x="120" y="177"/>
                  </a:lnTo>
                  <a:lnTo>
                    <a:pt x="132" y="161"/>
                  </a:lnTo>
                  <a:lnTo>
                    <a:pt x="146" y="146"/>
                  </a:lnTo>
                  <a:lnTo>
                    <a:pt x="161" y="132"/>
                  </a:lnTo>
                  <a:lnTo>
                    <a:pt x="177" y="119"/>
                  </a:lnTo>
                  <a:lnTo>
                    <a:pt x="192" y="108"/>
                  </a:lnTo>
                  <a:lnTo>
                    <a:pt x="208" y="97"/>
                  </a:lnTo>
                  <a:lnTo>
                    <a:pt x="224" y="86"/>
                  </a:lnTo>
                  <a:lnTo>
                    <a:pt x="241" y="76"/>
                  </a:lnTo>
                  <a:lnTo>
                    <a:pt x="258" y="68"/>
                  </a:lnTo>
                  <a:lnTo>
                    <a:pt x="277" y="60"/>
                  </a:lnTo>
                  <a:lnTo>
                    <a:pt x="295" y="53"/>
                  </a:lnTo>
                  <a:lnTo>
                    <a:pt x="313" y="47"/>
                  </a:lnTo>
                  <a:lnTo>
                    <a:pt x="332" y="42"/>
                  </a:lnTo>
                  <a:lnTo>
                    <a:pt x="352" y="38"/>
                  </a:lnTo>
                  <a:lnTo>
                    <a:pt x="371" y="34"/>
                  </a:lnTo>
                  <a:lnTo>
                    <a:pt x="391" y="32"/>
                  </a:lnTo>
                  <a:lnTo>
                    <a:pt x="410" y="30"/>
                  </a:lnTo>
                  <a:lnTo>
                    <a:pt x="430" y="30"/>
                  </a:lnTo>
                  <a:lnTo>
                    <a:pt x="452" y="30"/>
                  </a:lnTo>
                  <a:lnTo>
                    <a:pt x="473" y="32"/>
                  </a:lnTo>
                  <a:lnTo>
                    <a:pt x="495" y="34"/>
                  </a:lnTo>
                  <a:lnTo>
                    <a:pt x="516" y="39"/>
                  </a:lnTo>
                  <a:lnTo>
                    <a:pt x="538" y="44"/>
                  </a:lnTo>
                  <a:lnTo>
                    <a:pt x="558" y="49"/>
                  </a:lnTo>
                  <a:lnTo>
                    <a:pt x="579" y="57"/>
                  </a:lnTo>
                  <a:lnTo>
                    <a:pt x="599" y="65"/>
                  </a:lnTo>
                  <a:lnTo>
                    <a:pt x="619" y="73"/>
                  </a:lnTo>
                  <a:lnTo>
                    <a:pt x="638" y="83"/>
                  </a:lnTo>
                  <a:lnTo>
                    <a:pt x="657" y="94"/>
                  </a:lnTo>
                  <a:lnTo>
                    <a:pt x="676" y="105"/>
                  </a:lnTo>
                  <a:lnTo>
                    <a:pt x="694" y="118"/>
                  </a:lnTo>
                  <a:lnTo>
                    <a:pt x="711" y="132"/>
                  </a:lnTo>
                  <a:lnTo>
                    <a:pt x="728" y="146"/>
                  </a:lnTo>
                  <a:lnTo>
                    <a:pt x="743" y="161"/>
                  </a:lnTo>
                  <a:lnTo>
                    <a:pt x="760" y="177"/>
                  </a:lnTo>
                  <a:lnTo>
                    <a:pt x="773" y="195"/>
                  </a:lnTo>
                  <a:lnTo>
                    <a:pt x="787" y="212"/>
                  </a:lnTo>
                  <a:lnTo>
                    <a:pt x="799" y="229"/>
                  </a:lnTo>
                  <a:lnTo>
                    <a:pt x="811" y="247"/>
                  </a:lnTo>
                  <a:lnTo>
                    <a:pt x="822" y="266"/>
                  </a:lnTo>
                  <a:lnTo>
                    <a:pt x="832" y="284"/>
                  </a:lnTo>
                  <a:lnTo>
                    <a:pt x="840" y="303"/>
                  </a:lnTo>
                  <a:lnTo>
                    <a:pt x="848" y="323"/>
                  </a:lnTo>
                  <a:lnTo>
                    <a:pt x="854" y="342"/>
                  </a:lnTo>
                  <a:lnTo>
                    <a:pt x="861" y="362"/>
                  </a:lnTo>
                  <a:lnTo>
                    <a:pt x="865" y="382"/>
                  </a:lnTo>
                  <a:lnTo>
                    <a:pt x="869" y="402"/>
                  </a:lnTo>
                  <a:lnTo>
                    <a:pt x="871" y="423"/>
                  </a:lnTo>
                  <a:lnTo>
                    <a:pt x="874" y="443"/>
                  </a:lnTo>
                  <a:lnTo>
                    <a:pt x="875" y="462"/>
                  </a:lnTo>
                  <a:lnTo>
                    <a:pt x="875" y="483"/>
                  </a:lnTo>
                  <a:lnTo>
                    <a:pt x="874" y="503"/>
                  </a:lnTo>
                  <a:lnTo>
                    <a:pt x="872" y="524"/>
                  </a:lnTo>
                  <a:lnTo>
                    <a:pt x="869" y="543"/>
                  </a:lnTo>
                  <a:lnTo>
                    <a:pt x="865" y="563"/>
                  </a:lnTo>
                  <a:lnTo>
                    <a:pt x="861" y="583"/>
                  </a:lnTo>
                  <a:lnTo>
                    <a:pt x="855" y="602"/>
                  </a:lnTo>
                  <a:lnTo>
                    <a:pt x="848" y="620"/>
                  </a:lnTo>
                  <a:lnTo>
                    <a:pt x="840" y="640"/>
                  </a:lnTo>
                  <a:lnTo>
                    <a:pt x="832" y="658"/>
                  </a:lnTo>
                  <a:lnTo>
                    <a:pt x="822" y="676"/>
                  </a:lnTo>
                  <a:lnTo>
                    <a:pt x="811" y="694"/>
                  </a:lnTo>
                  <a:lnTo>
                    <a:pt x="799" y="711"/>
                  </a:lnTo>
                  <a:lnTo>
                    <a:pt x="787" y="727"/>
                  </a:lnTo>
                  <a:lnTo>
                    <a:pt x="773" y="743"/>
                  </a:lnTo>
                  <a:lnTo>
                    <a:pt x="758" y="758"/>
                  </a:lnTo>
                  <a:close/>
                  <a:moveTo>
                    <a:pt x="765" y="140"/>
                  </a:moveTo>
                  <a:lnTo>
                    <a:pt x="748" y="124"/>
                  </a:lnTo>
                  <a:lnTo>
                    <a:pt x="730" y="109"/>
                  </a:lnTo>
                  <a:lnTo>
                    <a:pt x="712" y="94"/>
                  </a:lnTo>
                  <a:lnTo>
                    <a:pt x="693" y="81"/>
                  </a:lnTo>
                  <a:lnTo>
                    <a:pt x="673" y="68"/>
                  </a:lnTo>
                  <a:lnTo>
                    <a:pt x="653" y="57"/>
                  </a:lnTo>
                  <a:lnTo>
                    <a:pt x="632" y="46"/>
                  </a:lnTo>
                  <a:lnTo>
                    <a:pt x="611" y="37"/>
                  </a:lnTo>
                  <a:lnTo>
                    <a:pt x="590" y="28"/>
                  </a:lnTo>
                  <a:lnTo>
                    <a:pt x="567" y="20"/>
                  </a:lnTo>
                  <a:lnTo>
                    <a:pt x="545" y="14"/>
                  </a:lnTo>
                  <a:lnTo>
                    <a:pt x="523" y="10"/>
                  </a:lnTo>
                  <a:lnTo>
                    <a:pt x="499" y="5"/>
                  </a:lnTo>
                  <a:lnTo>
                    <a:pt x="477" y="2"/>
                  </a:lnTo>
                  <a:lnTo>
                    <a:pt x="454" y="0"/>
                  </a:lnTo>
                  <a:lnTo>
                    <a:pt x="430" y="0"/>
                  </a:lnTo>
                  <a:lnTo>
                    <a:pt x="409" y="0"/>
                  </a:lnTo>
                  <a:lnTo>
                    <a:pt x="387" y="2"/>
                  </a:lnTo>
                  <a:lnTo>
                    <a:pt x="366" y="4"/>
                  </a:lnTo>
                  <a:lnTo>
                    <a:pt x="345" y="8"/>
                  </a:lnTo>
                  <a:lnTo>
                    <a:pt x="325" y="13"/>
                  </a:lnTo>
                  <a:lnTo>
                    <a:pt x="305" y="18"/>
                  </a:lnTo>
                  <a:lnTo>
                    <a:pt x="284" y="25"/>
                  </a:lnTo>
                  <a:lnTo>
                    <a:pt x="265" y="32"/>
                  </a:lnTo>
                  <a:lnTo>
                    <a:pt x="245" y="41"/>
                  </a:lnTo>
                  <a:lnTo>
                    <a:pt x="227" y="49"/>
                  </a:lnTo>
                  <a:lnTo>
                    <a:pt x="209" y="60"/>
                  </a:lnTo>
                  <a:lnTo>
                    <a:pt x="191" y="71"/>
                  </a:lnTo>
                  <a:lnTo>
                    <a:pt x="173" y="84"/>
                  </a:lnTo>
                  <a:lnTo>
                    <a:pt x="157" y="97"/>
                  </a:lnTo>
                  <a:lnTo>
                    <a:pt x="141" y="111"/>
                  </a:lnTo>
                  <a:lnTo>
                    <a:pt x="126" y="125"/>
                  </a:lnTo>
                  <a:lnTo>
                    <a:pt x="110" y="141"/>
                  </a:lnTo>
                  <a:lnTo>
                    <a:pt x="96" y="158"/>
                  </a:lnTo>
                  <a:lnTo>
                    <a:pt x="82" y="176"/>
                  </a:lnTo>
                  <a:lnTo>
                    <a:pt x="70" y="195"/>
                  </a:lnTo>
                  <a:lnTo>
                    <a:pt x="58" y="213"/>
                  </a:lnTo>
                  <a:lnTo>
                    <a:pt x="47" y="232"/>
                  </a:lnTo>
                  <a:lnTo>
                    <a:pt x="38" y="253"/>
                  </a:lnTo>
                  <a:lnTo>
                    <a:pt x="30" y="273"/>
                  </a:lnTo>
                  <a:lnTo>
                    <a:pt x="23" y="295"/>
                  </a:lnTo>
                  <a:lnTo>
                    <a:pt x="16" y="316"/>
                  </a:lnTo>
                  <a:lnTo>
                    <a:pt x="11" y="338"/>
                  </a:lnTo>
                  <a:lnTo>
                    <a:pt x="7" y="360"/>
                  </a:lnTo>
                  <a:lnTo>
                    <a:pt x="3" y="383"/>
                  </a:lnTo>
                  <a:lnTo>
                    <a:pt x="1" y="405"/>
                  </a:lnTo>
                  <a:lnTo>
                    <a:pt x="0" y="429"/>
                  </a:lnTo>
                  <a:lnTo>
                    <a:pt x="0" y="453"/>
                  </a:lnTo>
                  <a:lnTo>
                    <a:pt x="2" y="475"/>
                  </a:lnTo>
                  <a:lnTo>
                    <a:pt x="4" y="499"/>
                  </a:lnTo>
                  <a:lnTo>
                    <a:pt x="8" y="522"/>
                  </a:lnTo>
                  <a:lnTo>
                    <a:pt x="12" y="544"/>
                  </a:lnTo>
                  <a:lnTo>
                    <a:pt x="17" y="566"/>
                  </a:lnTo>
                  <a:lnTo>
                    <a:pt x="24" y="587"/>
                  </a:lnTo>
                  <a:lnTo>
                    <a:pt x="31" y="609"/>
                  </a:lnTo>
                  <a:lnTo>
                    <a:pt x="40" y="630"/>
                  </a:lnTo>
                  <a:lnTo>
                    <a:pt x="50" y="651"/>
                  </a:lnTo>
                  <a:lnTo>
                    <a:pt x="60" y="671"/>
                  </a:lnTo>
                  <a:lnTo>
                    <a:pt x="71" y="690"/>
                  </a:lnTo>
                  <a:lnTo>
                    <a:pt x="84" y="710"/>
                  </a:lnTo>
                  <a:lnTo>
                    <a:pt x="97" y="728"/>
                  </a:lnTo>
                  <a:lnTo>
                    <a:pt x="111" y="746"/>
                  </a:lnTo>
                  <a:lnTo>
                    <a:pt x="125" y="763"/>
                  </a:lnTo>
                  <a:lnTo>
                    <a:pt x="141" y="780"/>
                  </a:lnTo>
                  <a:lnTo>
                    <a:pt x="147" y="786"/>
                  </a:lnTo>
                  <a:lnTo>
                    <a:pt x="155" y="791"/>
                  </a:lnTo>
                  <a:lnTo>
                    <a:pt x="163" y="796"/>
                  </a:lnTo>
                  <a:lnTo>
                    <a:pt x="170" y="799"/>
                  </a:lnTo>
                  <a:lnTo>
                    <a:pt x="179" y="802"/>
                  </a:lnTo>
                  <a:lnTo>
                    <a:pt x="186" y="804"/>
                  </a:lnTo>
                  <a:lnTo>
                    <a:pt x="195" y="805"/>
                  </a:lnTo>
                  <a:lnTo>
                    <a:pt x="204" y="807"/>
                  </a:lnTo>
                  <a:lnTo>
                    <a:pt x="213" y="805"/>
                  </a:lnTo>
                  <a:lnTo>
                    <a:pt x="222" y="804"/>
                  </a:lnTo>
                  <a:lnTo>
                    <a:pt x="230" y="802"/>
                  </a:lnTo>
                  <a:lnTo>
                    <a:pt x="238" y="799"/>
                  </a:lnTo>
                  <a:lnTo>
                    <a:pt x="246" y="796"/>
                  </a:lnTo>
                  <a:lnTo>
                    <a:pt x="254" y="791"/>
                  </a:lnTo>
                  <a:lnTo>
                    <a:pt x="260" y="786"/>
                  </a:lnTo>
                  <a:lnTo>
                    <a:pt x="268" y="780"/>
                  </a:lnTo>
                  <a:lnTo>
                    <a:pt x="273" y="773"/>
                  </a:lnTo>
                  <a:lnTo>
                    <a:pt x="279" y="766"/>
                  </a:lnTo>
                  <a:lnTo>
                    <a:pt x="284" y="758"/>
                  </a:lnTo>
                  <a:lnTo>
                    <a:pt x="287" y="750"/>
                  </a:lnTo>
                  <a:lnTo>
                    <a:pt x="291" y="742"/>
                  </a:lnTo>
                  <a:lnTo>
                    <a:pt x="293" y="733"/>
                  </a:lnTo>
                  <a:lnTo>
                    <a:pt x="294" y="725"/>
                  </a:lnTo>
                  <a:lnTo>
                    <a:pt x="294" y="716"/>
                  </a:lnTo>
                  <a:lnTo>
                    <a:pt x="294" y="708"/>
                  </a:lnTo>
                  <a:lnTo>
                    <a:pt x="293" y="699"/>
                  </a:lnTo>
                  <a:lnTo>
                    <a:pt x="291" y="690"/>
                  </a:lnTo>
                  <a:lnTo>
                    <a:pt x="287" y="683"/>
                  </a:lnTo>
                  <a:lnTo>
                    <a:pt x="284" y="674"/>
                  </a:lnTo>
                  <a:lnTo>
                    <a:pt x="279" y="667"/>
                  </a:lnTo>
                  <a:lnTo>
                    <a:pt x="273" y="659"/>
                  </a:lnTo>
                  <a:lnTo>
                    <a:pt x="268" y="653"/>
                  </a:lnTo>
                  <a:lnTo>
                    <a:pt x="260" y="644"/>
                  </a:lnTo>
                  <a:lnTo>
                    <a:pt x="254" y="636"/>
                  </a:lnTo>
                  <a:lnTo>
                    <a:pt x="251" y="628"/>
                  </a:lnTo>
                  <a:lnTo>
                    <a:pt x="248" y="620"/>
                  </a:lnTo>
                  <a:lnTo>
                    <a:pt x="248" y="614"/>
                  </a:lnTo>
                  <a:lnTo>
                    <a:pt x="248" y="608"/>
                  </a:lnTo>
                  <a:lnTo>
                    <a:pt x="250" y="603"/>
                  </a:lnTo>
                  <a:lnTo>
                    <a:pt x="253" y="599"/>
                  </a:lnTo>
                  <a:lnTo>
                    <a:pt x="258" y="594"/>
                  </a:lnTo>
                  <a:lnTo>
                    <a:pt x="261" y="594"/>
                  </a:lnTo>
                  <a:lnTo>
                    <a:pt x="265" y="594"/>
                  </a:lnTo>
                  <a:lnTo>
                    <a:pt x="271" y="597"/>
                  </a:lnTo>
                  <a:lnTo>
                    <a:pt x="280" y="603"/>
                  </a:lnTo>
                  <a:lnTo>
                    <a:pt x="292" y="614"/>
                  </a:lnTo>
                  <a:lnTo>
                    <a:pt x="457" y="780"/>
                  </a:lnTo>
                  <a:lnTo>
                    <a:pt x="466" y="787"/>
                  </a:lnTo>
                  <a:lnTo>
                    <a:pt x="473" y="795"/>
                  </a:lnTo>
                  <a:lnTo>
                    <a:pt x="483" y="801"/>
                  </a:lnTo>
                  <a:lnTo>
                    <a:pt x="492" y="808"/>
                  </a:lnTo>
                  <a:lnTo>
                    <a:pt x="501" y="814"/>
                  </a:lnTo>
                  <a:lnTo>
                    <a:pt x="511" y="819"/>
                  </a:lnTo>
                  <a:lnTo>
                    <a:pt x="521" y="824"/>
                  </a:lnTo>
                  <a:lnTo>
                    <a:pt x="530" y="828"/>
                  </a:lnTo>
                  <a:lnTo>
                    <a:pt x="541" y="832"/>
                  </a:lnTo>
                  <a:lnTo>
                    <a:pt x="552" y="836"/>
                  </a:lnTo>
                  <a:lnTo>
                    <a:pt x="563" y="839"/>
                  </a:lnTo>
                  <a:lnTo>
                    <a:pt x="573" y="841"/>
                  </a:lnTo>
                  <a:lnTo>
                    <a:pt x="584" y="843"/>
                  </a:lnTo>
                  <a:lnTo>
                    <a:pt x="596" y="844"/>
                  </a:lnTo>
                  <a:lnTo>
                    <a:pt x="607" y="845"/>
                  </a:lnTo>
                  <a:lnTo>
                    <a:pt x="619" y="845"/>
                  </a:lnTo>
                  <a:lnTo>
                    <a:pt x="630" y="845"/>
                  </a:lnTo>
                  <a:lnTo>
                    <a:pt x="642" y="844"/>
                  </a:lnTo>
                  <a:lnTo>
                    <a:pt x="653" y="843"/>
                  </a:lnTo>
                  <a:lnTo>
                    <a:pt x="664" y="841"/>
                  </a:lnTo>
                  <a:lnTo>
                    <a:pt x="676" y="839"/>
                  </a:lnTo>
                  <a:lnTo>
                    <a:pt x="686" y="836"/>
                  </a:lnTo>
                  <a:lnTo>
                    <a:pt x="696" y="832"/>
                  </a:lnTo>
                  <a:lnTo>
                    <a:pt x="707" y="828"/>
                  </a:lnTo>
                  <a:lnTo>
                    <a:pt x="718" y="824"/>
                  </a:lnTo>
                  <a:lnTo>
                    <a:pt x="727" y="819"/>
                  </a:lnTo>
                  <a:lnTo>
                    <a:pt x="737" y="814"/>
                  </a:lnTo>
                  <a:lnTo>
                    <a:pt x="746" y="808"/>
                  </a:lnTo>
                  <a:lnTo>
                    <a:pt x="755" y="801"/>
                  </a:lnTo>
                  <a:lnTo>
                    <a:pt x="764" y="795"/>
                  </a:lnTo>
                  <a:lnTo>
                    <a:pt x="772" y="787"/>
                  </a:lnTo>
                  <a:lnTo>
                    <a:pt x="780" y="780"/>
                  </a:lnTo>
                  <a:lnTo>
                    <a:pt x="796" y="763"/>
                  </a:lnTo>
                  <a:lnTo>
                    <a:pt x="810" y="746"/>
                  </a:lnTo>
                  <a:lnTo>
                    <a:pt x="824" y="728"/>
                  </a:lnTo>
                  <a:lnTo>
                    <a:pt x="837" y="710"/>
                  </a:lnTo>
                  <a:lnTo>
                    <a:pt x="848" y="691"/>
                  </a:lnTo>
                  <a:lnTo>
                    <a:pt x="858" y="672"/>
                  </a:lnTo>
                  <a:lnTo>
                    <a:pt x="868" y="653"/>
                  </a:lnTo>
                  <a:lnTo>
                    <a:pt x="876" y="632"/>
                  </a:lnTo>
                  <a:lnTo>
                    <a:pt x="883" y="612"/>
                  </a:lnTo>
                  <a:lnTo>
                    <a:pt x="890" y="591"/>
                  </a:lnTo>
                  <a:lnTo>
                    <a:pt x="895" y="570"/>
                  </a:lnTo>
                  <a:lnTo>
                    <a:pt x="898" y="550"/>
                  </a:lnTo>
                  <a:lnTo>
                    <a:pt x="901" y="528"/>
                  </a:lnTo>
                  <a:lnTo>
                    <a:pt x="904" y="506"/>
                  </a:lnTo>
                  <a:lnTo>
                    <a:pt x="905" y="485"/>
                  </a:lnTo>
                  <a:lnTo>
                    <a:pt x="905" y="462"/>
                  </a:lnTo>
                  <a:lnTo>
                    <a:pt x="904" y="441"/>
                  </a:lnTo>
                  <a:lnTo>
                    <a:pt x="901" y="419"/>
                  </a:lnTo>
                  <a:lnTo>
                    <a:pt x="898" y="398"/>
                  </a:lnTo>
                  <a:lnTo>
                    <a:pt x="895" y="376"/>
                  </a:lnTo>
                  <a:lnTo>
                    <a:pt x="890" y="355"/>
                  </a:lnTo>
                  <a:lnTo>
                    <a:pt x="883" y="333"/>
                  </a:lnTo>
                  <a:lnTo>
                    <a:pt x="876" y="313"/>
                  </a:lnTo>
                  <a:lnTo>
                    <a:pt x="868" y="291"/>
                  </a:lnTo>
                  <a:lnTo>
                    <a:pt x="858" y="271"/>
                  </a:lnTo>
                  <a:lnTo>
                    <a:pt x="849" y="252"/>
                  </a:lnTo>
                  <a:lnTo>
                    <a:pt x="837" y="231"/>
                  </a:lnTo>
                  <a:lnTo>
                    <a:pt x="825" y="212"/>
                  </a:lnTo>
                  <a:lnTo>
                    <a:pt x="811" y="194"/>
                  </a:lnTo>
                  <a:lnTo>
                    <a:pt x="797" y="175"/>
                  </a:lnTo>
                  <a:lnTo>
                    <a:pt x="782" y="157"/>
                  </a:lnTo>
                  <a:lnTo>
                    <a:pt x="765" y="140"/>
                  </a:lnTo>
                  <a:lnTo>
                    <a:pt x="765" y="140"/>
                  </a:lnTo>
                  <a:close/>
                </a:path>
              </a:pathLst>
            </a:custGeom>
            <a:gradFill>
              <a:gsLst>
                <a:gs pos="1000">
                  <a:schemeClr val="tx2">
                    <a:alpha val="85000"/>
                  </a:schemeClr>
                </a:gs>
                <a:gs pos="100000">
                  <a:schemeClr val="accent4">
                    <a:lumMod val="75000"/>
                    <a:alpha val="85000"/>
                  </a:schemeClr>
                </a:gs>
              </a:gsLst>
              <a:lin ang="5400000" scaled="1"/>
            </a:gradFill>
            <a:ln>
              <a:solidFill>
                <a:schemeClr val="bg1">
                  <a:lumMod val="50000"/>
                </a:schemeClr>
              </a:solid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endParaRPr>
            </a:p>
          </p:txBody>
        </p:sp>
        <p:sp>
          <p:nvSpPr>
            <p:cNvPr id="41" name="Freeform 60"/>
            <p:cNvSpPr>
              <a:spLocks noEditPoints="1"/>
            </p:cNvSpPr>
            <p:nvPr/>
          </p:nvSpPr>
          <p:spPr bwMode="auto">
            <a:xfrm>
              <a:off x="5078413" y="852488"/>
              <a:ext cx="47625" cy="47625"/>
            </a:xfrm>
            <a:custGeom>
              <a:avLst/>
              <a:gdLst>
                <a:gd name="T0" fmla="*/ 51 w 151"/>
                <a:gd name="T1" fmla="*/ 38 h 151"/>
                <a:gd name="T2" fmla="*/ 67 w 151"/>
                <a:gd name="T3" fmla="*/ 30 h 151"/>
                <a:gd name="T4" fmla="*/ 84 w 151"/>
                <a:gd name="T5" fmla="*/ 30 h 151"/>
                <a:gd name="T6" fmla="*/ 100 w 151"/>
                <a:gd name="T7" fmla="*/ 38 h 151"/>
                <a:gd name="T8" fmla="*/ 113 w 151"/>
                <a:gd name="T9" fmla="*/ 50 h 151"/>
                <a:gd name="T10" fmla="*/ 119 w 151"/>
                <a:gd name="T11" fmla="*/ 66 h 151"/>
                <a:gd name="T12" fmla="*/ 119 w 151"/>
                <a:gd name="T13" fmla="*/ 84 h 151"/>
                <a:gd name="T14" fmla="*/ 113 w 151"/>
                <a:gd name="T15" fmla="*/ 100 h 151"/>
                <a:gd name="T16" fmla="*/ 100 w 151"/>
                <a:gd name="T17" fmla="*/ 113 h 151"/>
                <a:gd name="T18" fmla="*/ 84 w 151"/>
                <a:gd name="T19" fmla="*/ 119 h 151"/>
                <a:gd name="T20" fmla="*/ 67 w 151"/>
                <a:gd name="T21" fmla="*/ 119 h 151"/>
                <a:gd name="T22" fmla="*/ 51 w 151"/>
                <a:gd name="T23" fmla="*/ 113 h 151"/>
                <a:gd name="T24" fmla="*/ 38 w 151"/>
                <a:gd name="T25" fmla="*/ 100 h 151"/>
                <a:gd name="T26" fmla="*/ 31 w 151"/>
                <a:gd name="T27" fmla="*/ 84 h 151"/>
                <a:gd name="T28" fmla="*/ 31 w 151"/>
                <a:gd name="T29" fmla="*/ 66 h 151"/>
                <a:gd name="T30" fmla="*/ 38 w 151"/>
                <a:gd name="T31" fmla="*/ 50 h 151"/>
                <a:gd name="T32" fmla="*/ 43 w 151"/>
                <a:gd name="T33" fmla="*/ 43 h 151"/>
                <a:gd name="T34" fmla="*/ 83 w 151"/>
                <a:gd name="T35" fmla="*/ 150 h 151"/>
                <a:gd name="T36" fmla="*/ 97 w 151"/>
                <a:gd name="T37" fmla="*/ 148 h 151"/>
                <a:gd name="T38" fmla="*/ 111 w 151"/>
                <a:gd name="T39" fmla="*/ 141 h 151"/>
                <a:gd name="T40" fmla="*/ 123 w 151"/>
                <a:gd name="T41" fmla="*/ 134 h 151"/>
                <a:gd name="T42" fmla="*/ 133 w 151"/>
                <a:gd name="T43" fmla="*/ 123 h 151"/>
                <a:gd name="T44" fmla="*/ 142 w 151"/>
                <a:gd name="T45" fmla="*/ 111 h 151"/>
                <a:gd name="T46" fmla="*/ 147 w 151"/>
                <a:gd name="T47" fmla="*/ 97 h 151"/>
                <a:gd name="T48" fmla="*/ 151 w 151"/>
                <a:gd name="T49" fmla="*/ 83 h 151"/>
                <a:gd name="T50" fmla="*/ 151 w 151"/>
                <a:gd name="T51" fmla="*/ 68 h 151"/>
                <a:gd name="T52" fmla="*/ 147 w 151"/>
                <a:gd name="T53" fmla="*/ 53 h 151"/>
                <a:gd name="T54" fmla="*/ 142 w 151"/>
                <a:gd name="T55" fmla="*/ 40 h 151"/>
                <a:gd name="T56" fmla="*/ 133 w 151"/>
                <a:gd name="T57" fmla="*/ 27 h 151"/>
                <a:gd name="T58" fmla="*/ 123 w 151"/>
                <a:gd name="T59" fmla="*/ 16 h 151"/>
                <a:gd name="T60" fmla="*/ 111 w 151"/>
                <a:gd name="T61" fmla="*/ 9 h 151"/>
                <a:gd name="T62" fmla="*/ 97 w 151"/>
                <a:gd name="T63" fmla="*/ 4 h 151"/>
                <a:gd name="T64" fmla="*/ 83 w 151"/>
                <a:gd name="T65" fmla="*/ 0 h 151"/>
                <a:gd name="T66" fmla="*/ 68 w 151"/>
                <a:gd name="T67" fmla="*/ 0 h 151"/>
                <a:gd name="T68" fmla="*/ 54 w 151"/>
                <a:gd name="T69" fmla="*/ 2 h 151"/>
                <a:gd name="T70" fmla="*/ 40 w 151"/>
                <a:gd name="T71" fmla="*/ 9 h 151"/>
                <a:gd name="T72" fmla="*/ 28 w 151"/>
                <a:gd name="T73" fmla="*/ 16 h 151"/>
                <a:gd name="T74" fmla="*/ 17 w 151"/>
                <a:gd name="T75" fmla="*/ 27 h 151"/>
                <a:gd name="T76" fmla="*/ 9 w 151"/>
                <a:gd name="T77" fmla="*/ 40 h 151"/>
                <a:gd name="T78" fmla="*/ 3 w 151"/>
                <a:gd name="T79" fmla="*/ 53 h 151"/>
                <a:gd name="T80" fmla="*/ 0 w 151"/>
                <a:gd name="T81" fmla="*/ 68 h 151"/>
                <a:gd name="T82" fmla="*/ 0 w 151"/>
                <a:gd name="T83" fmla="*/ 82 h 151"/>
                <a:gd name="T84" fmla="*/ 3 w 151"/>
                <a:gd name="T85" fmla="*/ 97 h 151"/>
                <a:gd name="T86" fmla="*/ 9 w 151"/>
                <a:gd name="T87" fmla="*/ 111 h 151"/>
                <a:gd name="T88" fmla="*/ 17 w 151"/>
                <a:gd name="T89" fmla="*/ 123 h 151"/>
                <a:gd name="T90" fmla="*/ 28 w 151"/>
                <a:gd name="T91" fmla="*/ 134 h 151"/>
                <a:gd name="T92" fmla="*/ 40 w 151"/>
                <a:gd name="T93" fmla="*/ 142 h 151"/>
                <a:gd name="T94" fmla="*/ 54 w 151"/>
                <a:gd name="T95" fmla="*/ 148 h 151"/>
                <a:gd name="T96" fmla="*/ 68 w 151"/>
                <a:gd name="T97" fmla="*/ 150 h 151"/>
                <a:gd name="T98" fmla="*/ 75 w 151"/>
                <a:gd name="T99" fmla="*/ 15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51" h="151">
                  <a:moveTo>
                    <a:pt x="43" y="43"/>
                  </a:moveTo>
                  <a:lnTo>
                    <a:pt x="51" y="38"/>
                  </a:lnTo>
                  <a:lnTo>
                    <a:pt x="58" y="34"/>
                  </a:lnTo>
                  <a:lnTo>
                    <a:pt x="67" y="30"/>
                  </a:lnTo>
                  <a:lnTo>
                    <a:pt x="75" y="30"/>
                  </a:lnTo>
                  <a:lnTo>
                    <a:pt x="84" y="30"/>
                  </a:lnTo>
                  <a:lnTo>
                    <a:pt x="93" y="34"/>
                  </a:lnTo>
                  <a:lnTo>
                    <a:pt x="100" y="38"/>
                  </a:lnTo>
                  <a:lnTo>
                    <a:pt x="108" y="43"/>
                  </a:lnTo>
                  <a:lnTo>
                    <a:pt x="113" y="50"/>
                  </a:lnTo>
                  <a:lnTo>
                    <a:pt x="117" y="57"/>
                  </a:lnTo>
                  <a:lnTo>
                    <a:pt x="119" y="66"/>
                  </a:lnTo>
                  <a:lnTo>
                    <a:pt x="120" y="76"/>
                  </a:lnTo>
                  <a:lnTo>
                    <a:pt x="119" y="84"/>
                  </a:lnTo>
                  <a:lnTo>
                    <a:pt x="117" y="93"/>
                  </a:lnTo>
                  <a:lnTo>
                    <a:pt x="113" y="100"/>
                  </a:lnTo>
                  <a:lnTo>
                    <a:pt x="108" y="107"/>
                  </a:lnTo>
                  <a:lnTo>
                    <a:pt x="100" y="113"/>
                  </a:lnTo>
                  <a:lnTo>
                    <a:pt x="93" y="116"/>
                  </a:lnTo>
                  <a:lnTo>
                    <a:pt x="84" y="119"/>
                  </a:lnTo>
                  <a:lnTo>
                    <a:pt x="75" y="120"/>
                  </a:lnTo>
                  <a:lnTo>
                    <a:pt x="67" y="119"/>
                  </a:lnTo>
                  <a:lnTo>
                    <a:pt x="58" y="116"/>
                  </a:lnTo>
                  <a:lnTo>
                    <a:pt x="51" y="113"/>
                  </a:lnTo>
                  <a:lnTo>
                    <a:pt x="43" y="107"/>
                  </a:lnTo>
                  <a:lnTo>
                    <a:pt x="38" y="100"/>
                  </a:lnTo>
                  <a:lnTo>
                    <a:pt x="33" y="93"/>
                  </a:lnTo>
                  <a:lnTo>
                    <a:pt x="31" y="84"/>
                  </a:lnTo>
                  <a:lnTo>
                    <a:pt x="30" y="76"/>
                  </a:lnTo>
                  <a:lnTo>
                    <a:pt x="31" y="66"/>
                  </a:lnTo>
                  <a:lnTo>
                    <a:pt x="33" y="57"/>
                  </a:lnTo>
                  <a:lnTo>
                    <a:pt x="38" y="50"/>
                  </a:lnTo>
                  <a:lnTo>
                    <a:pt x="43" y="43"/>
                  </a:lnTo>
                  <a:lnTo>
                    <a:pt x="43" y="43"/>
                  </a:lnTo>
                  <a:close/>
                  <a:moveTo>
                    <a:pt x="75" y="151"/>
                  </a:moveTo>
                  <a:lnTo>
                    <a:pt x="83" y="150"/>
                  </a:lnTo>
                  <a:lnTo>
                    <a:pt x="90" y="149"/>
                  </a:lnTo>
                  <a:lnTo>
                    <a:pt x="97" y="148"/>
                  </a:lnTo>
                  <a:lnTo>
                    <a:pt x="104" y="144"/>
                  </a:lnTo>
                  <a:lnTo>
                    <a:pt x="111" y="141"/>
                  </a:lnTo>
                  <a:lnTo>
                    <a:pt x="117" y="138"/>
                  </a:lnTo>
                  <a:lnTo>
                    <a:pt x="123" y="134"/>
                  </a:lnTo>
                  <a:lnTo>
                    <a:pt x="128" y="128"/>
                  </a:lnTo>
                  <a:lnTo>
                    <a:pt x="133" y="123"/>
                  </a:lnTo>
                  <a:lnTo>
                    <a:pt x="138" y="116"/>
                  </a:lnTo>
                  <a:lnTo>
                    <a:pt x="142" y="111"/>
                  </a:lnTo>
                  <a:lnTo>
                    <a:pt x="145" y="104"/>
                  </a:lnTo>
                  <a:lnTo>
                    <a:pt x="147" y="97"/>
                  </a:lnTo>
                  <a:lnTo>
                    <a:pt x="150" y="90"/>
                  </a:lnTo>
                  <a:lnTo>
                    <a:pt x="151" y="83"/>
                  </a:lnTo>
                  <a:lnTo>
                    <a:pt x="151" y="76"/>
                  </a:lnTo>
                  <a:lnTo>
                    <a:pt x="151" y="68"/>
                  </a:lnTo>
                  <a:lnTo>
                    <a:pt x="150" y="60"/>
                  </a:lnTo>
                  <a:lnTo>
                    <a:pt x="147" y="53"/>
                  </a:lnTo>
                  <a:lnTo>
                    <a:pt x="145" y="47"/>
                  </a:lnTo>
                  <a:lnTo>
                    <a:pt x="142" y="40"/>
                  </a:lnTo>
                  <a:lnTo>
                    <a:pt x="138" y="34"/>
                  </a:lnTo>
                  <a:lnTo>
                    <a:pt x="133" y="27"/>
                  </a:lnTo>
                  <a:lnTo>
                    <a:pt x="128" y="22"/>
                  </a:lnTo>
                  <a:lnTo>
                    <a:pt x="123" y="16"/>
                  </a:lnTo>
                  <a:lnTo>
                    <a:pt x="117" y="12"/>
                  </a:lnTo>
                  <a:lnTo>
                    <a:pt x="111" y="9"/>
                  </a:lnTo>
                  <a:lnTo>
                    <a:pt x="104" y="6"/>
                  </a:lnTo>
                  <a:lnTo>
                    <a:pt x="97" y="4"/>
                  </a:lnTo>
                  <a:lnTo>
                    <a:pt x="90" y="1"/>
                  </a:lnTo>
                  <a:lnTo>
                    <a:pt x="83" y="0"/>
                  </a:lnTo>
                  <a:lnTo>
                    <a:pt x="75" y="0"/>
                  </a:lnTo>
                  <a:lnTo>
                    <a:pt x="68" y="0"/>
                  </a:lnTo>
                  <a:lnTo>
                    <a:pt x="60" y="1"/>
                  </a:lnTo>
                  <a:lnTo>
                    <a:pt x="54" y="2"/>
                  </a:lnTo>
                  <a:lnTo>
                    <a:pt x="46" y="6"/>
                  </a:lnTo>
                  <a:lnTo>
                    <a:pt x="40" y="9"/>
                  </a:lnTo>
                  <a:lnTo>
                    <a:pt x="33" y="12"/>
                  </a:lnTo>
                  <a:lnTo>
                    <a:pt x="28" y="16"/>
                  </a:lnTo>
                  <a:lnTo>
                    <a:pt x="22" y="22"/>
                  </a:lnTo>
                  <a:lnTo>
                    <a:pt x="17" y="27"/>
                  </a:lnTo>
                  <a:lnTo>
                    <a:pt x="13" y="34"/>
                  </a:lnTo>
                  <a:lnTo>
                    <a:pt x="9" y="40"/>
                  </a:lnTo>
                  <a:lnTo>
                    <a:pt x="5" y="47"/>
                  </a:lnTo>
                  <a:lnTo>
                    <a:pt x="3" y="53"/>
                  </a:lnTo>
                  <a:lnTo>
                    <a:pt x="1" y="60"/>
                  </a:lnTo>
                  <a:lnTo>
                    <a:pt x="0" y="68"/>
                  </a:lnTo>
                  <a:lnTo>
                    <a:pt x="0" y="74"/>
                  </a:lnTo>
                  <a:lnTo>
                    <a:pt x="0" y="82"/>
                  </a:lnTo>
                  <a:lnTo>
                    <a:pt x="1" y="90"/>
                  </a:lnTo>
                  <a:lnTo>
                    <a:pt x="3" y="97"/>
                  </a:lnTo>
                  <a:lnTo>
                    <a:pt x="5" y="104"/>
                  </a:lnTo>
                  <a:lnTo>
                    <a:pt x="9" y="111"/>
                  </a:lnTo>
                  <a:lnTo>
                    <a:pt x="13" y="116"/>
                  </a:lnTo>
                  <a:lnTo>
                    <a:pt x="17" y="123"/>
                  </a:lnTo>
                  <a:lnTo>
                    <a:pt x="22" y="128"/>
                  </a:lnTo>
                  <a:lnTo>
                    <a:pt x="28" y="134"/>
                  </a:lnTo>
                  <a:lnTo>
                    <a:pt x="33" y="138"/>
                  </a:lnTo>
                  <a:lnTo>
                    <a:pt x="40" y="142"/>
                  </a:lnTo>
                  <a:lnTo>
                    <a:pt x="46" y="144"/>
                  </a:lnTo>
                  <a:lnTo>
                    <a:pt x="54" y="148"/>
                  </a:lnTo>
                  <a:lnTo>
                    <a:pt x="60" y="149"/>
                  </a:lnTo>
                  <a:lnTo>
                    <a:pt x="68" y="150"/>
                  </a:lnTo>
                  <a:lnTo>
                    <a:pt x="75" y="151"/>
                  </a:lnTo>
                  <a:lnTo>
                    <a:pt x="75" y="151"/>
                  </a:lnTo>
                  <a:close/>
                </a:path>
              </a:pathLst>
            </a:custGeom>
            <a:gradFill>
              <a:gsLst>
                <a:gs pos="1000">
                  <a:schemeClr val="tx2">
                    <a:alpha val="85000"/>
                  </a:schemeClr>
                </a:gs>
                <a:gs pos="100000">
                  <a:schemeClr val="accent4">
                    <a:lumMod val="75000"/>
                    <a:alpha val="85000"/>
                  </a:schemeClr>
                </a:gs>
              </a:gsLst>
              <a:lin ang="5400000" scaled="1"/>
            </a:gradFill>
            <a:ln>
              <a:solidFill>
                <a:schemeClr val="bg1">
                  <a:lumMod val="50000"/>
                </a:schemeClr>
              </a:solid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endParaRPr>
            </a:p>
          </p:txBody>
        </p:sp>
        <p:sp>
          <p:nvSpPr>
            <p:cNvPr id="42" name="Freeform 61"/>
            <p:cNvSpPr>
              <a:spLocks noEditPoints="1"/>
            </p:cNvSpPr>
            <p:nvPr/>
          </p:nvSpPr>
          <p:spPr bwMode="auto">
            <a:xfrm>
              <a:off x="5116513" y="915988"/>
              <a:ext cx="38100" cy="38100"/>
            </a:xfrm>
            <a:custGeom>
              <a:avLst/>
              <a:gdLst>
                <a:gd name="T0" fmla="*/ 78 w 122"/>
                <a:gd name="T1" fmla="*/ 84 h 120"/>
                <a:gd name="T2" fmla="*/ 67 w 122"/>
                <a:gd name="T3" fmla="*/ 89 h 120"/>
                <a:gd name="T4" fmla="*/ 55 w 122"/>
                <a:gd name="T5" fmla="*/ 89 h 120"/>
                <a:gd name="T6" fmla="*/ 45 w 122"/>
                <a:gd name="T7" fmla="*/ 84 h 120"/>
                <a:gd name="T8" fmla="*/ 36 w 122"/>
                <a:gd name="T9" fmla="*/ 76 h 120"/>
                <a:gd name="T10" fmla="*/ 32 w 122"/>
                <a:gd name="T11" fmla="*/ 65 h 120"/>
                <a:gd name="T12" fmla="*/ 32 w 122"/>
                <a:gd name="T13" fmla="*/ 53 h 120"/>
                <a:gd name="T14" fmla="*/ 36 w 122"/>
                <a:gd name="T15" fmla="*/ 43 h 120"/>
                <a:gd name="T16" fmla="*/ 45 w 122"/>
                <a:gd name="T17" fmla="*/ 34 h 120"/>
                <a:gd name="T18" fmla="*/ 55 w 122"/>
                <a:gd name="T19" fmla="*/ 30 h 120"/>
                <a:gd name="T20" fmla="*/ 67 w 122"/>
                <a:gd name="T21" fmla="*/ 30 h 120"/>
                <a:gd name="T22" fmla="*/ 78 w 122"/>
                <a:gd name="T23" fmla="*/ 34 h 120"/>
                <a:gd name="T24" fmla="*/ 86 w 122"/>
                <a:gd name="T25" fmla="*/ 43 h 120"/>
                <a:gd name="T26" fmla="*/ 91 w 122"/>
                <a:gd name="T27" fmla="*/ 53 h 120"/>
                <a:gd name="T28" fmla="*/ 91 w 122"/>
                <a:gd name="T29" fmla="*/ 65 h 120"/>
                <a:gd name="T30" fmla="*/ 86 w 122"/>
                <a:gd name="T31" fmla="*/ 76 h 120"/>
                <a:gd name="T32" fmla="*/ 82 w 122"/>
                <a:gd name="T33" fmla="*/ 80 h 120"/>
                <a:gd name="T34" fmla="*/ 99 w 122"/>
                <a:gd name="T35" fmla="*/ 12 h 120"/>
                <a:gd name="T36" fmla="*/ 90 w 122"/>
                <a:gd name="T37" fmla="*/ 6 h 120"/>
                <a:gd name="T38" fmla="*/ 79 w 122"/>
                <a:gd name="T39" fmla="*/ 2 h 120"/>
                <a:gd name="T40" fmla="*/ 67 w 122"/>
                <a:gd name="T41" fmla="*/ 0 h 120"/>
                <a:gd name="T42" fmla="*/ 55 w 122"/>
                <a:gd name="T43" fmla="*/ 0 h 120"/>
                <a:gd name="T44" fmla="*/ 43 w 122"/>
                <a:gd name="T45" fmla="*/ 2 h 120"/>
                <a:gd name="T46" fmla="*/ 33 w 122"/>
                <a:gd name="T47" fmla="*/ 6 h 120"/>
                <a:gd name="T48" fmla="*/ 23 w 122"/>
                <a:gd name="T49" fmla="*/ 12 h 120"/>
                <a:gd name="T50" fmla="*/ 14 w 122"/>
                <a:gd name="T51" fmla="*/ 21 h 120"/>
                <a:gd name="T52" fmla="*/ 8 w 122"/>
                <a:gd name="T53" fmla="*/ 31 h 120"/>
                <a:gd name="T54" fmla="*/ 4 w 122"/>
                <a:gd name="T55" fmla="*/ 43 h 120"/>
                <a:gd name="T56" fmla="*/ 1 w 122"/>
                <a:gd name="T57" fmla="*/ 53 h 120"/>
                <a:gd name="T58" fmla="*/ 1 w 122"/>
                <a:gd name="T59" fmla="*/ 65 h 120"/>
                <a:gd name="T60" fmla="*/ 4 w 122"/>
                <a:gd name="T61" fmla="*/ 77 h 120"/>
                <a:gd name="T62" fmla="*/ 8 w 122"/>
                <a:gd name="T63" fmla="*/ 88 h 120"/>
                <a:gd name="T64" fmla="*/ 14 w 122"/>
                <a:gd name="T65" fmla="*/ 97 h 120"/>
                <a:gd name="T66" fmla="*/ 23 w 122"/>
                <a:gd name="T67" fmla="*/ 106 h 120"/>
                <a:gd name="T68" fmla="*/ 33 w 122"/>
                <a:gd name="T69" fmla="*/ 112 h 120"/>
                <a:gd name="T70" fmla="*/ 43 w 122"/>
                <a:gd name="T71" fmla="*/ 117 h 120"/>
                <a:gd name="T72" fmla="*/ 55 w 122"/>
                <a:gd name="T73" fmla="*/ 119 h 120"/>
                <a:gd name="T74" fmla="*/ 67 w 122"/>
                <a:gd name="T75" fmla="*/ 119 h 120"/>
                <a:gd name="T76" fmla="*/ 79 w 122"/>
                <a:gd name="T77" fmla="*/ 117 h 120"/>
                <a:gd name="T78" fmla="*/ 90 w 122"/>
                <a:gd name="T79" fmla="*/ 112 h 120"/>
                <a:gd name="T80" fmla="*/ 99 w 122"/>
                <a:gd name="T81" fmla="*/ 106 h 120"/>
                <a:gd name="T82" fmla="*/ 108 w 122"/>
                <a:gd name="T83" fmla="*/ 97 h 120"/>
                <a:gd name="T84" fmla="*/ 114 w 122"/>
                <a:gd name="T85" fmla="*/ 88 h 120"/>
                <a:gd name="T86" fmla="*/ 119 w 122"/>
                <a:gd name="T87" fmla="*/ 77 h 120"/>
                <a:gd name="T88" fmla="*/ 121 w 122"/>
                <a:gd name="T89" fmla="*/ 65 h 120"/>
                <a:gd name="T90" fmla="*/ 121 w 122"/>
                <a:gd name="T91" fmla="*/ 53 h 120"/>
                <a:gd name="T92" fmla="*/ 119 w 122"/>
                <a:gd name="T93" fmla="*/ 43 h 120"/>
                <a:gd name="T94" fmla="*/ 114 w 122"/>
                <a:gd name="T95" fmla="*/ 31 h 120"/>
                <a:gd name="T96" fmla="*/ 108 w 122"/>
                <a:gd name="T97" fmla="*/ 21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2" h="120">
                  <a:moveTo>
                    <a:pt x="82" y="80"/>
                  </a:moveTo>
                  <a:lnTo>
                    <a:pt x="78" y="84"/>
                  </a:lnTo>
                  <a:lnTo>
                    <a:pt x="72" y="87"/>
                  </a:lnTo>
                  <a:lnTo>
                    <a:pt x="67" y="89"/>
                  </a:lnTo>
                  <a:lnTo>
                    <a:pt x="61" y="89"/>
                  </a:lnTo>
                  <a:lnTo>
                    <a:pt x="55" y="89"/>
                  </a:lnTo>
                  <a:lnTo>
                    <a:pt x="50" y="87"/>
                  </a:lnTo>
                  <a:lnTo>
                    <a:pt x="45" y="84"/>
                  </a:lnTo>
                  <a:lnTo>
                    <a:pt x="40" y="80"/>
                  </a:lnTo>
                  <a:lnTo>
                    <a:pt x="36" y="76"/>
                  </a:lnTo>
                  <a:lnTo>
                    <a:pt x="34" y="70"/>
                  </a:lnTo>
                  <a:lnTo>
                    <a:pt x="32" y="65"/>
                  </a:lnTo>
                  <a:lnTo>
                    <a:pt x="31" y="59"/>
                  </a:lnTo>
                  <a:lnTo>
                    <a:pt x="32" y="53"/>
                  </a:lnTo>
                  <a:lnTo>
                    <a:pt x="34" y="48"/>
                  </a:lnTo>
                  <a:lnTo>
                    <a:pt x="36" y="43"/>
                  </a:lnTo>
                  <a:lnTo>
                    <a:pt x="40" y="38"/>
                  </a:lnTo>
                  <a:lnTo>
                    <a:pt x="45" y="34"/>
                  </a:lnTo>
                  <a:lnTo>
                    <a:pt x="50" y="32"/>
                  </a:lnTo>
                  <a:lnTo>
                    <a:pt x="55" y="30"/>
                  </a:lnTo>
                  <a:lnTo>
                    <a:pt x="61" y="30"/>
                  </a:lnTo>
                  <a:lnTo>
                    <a:pt x="67" y="30"/>
                  </a:lnTo>
                  <a:lnTo>
                    <a:pt x="72" y="32"/>
                  </a:lnTo>
                  <a:lnTo>
                    <a:pt x="78" y="34"/>
                  </a:lnTo>
                  <a:lnTo>
                    <a:pt x="82" y="38"/>
                  </a:lnTo>
                  <a:lnTo>
                    <a:pt x="86" y="43"/>
                  </a:lnTo>
                  <a:lnTo>
                    <a:pt x="90" y="48"/>
                  </a:lnTo>
                  <a:lnTo>
                    <a:pt x="91" y="53"/>
                  </a:lnTo>
                  <a:lnTo>
                    <a:pt x="92" y="60"/>
                  </a:lnTo>
                  <a:lnTo>
                    <a:pt x="91" y="65"/>
                  </a:lnTo>
                  <a:lnTo>
                    <a:pt x="90" y="70"/>
                  </a:lnTo>
                  <a:lnTo>
                    <a:pt x="86" y="76"/>
                  </a:lnTo>
                  <a:lnTo>
                    <a:pt x="82" y="80"/>
                  </a:lnTo>
                  <a:lnTo>
                    <a:pt x="82" y="80"/>
                  </a:lnTo>
                  <a:close/>
                  <a:moveTo>
                    <a:pt x="104" y="17"/>
                  </a:moveTo>
                  <a:lnTo>
                    <a:pt x="99" y="12"/>
                  </a:lnTo>
                  <a:lnTo>
                    <a:pt x="95" y="9"/>
                  </a:lnTo>
                  <a:lnTo>
                    <a:pt x="90" y="6"/>
                  </a:lnTo>
                  <a:lnTo>
                    <a:pt x="84" y="4"/>
                  </a:lnTo>
                  <a:lnTo>
                    <a:pt x="79" y="2"/>
                  </a:lnTo>
                  <a:lnTo>
                    <a:pt x="72" y="1"/>
                  </a:lnTo>
                  <a:lnTo>
                    <a:pt x="67" y="0"/>
                  </a:lnTo>
                  <a:lnTo>
                    <a:pt x="61" y="0"/>
                  </a:lnTo>
                  <a:lnTo>
                    <a:pt x="55" y="0"/>
                  </a:lnTo>
                  <a:lnTo>
                    <a:pt x="50" y="1"/>
                  </a:lnTo>
                  <a:lnTo>
                    <a:pt x="43" y="2"/>
                  </a:lnTo>
                  <a:lnTo>
                    <a:pt x="38" y="4"/>
                  </a:lnTo>
                  <a:lnTo>
                    <a:pt x="33" y="6"/>
                  </a:lnTo>
                  <a:lnTo>
                    <a:pt x="27" y="9"/>
                  </a:lnTo>
                  <a:lnTo>
                    <a:pt x="23" y="12"/>
                  </a:lnTo>
                  <a:lnTo>
                    <a:pt x="19" y="17"/>
                  </a:lnTo>
                  <a:lnTo>
                    <a:pt x="14" y="21"/>
                  </a:lnTo>
                  <a:lnTo>
                    <a:pt x="11" y="26"/>
                  </a:lnTo>
                  <a:lnTo>
                    <a:pt x="8" y="31"/>
                  </a:lnTo>
                  <a:lnTo>
                    <a:pt x="5" y="36"/>
                  </a:lnTo>
                  <a:lnTo>
                    <a:pt x="4" y="43"/>
                  </a:lnTo>
                  <a:lnTo>
                    <a:pt x="1" y="48"/>
                  </a:lnTo>
                  <a:lnTo>
                    <a:pt x="1" y="53"/>
                  </a:lnTo>
                  <a:lnTo>
                    <a:pt x="0" y="60"/>
                  </a:lnTo>
                  <a:lnTo>
                    <a:pt x="1" y="65"/>
                  </a:lnTo>
                  <a:lnTo>
                    <a:pt x="1" y="70"/>
                  </a:lnTo>
                  <a:lnTo>
                    <a:pt x="4" y="77"/>
                  </a:lnTo>
                  <a:lnTo>
                    <a:pt x="5" y="82"/>
                  </a:lnTo>
                  <a:lnTo>
                    <a:pt x="8" y="88"/>
                  </a:lnTo>
                  <a:lnTo>
                    <a:pt x="11" y="92"/>
                  </a:lnTo>
                  <a:lnTo>
                    <a:pt x="14" y="97"/>
                  </a:lnTo>
                  <a:lnTo>
                    <a:pt x="19" y="102"/>
                  </a:lnTo>
                  <a:lnTo>
                    <a:pt x="23" y="106"/>
                  </a:lnTo>
                  <a:lnTo>
                    <a:pt x="27" y="109"/>
                  </a:lnTo>
                  <a:lnTo>
                    <a:pt x="33" y="112"/>
                  </a:lnTo>
                  <a:lnTo>
                    <a:pt x="38" y="115"/>
                  </a:lnTo>
                  <a:lnTo>
                    <a:pt x="43" y="117"/>
                  </a:lnTo>
                  <a:lnTo>
                    <a:pt x="49" y="119"/>
                  </a:lnTo>
                  <a:lnTo>
                    <a:pt x="55" y="119"/>
                  </a:lnTo>
                  <a:lnTo>
                    <a:pt x="61" y="120"/>
                  </a:lnTo>
                  <a:lnTo>
                    <a:pt x="67" y="119"/>
                  </a:lnTo>
                  <a:lnTo>
                    <a:pt x="72" y="119"/>
                  </a:lnTo>
                  <a:lnTo>
                    <a:pt x="79" y="117"/>
                  </a:lnTo>
                  <a:lnTo>
                    <a:pt x="84" y="115"/>
                  </a:lnTo>
                  <a:lnTo>
                    <a:pt x="90" y="112"/>
                  </a:lnTo>
                  <a:lnTo>
                    <a:pt x="95" y="109"/>
                  </a:lnTo>
                  <a:lnTo>
                    <a:pt x="99" y="106"/>
                  </a:lnTo>
                  <a:lnTo>
                    <a:pt x="104" y="102"/>
                  </a:lnTo>
                  <a:lnTo>
                    <a:pt x="108" y="97"/>
                  </a:lnTo>
                  <a:lnTo>
                    <a:pt x="111" y="92"/>
                  </a:lnTo>
                  <a:lnTo>
                    <a:pt x="114" y="88"/>
                  </a:lnTo>
                  <a:lnTo>
                    <a:pt x="117" y="82"/>
                  </a:lnTo>
                  <a:lnTo>
                    <a:pt x="119" y="77"/>
                  </a:lnTo>
                  <a:lnTo>
                    <a:pt x="121" y="70"/>
                  </a:lnTo>
                  <a:lnTo>
                    <a:pt x="121" y="65"/>
                  </a:lnTo>
                  <a:lnTo>
                    <a:pt x="122" y="60"/>
                  </a:lnTo>
                  <a:lnTo>
                    <a:pt x="121" y="53"/>
                  </a:lnTo>
                  <a:lnTo>
                    <a:pt x="121" y="48"/>
                  </a:lnTo>
                  <a:lnTo>
                    <a:pt x="119" y="43"/>
                  </a:lnTo>
                  <a:lnTo>
                    <a:pt x="117" y="36"/>
                  </a:lnTo>
                  <a:lnTo>
                    <a:pt x="114" y="31"/>
                  </a:lnTo>
                  <a:lnTo>
                    <a:pt x="111" y="26"/>
                  </a:lnTo>
                  <a:lnTo>
                    <a:pt x="108" y="21"/>
                  </a:lnTo>
                  <a:lnTo>
                    <a:pt x="104" y="17"/>
                  </a:lnTo>
                  <a:close/>
                </a:path>
              </a:pathLst>
            </a:custGeom>
            <a:gradFill>
              <a:gsLst>
                <a:gs pos="1000">
                  <a:schemeClr val="tx2">
                    <a:alpha val="85000"/>
                  </a:schemeClr>
                </a:gs>
                <a:gs pos="100000">
                  <a:schemeClr val="accent4">
                    <a:lumMod val="75000"/>
                    <a:alpha val="85000"/>
                  </a:schemeClr>
                </a:gs>
              </a:gsLst>
              <a:lin ang="5400000" scaled="1"/>
            </a:gradFill>
            <a:ln>
              <a:solidFill>
                <a:schemeClr val="bg1">
                  <a:lumMod val="50000"/>
                </a:schemeClr>
              </a:solid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endParaRPr>
            </a:p>
          </p:txBody>
        </p:sp>
        <p:sp>
          <p:nvSpPr>
            <p:cNvPr id="43" name="Freeform 62"/>
            <p:cNvSpPr>
              <a:spLocks noEditPoints="1"/>
            </p:cNvSpPr>
            <p:nvPr/>
          </p:nvSpPr>
          <p:spPr bwMode="auto">
            <a:xfrm>
              <a:off x="5073650" y="966788"/>
              <a:ext cx="57150" cy="57150"/>
            </a:xfrm>
            <a:custGeom>
              <a:avLst/>
              <a:gdLst>
                <a:gd name="T0" fmla="*/ 124 w 181"/>
                <a:gd name="T1" fmla="*/ 140 h 181"/>
                <a:gd name="T2" fmla="*/ 108 w 181"/>
                <a:gd name="T3" fmla="*/ 148 h 181"/>
                <a:gd name="T4" fmla="*/ 90 w 181"/>
                <a:gd name="T5" fmla="*/ 151 h 181"/>
                <a:gd name="T6" fmla="*/ 73 w 181"/>
                <a:gd name="T7" fmla="*/ 148 h 181"/>
                <a:gd name="T8" fmla="*/ 57 w 181"/>
                <a:gd name="T9" fmla="*/ 140 h 181"/>
                <a:gd name="T10" fmla="*/ 44 w 181"/>
                <a:gd name="T11" fmla="*/ 129 h 181"/>
                <a:gd name="T12" fmla="*/ 34 w 181"/>
                <a:gd name="T13" fmla="*/ 113 h 181"/>
                <a:gd name="T14" fmla="*/ 30 w 181"/>
                <a:gd name="T15" fmla="*/ 96 h 181"/>
                <a:gd name="T16" fmla="*/ 31 w 181"/>
                <a:gd name="T17" fmla="*/ 79 h 181"/>
                <a:gd name="T18" fmla="*/ 37 w 181"/>
                <a:gd name="T19" fmla="*/ 62 h 181"/>
                <a:gd name="T20" fmla="*/ 47 w 181"/>
                <a:gd name="T21" fmla="*/ 48 h 181"/>
                <a:gd name="T22" fmla="*/ 62 w 181"/>
                <a:gd name="T23" fmla="*/ 37 h 181"/>
                <a:gd name="T24" fmla="*/ 78 w 181"/>
                <a:gd name="T25" fmla="*/ 32 h 181"/>
                <a:gd name="T26" fmla="*/ 97 w 181"/>
                <a:gd name="T27" fmla="*/ 31 h 181"/>
                <a:gd name="T28" fmla="*/ 113 w 181"/>
                <a:gd name="T29" fmla="*/ 35 h 181"/>
                <a:gd name="T30" fmla="*/ 129 w 181"/>
                <a:gd name="T31" fmla="*/ 44 h 181"/>
                <a:gd name="T32" fmla="*/ 141 w 181"/>
                <a:gd name="T33" fmla="*/ 56 h 181"/>
                <a:gd name="T34" fmla="*/ 148 w 181"/>
                <a:gd name="T35" fmla="*/ 73 h 181"/>
                <a:gd name="T36" fmla="*/ 151 w 181"/>
                <a:gd name="T37" fmla="*/ 91 h 181"/>
                <a:gd name="T38" fmla="*/ 148 w 181"/>
                <a:gd name="T39" fmla="*/ 108 h 181"/>
                <a:gd name="T40" fmla="*/ 141 w 181"/>
                <a:gd name="T41" fmla="*/ 124 h 181"/>
                <a:gd name="T42" fmla="*/ 90 w 181"/>
                <a:gd name="T43" fmla="*/ 0 h 181"/>
                <a:gd name="T44" fmla="*/ 63 w 181"/>
                <a:gd name="T45" fmla="*/ 4 h 181"/>
                <a:gd name="T46" fmla="*/ 40 w 181"/>
                <a:gd name="T47" fmla="*/ 16 h 181"/>
                <a:gd name="T48" fmla="*/ 20 w 181"/>
                <a:gd name="T49" fmla="*/ 33 h 181"/>
                <a:gd name="T50" fmla="*/ 6 w 181"/>
                <a:gd name="T51" fmla="*/ 55 h 181"/>
                <a:gd name="T52" fmla="*/ 0 w 181"/>
                <a:gd name="T53" fmla="*/ 81 h 181"/>
                <a:gd name="T54" fmla="*/ 1 w 181"/>
                <a:gd name="T55" fmla="*/ 108 h 181"/>
                <a:gd name="T56" fmla="*/ 11 w 181"/>
                <a:gd name="T57" fmla="*/ 133 h 181"/>
                <a:gd name="T58" fmla="*/ 27 w 181"/>
                <a:gd name="T59" fmla="*/ 154 h 181"/>
                <a:gd name="T60" fmla="*/ 47 w 181"/>
                <a:gd name="T61" fmla="*/ 170 h 181"/>
                <a:gd name="T62" fmla="*/ 72 w 181"/>
                <a:gd name="T63" fmla="*/ 179 h 181"/>
                <a:gd name="T64" fmla="*/ 99 w 181"/>
                <a:gd name="T65" fmla="*/ 180 h 181"/>
                <a:gd name="T66" fmla="*/ 125 w 181"/>
                <a:gd name="T67" fmla="*/ 174 h 181"/>
                <a:gd name="T68" fmla="*/ 147 w 181"/>
                <a:gd name="T69" fmla="*/ 161 h 181"/>
                <a:gd name="T70" fmla="*/ 166 w 181"/>
                <a:gd name="T71" fmla="*/ 140 h 181"/>
                <a:gd name="T72" fmla="*/ 176 w 181"/>
                <a:gd name="T73" fmla="*/ 117 h 181"/>
                <a:gd name="T74" fmla="*/ 181 w 181"/>
                <a:gd name="T75" fmla="*/ 91 h 181"/>
                <a:gd name="T76" fmla="*/ 176 w 181"/>
                <a:gd name="T77" fmla="*/ 64 h 181"/>
                <a:gd name="T78" fmla="*/ 166 w 181"/>
                <a:gd name="T79" fmla="*/ 40 h 181"/>
                <a:gd name="T80" fmla="*/ 147 w 181"/>
                <a:gd name="T81" fmla="*/ 20 h 181"/>
                <a:gd name="T82" fmla="*/ 125 w 181"/>
                <a:gd name="T83" fmla="*/ 7 h 181"/>
                <a:gd name="T84" fmla="*/ 99 w 181"/>
                <a:gd name="T85" fmla="*/ 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1" h="181">
                  <a:moveTo>
                    <a:pt x="133" y="133"/>
                  </a:moveTo>
                  <a:lnTo>
                    <a:pt x="129" y="137"/>
                  </a:lnTo>
                  <a:lnTo>
                    <a:pt x="124" y="140"/>
                  </a:lnTo>
                  <a:lnTo>
                    <a:pt x="118" y="144"/>
                  </a:lnTo>
                  <a:lnTo>
                    <a:pt x="113" y="146"/>
                  </a:lnTo>
                  <a:lnTo>
                    <a:pt x="108" y="148"/>
                  </a:lnTo>
                  <a:lnTo>
                    <a:pt x="102" y="150"/>
                  </a:lnTo>
                  <a:lnTo>
                    <a:pt x="97" y="150"/>
                  </a:lnTo>
                  <a:lnTo>
                    <a:pt x="90" y="151"/>
                  </a:lnTo>
                  <a:lnTo>
                    <a:pt x="84" y="150"/>
                  </a:lnTo>
                  <a:lnTo>
                    <a:pt x="78" y="150"/>
                  </a:lnTo>
                  <a:lnTo>
                    <a:pt x="73" y="148"/>
                  </a:lnTo>
                  <a:lnTo>
                    <a:pt x="67" y="146"/>
                  </a:lnTo>
                  <a:lnTo>
                    <a:pt x="62" y="144"/>
                  </a:lnTo>
                  <a:lnTo>
                    <a:pt x="57" y="140"/>
                  </a:lnTo>
                  <a:lnTo>
                    <a:pt x="52" y="137"/>
                  </a:lnTo>
                  <a:lnTo>
                    <a:pt x="47" y="133"/>
                  </a:lnTo>
                  <a:lnTo>
                    <a:pt x="44" y="129"/>
                  </a:lnTo>
                  <a:lnTo>
                    <a:pt x="40" y="124"/>
                  </a:lnTo>
                  <a:lnTo>
                    <a:pt x="37" y="119"/>
                  </a:lnTo>
                  <a:lnTo>
                    <a:pt x="34" y="113"/>
                  </a:lnTo>
                  <a:lnTo>
                    <a:pt x="32" y="108"/>
                  </a:lnTo>
                  <a:lnTo>
                    <a:pt x="31" y="103"/>
                  </a:lnTo>
                  <a:lnTo>
                    <a:pt x="30" y="96"/>
                  </a:lnTo>
                  <a:lnTo>
                    <a:pt x="30" y="91"/>
                  </a:lnTo>
                  <a:lnTo>
                    <a:pt x="30" y="84"/>
                  </a:lnTo>
                  <a:lnTo>
                    <a:pt x="31" y="79"/>
                  </a:lnTo>
                  <a:lnTo>
                    <a:pt x="32" y="73"/>
                  </a:lnTo>
                  <a:lnTo>
                    <a:pt x="34" y="67"/>
                  </a:lnTo>
                  <a:lnTo>
                    <a:pt x="37" y="62"/>
                  </a:lnTo>
                  <a:lnTo>
                    <a:pt x="40" y="56"/>
                  </a:lnTo>
                  <a:lnTo>
                    <a:pt x="44" y="52"/>
                  </a:lnTo>
                  <a:lnTo>
                    <a:pt x="47" y="48"/>
                  </a:lnTo>
                  <a:lnTo>
                    <a:pt x="52" y="44"/>
                  </a:lnTo>
                  <a:lnTo>
                    <a:pt x="57" y="40"/>
                  </a:lnTo>
                  <a:lnTo>
                    <a:pt x="62" y="37"/>
                  </a:lnTo>
                  <a:lnTo>
                    <a:pt x="67" y="35"/>
                  </a:lnTo>
                  <a:lnTo>
                    <a:pt x="73" y="33"/>
                  </a:lnTo>
                  <a:lnTo>
                    <a:pt x="78" y="32"/>
                  </a:lnTo>
                  <a:lnTo>
                    <a:pt x="84" y="31"/>
                  </a:lnTo>
                  <a:lnTo>
                    <a:pt x="90" y="31"/>
                  </a:lnTo>
                  <a:lnTo>
                    <a:pt x="97" y="31"/>
                  </a:lnTo>
                  <a:lnTo>
                    <a:pt x="102" y="32"/>
                  </a:lnTo>
                  <a:lnTo>
                    <a:pt x="108" y="33"/>
                  </a:lnTo>
                  <a:lnTo>
                    <a:pt x="113" y="35"/>
                  </a:lnTo>
                  <a:lnTo>
                    <a:pt x="118" y="37"/>
                  </a:lnTo>
                  <a:lnTo>
                    <a:pt x="124" y="40"/>
                  </a:lnTo>
                  <a:lnTo>
                    <a:pt x="129" y="44"/>
                  </a:lnTo>
                  <a:lnTo>
                    <a:pt x="133" y="48"/>
                  </a:lnTo>
                  <a:lnTo>
                    <a:pt x="137" y="52"/>
                  </a:lnTo>
                  <a:lnTo>
                    <a:pt x="141" y="56"/>
                  </a:lnTo>
                  <a:lnTo>
                    <a:pt x="143" y="62"/>
                  </a:lnTo>
                  <a:lnTo>
                    <a:pt x="146" y="67"/>
                  </a:lnTo>
                  <a:lnTo>
                    <a:pt x="148" y="73"/>
                  </a:lnTo>
                  <a:lnTo>
                    <a:pt x="149" y="79"/>
                  </a:lnTo>
                  <a:lnTo>
                    <a:pt x="151" y="84"/>
                  </a:lnTo>
                  <a:lnTo>
                    <a:pt x="151" y="91"/>
                  </a:lnTo>
                  <a:lnTo>
                    <a:pt x="151" y="96"/>
                  </a:lnTo>
                  <a:lnTo>
                    <a:pt x="149" y="103"/>
                  </a:lnTo>
                  <a:lnTo>
                    <a:pt x="148" y="108"/>
                  </a:lnTo>
                  <a:lnTo>
                    <a:pt x="146" y="113"/>
                  </a:lnTo>
                  <a:lnTo>
                    <a:pt x="143" y="119"/>
                  </a:lnTo>
                  <a:lnTo>
                    <a:pt x="141" y="124"/>
                  </a:lnTo>
                  <a:lnTo>
                    <a:pt x="137" y="129"/>
                  </a:lnTo>
                  <a:lnTo>
                    <a:pt x="133" y="133"/>
                  </a:lnTo>
                  <a:close/>
                  <a:moveTo>
                    <a:pt x="90" y="0"/>
                  </a:moveTo>
                  <a:lnTo>
                    <a:pt x="82" y="1"/>
                  </a:lnTo>
                  <a:lnTo>
                    <a:pt x="72" y="2"/>
                  </a:lnTo>
                  <a:lnTo>
                    <a:pt x="63" y="4"/>
                  </a:lnTo>
                  <a:lnTo>
                    <a:pt x="56" y="7"/>
                  </a:lnTo>
                  <a:lnTo>
                    <a:pt x="47" y="10"/>
                  </a:lnTo>
                  <a:lnTo>
                    <a:pt x="40" y="16"/>
                  </a:lnTo>
                  <a:lnTo>
                    <a:pt x="33" y="20"/>
                  </a:lnTo>
                  <a:lnTo>
                    <a:pt x="27" y="26"/>
                  </a:lnTo>
                  <a:lnTo>
                    <a:pt x="20" y="33"/>
                  </a:lnTo>
                  <a:lnTo>
                    <a:pt x="15" y="40"/>
                  </a:lnTo>
                  <a:lnTo>
                    <a:pt x="11" y="48"/>
                  </a:lnTo>
                  <a:lnTo>
                    <a:pt x="6" y="55"/>
                  </a:lnTo>
                  <a:lnTo>
                    <a:pt x="3" y="64"/>
                  </a:lnTo>
                  <a:lnTo>
                    <a:pt x="1" y="73"/>
                  </a:lnTo>
                  <a:lnTo>
                    <a:pt x="0" y="81"/>
                  </a:lnTo>
                  <a:lnTo>
                    <a:pt x="0" y="91"/>
                  </a:lnTo>
                  <a:lnTo>
                    <a:pt x="0" y="100"/>
                  </a:lnTo>
                  <a:lnTo>
                    <a:pt x="1" y="108"/>
                  </a:lnTo>
                  <a:lnTo>
                    <a:pt x="3" y="117"/>
                  </a:lnTo>
                  <a:lnTo>
                    <a:pt x="6" y="125"/>
                  </a:lnTo>
                  <a:lnTo>
                    <a:pt x="11" y="133"/>
                  </a:lnTo>
                  <a:lnTo>
                    <a:pt x="15" y="140"/>
                  </a:lnTo>
                  <a:lnTo>
                    <a:pt x="20" y="148"/>
                  </a:lnTo>
                  <a:lnTo>
                    <a:pt x="27" y="154"/>
                  </a:lnTo>
                  <a:lnTo>
                    <a:pt x="33" y="161"/>
                  </a:lnTo>
                  <a:lnTo>
                    <a:pt x="40" y="166"/>
                  </a:lnTo>
                  <a:lnTo>
                    <a:pt x="47" y="170"/>
                  </a:lnTo>
                  <a:lnTo>
                    <a:pt x="56" y="174"/>
                  </a:lnTo>
                  <a:lnTo>
                    <a:pt x="63" y="177"/>
                  </a:lnTo>
                  <a:lnTo>
                    <a:pt x="72" y="179"/>
                  </a:lnTo>
                  <a:lnTo>
                    <a:pt x="82" y="180"/>
                  </a:lnTo>
                  <a:lnTo>
                    <a:pt x="90" y="181"/>
                  </a:lnTo>
                  <a:lnTo>
                    <a:pt x="99" y="180"/>
                  </a:lnTo>
                  <a:lnTo>
                    <a:pt x="109" y="179"/>
                  </a:lnTo>
                  <a:lnTo>
                    <a:pt x="116" y="177"/>
                  </a:lnTo>
                  <a:lnTo>
                    <a:pt x="125" y="174"/>
                  </a:lnTo>
                  <a:lnTo>
                    <a:pt x="133" y="170"/>
                  </a:lnTo>
                  <a:lnTo>
                    <a:pt x="141" y="166"/>
                  </a:lnTo>
                  <a:lnTo>
                    <a:pt x="147" y="161"/>
                  </a:lnTo>
                  <a:lnTo>
                    <a:pt x="154" y="154"/>
                  </a:lnTo>
                  <a:lnTo>
                    <a:pt x="160" y="148"/>
                  </a:lnTo>
                  <a:lnTo>
                    <a:pt x="166" y="140"/>
                  </a:lnTo>
                  <a:lnTo>
                    <a:pt x="170" y="133"/>
                  </a:lnTo>
                  <a:lnTo>
                    <a:pt x="174" y="125"/>
                  </a:lnTo>
                  <a:lnTo>
                    <a:pt x="176" y="117"/>
                  </a:lnTo>
                  <a:lnTo>
                    <a:pt x="179" y="108"/>
                  </a:lnTo>
                  <a:lnTo>
                    <a:pt x="181" y="100"/>
                  </a:lnTo>
                  <a:lnTo>
                    <a:pt x="181" y="91"/>
                  </a:lnTo>
                  <a:lnTo>
                    <a:pt x="181" y="81"/>
                  </a:lnTo>
                  <a:lnTo>
                    <a:pt x="179" y="73"/>
                  </a:lnTo>
                  <a:lnTo>
                    <a:pt x="176" y="64"/>
                  </a:lnTo>
                  <a:lnTo>
                    <a:pt x="174" y="55"/>
                  </a:lnTo>
                  <a:lnTo>
                    <a:pt x="170" y="48"/>
                  </a:lnTo>
                  <a:lnTo>
                    <a:pt x="166" y="40"/>
                  </a:lnTo>
                  <a:lnTo>
                    <a:pt x="160" y="33"/>
                  </a:lnTo>
                  <a:lnTo>
                    <a:pt x="154" y="26"/>
                  </a:lnTo>
                  <a:lnTo>
                    <a:pt x="147" y="20"/>
                  </a:lnTo>
                  <a:lnTo>
                    <a:pt x="141" y="16"/>
                  </a:lnTo>
                  <a:lnTo>
                    <a:pt x="133" y="10"/>
                  </a:lnTo>
                  <a:lnTo>
                    <a:pt x="125" y="7"/>
                  </a:lnTo>
                  <a:lnTo>
                    <a:pt x="116" y="4"/>
                  </a:lnTo>
                  <a:lnTo>
                    <a:pt x="109" y="2"/>
                  </a:lnTo>
                  <a:lnTo>
                    <a:pt x="99" y="1"/>
                  </a:lnTo>
                  <a:lnTo>
                    <a:pt x="90" y="0"/>
                  </a:lnTo>
                  <a:lnTo>
                    <a:pt x="90" y="0"/>
                  </a:lnTo>
                  <a:close/>
                </a:path>
              </a:pathLst>
            </a:custGeom>
            <a:gradFill>
              <a:gsLst>
                <a:gs pos="1000">
                  <a:schemeClr val="tx2">
                    <a:alpha val="85000"/>
                  </a:schemeClr>
                </a:gs>
                <a:gs pos="100000">
                  <a:schemeClr val="accent4">
                    <a:lumMod val="75000"/>
                    <a:alpha val="85000"/>
                  </a:schemeClr>
                </a:gs>
              </a:gsLst>
              <a:lin ang="5400000" scaled="1"/>
            </a:gradFill>
            <a:ln>
              <a:solidFill>
                <a:schemeClr val="bg1">
                  <a:lumMod val="50000"/>
                </a:schemeClr>
              </a:solid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endParaRPr>
            </a:p>
          </p:txBody>
        </p:sp>
        <p:sp>
          <p:nvSpPr>
            <p:cNvPr id="44" name="Freeform 63"/>
            <p:cNvSpPr>
              <a:spLocks noEditPoints="1"/>
            </p:cNvSpPr>
            <p:nvPr/>
          </p:nvSpPr>
          <p:spPr bwMode="auto">
            <a:xfrm>
              <a:off x="5002213" y="838200"/>
              <a:ext cx="49213" cy="49213"/>
            </a:xfrm>
            <a:custGeom>
              <a:avLst/>
              <a:gdLst>
                <a:gd name="T0" fmla="*/ 100 w 151"/>
                <a:gd name="T1" fmla="*/ 113 h 151"/>
                <a:gd name="T2" fmla="*/ 84 w 151"/>
                <a:gd name="T3" fmla="*/ 120 h 151"/>
                <a:gd name="T4" fmla="*/ 67 w 151"/>
                <a:gd name="T5" fmla="*/ 120 h 151"/>
                <a:gd name="T6" fmla="*/ 51 w 151"/>
                <a:gd name="T7" fmla="*/ 113 h 151"/>
                <a:gd name="T8" fmla="*/ 38 w 151"/>
                <a:gd name="T9" fmla="*/ 100 h 151"/>
                <a:gd name="T10" fmla="*/ 32 w 151"/>
                <a:gd name="T11" fmla="*/ 84 h 151"/>
                <a:gd name="T12" fmla="*/ 32 w 151"/>
                <a:gd name="T13" fmla="*/ 67 h 151"/>
                <a:gd name="T14" fmla="*/ 38 w 151"/>
                <a:gd name="T15" fmla="*/ 51 h 151"/>
                <a:gd name="T16" fmla="*/ 51 w 151"/>
                <a:gd name="T17" fmla="*/ 38 h 151"/>
                <a:gd name="T18" fmla="*/ 67 w 151"/>
                <a:gd name="T19" fmla="*/ 32 h 151"/>
                <a:gd name="T20" fmla="*/ 84 w 151"/>
                <a:gd name="T21" fmla="*/ 32 h 151"/>
                <a:gd name="T22" fmla="*/ 100 w 151"/>
                <a:gd name="T23" fmla="*/ 38 h 151"/>
                <a:gd name="T24" fmla="*/ 113 w 151"/>
                <a:gd name="T25" fmla="*/ 51 h 151"/>
                <a:gd name="T26" fmla="*/ 120 w 151"/>
                <a:gd name="T27" fmla="*/ 67 h 151"/>
                <a:gd name="T28" fmla="*/ 120 w 151"/>
                <a:gd name="T29" fmla="*/ 84 h 151"/>
                <a:gd name="T30" fmla="*/ 113 w 151"/>
                <a:gd name="T31" fmla="*/ 100 h 151"/>
                <a:gd name="T32" fmla="*/ 76 w 151"/>
                <a:gd name="T33" fmla="*/ 0 h 151"/>
                <a:gd name="T34" fmla="*/ 61 w 151"/>
                <a:gd name="T35" fmla="*/ 1 h 151"/>
                <a:gd name="T36" fmla="*/ 47 w 151"/>
                <a:gd name="T37" fmla="*/ 6 h 151"/>
                <a:gd name="T38" fmla="*/ 34 w 151"/>
                <a:gd name="T39" fmla="*/ 13 h 151"/>
                <a:gd name="T40" fmla="*/ 22 w 151"/>
                <a:gd name="T41" fmla="*/ 22 h 151"/>
                <a:gd name="T42" fmla="*/ 13 w 151"/>
                <a:gd name="T43" fmla="*/ 34 h 151"/>
                <a:gd name="T44" fmla="*/ 6 w 151"/>
                <a:gd name="T45" fmla="*/ 47 h 151"/>
                <a:gd name="T46" fmla="*/ 1 w 151"/>
                <a:gd name="T47" fmla="*/ 61 h 151"/>
                <a:gd name="T48" fmla="*/ 0 w 151"/>
                <a:gd name="T49" fmla="*/ 76 h 151"/>
                <a:gd name="T50" fmla="*/ 1 w 151"/>
                <a:gd name="T51" fmla="*/ 91 h 151"/>
                <a:gd name="T52" fmla="*/ 6 w 151"/>
                <a:gd name="T53" fmla="*/ 105 h 151"/>
                <a:gd name="T54" fmla="*/ 13 w 151"/>
                <a:gd name="T55" fmla="*/ 118 h 151"/>
                <a:gd name="T56" fmla="*/ 22 w 151"/>
                <a:gd name="T57" fmla="*/ 129 h 151"/>
                <a:gd name="T58" fmla="*/ 34 w 151"/>
                <a:gd name="T59" fmla="*/ 138 h 151"/>
                <a:gd name="T60" fmla="*/ 47 w 151"/>
                <a:gd name="T61" fmla="*/ 146 h 151"/>
                <a:gd name="T62" fmla="*/ 61 w 151"/>
                <a:gd name="T63" fmla="*/ 150 h 151"/>
                <a:gd name="T64" fmla="*/ 76 w 151"/>
                <a:gd name="T65" fmla="*/ 151 h 151"/>
                <a:gd name="T66" fmla="*/ 91 w 151"/>
                <a:gd name="T67" fmla="*/ 150 h 151"/>
                <a:gd name="T68" fmla="*/ 105 w 151"/>
                <a:gd name="T69" fmla="*/ 146 h 151"/>
                <a:gd name="T70" fmla="*/ 118 w 151"/>
                <a:gd name="T71" fmla="*/ 138 h 151"/>
                <a:gd name="T72" fmla="*/ 128 w 151"/>
                <a:gd name="T73" fmla="*/ 129 h 151"/>
                <a:gd name="T74" fmla="*/ 138 w 151"/>
                <a:gd name="T75" fmla="*/ 118 h 151"/>
                <a:gd name="T76" fmla="*/ 146 w 151"/>
                <a:gd name="T77" fmla="*/ 105 h 151"/>
                <a:gd name="T78" fmla="*/ 150 w 151"/>
                <a:gd name="T79" fmla="*/ 91 h 151"/>
                <a:gd name="T80" fmla="*/ 151 w 151"/>
                <a:gd name="T81" fmla="*/ 76 h 151"/>
                <a:gd name="T82" fmla="*/ 150 w 151"/>
                <a:gd name="T83" fmla="*/ 61 h 151"/>
                <a:gd name="T84" fmla="*/ 146 w 151"/>
                <a:gd name="T85" fmla="*/ 47 h 151"/>
                <a:gd name="T86" fmla="*/ 138 w 151"/>
                <a:gd name="T87" fmla="*/ 34 h 151"/>
                <a:gd name="T88" fmla="*/ 128 w 151"/>
                <a:gd name="T89" fmla="*/ 23 h 151"/>
                <a:gd name="T90" fmla="*/ 118 w 151"/>
                <a:gd name="T91" fmla="*/ 13 h 151"/>
                <a:gd name="T92" fmla="*/ 105 w 151"/>
                <a:gd name="T93" fmla="*/ 6 h 151"/>
                <a:gd name="T94" fmla="*/ 91 w 151"/>
                <a:gd name="T95" fmla="*/ 1 h 151"/>
                <a:gd name="T96" fmla="*/ 76 w 151"/>
                <a:gd name="T97"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1" h="151">
                  <a:moveTo>
                    <a:pt x="108" y="108"/>
                  </a:moveTo>
                  <a:lnTo>
                    <a:pt x="100" y="113"/>
                  </a:lnTo>
                  <a:lnTo>
                    <a:pt x="93" y="118"/>
                  </a:lnTo>
                  <a:lnTo>
                    <a:pt x="84" y="120"/>
                  </a:lnTo>
                  <a:lnTo>
                    <a:pt x="76" y="121"/>
                  </a:lnTo>
                  <a:lnTo>
                    <a:pt x="67" y="120"/>
                  </a:lnTo>
                  <a:lnTo>
                    <a:pt x="58" y="118"/>
                  </a:lnTo>
                  <a:lnTo>
                    <a:pt x="51" y="113"/>
                  </a:lnTo>
                  <a:lnTo>
                    <a:pt x="43" y="108"/>
                  </a:lnTo>
                  <a:lnTo>
                    <a:pt x="38" y="100"/>
                  </a:lnTo>
                  <a:lnTo>
                    <a:pt x="34" y="93"/>
                  </a:lnTo>
                  <a:lnTo>
                    <a:pt x="32" y="84"/>
                  </a:lnTo>
                  <a:lnTo>
                    <a:pt x="30" y="76"/>
                  </a:lnTo>
                  <a:lnTo>
                    <a:pt x="32" y="67"/>
                  </a:lnTo>
                  <a:lnTo>
                    <a:pt x="34" y="58"/>
                  </a:lnTo>
                  <a:lnTo>
                    <a:pt x="38" y="51"/>
                  </a:lnTo>
                  <a:lnTo>
                    <a:pt x="43" y="43"/>
                  </a:lnTo>
                  <a:lnTo>
                    <a:pt x="51" y="38"/>
                  </a:lnTo>
                  <a:lnTo>
                    <a:pt x="58" y="34"/>
                  </a:lnTo>
                  <a:lnTo>
                    <a:pt x="67" y="32"/>
                  </a:lnTo>
                  <a:lnTo>
                    <a:pt x="76" y="31"/>
                  </a:lnTo>
                  <a:lnTo>
                    <a:pt x="84" y="32"/>
                  </a:lnTo>
                  <a:lnTo>
                    <a:pt x="93" y="34"/>
                  </a:lnTo>
                  <a:lnTo>
                    <a:pt x="100" y="38"/>
                  </a:lnTo>
                  <a:lnTo>
                    <a:pt x="108" y="43"/>
                  </a:lnTo>
                  <a:lnTo>
                    <a:pt x="113" y="51"/>
                  </a:lnTo>
                  <a:lnTo>
                    <a:pt x="118" y="58"/>
                  </a:lnTo>
                  <a:lnTo>
                    <a:pt x="120" y="67"/>
                  </a:lnTo>
                  <a:lnTo>
                    <a:pt x="121" y="76"/>
                  </a:lnTo>
                  <a:lnTo>
                    <a:pt x="120" y="84"/>
                  </a:lnTo>
                  <a:lnTo>
                    <a:pt x="118" y="93"/>
                  </a:lnTo>
                  <a:lnTo>
                    <a:pt x="113" y="100"/>
                  </a:lnTo>
                  <a:lnTo>
                    <a:pt x="108" y="108"/>
                  </a:lnTo>
                  <a:close/>
                  <a:moveTo>
                    <a:pt x="76" y="0"/>
                  </a:moveTo>
                  <a:lnTo>
                    <a:pt x="68" y="0"/>
                  </a:lnTo>
                  <a:lnTo>
                    <a:pt x="61" y="1"/>
                  </a:lnTo>
                  <a:lnTo>
                    <a:pt x="53" y="4"/>
                  </a:lnTo>
                  <a:lnTo>
                    <a:pt x="47" y="6"/>
                  </a:lnTo>
                  <a:lnTo>
                    <a:pt x="40" y="9"/>
                  </a:lnTo>
                  <a:lnTo>
                    <a:pt x="34" y="13"/>
                  </a:lnTo>
                  <a:lnTo>
                    <a:pt x="27" y="18"/>
                  </a:lnTo>
                  <a:lnTo>
                    <a:pt x="22" y="22"/>
                  </a:lnTo>
                  <a:lnTo>
                    <a:pt x="18" y="28"/>
                  </a:lnTo>
                  <a:lnTo>
                    <a:pt x="13" y="34"/>
                  </a:lnTo>
                  <a:lnTo>
                    <a:pt x="9" y="40"/>
                  </a:lnTo>
                  <a:lnTo>
                    <a:pt x="6" y="47"/>
                  </a:lnTo>
                  <a:lnTo>
                    <a:pt x="4" y="54"/>
                  </a:lnTo>
                  <a:lnTo>
                    <a:pt x="1" y="61"/>
                  </a:lnTo>
                  <a:lnTo>
                    <a:pt x="0" y="68"/>
                  </a:lnTo>
                  <a:lnTo>
                    <a:pt x="0" y="76"/>
                  </a:lnTo>
                  <a:lnTo>
                    <a:pt x="0" y="83"/>
                  </a:lnTo>
                  <a:lnTo>
                    <a:pt x="1" y="91"/>
                  </a:lnTo>
                  <a:lnTo>
                    <a:pt x="4" y="97"/>
                  </a:lnTo>
                  <a:lnTo>
                    <a:pt x="6" y="105"/>
                  </a:lnTo>
                  <a:lnTo>
                    <a:pt x="9" y="111"/>
                  </a:lnTo>
                  <a:lnTo>
                    <a:pt x="13" y="118"/>
                  </a:lnTo>
                  <a:lnTo>
                    <a:pt x="18" y="123"/>
                  </a:lnTo>
                  <a:lnTo>
                    <a:pt x="22" y="129"/>
                  </a:lnTo>
                  <a:lnTo>
                    <a:pt x="27" y="134"/>
                  </a:lnTo>
                  <a:lnTo>
                    <a:pt x="34" y="138"/>
                  </a:lnTo>
                  <a:lnTo>
                    <a:pt x="40" y="142"/>
                  </a:lnTo>
                  <a:lnTo>
                    <a:pt x="47" y="146"/>
                  </a:lnTo>
                  <a:lnTo>
                    <a:pt x="53" y="148"/>
                  </a:lnTo>
                  <a:lnTo>
                    <a:pt x="61" y="150"/>
                  </a:lnTo>
                  <a:lnTo>
                    <a:pt x="68" y="151"/>
                  </a:lnTo>
                  <a:lnTo>
                    <a:pt x="76" y="151"/>
                  </a:lnTo>
                  <a:lnTo>
                    <a:pt x="83" y="151"/>
                  </a:lnTo>
                  <a:lnTo>
                    <a:pt x="91" y="150"/>
                  </a:lnTo>
                  <a:lnTo>
                    <a:pt x="97" y="148"/>
                  </a:lnTo>
                  <a:lnTo>
                    <a:pt x="105" y="146"/>
                  </a:lnTo>
                  <a:lnTo>
                    <a:pt x="111" y="142"/>
                  </a:lnTo>
                  <a:lnTo>
                    <a:pt x="118" y="138"/>
                  </a:lnTo>
                  <a:lnTo>
                    <a:pt x="123" y="134"/>
                  </a:lnTo>
                  <a:lnTo>
                    <a:pt x="128" y="129"/>
                  </a:lnTo>
                  <a:lnTo>
                    <a:pt x="134" y="123"/>
                  </a:lnTo>
                  <a:lnTo>
                    <a:pt x="138" y="118"/>
                  </a:lnTo>
                  <a:lnTo>
                    <a:pt x="142" y="111"/>
                  </a:lnTo>
                  <a:lnTo>
                    <a:pt x="146" y="105"/>
                  </a:lnTo>
                  <a:lnTo>
                    <a:pt x="148" y="98"/>
                  </a:lnTo>
                  <a:lnTo>
                    <a:pt x="150" y="91"/>
                  </a:lnTo>
                  <a:lnTo>
                    <a:pt x="151" y="83"/>
                  </a:lnTo>
                  <a:lnTo>
                    <a:pt x="151" y="76"/>
                  </a:lnTo>
                  <a:lnTo>
                    <a:pt x="151" y="68"/>
                  </a:lnTo>
                  <a:lnTo>
                    <a:pt x="150" y="61"/>
                  </a:lnTo>
                  <a:lnTo>
                    <a:pt x="148" y="54"/>
                  </a:lnTo>
                  <a:lnTo>
                    <a:pt x="146" y="47"/>
                  </a:lnTo>
                  <a:lnTo>
                    <a:pt x="142" y="40"/>
                  </a:lnTo>
                  <a:lnTo>
                    <a:pt x="138" y="34"/>
                  </a:lnTo>
                  <a:lnTo>
                    <a:pt x="134" y="28"/>
                  </a:lnTo>
                  <a:lnTo>
                    <a:pt x="128" y="23"/>
                  </a:lnTo>
                  <a:lnTo>
                    <a:pt x="123" y="18"/>
                  </a:lnTo>
                  <a:lnTo>
                    <a:pt x="118" y="13"/>
                  </a:lnTo>
                  <a:lnTo>
                    <a:pt x="111" y="9"/>
                  </a:lnTo>
                  <a:lnTo>
                    <a:pt x="105" y="6"/>
                  </a:lnTo>
                  <a:lnTo>
                    <a:pt x="97" y="4"/>
                  </a:lnTo>
                  <a:lnTo>
                    <a:pt x="91" y="1"/>
                  </a:lnTo>
                  <a:lnTo>
                    <a:pt x="83" y="0"/>
                  </a:lnTo>
                  <a:lnTo>
                    <a:pt x="76" y="0"/>
                  </a:lnTo>
                  <a:lnTo>
                    <a:pt x="76" y="0"/>
                  </a:lnTo>
                  <a:close/>
                </a:path>
              </a:pathLst>
            </a:custGeom>
            <a:gradFill>
              <a:gsLst>
                <a:gs pos="1000">
                  <a:schemeClr val="tx2">
                    <a:alpha val="85000"/>
                  </a:schemeClr>
                </a:gs>
                <a:gs pos="100000">
                  <a:schemeClr val="accent4">
                    <a:lumMod val="75000"/>
                    <a:alpha val="85000"/>
                  </a:schemeClr>
                </a:gs>
              </a:gsLst>
              <a:lin ang="5400000" scaled="1"/>
            </a:gradFill>
            <a:ln>
              <a:solidFill>
                <a:schemeClr val="bg1">
                  <a:lumMod val="50000"/>
                </a:schemeClr>
              </a:solid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endParaRPr>
            </a:p>
          </p:txBody>
        </p:sp>
      </p:grpSp>
      <p:pic>
        <p:nvPicPr>
          <p:cNvPr id="45" name="Picture Placeholder 4"/>
          <p:cNvPicPr>
            <a:picLocks noChangeAspect="1"/>
          </p:cNvPicPr>
          <p:nvPr userDrawn="1"/>
        </p:nvPicPr>
        <p:blipFill rotWithShape="1">
          <a:blip r:embed="rId2" cstate="print">
            <a:duotone>
              <a:prstClr val="black"/>
              <a:schemeClr val="accent3">
                <a:tint val="45000"/>
                <a:satMod val="400000"/>
              </a:schemeClr>
            </a:duotone>
            <a:extLst>
              <a:ext uri="{28A0092B-C50C-407E-A947-70E740481C1C}">
                <a14:useLocalDpi xmlns:a14="http://schemas.microsoft.com/office/drawing/2010/main" val="0"/>
              </a:ext>
            </a:extLst>
          </a:blip>
          <a:srcRect l="13211" t="11186" r="32913" b="8516"/>
          <a:stretch/>
        </p:blipFill>
        <p:spPr>
          <a:xfrm>
            <a:off x="5143500" y="3330457"/>
            <a:ext cx="1993343" cy="1980775"/>
          </a:xfrm>
          <a:prstGeom prst="rect">
            <a:avLst/>
          </a:prstGeom>
        </p:spPr>
      </p:pic>
      <p:sp>
        <p:nvSpPr>
          <p:cNvPr id="48" name="Text Placeholder 73"/>
          <p:cNvSpPr>
            <a:spLocks noGrp="1"/>
          </p:cNvSpPr>
          <p:nvPr>
            <p:ph type="body" sz="quarter" idx="12" hasCustomPrompt="1"/>
          </p:nvPr>
        </p:nvSpPr>
        <p:spPr>
          <a:xfrm>
            <a:off x="306746" y="3061595"/>
            <a:ext cx="3188511" cy="1120837"/>
          </a:xfrm>
        </p:spPr>
        <p:txBody>
          <a:bodyPr>
            <a:noAutofit/>
          </a:bodyPr>
          <a:lstStyle>
            <a:lvl1pPr marL="0" indent="0" algn="r">
              <a:buNone/>
              <a:defRPr sz="1400" baseline="0">
                <a:solidFill>
                  <a:schemeClr val="tx1">
                    <a:lumMod val="65000"/>
                    <a:lumOff val="35000"/>
                  </a:schemeClr>
                </a:solidFill>
              </a:defRPr>
            </a:lvl1pPr>
          </a:lstStyle>
          <a:p>
            <a:pPr lvl="0"/>
            <a:r>
              <a:rPr lang="en-US" dirty="0" smtClean="0"/>
              <a:t>Lorem Ipsum is simply dummy text of the printing and typesetting industry.  Lorem Ipsum has been the industry’s standard dummy text ever since the 1500s.  </a:t>
            </a:r>
            <a:endParaRPr lang="en-US" dirty="0"/>
          </a:p>
        </p:txBody>
      </p:sp>
      <p:sp>
        <p:nvSpPr>
          <p:cNvPr id="49" name="Text Placeholder 73"/>
          <p:cNvSpPr>
            <a:spLocks noGrp="1"/>
          </p:cNvSpPr>
          <p:nvPr>
            <p:ph type="body" sz="quarter" idx="13" hasCustomPrompt="1"/>
          </p:nvPr>
        </p:nvSpPr>
        <p:spPr>
          <a:xfrm>
            <a:off x="306746" y="4806891"/>
            <a:ext cx="3188511" cy="1120837"/>
          </a:xfrm>
        </p:spPr>
        <p:txBody>
          <a:bodyPr>
            <a:noAutofit/>
          </a:bodyPr>
          <a:lstStyle>
            <a:lvl1pPr marL="0" indent="0" algn="r">
              <a:buNone/>
              <a:defRPr sz="1400" baseline="0">
                <a:solidFill>
                  <a:schemeClr val="tx1">
                    <a:lumMod val="65000"/>
                    <a:lumOff val="35000"/>
                  </a:schemeClr>
                </a:solidFill>
              </a:defRPr>
            </a:lvl1pPr>
          </a:lstStyle>
          <a:p>
            <a:pPr lvl="0"/>
            <a:r>
              <a:rPr lang="en-US" dirty="0" smtClean="0"/>
              <a:t>Lorem Ipsum is simply dummy text of the printing and typesetting industry.  Lorem Ipsum has been the industry’s standard dummy text ever since the 1500s.  </a:t>
            </a:r>
            <a:endParaRPr lang="en-US" dirty="0"/>
          </a:p>
        </p:txBody>
      </p:sp>
      <p:sp>
        <p:nvSpPr>
          <p:cNvPr id="50" name="Text Placeholder 73"/>
          <p:cNvSpPr>
            <a:spLocks noGrp="1"/>
          </p:cNvSpPr>
          <p:nvPr>
            <p:ph type="body" sz="quarter" idx="14" hasCustomPrompt="1"/>
          </p:nvPr>
        </p:nvSpPr>
        <p:spPr>
          <a:xfrm>
            <a:off x="8811278" y="3061594"/>
            <a:ext cx="3188511" cy="1120837"/>
          </a:xfrm>
        </p:spPr>
        <p:txBody>
          <a:bodyPr>
            <a:noAutofit/>
          </a:bodyPr>
          <a:lstStyle>
            <a:lvl1pPr marL="0" indent="0" algn="l">
              <a:buNone/>
              <a:defRPr sz="1400" baseline="0">
                <a:solidFill>
                  <a:schemeClr val="tx1">
                    <a:lumMod val="65000"/>
                    <a:lumOff val="35000"/>
                  </a:schemeClr>
                </a:solidFill>
              </a:defRPr>
            </a:lvl1pPr>
          </a:lstStyle>
          <a:p>
            <a:pPr lvl="0"/>
            <a:r>
              <a:rPr lang="en-US" dirty="0" smtClean="0"/>
              <a:t>Lorem Ipsum is simply dummy text of the printing and typesetting industry.  Lorem Ipsum has been the industry’s standard dummy text ever since the 1500s.  </a:t>
            </a:r>
            <a:endParaRPr lang="en-US" dirty="0"/>
          </a:p>
        </p:txBody>
      </p:sp>
      <p:sp>
        <p:nvSpPr>
          <p:cNvPr id="51" name="Text Placeholder 73"/>
          <p:cNvSpPr>
            <a:spLocks noGrp="1"/>
          </p:cNvSpPr>
          <p:nvPr>
            <p:ph type="body" sz="quarter" idx="15" hasCustomPrompt="1"/>
          </p:nvPr>
        </p:nvSpPr>
        <p:spPr>
          <a:xfrm>
            <a:off x="8809174" y="4806890"/>
            <a:ext cx="3188511" cy="1120837"/>
          </a:xfrm>
        </p:spPr>
        <p:txBody>
          <a:bodyPr>
            <a:noAutofit/>
          </a:bodyPr>
          <a:lstStyle>
            <a:lvl1pPr marL="0" indent="0" algn="l">
              <a:buNone/>
              <a:defRPr sz="1400" baseline="0">
                <a:solidFill>
                  <a:schemeClr val="tx1">
                    <a:lumMod val="65000"/>
                    <a:lumOff val="35000"/>
                  </a:schemeClr>
                </a:solidFill>
              </a:defRPr>
            </a:lvl1pPr>
          </a:lstStyle>
          <a:p>
            <a:pPr lvl="0"/>
            <a:r>
              <a:rPr lang="en-US" dirty="0" smtClean="0"/>
              <a:t>Lorem Ipsum is simply dummy text of the printing and typesetting industry.  Lorem Ipsum has been the industry’s standard dummy text ever since the 1500s.  </a:t>
            </a:r>
            <a:endParaRPr lang="en-US" dirty="0"/>
          </a:p>
        </p:txBody>
      </p:sp>
      <p:sp>
        <p:nvSpPr>
          <p:cNvPr id="52" name="Rectangle 51"/>
          <p:cNvSpPr/>
          <p:nvPr userDrawn="1"/>
        </p:nvSpPr>
        <p:spPr>
          <a:xfrm>
            <a:off x="0" y="0"/>
            <a:ext cx="12192000" cy="2514600"/>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 name="Text Placeholder 53"/>
          <p:cNvSpPr>
            <a:spLocks noGrp="1"/>
          </p:cNvSpPr>
          <p:nvPr>
            <p:ph type="body" sz="quarter" idx="16" hasCustomPrompt="1"/>
          </p:nvPr>
        </p:nvSpPr>
        <p:spPr>
          <a:xfrm>
            <a:off x="1514475" y="809625"/>
            <a:ext cx="9267825" cy="934814"/>
          </a:xfrm>
        </p:spPr>
        <p:txBody>
          <a:bodyPr>
            <a:normAutofit/>
          </a:bodyPr>
          <a:lstStyle>
            <a:lvl1pPr marL="0" indent="0" algn="ctr">
              <a:buNone/>
              <a:defRPr sz="6000" baseline="0">
                <a:solidFill>
                  <a:schemeClr val="accent2">
                    <a:lumMod val="50000"/>
                  </a:schemeClr>
                </a:solidFill>
              </a:defRPr>
            </a:lvl1pPr>
          </a:lstStyle>
          <a:p>
            <a:pPr lvl="0"/>
            <a:r>
              <a:rPr lang="en-US" dirty="0" smtClean="0"/>
              <a:t>Title or Keywords</a:t>
            </a:r>
            <a:endParaRPr lang="en-US" dirty="0"/>
          </a:p>
        </p:txBody>
      </p:sp>
    </p:spTree>
    <p:extLst>
      <p:ext uri="{BB962C8B-B14F-4D97-AF65-F5344CB8AC3E}">
        <p14:creationId xmlns:p14="http://schemas.microsoft.com/office/powerpoint/2010/main" val="2245412502"/>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hart content 1">
    <p:spTree>
      <p:nvGrpSpPr>
        <p:cNvPr id="1" name=""/>
        <p:cNvGrpSpPr/>
        <p:nvPr/>
      </p:nvGrpSpPr>
      <p:grpSpPr>
        <a:xfrm>
          <a:off x="0" y="0"/>
          <a:ext cx="0" cy="0"/>
          <a:chOff x="0" y="0"/>
          <a:chExt cx="0" cy="0"/>
        </a:xfrm>
      </p:grpSpPr>
      <p:grpSp>
        <p:nvGrpSpPr>
          <p:cNvPr id="5" name="Group 4"/>
          <p:cNvGrpSpPr/>
          <p:nvPr/>
        </p:nvGrpSpPr>
        <p:grpSpPr>
          <a:xfrm>
            <a:off x="442752" y="1209034"/>
            <a:ext cx="5248774" cy="5074871"/>
            <a:chOff x="453703" y="1705587"/>
            <a:chExt cx="4771784" cy="4756085"/>
          </a:xfrm>
        </p:grpSpPr>
        <p:grpSp>
          <p:nvGrpSpPr>
            <p:cNvPr id="6" name="Group 5"/>
            <p:cNvGrpSpPr/>
            <p:nvPr/>
          </p:nvGrpSpPr>
          <p:grpSpPr>
            <a:xfrm>
              <a:off x="453703" y="1705587"/>
              <a:ext cx="4233609" cy="4756085"/>
              <a:chOff x="453703" y="1705587"/>
              <a:chExt cx="4233609" cy="4756085"/>
            </a:xfrm>
          </p:grpSpPr>
          <p:sp>
            <p:nvSpPr>
              <p:cNvPr id="15" name="Oval 16"/>
              <p:cNvSpPr>
                <a:spLocks noChangeArrowheads="1"/>
              </p:cNvSpPr>
              <p:nvPr/>
            </p:nvSpPr>
            <p:spPr bwMode="auto">
              <a:xfrm>
                <a:off x="453703" y="2397102"/>
                <a:ext cx="3686160" cy="3686158"/>
              </a:xfrm>
              <a:prstGeom prst="ellipse">
                <a:avLst/>
              </a:prstGeom>
              <a:solidFill>
                <a:schemeClr val="bg1">
                  <a:lumMod val="95000"/>
                </a:schemeClr>
              </a:solidFill>
              <a:ln w="317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6" name="Freeform 23"/>
              <p:cNvSpPr>
                <a:spLocks/>
              </p:cNvSpPr>
              <p:nvPr/>
            </p:nvSpPr>
            <p:spPr bwMode="auto">
              <a:xfrm>
                <a:off x="2255484" y="4923052"/>
                <a:ext cx="1411844" cy="1538620"/>
              </a:xfrm>
              <a:custGeom>
                <a:avLst/>
                <a:gdLst>
                  <a:gd name="T0" fmla="*/ 0 w 310"/>
                  <a:gd name="T1" fmla="*/ 28 h 338"/>
                  <a:gd name="T2" fmla="*/ 1 w 310"/>
                  <a:gd name="T3" fmla="*/ 328 h 338"/>
                  <a:gd name="T4" fmla="*/ 310 w 310"/>
                  <a:gd name="T5" fmla="*/ 215 h 338"/>
                  <a:gd name="T6" fmla="*/ 273 w 310"/>
                  <a:gd name="T7" fmla="*/ 96 h 338"/>
                  <a:gd name="T8" fmla="*/ 175 w 310"/>
                  <a:gd name="T9" fmla="*/ 20 h 338"/>
                  <a:gd name="T10" fmla="*/ 105 w 310"/>
                  <a:gd name="T11" fmla="*/ 0 h 338"/>
                  <a:gd name="T12" fmla="*/ 0 w 310"/>
                  <a:gd name="T13" fmla="*/ 28 h 338"/>
                </a:gdLst>
                <a:ahLst/>
                <a:cxnLst>
                  <a:cxn ang="0">
                    <a:pos x="T0" y="T1"/>
                  </a:cxn>
                  <a:cxn ang="0">
                    <a:pos x="T2" y="T3"/>
                  </a:cxn>
                  <a:cxn ang="0">
                    <a:pos x="T4" y="T5"/>
                  </a:cxn>
                  <a:cxn ang="0">
                    <a:pos x="T6" y="T7"/>
                  </a:cxn>
                  <a:cxn ang="0">
                    <a:pos x="T8" y="T9"/>
                  </a:cxn>
                  <a:cxn ang="0">
                    <a:pos x="T10" y="T11"/>
                  </a:cxn>
                  <a:cxn ang="0">
                    <a:pos x="T12" y="T13"/>
                  </a:cxn>
                </a:cxnLst>
                <a:rect l="0" t="0" r="r" b="b"/>
                <a:pathLst>
                  <a:path w="310" h="338">
                    <a:moveTo>
                      <a:pt x="0" y="28"/>
                    </a:moveTo>
                    <a:cubicBezTo>
                      <a:pt x="1" y="328"/>
                      <a:pt x="1" y="328"/>
                      <a:pt x="1" y="328"/>
                    </a:cubicBezTo>
                    <a:cubicBezTo>
                      <a:pt x="1" y="328"/>
                      <a:pt x="174" y="338"/>
                      <a:pt x="310" y="215"/>
                    </a:cubicBezTo>
                    <a:cubicBezTo>
                      <a:pt x="273" y="96"/>
                      <a:pt x="273" y="96"/>
                      <a:pt x="273" y="96"/>
                    </a:cubicBezTo>
                    <a:cubicBezTo>
                      <a:pt x="175" y="20"/>
                      <a:pt x="175" y="20"/>
                      <a:pt x="175" y="20"/>
                    </a:cubicBezTo>
                    <a:cubicBezTo>
                      <a:pt x="105" y="0"/>
                      <a:pt x="105" y="0"/>
                      <a:pt x="105" y="0"/>
                    </a:cubicBezTo>
                    <a:lnTo>
                      <a:pt x="0" y="28"/>
                    </a:lnTo>
                    <a:close/>
                  </a:path>
                </a:pathLst>
              </a:custGeom>
              <a:solidFill>
                <a:schemeClr val="accent3"/>
              </a:solidFill>
              <a:ln w="3175" cap="flat">
                <a:noFill/>
                <a:prstDash val="solid"/>
                <a:miter lim="800000"/>
                <a:headEnd/>
                <a:tailEnd/>
              </a:ln>
              <a:effectLst>
                <a:outerShdw blurRad="50800" dist="38100" dir="10800000" algn="r" rotWithShape="0">
                  <a:prstClr val="black">
                    <a:alpha val="29000"/>
                  </a:prstClr>
                </a:outerShdw>
              </a:effectLst>
            </p:spPr>
            <p:txBody>
              <a:bodyPr vert="horz" wrap="square" lIns="91440" tIns="45720" rIns="91440" bIns="45720" numCol="1" anchor="t" anchorCtr="0" compatLnSpc="1">
                <a:prstTxWarp prst="textNoShape">
                  <a:avLst/>
                </a:prstTxWarp>
              </a:bodyPr>
              <a:lstStyle/>
              <a:p>
                <a:endParaRPr lang="en-US" dirty="0"/>
              </a:p>
            </p:txBody>
          </p:sp>
          <p:sp>
            <p:nvSpPr>
              <p:cNvPr id="17" name="Freeform 22"/>
              <p:cNvSpPr>
                <a:spLocks/>
              </p:cNvSpPr>
              <p:nvPr/>
            </p:nvSpPr>
            <p:spPr bwMode="auto">
              <a:xfrm>
                <a:off x="2733782" y="4248825"/>
                <a:ext cx="1811386" cy="1774888"/>
              </a:xfrm>
              <a:custGeom>
                <a:avLst/>
                <a:gdLst>
                  <a:gd name="T0" fmla="*/ 231 w 398"/>
                  <a:gd name="T1" fmla="*/ 390 h 390"/>
                  <a:gd name="T2" fmla="*/ 0 w 398"/>
                  <a:gd name="T3" fmla="*/ 148 h 390"/>
                  <a:gd name="T4" fmla="*/ 80 w 398"/>
                  <a:gd name="T5" fmla="*/ 28 h 390"/>
                  <a:gd name="T6" fmla="*/ 398 w 398"/>
                  <a:gd name="T7" fmla="*/ 0 h 390"/>
                  <a:gd name="T8" fmla="*/ 396 w 398"/>
                  <a:gd name="T9" fmla="*/ 27 h 390"/>
                  <a:gd name="T10" fmla="*/ 231 w 398"/>
                  <a:gd name="T11" fmla="*/ 390 h 390"/>
                </a:gdLst>
                <a:ahLst/>
                <a:cxnLst>
                  <a:cxn ang="0">
                    <a:pos x="T0" y="T1"/>
                  </a:cxn>
                  <a:cxn ang="0">
                    <a:pos x="T2" y="T3"/>
                  </a:cxn>
                  <a:cxn ang="0">
                    <a:pos x="T4" y="T5"/>
                  </a:cxn>
                  <a:cxn ang="0">
                    <a:pos x="T6" y="T7"/>
                  </a:cxn>
                  <a:cxn ang="0">
                    <a:pos x="T8" y="T9"/>
                  </a:cxn>
                  <a:cxn ang="0">
                    <a:pos x="T10" y="T11"/>
                  </a:cxn>
                </a:cxnLst>
                <a:rect l="0" t="0" r="r" b="b"/>
                <a:pathLst>
                  <a:path w="398" h="390">
                    <a:moveTo>
                      <a:pt x="231" y="390"/>
                    </a:moveTo>
                    <a:cubicBezTo>
                      <a:pt x="0" y="148"/>
                      <a:pt x="0" y="148"/>
                      <a:pt x="0" y="148"/>
                    </a:cubicBezTo>
                    <a:cubicBezTo>
                      <a:pt x="80" y="28"/>
                      <a:pt x="80" y="28"/>
                      <a:pt x="80" y="28"/>
                    </a:cubicBezTo>
                    <a:cubicBezTo>
                      <a:pt x="398" y="0"/>
                      <a:pt x="398" y="0"/>
                      <a:pt x="398" y="0"/>
                    </a:cubicBezTo>
                    <a:cubicBezTo>
                      <a:pt x="396" y="27"/>
                      <a:pt x="396" y="27"/>
                      <a:pt x="396" y="27"/>
                    </a:cubicBezTo>
                    <a:cubicBezTo>
                      <a:pt x="396" y="27"/>
                      <a:pt x="388" y="250"/>
                      <a:pt x="231" y="390"/>
                    </a:cubicBezTo>
                    <a:close/>
                  </a:path>
                </a:pathLst>
              </a:custGeom>
              <a:solidFill>
                <a:schemeClr val="tx2"/>
              </a:solidFill>
              <a:ln w="3175" cap="flat">
                <a:noFill/>
                <a:prstDash val="solid"/>
                <a:miter lim="800000"/>
                <a:headEnd/>
                <a:tailEnd/>
              </a:ln>
              <a:effectLst>
                <a:outerShdw blurRad="50800" dist="38100" dir="5400000" algn="ctr" rotWithShape="0">
                  <a:prstClr val="black">
                    <a:alpha val="29000"/>
                  </a:prstClr>
                </a:outerShdw>
              </a:effectLst>
            </p:spPr>
            <p:txBody>
              <a:bodyPr vert="horz" wrap="square" lIns="91440" tIns="45720" rIns="91440" bIns="45720" numCol="1" anchor="t" anchorCtr="0" compatLnSpc="1">
                <a:prstTxWarp prst="textNoShape">
                  <a:avLst/>
                </a:prstTxWarp>
              </a:bodyPr>
              <a:lstStyle/>
              <a:p>
                <a:endParaRPr lang="en-US" dirty="0"/>
              </a:p>
            </p:txBody>
          </p:sp>
          <p:sp>
            <p:nvSpPr>
              <p:cNvPr id="18" name="Freeform 21"/>
              <p:cNvSpPr>
                <a:spLocks/>
              </p:cNvSpPr>
              <p:nvPr/>
            </p:nvSpPr>
            <p:spPr bwMode="auto">
              <a:xfrm>
                <a:off x="2847114" y="2510433"/>
                <a:ext cx="1840198" cy="1867090"/>
              </a:xfrm>
              <a:custGeom>
                <a:avLst/>
                <a:gdLst>
                  <a:gd name="T0" fmla="*/ 403 w 404"/>
                  <a:gd name="T1" fmla="*/ 409 h 410"/>
                  <a:gd name="T2" fmla="*/ 55 w 404"/>
                  <a:gd name="T3" fmla="*/ 410 h 410"/>
                  <a:gd name="T4" fmla="*/ 0 w 404"/>
                  <a:gd name="T5" fmla="*/ 256 h 410"/>
                  <a:gd name="T6" fmla="*/ 222 w 404"/>
                  <a:gd name="T7" fmla="*/ 0 h 410"/>
                  <a:gd name="T8" fmla="*/ 244 w 404"/>
                  <a:gd name="T9" fmla="*/ 17 h 410"/>
                  <a:gd name="T10" fmla="*/ 403 w 404"/>
                  <a:gd name="T11" fmla="*/ 409 h 410"/>
                </a:gdLst>
                <a:ahLst/>
                <a:cxnLst>
                  <a:cxn ang="0">
                    <a:pos x="T0" y="T1"/>
                  </a:cxn>
                  <a:cxn ang="0">
                    <a:pos x="T2" y="T3"/>
                  </a:cxn>
                  <a:cxn ang="0">
                    <a:pos x="T4" y="T5"/>
                  </a:cxn>
                  <a:cxn ang="0">
                    <a:pos x="T6" y="T7"/>
                  </a:cxn>
                  <a:cxn ang="0">
                    <a:pos x="T8" y="T9"/>
                  </a:cxn>
                  <a:cxn ang="0">
                    <a:pos x="T10" y="T11"/>
                  </a:cxn>
                </a:cxnLst>
                <a:rect l="0" t="0" r="r" b="b"/>
                <a:pathLst>
                  <a:path w="404" h="410">
                    <a:moveTo>
                      <a:pt x="403" y="409"/>
                    </a:moveTo>
                    <a:cubicBezTo>
                      <a:pt x="55" y="410"/>
                      <a:pt x="55" y="410"/>
                      <a:pt x="55" y="410"/>
                    </a:cubicBezTo>
                    <a:cubicBezTo>
                      <a:pt x="0" y="256"/>
                      <a:pt x="0" y="256"/>
                      <a:pt x="0" y="256"/>
                    </a:cubicBezTo>
                    <a:cubicBezTo>
                      <a:pt x="222" y="0"/>
                      <a:pt x="222" y="0"/>
                      <a:pt x="222" y="0"/>
                    </a:cubicBezTo>
                    <a:cubicBezTo>
                      <a:pt x="244" y="17"/>
                      <a:pt x="244" y="17"/>
                      <a:pt x="244" y="17"/>
                    </a:cubicBezTo>
                    <a:cubicBezTo>
                      <a:pt x="244" y="17"/>
                      <a:pt x="404" y="167"/>
                      <a:pt x="403" y="409"/>
                    </a:cubicBezTo>
                    <a:close/>
                  </a:path>
                </a:pathLst>
              </a:custGeom>
              <a:solidFill>
                <a:schemeClr val="accent6">
                  <a:lumMod val="75000"/>
                </a:schemeClr>
              </a:solidFill>
              <a:ln w="3175" cap="flat">
                <a:noFill/>
                <a:prstDash val="solid"/>
                <a:miter lim="800000"/>
                <a:headEnd/>
                <a:tailEnd/>
              </a:ln>
              <a:effectLst>
                <a:outerShdw blurRad="50800" dist="38100" dir="5400000" algn="ctr" rotWithShape="0">
                  <a:prstClr val="black">
                    <a:alpha val="29000"/>
                  </a:prstClr>
                </a:outerShdw>
              </a:effectLst>
            </p:spPr>
            <p:txBody>
              <a:bodyPr vert="horz" wrap="square" lIns="91440" tIns="45720" rIns="91440" bIns="45720" numCol="1" anchor="t" anchorCtr="0" compatLnSpc="1">
                <a:prstTxWarp prst="textNoShape">
                  <a:avLst/>
                </a:prstTxWarp>
              </a:bodyPr>
              <a:lstStyle/>
              <a:p>
                <a:endParaRPr lang="en-US" dirty="0"/>
              </a:p>
            </p:txBody>
          </p:sp>
          <p:sp>
            <p:nvSpPr>
              <p:cNvPr id="19" name="Freeform 20"/>
              <p:cNvSpPr>
                <a:spLocks/>
              </p:cNvSpPr>
              <p:nvPr/>
            </p:nvSpPr>
            <p:spPr bwMode="auto">
              <a:xfrm>
                <a:off x="2082605" y="1705587"/>
                <a:ext cx="1957372" cy="1984263"/>
              </a:xfrm>
              <a:custGeom>
                <a:avLst/>
                <a:gdLst>
                  <a:gd name="T0" fmla="*/ 0 w 430"/>
                  <a:gd name="T1" fmla="*/ 6 h 436"/>
                  <a:gd name="T2" fmla="*/ 7 w 430"/>
                  <a:gd name="T3" fmla="*/ 383 h 436"/>
                  <a:gd name="T4" fmla="*/ 177 w 430"/>
                  <a:gd name="T5" fmla="*/ 436 h 436"/>
                  <a:gd name="T6" fmla="*/ 430 w 430"/>
                  <a:gd name="T7" fmla="*/ 175 h 436"/>
                  <a:gd name="T8" fmla="*/ 0 w 430"/>
                  <a:gd name="T9" fmla="*/ 6 h 436"/>
                </a:gdLst>
                <a:ahLst/>
                <a:cxnLst>
                  <a:cxn ang="0">
                    <a:pos x="T0" y="T1"/>
                  </a:cxn>
                  <a:cxn ang="0">
                    <a:pos x="T2" y="T3"/>
                  </a:cxn>
                  <a:cxn ang="0">
                    <a:pos x="T4" y="T5"/>
                  </a:cxn>
                  <a:cxn ang="0">
                    <a:pos x="T6" y="T7"/>
                  </a:cxn>
                  <a:cxn ang="0">
                    <a:pos x="T8" y="T9"/>
                  </a:cxn>
                </a:cxnLst>
                <a:rect l="0" t="0" r="r" b="b"/>
                <a:pathLst>
                  <a:path w="430" h="436">
                    <a:moveTo>
                      <a:pt x="0" y="6"/>
                    </a:moveTo>
                    <a:cubicBezTo>
                      <a:pt x="7" y="383"/>
                      <a:pt x="7" y="383"/>
                      <a:pt x="7" y="383"/>
                    </a:cubicBezTo>
                    <a:cubicBezTo>
                      <a:pt x="177" y="436"/>
                      <a:pt x="177" y="436"/>
                      <a:pt x="177" y="436"/>
                    </a:cubicBezTo>
                    <a:cubicBezTo>
                      <a:pt x="430" y="175"/>
                      <a:pt x="430" y="175"/>
                      <a:pt x="430" y="175"/>
                    </a:cubicBezTo>
                    <a:cubicBezTo>
                      <a:pt x="430" y="175"/>
                      <a:pt x="262" y="0"/>
                      <a:pt x="0" y="6"/>
                    </a:cubicBezTo>
                    <a:close/>
                  </a:path>
                </a:pathLst>
              </a:custGeom>
              <a:solidFill>
                <a:schemeClr val="accent1">
                  <a:lumMod val="50000"/>
                </a:schemeClr>
              </a:solidFill>
              <a:ln w="3175" cap="flat">
                <a:noFill/>
                <a:prstDash val="solid"/>
                <a:miter lim="800000"/>
                <a:headEnd/>
                <a:tailEnd/>
              </a:ln>
              <a:effectLst>
                <a:outerShdw blurRad="50800" dist="38100" dir="5400000" algn="ctr" rotWithShape="0">
                  <a:prstClr val="black">
                    <a:alpha val="29000"/>
                  </a:prstClr>
                </a:outerShdw>
              </a:effectLst>
            </p:spPr>
            <p:txBody>
              <a:bodyPr vert="horz" wrap="square" lIns="91440" tIns="45720" rIns="91440" bIns="45720" numCol="1" anchor="t" anchorCtr="0" compatLnSpc="1">
                <a:prstTxWarp prst="textNoShape">
                  <a:avLst/>
                </a:prstTxWarp>
              </a:bodyPr>
              <a:lstStyle/>
              <a:p>
                <a:endParaRPr lang="en-US" dirty="0"/>
              </a:p>
            </p:txBody>
          </p:sp>
          <p:grpSp>
            <p:nvGrpSpPr>
              <p:cNvPr id="20" name="Group 19"/>
              <p:cNvGrpSpPr/>
              <p:nvPr/>
            </p:nvGrpSpPr>
            <p:grpSpPr>
              <a:xfrm>
                <a:off x="1331544" y="3274941"/>
                <a:ext cx="1930480" cy="1930479"/>
                <a:chOff x="1497013" y="3295650"/>
                <a:chExt cx="1595438" cy="1595437"/>
              </a:xfrm>
            </p:grpSpPr>
            <p:sp>
              <p:nvSpPr>
                <p:cNvPr id="63" name="Oval 17"/>
                <p:cNvSpPr>
                  <a:spLocks noChangeArrowheads="1"/>
                </p:cNvSpPr>
                <p:nvPr/>
              </p:nvSpPr>
              <p:spPr bwMode="auto">
                <a:xfrm>
                  <a:off x="1497013" y="3295650"/>
                  <a:ext cx="1595438" cy="1595437"/>
                </a:xfrm>
                <a:prstGeom prst="ellipse">
                  <a:avLst/>
                </a:prstGeom>
                <a:solidFill>
                  <a:schemeClr val="bg1"/>
                </a:solidFill>
                <a:ln w="3175" cap="flat">
                  <a:noFill/>
                  <a:prstDash val="solid"/>
                  <a:miter lim="800000"/>
                  <a:headEnd/>
                  <a:tailEnd/>
                </a:ln>
                <a:effectLst>
                  <a:outerShdw blurRad="63500" sx="102000" sy="102000" algn="ctr"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US" dirty="0"/>
                </a:p>
              </p:txBody>
            </p:sp>
            <p:sp>
              <p:nvSpPr>
                <p:cNvPr id="64" name="Oval 19"/>
                <p:cNvSpPr>
                  <a:spLocks noChangeArrowheads="1"/>
                </p:cNvSpPr>
                <p:nvPr/>
              </p:nvSpPr>
              <p:spPr bwMode="auto">
                <a:xfrm>
                  <a:off x="1625600" y="3424238"/>
                  <a:ext cx="1338263" cy="1338262"/>
                </a:xfrm>
                <a:prstGeom prst="ellipse">
                  <a:avLst/>
                </a:prstGeom>
                <a:solidFill>
                  <a:schemeClr val="bg1">
                    <a:lumMod val="95000"/>
                  </a:schemeClr>
                </a:solidFill>
                <a:ln w="317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Oval 18"/>
                <p:cNvSpPr>
                  <a:spLocks noChangeArrowheads="1"/>
                </p:cNvSpPr>
                <p:nvPr/>
              </p:nvSpPr>
              <p:spPr bwMode="auto">
                <a:xfrm>
                  <a:off x="1839913" y="3638550"/>
                  <a:ext cx="909638" cy="909637"/>
                </a:xfrm>
                <a:prstGeom prst="ellipse">
                  <a:avLst/>
                </a:prstGeom>
                <a:solidFill>
                  <a:schemeClr val="bg1"/>
                </a:solidFill>
                <a:ln w="3175" cap="flat">
                  <a:noFill/>
                  <a:prstDash val="solid"/>
                  <a:miter lim="800000"/>
                  <a:headEnd/>
                  <a:tailEnd/>
                </a:ln>
                <a:effectLst>
                  <a:outerShdw blurRad="63500" sx="102000" sy="102000" algn="ctr" rotWithShape="0">
                    <a:prstClr val="black">
                      <a:alpha val="26000"/>
                    </a:prstClr>
                  </a:outerShdw>
                </a:effectLst>
              </p:spPr>
              <p:txBody>
                <a:bodyPr vert="horz" wrap="square" lIns="91440" tIns="45720" rIns="91440" bIns="45720" numCol="1" anchor="t" anchorCtr="0" compatLnSpc="1">
                  <a:prstTxWarp prst="textNoShape">
                    <a:avLst/>
                  </a:prstTxWarp>
                </a:bodyPr>
                <a:lstStyle/>
                <a:p>
                  <a:endParaRPr lang="en-US" dirty="0"/>
                </a:p>
              </p:txBody>
            </p:sp>
          </p:grpSp>
          <p:grpSp>
            <p:nvGrpSpPr>
              <p:cNvPr id="57" name="Group 56"/>
              <p:cNvGrpSpPr>
                <a:grpSpLocks noChangeAspect="1"/>
              </p:cNvGrpSpPr>
              <p:nvPr/>
            </p:nvGrpSpPr>
            <p:grpSpPr>
              <a:xfrm>
                <a:off x="2107671" y="3971217"/>
                <a:ext cx="378220" cy="316800"/>
                <a:chOff x="5472113" y="4895850"/>
                <a:chExt cx="371476" cy="311151"/>
              </a:xfrm>
              <a:solidFill>
                <a:schemeClr val="tx1">
                  <a:lumMod val="65000"/>
                  <a:lumOff val="35000"/>
                </a:schemeClr>
              </a:solidFill>
            </p:grpSpPr>
            <p:sp>
              <p:nvSpPr>
                <p:cNvPr id="58" name="Freeform 36"/>
                <p:cNvSpPr>
                  <a:spLocks noEditPoints="1"/>
                </p:cNvSpPr>
                <p:nvPr/>
              </p:nvSpPr>
              <p:spPr bwMode="auto">
                <a:xfrm>
                  <a:off x="5765801" y="5051425"/>
                  <a:ext cx="77788" cy="139700"/>
                </a:xfrm>
                <a:custGeom>
                  <a:avLst/>
                  <a:gdLst>
                    <a:gd name="T0" fmla="*/ 18 w 20"/>
                    <a:gd name="T1" fmla="*/ 36 h 36"/>
                    <a:gd name="T2" fmla="*/ 2 w 20"/>
                    <a:gd name="T3" fmla="*/ 36 h 36"/>
                    <a:gd name="T4" fmla="*/ 0 w 20"/>
                    <a:gd name="T5" fmla="*/ 34 h 36"/>
                    <a:gd name="T6" fmla="*/ 0 w 20"/>
                    <a:gd name="T7" fmla="*/ 2 h 36"/>
                    <a:gd name="T8" fmla="*/ 2 w 20"/>
                    <a:gd name="T9" fmla="*/ 0 h 36"/>
                    <a:gd name="T10" fmla="*/ 18 w 20"/>
                    <a:gd name="T11" fmla="*/ 0 h 36"/>
                    <a:gd name="T12" fmla="*/ 20 w 20"/>
                    <a:gd name="T13" fmla="*/ 2 h 36"/>
                    <a:gd name="T14" fmla="*/ 20 w 20"/>
                    <a:gd name="T15" fmla="*/ 34 h 36"/>
                    <a:gd name="T16" fmla="*/ 18 w 20"/>
                    <a:gd name="T17" fmla="*/ 36 h 36"/>
                    <a:gd name="T18" fmla="*/ 4 w 20"/>
                    <a:gd name="T19" fmla="*/ 32 h 36"/>
                    <a:gd name="T20" fmla="*/ 16 w 20"/>
                    <a:gd name="T21" fmla="*/ 32 h 36"/>
                    <a:gd name="T22" fmla="*/ 16 w 20"/>
                    <a:gd name="T23" fmla="*/ 4 h 36"/>
                    <a:gd name="T24" fmla="*/ 4 w 20"/>
                    <a:gd name="T25" fmla="*/ 4 h 36"/>
                    <a:gd name="T26" fmla="*/ 4 w 20"/>
                    <a:gd name="T27" fmla="*/ 3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 h="36">
                      <a:moveTo>
                        <a:pt x="18" y="36"/>
                      </a:moveTo>
                      <a:cubicBezTo>
                        <a:pt x="2" y="36"/>
                        <a:pt x="2" y="36"/>
                        <a:pt x="2" y="36"/>
                      </a:cubicBezTo>
                      <a:cubicBezTo>
                        <a:pt x="1" y="36"/>
                        <a:pt x="0" y="35"/>
                        <a:pt x="0" y="34"/>
                      </a:cubicBezTo>
                      <a:cubicBezTo>
                        <a:pt x="0" y="2"/>
                        <a:pt x="0" y="2"/>
                        <a:pt x="0" y="2"/>
                      </a:cubicBezTo>
                      <a:cubicBezTo>
                        <a:pt x="0" y="1"/>
                        <a:pt x="1" y="0"/>
                        <a:pt x="2" y="0"/>
                      </a:cubicBezTo>
                      <a:cubicBezTo>
                        <a:pt x="18" y="0"/>
                        <a:pt x="18" y="0"/>
                        <a:pt x="18" y="0"/>
                      </a:cubicBezTo>
                      <a:cubicBezTo>
                        <a:pt x="19" y="0"/>
                        <a:pt x="20" y="1"/>
                        <a:pt x="20" y="2"/>
                      </a:cubicBezTo>
                      <a:cubicBezTo>
                        <a:pt x="20" y="34"/>
                        <a:pt x="20" y="34"/>
                        <a:pt x="20" y="34"/>
                      </a:cubicBezTo>
                      <a:cubicBezTo>
                        <a:pt x="20" y="35"/>
                        <a:pt x="19" y="36"/>
                        <a:pt x="18" y="36"/>
                      </a:cubicBezTo>
                      <a:close/>
                      <a:moveTo>
                        <a:pt x="4" y="32"/>
                      </a:moveTo>
                      <a:cubicBezTo>
                        <a:pt x="16" y="32"/>
                        <a:pt x="16" y="32"/>
                        <a:pt x="16" y="32"/>
                      </a:cubicBezTo>
                      <a:cubicBezTo>
                        <a:pt x="16" y="4"/>
                        <a:pt x="16" y="4"/>
                        <a:pt x="16" y="4"/>
                      </a:cubicBezTo>
                      <a:cubicBezTo>
                        <a:pt x="4" y="4"/>
                        <a:pt x="4" y="4"/>
                        <a:pt x="4" y="4"/>
                      </a:cubicBezTo>
                      <a:lnTo>
                        <a:pt x="4"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 name="Freeform 37"/>
                <p:cNvSpPr>
                  <a:spLocks/>
                </p:cNvSpPr>
                <p:nvPr/>
              </p:nvSpPr>
              <p:spPr bwMode="auto">
                <a:xfrm>
                  <a:off x="5472113" y="5094288"/>
                  <a:ext cx="309563" cy="112713"/>
                </a:xfrm>
                <a:custGeom>
                  <a:avLst/>
                  <a:gdLst>
                    <a:gd name="T0" fmla="*/ 45 w 80"/>
                    <a:gd name="T1" fmla="*/ 29 h 29"/>
                    <a:gd name="T2" fmla="*/ 21 w 80"/>
                    <a:gd name="T3" fmla="*/ 19 h 29"/>
                    <a:gd name="T4" fmla="*/ 1 w 80"/>
                    <a:gd name="T5" fmla="*/ 9 h 29"/>
                    <a:gd name="T6" fmla="*/ 0 w 80"/>
                    <a:gd name="T7" fmla="*/ 8 h 29"/>
                    <a:gd name="T8" fmla="*/ 1 w 80"/>
                    <a:gd name="T9" fmla="*/ 6 h 29"/>
                    <a:gd name="T10" fmla="*/ 15 w 80"/>
                    <a:gd name="T11" fmla="*/ 1 h 29"/>
                    <a:gd name="T12" fmla="*/ 32 w 80"/>
                    <a:gd name="T13" fmla="*/ 7 h 29"/>
                    <a:gd name="T14" fmla="*/ 33 w 80"/>
                    <a:gd name="T15" fmla="*/ 9 h 29"/>
                    <a:gd name="T16" fmla="*/ 31 w 80"/>
                    <a:gd name="T17" fmla="*/ 11 h 29"/>
                    <a:gd name="T18" fmla="*/ 13 w 80"/>
                    <a:gd name="T19" fmla="*/ 5 h 29"/>
                    <a:gd name="T20" fmla="*/ 6 w 80"/>
                    <a:gd name="T21" fmla="*/ 7 h 29"/>
                    <a:gd name="T22" fmla="*/ 23 w 80"/>
                    <a:gd name="T23" fmla="*/ 16 h 29"/>
                    <a:gd name="T24" fmla="*/ 66 w 80"/>
                    <a:gd name="T25" fmla="*/ 19 h 29"/>
                    <a:gd name="T26" fmla="*/ 77 w 80"/>
                    <a:gd name="T27" fmla="*/ 15 h 29"/>
                    <a:gd name="T28" fmla="*/ 80 w 80"/>
                    <a:gd name="T29" fmla="*/ 17 h 29"/>
                    <a:gd name="T30" fmla="*/ 79 w 80"/>
                    <a:gd name="T31" fmla="*/ 19 h 29"/>
                    <a:gd name="T32" fmla="*/ 67 w 80"/>
                    <a:gd name="T33" fmla="*/ 23 h 29"/>
                    <a:gd name="T34" fmla="*/ 45 w 80"/>
                    <a:gd name="T35"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29">
                      <a:moveTo>
                        <a:pt x="45" y="29"/>
                      </a:moveTo>
                      <a:cubicBezTo>
                        <a:pt x="39" y="29"/>
                        <a:pt x="33" y="26"/>
                        <a:pt x="21" y="19"/>
                      </a:cubicBezTo>
                      <a:cubicBezTo>
                        <a:pt x="16" y="17"/>
                        <a:pt x="9" y="13"/>
                        <a:pt x="1" y="9"/>
                      </a:cubicBezTo>
                      <a:cubicBezTo>
                        <a:pt x="1" y="9"/>
                        <a:pt x="0" y="8"/>
                        <a:pt x="0" y="8"/>
                      </a:cubicBezTo>
                      <a:cubicBezTo>
                        <a:pt x="0" y="7"/>
                        <a:pt x="0" y="6"/>
                        <a:pt x="1" y="6"/>
                      </a:cubicBezTo>
                      <a:cubicBezTo>
                        <a:pt x="5" y="1"/>
                        <a:pt x="9" y="0"/>
                        <a:pt x="15" y="1"/>
                      </a:cubicBezTo>
                      <a:cubicBezTo>
                        <a:pt x="32" y="7"/>
                        <a:pt x="32" y="7"/>
                        <a:pt x="32" y="7"/>
                      </a:cubicBezTo>
                      <a:cubicBezTo>
                        <a:pt x="33" y="7"/>
                        <a:pt x="34" y="8"/>
                        <a:pt x="33" y="9"/>
                      </a:cubicBezTo>
                      <a:cubicBezTo>
                        <a:pt x="33" y="10"/>
                        <a:pt x="32" y="11"/>
                        <a:pt x="31" y="11"/>
                      </a:cubicBezTo>
                      <a:cubicBezTo>
                        <a:pt x="13" y="5"/>
                        <a:pt x="13" y="5"/>
                        <a:pt x="13" y="5"/>
                      </a:cubicBezTo>
                      <a:cubicBezTo>
                        <a:pt x="11" y="4"/>
                        <a:pt x="9" y="4"/>
                        <a:pt x="6" y="7"/>
                      </a:cubicBezTo>
                      <a:cubicBezTo>
                        <a:pt x="12" y="10"/>
                        <a:pt x="18" y="13"/>
                        <a:pt x="23" y="16"/>
                      </a:cubicBezTo>
                      <a:cubicBezTo>
                        <a:pt x="44" y="27"/>
                        <a:pt x="44" y="27"/>
                        <a:pt x="66" y="19"/>
                      </a:cubicBezTo>
                      <a:cubicBezTo>
                        <a:pt x="69" y="18"/>
                        <a:pt x="73" y="17"/>
                        <a:pt x="77" y="15"/>
                      </a:cubicBezTo>
                      <a:cubicBezTo>
                        <a:pt x="78" y="15"/>
                        <a:pt x="80" y="16"/>
                        <a:pt x="80" y="17"/>
                      </a:cubicBezTo>
                      <a:cubicBezTo>
                        <a:pt x="80" y="18"/>
                        <a:pt x="80" y="19"/>
                        <a:pt x="79" y="19"/>
                      </a:cubicBezTo>
                      <a:cubicBezTo>
                        <a:pt x="74" y="21"/>
                        <a:pt x="70" y="22"/>
                        <a:pt x="67" y="23"/>
                      </a:cubicBezTo>
                      <a:cubicBezTo>
                        <a:pt x="56" y="27"/>
                        <a:pt x="51" y="29"/>
                        <a:pt x="45"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 name="Freeform 38"/>
                <p:cNvSpPr>
                  <a:spLocks/>
                </p:cNvSpPr>
                <p:nvPr/>
              </p:nvSpPr>
              <p:spPr bwMode="auto">
                <a:xfrm>
                  <a:off x="5584826" y="5065713"/>
                  <a:ext cx="196850" cy="77788"/>
                </a:xfrm>
                <a:custGeom>
                  <a:avLst/>
                  <a:gdLst>
                    <a:gd name="T0" fmla="*/ 27 w 51"/>
                    <a:gd name="T1" fmla="*/ 20 h 20"/>
                    <a:gd name="T2" fmla="*/ 5 w 51"/>
                    <a:gd name="T3" fmla="*/ 20 h 20"/>
                    <a:gd name="T4" fmla="*/ 0 w 51"/>
                    <a:gd name="T5" fmla="*/ 14 h 20"/>
                    <a:gd name="T6" fmla="*/ 5 w 51"/>
                    <a:gd name="T7" fmla="*/ 8 h 20"/>
                    <a:gd name="T8" fmla="*/ 19 w 51"/>
                    <a:gd name="T9" fmla="*/ 8 h 20"/>
                    <a:gd name="T10" fmla="*/ 21 w 51"/>
                    <a:gd name="T11" fmla="*/ 6 h 20"/>
                    <a:gd name="T12" fmla="*/ 37 w 51"/>
                    <a:gd name="T13" fmla="*/ 0 h 20"/>
                    <a:gd name="T14" fmla="*/ 49 w 51"/>
                    <a:gd name="T15" fmla="*/ 0 h 20"/>
                    <a:gd name="T16" fmla="*/ 51 w 51"/>
                    <a:gd name="T17" fmla="*/ 2 h 20"/>
                    <a:gd name="T18" fmla="*/ 49 w 51"/>
                    <a:gd name="T19" fmla="*/ 4 h 20"/>
                    <a:gd name="T20" fmla="*/ 37 w 51"/>
                    <a:gd name="T21" fmla="*/ 4 h 20"/>
                    <a:gd name="T22" fmla="*/ 23 w 51"/>
                    <a:gd name="T23" fmla="*/ 10 h 20"/>
                    <a:gd name="T24" fmla="*/ 19 w 51"/>
                    <a:gd name="T25" fmla="*/ 12 h 20"/>
                    <a:gd name="T26" fmla="*/ 5 w 51"/>
                    <a:gd name="T27" fmla="*/ 12 h 20"/>
                    <a:gd name="T28" fmla="*/ 4 w 51"/>
                    <a:gd name="T29" fmla="*/ 14 h 20"/>
                    <a:gd name="T30" fmla="*/ 5 w 51"/>
                    <a:gd name="T31" fmla="*/ 16 h 20"/>
                    <a:gd name="T32" fmla="*/ 27 w 51"/>
                    <a:gd name="T33" fmla="*/ 16 h 20"/>
                    <a:gd name="T34" fmla="*/ 29 w 51"/>
                    <a:gd name="T35" fmla="*/ 18 h 20"/>
                    <a:gd name="T36" fmla="*/ 27 w 51"/>
                    <a:gd name="T3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1" h="20">
                      <a:moveTo>
                        <a:pt x="27" y="20"/>
                      </a:moveTo>
                      <a:cubicBezTo>
                        <a:pt x="5" y="20"/>
                        <a:pt x="5" y="20"/>
                        <a:pt x="5" y="20"/>
                      </a:cubicBezTo>
                      <a:cubicBezTo>
                        <a:pt x="2" y="20"/>
                        <a:pt x="0" y="17"/>
                        <a:pt x="0" y="14"/>
                      </a:cubicBezTo>
                      <a:cubicBezTo>
                        <a:pt x="0" y="11"/>
                        <a:pt x="2" y="8"/>
                        <a:pt x="5" y="8"/>
                      </a:cubicBezTo>
                      <a:cubicBezTo>
                        <a:pt x="19" y="8"/>
                        <a:pt x="19" y="8"/>
                        <a:pt x="19" y="8"/>
                      </a:cubicBezTo>
                      <a:cubicBezTo>
                        <a:pt x="19" y="8"/>
                        <a:pt x="20" y="7"/>
                        <a:pt x="21" y="6"/>
                      </a:cubicBezTo>
                      <a:cubicBezTo>
                        <a:pt x="24" y="4"/>
                        <a:pt x="30" y="0"/>
                        <a:pt x="37" y="0"/>
                      </a:cubicBezTo>
                      <a:cubicBezTo>
                        <a:pt x="49" y="0"/>
                        <a:pt x="49" y="0"/>
                        <a:pt x="49" y="0"/>
                      </a:cubicBezTo>
                      <a:cubicBezTo>
                        <a:pt x="50" y="0"/>
                        <a:pt x="51" y="1"/>
                        <a:pt x="51" y="2"/>
                      </a:cubicBezTo>
                      <a:cubicBezTo>
                        <a:pt x="51" y="3"/>
                        <a:pt x="50" y="4"/>
                        <a:pt x="49" y="4"/>
                      </a:cubicBezTo>
                      <a:cubicBezTo>
                        <a:pt x="37" y="4"/>
                        <a:pt x="37" y="4"/>
                        <a:pt x="37" y="4"/>
                      </a:cubicBezTo>
                      <a:cubicBezTo>
                        <a:pt x="31" y="4"/>
                        <a:pt x="27" y="7"/>
                        <a:pt x="23" y="10"/>
                      </a:cubicBezTo>
                      <a:cubicBezTo>
                        <a:pt x="21" y="11"/>
                        <a:pt x="20" y="12"/>
                        <a:pt x="19" y="12"/>
                      </a:cubicBezTo>
                      <a:cubicBezTo>
                        <a:pt x="5" y="12"/>
                        <a:pt x="5" y="12"/>
                        <a:pt x="5" y="12"/>
                      </a:cubicBezTo>
                      <a:cubicBezTo>
                        <a:pt x="4" y="12"/>
                        <a:pt x="4" y="13"/>
                        <a:pt x="4" y="14"/>
                      </a:cubicBezTo>
                      <a:cubicBezTo>
                        <a:pt x="4" y="15"/>
                        <a:pt x="4" y="16"/>
                        <a:pt x="5" y="16"/>
                      </a:cubicBezTo>
                      <a:cubicBezTo>
                        <a:pt x="27" y="16"/>
                        <a:pt x="27" y="16"/>
                        <a:pt x="27" y="16"/>
                      </a:cubicBezTo>
                      <a:cubicBezTo>
                        <a:pt x="28" y="16"/>
                        <a:pt x="29" y="17"/>
                        <a:pt x="29" y="18"/>
                      </a:cubicBezTo>
                      <a:cubicBezTo>
                        <a:pt x="29" y="19"/>
                        <a:pt x="28" y="20"/>
                        <a:pt x="27"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 name="Freeform 39"/>
                <p:cNvSpPr>
                  <a:spLocks/>
                </p:cNvSpPr>
                <p:nvPr/>
              </p:nvSpPr>
              <p:spPr bwMode="auto">
                <a:xfrm>
                  <a:off x="5518151" y="4895850"/>
                  <a:ext cx="233363" cy="217488"/>
                </a:xfrm>
                <a:custGeom>
                  <a:avLst/>
                  <a:gdLst>
                    <a:gd name="T0" fmla="*/ 2 w 60"/>
                    <a:gd name="T1" fmla="*/ 56 h 56"/>
                    <a:gd name="T2" fmla="*/ 0 w 60"/>
                    <a:gd name="T3" fmla="*/ 54 h 56"/>
                    <a:gd name="T4" fmla="*/ 0 w 60"/>
                    <a:gd name="T5" fmla="*/ 2 h 56"/>
                    <a:gd name="T6" fmla="*/ 2 w 60"/>
                    <a:gd name="T7" fmla="*/ 0 h 56"/>
                    <a:gd name="T8" fmla="*/ 58 w 60"/>
                    <a:gd name="T9" fmla="*/ 0 h 56"/>
                    <a:gd name="T10" fmla="*/ 60 w 60"/>
                    <a:gd name="T11" fmla="*/ 2 h 56"/>
                    <a:gd name="T12" fmla="*/ 60 w 60"/>
                    <a:gd name="T13" fmla="*/ 46 h 56"/>
                    <a:gd name="T14" fmla="*/ 58 w 60"/>
                    <a:gd name="T15" fmla="*/ 48 h 56"/>
                    <a:gd name="T16" fmla="*/ 56 w 60"/>
                    <a:gd name="T17" fmla="*/ 46 h 56"/>
                    <a:gd name="T18" fmla="*/ 56 w 60"/>
                    <a:gd name="T19" fmla="*/ 4 h 56"/>
                    <a:gd name="T20" fmla="*/ 4 w 60"/>
                    <a:gd name="T21" fmla="*/ 4 h 56"/>
                    <a:gd name="T22" fmla="*/ 4 w 60"/>
                    <a:gd name="T23" fmla="*/ 54 h 56"/>
                    <a:gd name="T24" fmla="*/ 2 w 60"/>
                    <a:gd name="T25"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 h="56">
                      <a:moveTo>
                        <a:pt x="2" y="56"/>
                      </a:moveTo>
                      <a:cubicBezTo>
                        <a:pt x="1" y="56"/>
                        <a:pt x="0" y="55"/>
                        <a:pt x="0" y="54"/>
                      </a:cubicBezTo>
                      <a:cubicBezTo>
                        <a:pt x="0" y="2"/>
                        <a:pt x="0" y="2"/>
                        <a:pt x="0" y="2"/>
                      </a:cubicBezTo>
                      <a:cubicBezTo>
                        <a:pt x="0" y="1"/>
                        <a:pt x="1" y="0"/>
                        <a:pt x="2" y="0"/>
                      </a:cubicBezTo>
                      <a:cubicBezTo>
                        <a:pt x="58" y="0"/>
                        <a:pt x="58" y="0"/>
                        <a:pt x="58" y="0"/>
                      </a:cubicBezTo>
                      <a:cubicBezTo>
                        <a:pt x="59" y="0"/>
                        <a:pt x="60" y="1"/>
                        <a:pt x="60" y="2"/>
                      </a:cubicBezTo>
                      <a:cubicBezTo>
                        <a:pt x="60" y="46"/>
                        <a:pt x="60" y="46"/>
                        <a:pt x="60" y="46"/>
                      </a:cubicBezTo>
                      <a:cubicBezTo>
                        <a:pt x="60" y="47"/>
                        <a:pt x="59" y="48"/>
                        <a:pt x="58" y="48"/>
                      </a:cubicBezTo>
                      <a:cubicBezTo>
                        <a:pt x="57" y="48"/>
                        <a:pt x="56" y="47"/>
                        <a:pt x="56" y="46"/>
                      </a:cubicBezTo>
                      <a:cubicBezTo>
                        <a:pt x="56" y="4"/>
                        <a:pt x="56" y="4"/>
                        <a:pt x="56" y="4"/>
                      </a:cubicBezTo>
                      <a:cubicBezTo>
                        <a:pt x="4" y="4"/>
                        <a:pt x="4" y="4"/>
                        <a:pt x="4" y="4"/>
                      </a:cubicBezTo>
                      <a:cubicBezTo>
                        <a:pt x="4" y="54"/>
                        <a:pt x="4" y="54"/>
                        <a:pt x="4" y="54"/>
                      </a:cubicBezTo>
                      <a:cubicBezTo>
                        <a:pt x="4" y="55"/>
                        <a:pt x="3" y="56"/>
                        <a:pt x="2"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 name="Freeform 40"/>
                <p:cNvSpPr>
                  <a:spLocks/>
                </p:cNvSpPr>
                <p:nvPr/>
              </p:nvSpPr>
              <p:spPr bwMode="auto">
                <a:xfrm>
                  <a:off x="5580063" y="4902200"/>
                  <a:ext cx="109538" cy="133350"/>
                </a:xfrm>
                <a:custGeom>
                  <a:avLst/>
                  <a:gdLst>
                    <a:gd name="T0" fmla="*/ 26 w 28"/>
                    <a:gd name="T1" fmla="*/ 34 h 34"/>
                    <a:gd name="T2" fmla="*/ 25 w 28"/>
                    <a:gd name="T3" fmla="*/ 34 h 34"/>
                    <a:gd name="T4" fmla="*/ 14 w 28"/>
                    <a:gd name="T5" fmla="*/ 25 h 34"/>
                    <a:gd name="T6" fmla="*/ 3 w 28"/>
                    <a:gd name="T7" fmla="*/ 34 h 34"/>
                    <a:gd name="T8" fmla="*/ 1 w 28"/>
                    <a:gd name="T9" fmla="*/ 34 h 34"/>
                    <a:gd name="T10" fmla="*/ 0 w 28"/>
                    <a:gd name="T11" fmla="*/ 32 h 34"/>
                    <a:gd name="T12" fmla="*/ 0 w 28"/>
                    <a:gd name="T13" fmla="*/ 0 h 34"/>
                    <a:gd name="T14" fmla="*/ 4 w 28"/>
                    <a:gd name="T15" fmla="*/ 0 h 34"/>
                    <a:gd name="T16" fmla="*/ 4 w 28"/>
                    <a:gd name="T17" fmla="*/ 28 h 34"/>
                    <a:gd name="T18" fmla="*/ 13 w 28"/>
                    <a:gd name="T19" fmla="*/ 21 h 34"/>
                    <a:gd name="T20" fmla="*/ 15 w 28"/>
                    <a:gd name="T21" fmla="*/ 21 h 34"/>
                    <a:gd name="T22" fmla="*/ 24 w 28"/>
                    <a:gd name="T23" fmla="*/ 28 h 34"/>
                    <a:gd name="T24" fmla="*/ 24 w 28"/>
                    <a:gd name="T25" fmla="*/ 0 h 34"/>
                    <a:gd name="T26" fmla="*/ 28 w 28"/>
                    <a:gd name="T27" fmla="*/ 0 h 34"/>
                    <a:gd name="T28" fmla="*/ 28 w 28"/>
                    <a:gd name="T29" fmla="*/ 32 h 34"/>
                    <a:gd name="T30" fmla="*/ 27 w 28"/>
                    <a:gd name="T31" fmla="*/ 34 h 34"/>
                    <a:gd name="T32" fmla="*/ 26 w 28"/>
                    <a:gd name="T33"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 h="34">
                      <a:moveTo>
                        <a:pt x="26" y="34"/>
                      </a:moveTo>
                      <a:cubicBezTo>
                        <a:pt x="26" y="34"/>
                        <a:pt x="25" y="34"/>
                        <a:pt x="25" y="34"/>
                      </a:cubicBezTo>
                      <a:cubicBezTo>
                        <a:pt x="14" y="25"/>
                        <a:pt x="14" y="25"/>
                        <a:pt x="14" y="25"/>
                      </a:cubicBezTo>
                      <a:cubicBezTo>
                        <a:pt x="3" y="34"/>
                        <a:pt x="3" y="34"/>
                        <a:pt x="3" y="34"/>
                      </a:cubicBezTo>
                      <a:cubicBezTo>
                        <a:pt x="3" y="34"/>
                        <a:pt x="2" y="34"/>
                        <a:pt x="1" y="34"/>
                      </a:cubicBezTo>
                      <a:cubicBezTo>
                        <a:pt x="0" y="33"/>
                        <a:pt x="0" y="33"/>
                        <a:pt x="0" y="32"/>
                      </a:cubicBezTo>
                      <a:cubicBezTo>
                        <a:pt x="0" y="0"/>
                        <a:pt x="0" y="0"/>
                        <a:pt x="0" y="0"/>
                      </a:cubicBezTo>
                      <a:cubicBezTo>
                        <a:pt x="4" y="0"/>
                        <a:pt x="4" y="0"/>
                        <a:pt x="4" y="0"/>
                      </a:cubicBezTo>
                      <a:cubicBezTo>
                        <a:pt x="4" y="28"/>
                        <a:pt x="4" y="28"/>
                        <a:pt x="4" y="28"/>
                      </a:cubicBezTo>
                      <a:cubicBezTo>
                        <a:pt x="13" y="21"/>
                        <a:pt x="13" y="21"/>
                        <a:pt x="13" y="21"/>
                      </a:cubicBezTo>
                      <a:cubicBezTo>
                        <a:pt x="13" y="20"/>
                        <a:pt x="15" y="20"/>
                        <a:pt x="15" y="21"/>
                      </a:cubicBezTo>
                      <a:cubicBezTo>
                        <a:pt x="24" y="28"/>
                        <a:pt x="24" y="28"/>
                        <a:pt x="24" y="28"/>
                      </a:cubicBezTo>
                      <a:cubicBezTo>
                        <a:pt x="24" y="0"/>
                        <a:pt x="24" y="0"/>
                        <a:pt x="24" y="0"/>
                      </a:cubicBezTo>
                      <a:cubicBezTo>
                        <a:pt x="28" y="0"/>
                        <a:pt x="28" y="0"/>
                        <a:pt x="28" y="0"/>
                      </a:cubicBezTo>
                      <a:cubicBezTo>
                        <a:pt x="28" y="32"/>
                        <a:pt x="28" y="32"/>
                        <a:pt x="28" y="32"/>
                      </a:cubicBezTo>
                      <a:cubicBezTo>
                        <a:pt x="28" y="33"/>
                        <a:pt x="28" y="33"/>
                        <a:pt x="27" y="34"/>
                      </a:cubicBezTo>
                      <a:cubicBezTo>
                        <a:pt x="27" y="34"/>
                        <a:pt x="26" y="34"/>
                        <a:pt x="26"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52" name="Group 51"/>
              <p:cNvGrpSpPr>
                <a:grpSpLocks noChangeAspect="1"/>
              </p:cNvGrpSpPr>
              <p:nvPr/>
            </p:nvGrpSpPr>
            <p:grpSpPr>
              <a:xfrm>
                <a:off x="2689254" y="2261717"/>
                <a:ext cx="315717" cy="348480"/>
                <a:chOff x="2218029" y="1931690"/>
                <a:chExt cx="326154" cy="360000"/>
              </a:xfrm>
            </p:grpSpPr>
            <p:sp>
              <p:nvSpPr>
                <p:cNvPr id="54" name="Freeform 27"/>
                <p:cNvSpPr>
                  <a:spLocks noEditPoints="1"/>
                </p:cNvSpPr>
                <p:nvPr/>
              </p:nvSpPr>
              <p:spPr bwMode="auto">
                <a:xfrm>
                  <a:off x="2218029" y="1931690"/>
                  <a:ext cx="326154" cy="360000"/>
                </a:xfrm>
                <a:custGeom>
                  <a:avLst/>
                  <a:gdLst>
                    <a:gd name="T0" fmla="*/ 58 w 87"/>
                    <a:gd name="T1" fmla="*/ 96 h 96"/>
                    <a:gd name="T2" fmla="*/ 18 w 87"/>
                    <a:gd name="T3" fmla="*/ 96 h 96"/>
                    <a:gd name="T4" fmla="*/ 16 w 87"/>
                    <a:gd name="T5" fmla="*/ 94 h 96"/>
                    <a:gd name="T6" fmla="*/ 16 w 87"/>
                    <a:gd name="T7" fmla="*/ 72 h 96"/>
                    <a:gd name="T8" fmla="*/ 0 w 87"/>
                    <a:gd name="T9" fmla="*/ 40 h 96"/>
                    <a:gd name="T10" fmla="*/ 40 w 87"/>
                    <a:gd name="T11" fmla="*/ 0 h 96"/>
                    <a:gd name="T12" fmla="*/ 78 w 87"/>
                    <a:gd name="T13" fmla="*/ 34 h 96"/>
                    <a:gd name="T14" fmla="*/ 81 w 87"/>
                    <a:gd name="T15" fmla="*/ 39 h 96"/>
                    <a:gd name="T16" fmla="*/ 87 w 87"/>
                    <a:gd name="T17" fmla="*/ 54 h 96"/>
                    <a:gd name="T18" fmla="*/ 87 w 87"/>
                    <a:gd name="T19" fmla="*/ 55 h 96"/>
                    <a:gd name="T20" fmla="*/ 86 w 87"/>
                    <a:gd name="T21" fmla="*/ 58 h 96"/>
                    <a:gd name="T22" fmla="*/ 82 w 87"/>
                    <a:gd name="T23" fmla="*/ 60 h 96"/>
                    <a:gd name="T24" fmla="*/ 78 w 87"/>
                    <a:gd name="T25" fmla="*/ 60 h 96"/>
                    <a:gd name="T26" fmla="*/ 74 w 87"/>
                    <a:gd name="T27" fmla="*/ 78 h 96"/>
                    <a:gd name="T28" fmla="*/ 60 w 87"/>
                    <a:gd name="T29" fmla="*/ 82 h 96"/>
                    <a:gd name="T30" fmla="*/ 60 w 87"/>
                    <a:gd name="T31" fmla="*/ 94 h 96"/>
                    <a:gd name="T32" fmla="*/ 58 w 87"/>
                    <a:gd name="T33" fmla="*/ 96 h 96"/>
                    <a:gd name="T34" fmla="*/ 20 w 87"/>
                    <a:gd name="T35" fmla="*/ 92 h 96"/>
                    <a:gd name="T36" fmla="*/ 56 w 87"/>
                    <a:gd name="T37" fmla="*/ 92 h 96"/>
                    <a:gd name="T38" fmla="*/ 56 w 87"/>
                    <a:gd name="T39" fmla="*/ 80 h 96"/>
                    <a:gd name="T40" fmla="*/ 57 w 87"/>
                    <a:gd name="T41" fmla="*/ 79 h 96"/>
                    <a:gd name="T42" fmla="*/ 58 w 87"/>
                    <a:gd name="T43" fmla="*/ 78 h 96"/>
                    <a:gd name="T44" fmla="*/ 58 w 87"/>
                    <a:gd name="T45" fmla="*/ 78 h 96"/>
                    <a:gd name="T46" fmla="*/ 59 w 87"/>
                    <a:gd name="T47" fmla="*/ 78 h 96"/>
                    <a:gd name="T48" fmla="*/ 71 w 87"/>
                    <a:gd name="T49" fmla="*/ 75 h 96"/>
                    <a:gd name="T50" fmla="*/ 74 w 87"/>
                    <a:gd name="T51" fmla="*/ 58 h 96"/>
                    <a:gd name="T52" fmla="*/ 75 w 87"/>
                    <a:gd name="T53" fmla="*/ 57 h 96"/>
                    <a:gd name="T54" fmla="*/ 76 w 87"/>
                    <a:gd name="T55" fmla="*/ 56 h 96"/>
                    <a:gd name="T56" fmla="*/ 82 w 87"/>
                    <a:gd name="T57" fmla="*/ 56 h 96"/>
                    <a:gd name="T58" fmla="*/ 83 w 87"/>
                    <a:gd name="T59" fmla="*/ 56 h 96"/>
                    <a:gd name="T60" fmla="*/ 83 w 87"/>
                    <a:gd name="T61" fmla="*/ 55 h 96"/>
                    <a:gd name="T62" fmla="*/ 83 w 87"/>
                    <a:gd name="T63" fmla="*/ 54 h 96"/>
                    <a:gd name="T64" fmla="*/ 78 w 87"/>
                    <a:gd name="T65" fmla="*/ 41 h 96"/>
                    <a:gd name="T66" fmla="*/ 74 w 87"/>
                    <a:gd name="T67" fmla="*/ 34 h 96"/>
                    <a:gd name="T68" fmla="*/ 40 w 87"/>
                    <a:gd name="T69" fmla="*/ 4 h 96"/>
                    <a:gd name="T70" fmla="*/ 4 w 87"/>
                    <a:gd name="T71" fmla="*/ 40 h 96"/>
                    <a:gd name="T72" fmla="*/ 19 w 87"/>
                    <a:gd name="T73" fmla="*/ 69 h 96"/>
                    <a:gd name="T74" fmla="*/ 20 w 87"/>
                    <a:gd name="T75" fmla="*/ 71 h 96"/>
                    <a:gd name="T76" fmla="*/ 20 w 87"/>
                    <a:gd name="T77" fmla="*/ 9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7" h="96">
                      <a:moveTo>
                        <a:pt x="58" y="96"/>
                      </a:moveTo>
                      <a:cubicBezTo>
                        <a:pt x="18" y="96"/>
                        <a:pt x="18" y="96"/>
                        <a:pt x="18" y="96"/>
                      </a:cubicBezTo>
                      <a:cubicBezTo>
                        <a:pt x="17" y="96"/>
                        <a:pt x="16" y="95"/>
                        <a:pt x="16" y="94"/>
                      </a:cubicBezTo>
                      <a:cubicBezTo>
                        <a:pt x="16" y="72"/>
                        <a:pt x="16" y="72"/>
                        <a:pt x="16" y="72"/>
                      </a:cubicBezTo>
                      <a:cubicBezTo>
                        <a:pt x="5" y="65"/>
                        <a:pt x="0" y="55"/>
                        <a:pt x="0" y="40"/>
                      </a:cubicBezTo>
                      <a:cubicBezTo>
                        <a:pt x="0" y="18"/>
                        <a:pt x="18" y="0"/>
                        <a:pt x="40" y="0"/>
                      </a:cubicBezTo>
                      <a:cubicBezTo>
                        <a:pt x="59" y="0"/>
                        <a:pt x="78" y="13"/>
                        <a:pt x="78" y="34"/>
                      </a:cubicBezTo>
                      <a:cubicBezTo>
                        <a:pt x="78" y="34"/>
                        <a:pt x="80" y="37"/>
                        <a:pt x="81" y="39"/>
                      </a:cubicBezTo>
                      <a:cubicBezTo>
                        <a:pt x="84" y="44"/>
                        <a:pt x="87" y="50"/>
                        <a:pt x="87" y="54"/>
                      </a:cubicBezTo>
                      <a:cubicBezTo>
                        <a:pt x="87" y="55"/>
                        <a:pt x="87" y="55"/>
                        <a:pt x="87" y="55"/>
                      </a:cubicBezTo>
                      <a:cubicBezTo>
                        <a:pt x="87" y="56"/>
                        <a:pt x="87" y="57"/>
                        <a:pt x="86" y="58"/>
                      </a:cubicBezTo>
                      <a:cubicBezTo>
                        <a:pt x="85" y="59"/>
                        <a:pt x="84" y="60"/>
                        <a:pt x="82" y="60"/>
                      </a:cubicBezTo>
                      <a:cubicBezTo>
                        <a:pt x="81" y="60"/>
                        <a:pt x="79" y="60"/>
                        <a:pt x="78" y="60"/>
                      </a:cubicBezTo>
                      <a:cubicBezTo>
                        <a:pt x="78" y="65"/>
                        <a:pt x="78" y="75"/>
                        <a:pt x="74" y="78"/>
                      </a:cubicBezTo>
                      <a:cubicBezTo>
                        <a:pt x="71" y="81"/>
                        <a:pt x="67" y="82"/>
                        <a:pt x="60" y="82"/>
                      </a:cubicBezTo>
                      <a:cubicBezTo>
                        <a:pt x="60" y="94"/>
                        <a:pt x="60" y="94"/>
                        <a:pt x="60" y="94"/>
                      </a:cubicBezTo>
                      <a:cubicBezTo>
                        <a:pt x="60" y="95"/>
                        <a:pt x="59" y="96"/>
                        <a:pt x="58" y="96"/>
                      </a:cubicBezTo>
                      <a:close/>
                      <a:moveTo>
                        <a:pt x="20" y="92"/>
                      </a:moveTo>
                      <a:cubicBezTo>
                        <a:pt x="56" y="92"/>
                        <a:pt x="56" y="92"/>
                        <a:pt x="56" y="92"/>
                      </a:cubicBezTo>
                      <a:cubicBezTo>
                        <a:pt x="56" y="80"/>
                        <a:pt x="56" y="80"/>
                        <a:pt x="56" y="80"/>
                      </a:cubicBezTo>
                      <a:cubicBezTo>
                        <a:pt x="56" y="80"/>
                        <a:pt x="56" y="79"/>
                        <a:pt x="57" y="79"/>
                      </a:cubicBezTo>
                      <a:cubicBezTo>
                        <a:pt x="57" y="78"/>
                        <a:pt x="57" y="78"/>
                        <a:pt x="58" y="78"/>
                      </a:cubicBezTo>
                      <a:cubicBezTo>
                        <a:pt x="58" y="78"/>
                        <a:pt x="58" y="78"/>
                        <a:pt x="58" y="78"/>
                      </a:cubicBezTo>
                      <a:cubicBezTo>
                        <a:pt x="59" y="78"/>
                        <a:pt x="59" y="78"/>
                        <a:pt x="59" y="78"/>
                      </a:cubicBezTo>
                      <a:cubicBezTo>
                        <a:pt x="66" y="78"/>
                        <a:pt x="69" y="77"/>
                        <a:pt x="71" y="75"/>
                      </a:cubicBezTo>
                      <a:cubicBezTo>
                        <a:pt x="74" y="73"/>
                        <a:pt x="74" y="64"/>
                        <a:pt x="74" y="58"/>
                      </a:cubicBezTo>
                      <a:cubicBezTo>
                        <a:pt x="74" y="57"/>
                        <a:pt x="74" y="57"/>
                        <a:pt x="75" y="57"/>
                      </a:cubicBezTo>
                      <a:cubicBezTo>
                        <a:pt x="75" y="56"/>
                        <a:pt x="76" y="56"/>
                        <a:pt x="76" y="56"/>
                      </a:cubicBezTo>
                      <a:cubicBezTo>
                        <a:pt x="76" y="56"/>
                        <a:pt x="80" y="56"/>
                        <a:pt x="82" y="56"/>
                      </a:cubicBezTo>
                      <a:cubicBezTo>
                        <a:pt x="82" y="56"/>
                        <a:pt x="83" y="56"/>
                        <a:pt x="83" y="56"/>
                      </a:cubicBezTo>
                      <a:cubicBezTo>
                        <a:pt x="83" y="56"/>
                        <a:pt x="83" y="55"/>
                        <a:pt x="83" y="55"/>
                      </a:cubicBezTo>
                      <a:cubicBezTo>
                        <a:pt x="83" y="55"/>
                        <a:pt x="83" y="54"/>
                        <a:pt x="83" y="54"/>
                      </a:cubicBezTo>
                      <a:cubicBezTo>
                        <a:pt x="83" y="51"/>
                        <a:pt x="80" y="45"/>
                        <a:pt x="78" y="41"/>
                      </a:cubicBezTo>
                      <a:cubicBezTo>
                        <a:pt x="75" y="38"/>
                        <a:pt x="74" y="35"/>
                        <a:pt x="74" y="34"/>
                      </a:cubicBezTo>
                      <a:cubicBezTo>
                        <a:pt x="74" y="15"/>
                        <a:pt x="57" y="4"/>
                        <a:pt x="40" y="4"/>
                      </a:cubicBezTo>
                      <a:cubicBezTo>
                        <a:pt x="20" y="4"/>
                        <a:pt x="4" y="20"/>
                        <a:pt x="4" y="40"/>
                      </a:cubicBezTo>
                      <a:cubicBezTo>
                        <a:pt x="4" y="54"/>
                        <a:pt x="9" y="63"/>
                        <a:pt x="19" y="69"/>
                      </a:cubicBezTo>
                      <a:cubicBezTo>
                        <a:pt x="20" y="70"/>
                        <a:pt x="20" y="70"/>
                        <a:pt x="20" y="71"/>
                      </a:cubicBezTo>
                      <a:lnTo>
                        <a:pt x="20" y="9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 name="Freeform 28"/>
                <p:cNvSpPr>
                  <a:spLocks noEditPoints="1"/>
                </p:cNvSpPr>
                <p:nvPr/>
              </p:nvSpPr>
              <p:spPr bwMode="auto">
                <a:xfrm>
                  <a:off x="2284182" y="2007075"/>
                  <a:ext cx="166154" cy="149231"/>
                </a:xfrm>
                <a:custGeom>
                  <a:avLst/>
                  <a:gdLst>
                    <a:gd name="T0" fmla="*/ 22 w 44"/>
                    <a:gd name="T1" fmla="*/ 40 h 40"/>
                    <a:gd name="T2" fmla="*/ 21 w 44"/>
                    <a:gd name="T3" fmla="*/ 40 h 40"/>
                    <a:gd name="T4" fmla="*/ 0 w 44"/>
                    <a:gd name="T5" fmla="*/ 13 h 40"/>
                    <a:gd name="T6" fmla="*/ 12 w 44"/>
                    <a:gd name="T7" fmla="*/ 0 h 40"/>
                    <a:gd name="T8" fmla="*/ 22 w 44"/>
                    <a:gd name="T9" fmla="*/ 6 h 40"/>
                    <a:gd name="T10" fmla="*/ 32 w 44"/>
                    <a:gd name="T11" fmla="*/ 0 h 40"/>
                    <a:gd name="T12" fmla="*/ 44 w 44"/>
                    <a:gd name="T13" fmla="*/ 13 h 40"/>
                    <a:gd name="T14" fmla="*/ 23 w 44"/>
                    <a:gd name="T15" fmla="*/ 40 h 40"/>
                    <a:gd name="T16" fmla="*/ 22 w 44"/>
                    <a:gd name="T17" fmla="*/ 40 h 40"/>
                    <a:gd name="T18" fmla="*/ 12 w 44"/>
                    <a:gd name="T19" fmla="*/ 4 h 40"/>
                    <a:gd name="T20" fmla="*/ 4 w 44"/>
                    <a:gd name="T21" fmla="*/ 13 h 40"/>
                    <a:gd name="T22" fmla="*/ 22 w 44"/>
                    <a:gd name="T23" fmla="*/ 36 h 40"/>
                    <a:gd name="T24" fmla="*/ 40 w 44"/>
                    <a:gd name="T25" fmla="*/ 13 h 40"/>
                    <a:gd name="T26" fmla="*/ 32 w 44"/>
                    <a:gd name="T27" fmla="*/ 4 h 40"/>
                    <a:gd name="T28" fmla="*/ 24 w 44"/>
                    <a:gd name="T29" fmla="*/ 12 h 40"/>
                    <a:gd name="T30" fmla="*/ 20 w 44"/>
                    <a:gd name="T31" fmla="*/ 12 h 40"/>
                    <a:gd name="T32" fmla="*/ 12 w 44"/>
                    <a:gd name="T33"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4" h="40">
                      <a:moveTo>
                        <a:pt x="22" y="40"/>
                      </a:moveTo>
                      <a:cubicBezTo>
                        <a:pt x="22" y="40"/>
                        <a:pt x="21" y="40"/>
                        <a:pt x="21" y="40"/>
                      </a:cubicBezTo>
                      <a:cubicBezTo>
                        <a:pt x="19" y="38"/>
                        <a:pt x="0" y="25"/>
                        <a:pt x="0" y="13"/>
                      </a:cubicBezTo>
                      <a:cubicBezTo>
                        <a:pt x="0" y="5"/>
                        <a:pt x="6" y="0"/>
                        <a:pt x="12" y="0"/>
                      </a:cubicBezTo>
                      <a:cubicBezTo>
                        <a:pt x="15" y="0"/>
                        <a:pt x="19" y="2"/>
                        <a:pt x="22" y="6"/>
                      </a:cubicBezTo>
                      <a:cubicBezTo>
                        <a:pt x="25" y="2"/>
                        <a:pt x="29" y="0"/>
                        <a:pt x="32" y="0"/>
                      </a:cubicBezTo>
                      <a:cubicBezTo>
                        <a:pt x="38" y="0"/>
                        <a:pt x="44" y="5"/>
                        <a:pt x="44" y="13"/>
                      </a:cubicBezTo>
                      <a:cubicBezTo>
                        <a:pt x="44" y="25"/>
                        <a:pt x="25" y="38"/>
                        <a:pt x="23" y="40"/>
                      </a:cubicBezTo>
                      <a:cubicBezTo>
                        <a:pt x="23" y="40"/>
                        <a:pt x="22" y="40"/>
                        <a:pt x="22" y="40"/>
                      </a:cubicBezTo>
                      <a:close/>
                      <a:moveTo>
                        <a:pt x="12" y="4"/>
                      </a:moveTo>
                      <a:cubicBezTo>
                        <a:pt x="8" y="4"/>
                        <a:pt x="4" y="8"/>
                        <a:pt x="4" y="13"/>
                      </a:cubicBezTo>
                      <a:cubicBezTo>
                        <a:pt x="4" y="21"/>
                        <a:pt x="16" y="31"/>
                        <a:pt x="22" y="36"/>
                      </a:cubicBezTo>
                      <a:cubicBezTo>
                        <a:pt x="28" y="31"/>
                        <a:pt x="40" y="21"/>
                        <a:pt x="40" y="13"/>
                      </a:cubicBezTo>
                      <a:cubicBezTo>
                        <a:pt x="40" y="8"/>
                        <a:pt x="36" y="4"/>
                        <a:pt x="32" y="4"/>
                      </a:cubicBezTo>
                      <a:cubicBezTo>
                        <a:pt x="28" y="4"/>
                        <a:pt x="25" y="7"/>
                        <a:pt x="24" y="12"/>
                      </a:cubicBezTo>
                      <a:cubicBezTo>
                        <a:pt x="24" y="14"/>
                        <a:pt x="20" y="14"/>
                        <a:pt x="20" y="12"/>
                      </a:cubicBezTo>
                      <a:cubicBezTo>
                        <a:pt x="19" y="7"/>
                        <a:pt x="16" y="4"/>
                        <a:pt x="12" y="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4" name="Group 23"/>
              <p:cNvGrpSpPr>
                <a:grpSpLocks noChangeAspect="1"/>
              </p:cNvGrpSpPr>
              <p:nvPr/>
            </p:nvGrpSpPr>
            <p:grpSpPr>
              <a:xfrm>
                <a:off x="3694186" y="3353170"/>
                <a:ext cx="339611" cy="352800"/>
                <a:chOff x="5187951" y="3113088"/>
                <a:chExt cx="327025" cy="339725"/>
              </a:xfrm>
              <a:solidFill>
                <a:schemeClr val="bg1"/>
              </a:solidFill>
            </p:grpSpPr>
            <p:sp>
              <p:nvSpPr>
                <p:cNvPr id="44" name="Freeform 32"/>
                <p:cNvSpPr>
                  <a:spLocks noEditPoints="1"/>
                </p:cNvSpPr>
                <p:nvPr/>
              </p:nvSpPr>
              <p:spPr bwMode="auto">
                <a:xfrm>
                  <a:off x="5249863" y="3173413"/>
                  <a:ext cx="201613" cy="217488"/>
                </a:xfrm>
                <a:custGeom>
                  <a:avLst/>
                  <a:gdLst>
                    <a:gd name="T0" fmla="*/ 32 w 52"/>
                    <a:gd name="T1" fmla="*/ 56 h 56"/>
                    <a:gd name="T2" fmla="*/ 20 w 52"/>
                    <a:gd name="T3" fmla="*/ 56 h 56"/>
                    <a:gd name="T4" fmla="*/ 18 w 52"/>
                    <a:gd name="T5" fmla="*/ 54 h 56"/>
                    <a:gd name="T6" fmla="*/ 18 w 52"/>
                    <a:gd name="T7" fmla="*/ 51 h 56"/>
                    <a:gd name="T8" fmla="*/ 0 w 52"/>
                    <a:gd name="T9" fmla="*/ 26 h 56"/>
                    <a:gd name="T10" fmla="*/ 26 w 52"/>
                    <a:gd name="T11" fmla="*/ 0 h 56"/>
                    <a:gd name="T12" fmla="*/ 52 w 52"/>
                    <a:gd name="T13" fmla="*/ 26 h 56"/>
                    <a:gd name="T14" fmla="*/ 34 w 52"/>
                    <a:gd name="T15" fmla="*/ 51 h 56"/>
                    <a:gd name="T16" fmla="*/ 34 w 52"/>
                    <a:gd name="T17" fmla="*/ 54 h 56"/>
                    <a:gd name="T18" fmla="*/ 32 w 52"/>
                    <a:gd name="T19" fmla="*/ 56 h 56"/>
                    <a:gd name="T20" fmla="*/ 22 w 52"/>
                    <a:gd name="T21" fmla="*/ 52 h 56"/>
                    <a:gd name="T22" fmla="*/ 30 w 52"/>
                    <a:gd name="T23" fmla="*/ 52 h 56"/>
                    <a:gd name="T24" fmla="*/ 30 w 52"/>
                    <a:gd name="T25" fmla="*/ 49 h 56"/>
                    <a:gd name="T26" fmla="*/ 31 w 52"/>
                    <a:gd name="T27" fmla="*/ 47 h 56"/>
                    <a:gd name="T28" fmla="*/ 48 w 52"/>
                    <a:gd name="T29" fmla="*/ 26 h 56"/>
                    <a:gd name="T30" fmla="*/ 26 w 52"/>
                    <a:gd name="T31" fmla="*/ 4 h 56"/>
                    <a:gd name="T32" fmla="*/ 4 w 52"/>
                    <a:gd name="T33" fmla="*/ 26 h 56"/>
                    <a:gd name="T34" fmla="*/ 20 w 52"/>
                    <a:gd name="T35" fmla="*/ 47 h 56"/>
                    <a:gd name="T36" fmla="*/ 22 w 52"/>
                    <a:gd name="T37" fmla="*/ 49 h 56"/>
                    <a:gd name="T38" fmla="*/ 22 w 52"/>
                    <a:gd name="T39" fmla="*/ 5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2" h="56">
                      <a:moveTo>
                        <a:pt x="32" y="56"/>
                      </a:moveTo>
                      <a:cubicBezTo>
                        <a:pt x="20" y="56"/>
                        <a:pt x="20" y="56"/>
                        <a:pt x="20" y="56"/>
                      </a:cubicBezTo>
                      <a:cubicBezTo>
                        <a:pt x="19" y="56"/>
                        <a:pt x="18" y="55"/>
                        <a:pt x="18" y="54"/>
                      </a:cubicBezTo>
                      <a:cubicBezTo>
                        <a:pt x="18" y="51"/>
                        <a:pt x="18" y="51"/>
                        <a:pt x="18" y="51"/>
                      </a:cubicBezTo>
                      <a:cubicBezTo>
                        <a:pt x="7" y="47"/>
                        <a:pt x="0" y="37"/>
                        <a:pt x="0" y="26"/>
                      </a:cubicBezTo>
                      <a:cubicBezTo>
                        <a:pt x="0" y="12"/>
                        <a:pt x="12" y="0"/>
                        <a:pt x="26" y="0"/>
                      </a:cubicBezTo>
                      <a:cubicBezTo>
                        <a:pt x="40" y="0"/>
                        <a:pt x="52" y="12"/>
                        <a:pt x="52" y="26"/>
                      </a:cubicBezTo>
                      <a:cubicBezTo>
                        <a:pt x="52" y="37"/>
                        <a:pt x="45" y="47"/>
                        <a:pt x="34" y="51"/>
                      </a:cubicBezTo>
                      <a:cubicBezTo>
                        <a:pt x="34" y="54"/>
                        <a:pt x="34" y="54"/>
                        <a:pt x="34" y="54"/>
                      </a:cubicBezTo>
                      <a:cubicBezTo>
                        <a:pt x="34" y="55"/>
                        <a:pt x="33" y="56"/>
                        <a:pt x="32" y="56"/>
                      </a:cubicBezTo>
                      <a:close/>
                      <a:moveTo>
                        <a:pt x="22" y="52"/>
                      </a:moveTo>
                      <a:cubicBezTo>
                        <a:pt x="30" y="52"/>
                        <a:pt x="30" y="52"/>
                        <a:pt x="30" y="52"/>
                      </a:cubicBezTo>
                      <a:cubicBezTo>
                        <a:pt x="30" y="49"/>
                        <a:pt x="30" y="49"/>
                        <a:pt x="30" y="49"/>
                      </a:cubicBezTo>
                      <a:cubicBezTo>
                        <a:pt x="30" y="48"/>
                        <a:pt x="31" y="48"/>
                        <a:pt x="31" y="47"/>
                      </a:cubicBezTo>
                      <a:cubicBezTo>
                        <a:pt x="41" y="45"/>
                        <a:pt x="48" y="36"/>
                        <a:pt x="48" y="26"/>
                      </a:cubicBezTo>
                      <a:cubicBezTo>
                        <a:pt x="48" y="14"/>
                        <a:pt x="38" y="4"/>
                        <a:pt x="26" y="4"/>
                      </a:cubicBezTo>
                      <a:cubicBezTo>
                        <a:pt x="14" y="4"/>
                        <a:pt x="4" y="14"/>
                        <a:pt x="4" y="26"/>
                      </a:cubicBezTo>
                      <a:cubicBezTo>
                        <a:pt x="4" y="36"/>
                        <a:pt x="11" y="45"/>
                        <a:pt x="20" y="47"/>
                      </a:cubicBezTo>
                      <a:cubicBezTo>
                        <a:pt x="21" y="48"/>
                        <a:pt x="22" y="48"/>
                        <a:pt x="22" y="49"/>
                      </a:cubicBezTo>
                      <a:lnTo>
                        <a:pt x="22" y="52"/>
                      </a:lnTo>
                      <a:close/>
                    </a:path>
                  </a:pathLst>
                </a:custGeom>
                <a:solidFill>
                  <a:schemeClr val="bg1"/>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45" name="Freeform 33"/>
                <p:cNvSpPr>
                  <a:spLocks/>
                </p:cNvSpPr>
                <p:nvPr/>
              </p:nvSpPr>
              <p:spPr bwMode="auto">
                <a:xfrm>
                  <a:off x="5335588" y="3436938"/>
                  <a:ext cx="30163" cy="15875"/>
                </a:xfrm>
                <a:custGeom>
                  <a:avLst/>
                  <a:gdLst>
                    <a:gd name="T0" fmla="*/ 6 w 8"/>
                    <a:gd name="T1" fmla="*/ 4 h 4"/>
                    <a:gd name="T2" fmla="*/ 2 w 8"/>
                    <a:gd name="T3" fmla="*/ 4 h 4"/>
                    <a:gd name="T4" fmla="*/ 0 w 8"/>
                    <a:gd name="T5" fmla="*/ 2 h 4"/>
                    <a:gd name="T6" fmla="*/ 2 w 8"/>
                    <a:gd name="T7" fmla="*/ 0 h 4"/>
                    <a:gd name="T8" fmla="*/ 6 w 8"/>
                    <a:gd name="T9" fmla="*/ 0 h 4"/>
                    <a:gd name="T10" fmla="*/ 8 w 8"/>
                    <a:gd name="T11" fmla="*/ 2 h 4"/>
                    <a:gd name="T12" fmla="*/ 6 w 8"/>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4"/>
                      </a:moveTo>
                      <a:cubicBezTo>
                        <a:pt x="2" y="4"/>
                        <a:pt x="2" y="4"/>
                        <a:pt x="2" y="4"/>
                      </a:cubicBezTo>
                      <a:cubicBezTo>
                        <a:pt x="1" y="4"/>
                        <a:pt x="0" y="3"/>
                        <a:pt x="0" y="2"/>
                      </a:cubicBezTo>
                      <a:cubicBezTo>
                        <a:pt x="0" y="1"/>
                        <a:pt x="1" y="0"/>
                        <a:pt x="2" y="0"/>
                      </a:cubicBezTo>
                      <a:cubicBezTo>
                        <a:pt x="6" y="0"/>
                        <a:pt x="6" y="0"/>
                        <a:pt x="6" y="0"/>
                      </a:cubicBezTo>
                      <a:cubicBezTo>
                        <a:pt x="7" y="0"/>
                        <a:pt x="8" y="1"/>
                        <a:pt x="8" y="2"/>
                      </a:cubicBezTo>
                      <a:cubicBezTo>
                        <a:pt x="8" y="3"/>
                        <a:pt x="7" y="4"/>
                        <a:pt x="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 name="Freeform 34"/>
                <p:cNvSpPr>
                  <a:spLocks/>
                </p:cNvSpPr>
                <p:nvPr/>
              </p:nvSpPr>
              <p:spPr bwMode="auto">
                <a:xfrm>
                  <a:off x="5319713" y="3405188"/>
                  <a:ext cx="61913" cy="15875"/>
                </a:xfrm>
                <a:custGeom>
                  <a:avLst/>
                  <a:gdLst>
                    <a:gd name="T0" fmla="*/ 14 w 16"/>
                    <a:gd name="T1" fmla="*/ 4 h 4"/>
                    <a:gd name="T2" fmla="*/ 2 w 16"/>
                    <a:gd name="T3" fmla="*/ 4 h 4"/>
                    <a:gd name="T4" fmla="*/ 0 w 16"/>
                    <a:gd name="T5" fmla="*/ 2 h 4"/>
                    <a:gd name="T6" fmla="*/ 2 w 16"/>
                    <a:gd name="T7" fmla="*/ 0 h 4"/>
                    <a:gd name="T8" fmla="*/ 14 w 16"/>
                    <a:gd name="T9" fmla="*/ 0 h 4"/>
                    <a:gd name="T10" fmla="*/ 16 w 16"/>
                    <a:gd name="T11" fmla="*/ 2 h 4"/>
                    <a:gd name="T12" fmla="*/ 14 w 16"/>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6" h="4">
                      <a:moveTo>
                        <a:pt x="14" y="4"/>
                      </a:moveTo>
                      <a:cubicBezTo>
                        <a:pt x="2" y="4"/>
                        <a:pt x="2" y="4"/>
                        <a:pt x="2" y="4"/>
                      </a:cubicBezTo>
                      <a:cubicBezTo>
                        <a:pt x="1" y="4"/>
                        <a:pt x="0" y="3"/>
                        <a:pt x="0" y="2"/>
                      </a:cubicBezTo>
                      <a:cubicBezTo>
                        <a:pt x="0" y="1"/>
                        <a:pt x="1" y="0"/>
                        <a:pt x="2" y="0"/>
                      </a:cubicBezTo>
                      <a:cubicBezTo>
                        <a:pt x="14" y="0"/>
                        <a:pt x="14" y="0"/>
                        <a:pt x="14" y="0"/>
                      </a:cubicBezTo>
                      <a:cubicBezTo>
                        <a:pt x="15" y="0"/>
                        <a:pt x="16" y="1"/>
                        <a:pt x="16" y="2"/>
                      </a:cubicBezTo>
                      <a:cubicBezTo>
                        <a:pt x="16" y="3"/>
                        <a:pt x="15" y="4"/>
                        <a:pt x="14" y="4"/>
                      </a:cubicBezTo>
                      <a:close/>
                    </a:path>
                  </a:pathLst>
                </a:custGeom>
                <a:solidFill>
                  <a:schemeClr val="bg1"/>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47" name="Freeform 35"/>
                <p:cNvSpPr>
                  <a:spLocks/>
                </p:cNvSpPr>
                <p:nvPr/>
              </p:nvSpPr>
              <p:spPr bwMode="auto">
                <a:xfrm>
                  <a:off x="5343526" y="3113088"/>
                  <a:ext cx="14288" cy="46038"/>
                </a:xfrm>
                <a:custGeom>
                  <a:avLst/>
                  <a:gdLst>
                    <a:gd name="T0" fmla="*/ 2 w 4"/>
                    <a:gd name="T1" fmla="*/ 12 h 12"/>
                    <a:gd name="T2" fmla="*/ 0 w 4"/>
                    <a:gd name="T3" fmla="*/ 10 h 12"/>
                    <a:gd name="T4" fmla="*/ 0 w 4"/>
                    <a:gd name="T5" fmla="*/ 2 h 12"/>
                    <a:gd name="T6" fmla="*/ 2 w 4"/>
                    <a:gd name="T7" fmla="*/ 0 h 12"/>
                    <a:gd name="T8" fmla="*/ 4 w 4"/>
                    <a:gd name="T9" fmla="*/ 2 h 12"/>
                    <a:gd name="T10" fmla="*/ 4 w 4"/>
                    <a:gd name="T11" fmla="*/ 10 h 12"/>
                    <a:gd name="T12" fmla="*/ 2 w 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 h="12">
                      <a:moveTo>
                        <a:pt x="2" y="12"/>
                      </a:moveTo>
                      <a:cubicBezTo>
                        <a:pt x="1" y="12"/>
                        <a:pt x="0" y="11"/>
                        <a:pt x="0" y="10"/>
                      </a:cubicBezTo>
                      <a:cubicBezTo>
                        <a:pt x="0" y="2"/>
                        <a:pt x="0" y="2"/>
                        <a:pt x="0" y="2"/>
                      </a:cubicBezTo>
                      <a:cubicBezTo>
                        <a:pt x="0" y="1"/>
                        <a:pt x="1" y="0"/>
                        <a:pt x="2" y="0"/>
                      </a:cubicBezTo>
                      <a:cubicBezTo>
                        <a:pt x="3" y="0"/>
                        <a:pt x="4" y="1"/>
                        <a:pt x="4" y="2"/>
                      </a:cubicBezTo>
                      <a:cubicBezTo>
                        <a:pt x="4" y="10"/>
                        <a:pt x="4" y="10"/>
                        <a:pt x="4" y="10"/>
                      </a:cubicBezTo>
                      <a:cubicBezTo>
                        <a:pt x="4" y="11"/>
                        <a:pt x="3" y="12"/>
                        <a:pt x="2" y="12"/>
                      </a:cubicBezTo>
                      <a:close/>
                    </a:path>
                  </a:pathLst>
                </a:custGeom>
                <a:solidFill>
                  <a:schemeClr val="bg1"/>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48" name="Freeform 36"/>
                <p:cNvSpPr>
                  <a:spLocks/>
                </p:cNvSpPr>
                <p:nvPr/>
              </p:nvSpPr>
              <p:spPr bwMode="auto">
                <a:xfrm>
                  <a:off x="5467351" y="3267075"/>
                  <a:ext cx="47625" cy="15875"/>
                </a:xfrm>
                <a:custGeom>
                  <a:avLst/>
                  <a:gdLst>
                    <a:gd name="T0" fmla="*/ 10 w 12"/>
                    <a:gd name="T1" fmla="*/ 4 h 4"/>
                    <a:gd name="T2" fmla="*/ 2 w 12"/>
                    <a:gd name="T3" fmla="*/ 4 h 4"/>
                    <a:gd name="T4" fmla="*/ 0 w 12"/>
                    <a:gd name="T5" fmla="*/ 2 h 4"/>
                    <a:gd name="T6" fmla="*/ 2 w 12"/>
                    <a:gd name="T7" fmla="*/ 0 h 4"/>
                    <a:gd name="T8" fmla="*/ 10 w 12"/>
                    <a:gd name="T9" fmla="*/ 0 h 4"/>
                    <a:gd name="T10" fmla="*/ 12 w 12"/>
                    <a:gd name="T11" fmla="*/ 2 h 4"/>
                    <a:gd name="T12" fmla="*/ 10 w 1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2" h="4">
                      <a:moveTo>
                        <a:pt x="10" y="4"/>
                      </a:moveTo>
                      <a:cubicBezTo>
                        <a:pt x="2" y="4"/>
                        <a:pt x="2" y="4"/>
                        <a:pt x="2" y="4"/>
                      </a:cubicBezTo>
                      <a:cubicBezTo>
                        <a:pt x="1" y="4"/>
                        <a:pt x="0" y="3"/>
                        <a:pt x="0" y="2"/>
                      </a:cubicBezTo>
                      <a:cubicBezTo>
                        <a:pt x="0" y="1"/>
                        <a:pt x="1" y="0"/>
                        <a:pt x="2" y="0"/>
                      </a:cubicBezTo>
                      <a:cubicBezTo>
                        <a:pt x="10" y="0"/>
                        <a:pt x="10" y="0"/>
                        <a:pt x="10" y="0"/>
                      </a:cubicBezTo>
                      <a:cubicBezTo>
                        <a:pt x="11" y="0"/>
                        <a:pt x="12" y="1"/>
                        <a:pt x="12" y="2"/>
                      </a:cubicBezTo>
                      <a:cubicBezTo>
                        <a:pt x="12" y="3"/>
                        <a:pt x="11" y="4"/>
                        <a:pt x="10" y="4"/>
                      </a:cubicBezTo>
                      <a:close/>
                    </a:path>
                  </a:pathLst>
                </a:custGeom>
                <a:solidFill>
                  <a:schemeClr val="bg1"/>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49" name="Freeform 37"/>
                <p:cNvSpPr>
                  <a:spLocks/>
                </p:cNvSpPr>
                <p:nvPr/>
              </p:nvSpPr>
              <p:spPr bwMode="auto">
                <a:xfrm>
                  <a:off x="5187951" y="3267075"/>
                  <a:ext cx="46038" cy="15875"/>
                </a:xfrm>
                <a:custGeom>
                  <a:avLst/>
                  <a:gdLst>
                    <a:gd name="T0" fmla="*/ 10 w 12"/>
                    <a:gd name="T1" fmla="*/ 4 h 4"/>
                    <a:gd name="T2" fmla="*/ 2 w 12"/>
                    <a:gd name="T3" fmla="*/ 4 h 4"/>
                    <a:gd name="T4" fmla="*/ 0 w 12"/>
                    <a:gd name="T5" fmla="*/ 2 h 4"/>
                    <a:gd name="T6" fmla="*/ 2 w 12"/>
                    <a:gd name="T7" fmla="*/ 0 h 4"/>
                    <a:gd name="T8" fmla="*/ 10 w 12"/>
                    <a:gd name="T9" fmla="*/ 0 h 4"/>
                    <a:gd name="T10" fmla="*/ 12 w 12"/>
                    <a:gd name="T11" fmla="*/ 2 h 4"/>
                    <a:gd name="T12" fmla="*/ 10 w 1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2" h="4">
                      <a:moveTo>
                        <a:pt x="10" y="4"/>
                      </a:moveTo>
                      <a:cubicBezTo>
                        <a:pt x="2" y="4"/>
                        <a:pt x="2" y="4"/>
                        <a:pt x="2" y="4"/>
                      </a:cubicBezTo>
                      <a:cubicBezTo>
                        <a:pt x="1" y="4"/>
                        <a:pt x="0" y="3"/>
                        <a:pt x="0" y="2"/>
                      </a:cubicBezTo>
                      <a:cubicBezTo>
                        <a:pt x="0" y="1"/>
                        <a:pt x="1" y="0"/>
                        <a:pt x="2" y="0"/>
                      </a:cubicBezTo>
                      <a:cubicBezTo>
                        <a:pt x="10" y="0"/>
                        <a:pt x="10" y="0"/>
                        <a:pt x="10" y="0"/>
                      </a:cubicBezTo>
                      <a:cubicBezTo>
                        <a:pt x="11" y="0"/>
                        <a:pt x="12" y="1"/>
                        <a:pt x="12" y="2"/>
                      </a:cubicBezTo>
                      <a:cubicBezTo>
                        <a:pt x="12" y="3"/>
                        <a:pt x="11" y="4"/>
                        <a:pt x="10" y="4"/>
                      </a:cubicBezTo>
                      <a:close/>
                    </a:path>
                  </a:pathLst>
                </a:custGeom>
                <a:solidFill>
                  <a:schemeClr val="bg1"/>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50" name="Freeform 38"/>
                <p:cNvSpPr>
                  <a:spLocks/>
                </p:cNvSpPr>
                <p:nvPr/>
              </p:nvSpPr>
              <p:spPr bwMode="auto">
                <a:xfrm>
                  <a:off x="5222876" y="3146425"/>
                  <a:ext cx="50800" cy="47625"/>
                </a:xfrm>
                <a:custGeom>
                  <a:avLst/>
                  <a:gdLst>
                    <a:gd name="T0" fmla="*/ 10 w 13"/>
                    <a:gd name="T1" fmla="*/ 12 h 12"/>
                    <a:gd name="T2" fmla="*/ 9 w 13"/>
                    <a:gd name="T3" fmla="*/ 12 h 12"/>
                    <a:gd name="T4" fmla="*/ 0 w 13"/>
                    <a:gd name="T5" fmla="*/ 3 h 12"/>
                    <a:gd name="T6" fmla="*/ 0 w 13"/>
                    <a:gd name="T7" fmla="*/ 0 h 12"/>
                    <a:gd name="T8" fmla="*/ 3 w 13"/>
                    <a:gd name="T9" fmla="*/ 0 h 12"/>
                    <a:gd name="T10" fmla="*/ 12 w 13"/>
                    <a:gd name="T11" fmla="*/ 9 h 12"/>
                    <a:gd name="T12" fmla="*/ 12 w 13"/>
                    <a:gd name="T13" fmla="*/ 12 h 12"/>
                    <a:gd name="T14" fmla="*/ 10 w 13"/>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2">
                      <a:moveTo>
                        <a:pt x="10" y="12"/>
                      </a:moveTo>
                      <a:cubicBezTo>
                        <a:pt x="10" y="12"/>
                        <a:pt x="9" y="12"/>
                        <a:pt x="9" y="12"/>
                      </a:cubicBezTo>
                      <a:cubicBezTo>
                        <a:pt x="0" y="3"/>
                        <a:pt x="0" y="3"/>
                        <a:pt x="0" y="3"/>
                      </a:cubicBezTo>
                      <a:cubicBezTo>
                        <a:pt x="0" y="3"/>
                        <a:pt x="0" y="1"/>
                        <a:pt x="0" y="0"/>
                      </a:cubicBezTo>
                      <a:cubicBezTo>
                        <a:pt x="1" y="0"/>
                        <a:pt x="3" y="0"/>
                        <a:pt x="3" y="0"/>
                      </a:cubicBezTo>
                      <a:cubicBezTo>
                        <a:pt x="12" y="9"/>
                        <a:pt x="12" y="9"/>
                        <a:pt x="12" y="9"/>
                      </a:cubicBezTo>
                      <a:cubicBezTo>
                        <a:pt x="13" y="10"/>
                        <a:pt x="13" y="11"/>
                        <a:pt x="12" y="12"/>
                      </a:cubicBezTo>
                      <a:cubicBezTo>
                        <a:pt x="11" y="12"/>
                        <a:pt x="11" y="12"/>
                        <a:pt x="10" y="12"/>
                      </a:cubicBezTo>
                      <a:close/>
                    </a:path>
                  </a:pathLst>
                </a:custGeom>
                <a:solidFill>
                  <a:schemeClr val="bg1"/>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51" name="Freeform 39"/>
                <p:cNvSpPr>
                  <a:spLocks/>
                </p:cNvSpPr>
                <p:nvPr/>
              </p:nvSpPr>
              <p:spPr bwMode="auto">
                <a:xfrm>
                  <a:off x="5429251" y="3146425"/>
                  <a:ext cx="49213" cy="47625"/>
                </a:xfrm>
                <a:custGeom>
                  <a:avLst/>
                  <a:gdLst>
                    <a:gd name="T0" fmla="*/ 3 w 13"/>
                    <a:gd name="T1" fmla="*/ 12 h 12"/>
                    <a:gd name="T2" fmla="*/ 1 w 13"/>
                    <a:gd name="T3" fmla="*/ 12 h 12"/>
                    <a:gd name="T4" fmla="*/ 1 w 13"/>
                    <a:gd name="T5" fmla="*/ 9 h 12"/>
                    <a:gd name="T6" fmla="*/ 10 w 13"/>
                    <a:gd name="T7" fmla="*/ 0 h 12"/>
                    <a:gd name="T8" fmla="*/ 13 w 13"/>
                    <a:gd name="T9" fmla="*/ 0 h 12"/>
                    <a:gd name="T10" fmla="*/ 13 w 13"/>
                    <a:gd name="T11" fmla="*/ 3 h 12"/>
                    <a:gd name="T12" fmla="*/ 4 w 13"/>
                    <a:gd name="T13" fmla="*/ 12 h 12"/>
                    <a:gd name="T14" fmla="*/ 3 w 13"/>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2">
                      <a:moveTo>
                        <a:pt x="3" y="12"/>
                      </a:moveTo>
                      <a:cubicBezTo>
                        <a:pt x="2" y="12"/>
                        <a:pt x="2" y="12"/>
                        <a:pt x="1" y="12"/>
                      </a:cubicBezTo>
                      <a:cubicBezTo>
                        <a:pt x="0" y="11"/>
                        <a:pt x="0" y="10"/>
                        <a:pt x="1" y="9"/>
                      </a:cubicBezTo>
                      <a:cubicBezTo>
                        <a:pt x="10" y="0"/>
                        <a:pt x="10" y="0"/>
                        <a:pt x="10" y="0"/>
                      </a:cubicBezTo>
                      <a:cubicBezTo>
                        <a:pt x="10" y="0"/>
                        <a:pt x="12" y="0"/>
                        <a:pt x="13" y="0"/>
                      </a:cubicBezTo>
                      <a:cubicBezTo>
                        <a:pt x="13" y="1"/>
                        <a:pt x="13" y="3"/>
                        <a:pt x="13" y="3"/>
                      </a:cubicBezTo>
                      <a:cubicBezTo>
                        <a:pt x="4" y="12"/>
                        <a:pt x="4" y="12"/>
                        <a:pt x="4" y="12"/>
                      </a:cubicBezTo>
                      <a:cubicBezTo>
                        <a:pt x="4" y="12"/>
                        <a:pt x="3" y="12"/>
                        <a:pt x="3" y="12"/>
                      </a:cubicBezTo>
                      <a:close/>
                    </a:path>
                  </a:pathLst>
                </a:custGeom>
                <a:solidFill>
                  <a:schemeClr val="bg1"/>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grpSp>
          <p:grpSp>
            <p:nvGrpSpPr>
              <p:cNvPr id="36" name="Group 35"/>
              <p:cNvGrpSpPr>
                <a:grpSpLocks noChangeAspect="1"/>
              </p:cNvGrpSpPr>
              <p:nvPr/>
            </p:nvGrpSpPr>
            <p:grpSpPr>
              <a:xfrm>
                <a:off x="3582521" y="4639509"/>
                <a:ext cx="359999" cy="360000"/>
                <a:chOff x="5222875" y="3213100"/>
                <a:chExt cx="371475" cy="371476"/>
              </a:xfrm>
              <a:solidFill>
                <a:schemeClr val="bg1"/>
              </a:solidFill>
            </p:grpSpPr>
            <p:sp>
              <p:nvSpPr>
                <p:cNvPr id="37" name="Freeform 43"/>
                <p:cNvSpPr>
                  <a:spLocks noEditPoints="1"/>
                </p:cNvSpPr>
                <p:nvPr/>
              </p:nvSpPr>
              <p:spPr bwMode="auto">
                <a:xfrm>
                  <a:off x="5440363" y="3522663"/>
                  <a:ext cx="107950" cy="61913"/>
                </a:xfrm>
                <a:custGeom>
                  <a:avLst/>
                  <a:gdLst>
                    <a:gd name="T0" fmla="*/ 26 w 28"/>
                    <a:gd name="T1" fmla="*/ 16 h 16"/>
                    <a:gd name="T2" fmla="*/ 2 w 28"/>
                    <a:gd name="T3" fmla="*/ 16 h 16"/>
                    <a:gd name="T4" fmla="*/ 0 w 28"/>
                    <a:gd name="T5" fmla="*/ 14 h 16"/>
                    <a:gd name="T6" fmla="*/ 0 w 28"/>
                    <a:gd name="T7" fmla="*/ 2 h 16"/>
                    <a:gd name="T8" fmla="*/ 2 w 28"/>
                    <a:gd name="T9" fmla="*/ 0 h 16"/>
                    <a:gd name="T10" fmla="*/ 26 w 28"/>
                    <a:gd name="T11" fmla="*/ 0 h 16"/>
                    <a:gd name="T12" fmla="*/ 28 w 28"/>
                    <a:gd name="T13" fmla="*/ 2 h 16"/>
                    <a:gd name="T14" fmla="*/ 28 w 28"/>
                    <a:gd name="T15" fmla="*/ 14 h 16"/>
                    <a:gd name="T16" fmla="*/ 26 w 28"/>
                    <a:gd name="T17" fmla="*/ 16 h 16"/>
                    <a:gd name="T18" fmla="*/ 4 w 28"/>
                    <a:gd name="T19" fmla="*/ 12 h 16"/>
                    <a:gd name="T20" fmla="*/ 24 w 28"/>
                    <a:gd name="T21" fmla="*/ 12 h 16"/>
                    <a:gd name="T22" fmla="*/ 24 w 28"/>
                    <a:gd name="T23" fmla="*/ 4 h 16"/>
                    <a:gd name="T24" fmla="*/ 4 w 28"/>
                    <a:gd name="T25" fmla="*/ 4 h 16"/>
                    <a:gd name="T26" fmla="*/ 4 w 28"/>
                    <a:gd name="T27" fmla="*/ 1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16">
                      <a:moveTo>
                        <a:pt x="26" y="16"/>
                      </a:moveTo>
                      <a:cubicBezTo>
                        <a:pt x="2" y="16"/>
                        <a:pt x="2" y="16"/>
                        <a:pt x="2" y="16"/>
                      </a:cubicBezTo>
                      <a:cubicBezTo>
                        <a:pt x="1" y="16"/>
                        <a:pt x="0" y="15"/>
                        <a:pt x="0" y="14"/>
                      </a:cubicBezTo>
                      <a:cubicBezTo>
                        <a:pt x="0" y="2"/>
                        <a:pt x="0" y="2"/>
                        <a:pt x="0" y="2"/>
                      </a:cubicBezTo>
                      <a:cubicBezTo>
                        <a:pt x="0" y="1"/>
                        <a:pt x="1" y="0"/>
                        <a:pt x="2" y="0"/>
                      </a:cubicBezTo>
                      <a:cubicBezTo>
                        <a:pt x="26" y="0"/>
                        <a:pt x="26" y="0"/>
                        <a:pt x="26" y="0"/>
                      </a:cubicBezTo>
                      <a:cubicBezTo>
                        <a:pt x="27" y="0"/>
                        <a:pt x="28" y="1"/>
                        <a:pt x="28" y="2"/>
                      </a:cubicBezTo>
                      <a:cubicBezTo>
                        <a:pt x="28" y="14"/>
                        <a:pt x="28" y="14"/>
                        <a:pt x="28" y="14"/>
                      </a:cubicBezTo>
                      <a:cubicBezTo>
                        <a:pt x="28" y="15"/>
                        <a:pt x="27" y="16"/>
                        <a:pt x="26" y="16"/>
                      </a:cubicBezTo>
                      <a:close/>
                      <a:moveTo>
                        <a:pt x="4" y="12"/>
                      </a:moveTo>
                      <a:cubicBezTo>
                        <a:pt x="24" y="12"/>
                        <a:pt x="24" y="12"/>
                        <a:pt x="24" y="12"/>
                      </a:cubicBezTo>
                      <a:cubicBezTo>
                        <a:pt x="24" y="4"/>
                        <a:pt x="24" y="4"/>
                        <a:pt x="24" y="4"/>
                      </a:cubicBezTo>
                      <a:cubicBezTo>
                        <a:pt x="4" y="4"/>
                        <a:pt x="4" y="4"/>
                        <a:pt x="4" y="4"/>
                      </a:cubicBezTo>
                      <a:lnTo>
                        <a:pt x="4"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Freeform 44"/>
                <p:cNvSpPr>
                  <a:spLocks/>
                </p:cNvSpPr>
                <p:nvPr/>
              </p:nvSpPr>
              <p:spPr bwMode="auto">
                <a:xfrm>
                  <a:off x="5454650" y="3309938"/>
                  <a:ext cx="139700" cy="228600"/>
                </a:xfrm>
                <a:custGeom>
                  <a:avLst/>
                  <a:gdLst>
                    <a:gd name="T0" fmla="*/ 18 w 36"/>
                    <a:gd name="T1" fmla="*/ 59 h 59"/>
                    <a:gd name="T2" fmla="*/ 16 w 36"/>
                    <a:gd name="T3" fmla="*/ 57 h 59"/>
                    <a:gd name="T4" fmla="*/ 16 w 36"/>
                    <a:gd name="T5" fmla="*/ 51 h 59"/>
                    <a:gd name="T6" fmla="*/ 17 w 36"/>
                    <a:gd name="T7" fmla="*/ 49 h 59"/>
                    <a:gd name="T8" fmla="*/ 32 w 36"/>
                    <a:gd name="T9" fmla="*/ 34 h 59"/>
                    <a:gd name="T10" fmla="*/ 32 w 36"/>
                    <a:gd name="T11" fmla="*/ 5 h 59"/>
                    <a:gd name="T12" fmla="*/ 31 w 36"/>
                    <a:gd name="T13" fmla="*/ 5 h 59"/>
                    <a:gd name="T14" fmla="*/ 26 w 36"/>
                    <a:gd name="T15" fmla="*/ 27 h 59"/>
                    <a:gd name="T16" fmla="*/ 25 w 36"/>
                    <a:gd name="T17" fmla="*/ 28 h 59"/>
                    <a:gd name="T18" fmla="*/ 14 w 36"/>
                    <a:gd name="T19" fmla="*/ 40 h 59"/>
                    <a:gd name="T20" fmla="*/ 11 w 36"/>
                    <a:gd name="T21" fmla="*/ 41 h 59"/>
                    <a:gd name="T22" fmla="*/ 10 w 36"/>
                    <a:gd name="T23" fmla="*/ 38 h 59"/>
                    <a:gd name="T24" fmla="*/ 13 w 36"/>
                    <a:gd name="T25" fmla="*/ 26 h 59"/>
                    <a:gd name="T26" fmla="*/ 12 w 36"/>
                    <a:gd name="T27" fmla="*/ 23 h 59"/>
                    <a:gd name="T28" fmla="*/ 10 w 36"/>
                    <a:gd name="T29" fmla="*/ 24 h 59"/>
                    <a:gd name="T30" fmla="*/ 4 w 36"/>
                    <a:gd name="T31" fmla="*/ 39 h 59"/>
                    <a:gd name="T32" fmla="*/ 4 w 36"/>
                    <a:gd name="T33" fmla="*/ 57 h 59"/>
                    <a:gd name="T34" fmla="*/ 2 w 36"/>
                    <a:gd name="T35" fmla="*/ 59 h 59"/>
                    <a:gd name="T36" fmla="*/ 0 w 36"/>
                    <a:gd name="T37" fmla="*/ 57 h 59"/>
                    <a:gd name="T38" fmla="*/ 0 w 36"/>
                    <a:gd name="T39" fmla="*/ 39 h 59"/>
                    <a:gd name="T40" fmla="*/ 0 w 36"/>
                    <a:gd name="T41" fmla="*/ 38 h 59"/>
                    <a:gd name="T42" fmla="*/ 6 w 36"/>
                    <a:gd name="T43" fmla="*/ 22 h 59"/>
                    <a:gd name="T44" fmla="*/ 14 w 36"/>
                    <a:gd name="T45" fmla="*/ 19 h 59"/>
                    <a:gd name="T46" fmla="*/ 17 w 36"/>
                    <a:gd name="T47" fmla="*/ 27 h 59"/>
                    <a:gd name="T48" fmla="*/ 16 w 36"/>
                    <a:gd name="T49" fmla="*/ 33 h 59"/>
                    <a:gd name="T50" fmla="*/ 22 w 36"/>
                    <a:gd name="T51" fmla="*/ 26 h 59"/>
                    <a:gd name="T52" fmla="*/ 29 w 36"/>
                    <a:gd name="T53" fmla="*/ 2 h 59"/>
                    <a:gd name="T54" fmla="*/ 35 w 36"/>
                    <a:gd name="T55" fmla="*/ 1 h 59"/>
                    <a:gd name="T56" fmla="*/ 36 w 36"/>
                    <a:gd name="T57" fmla="*/ 3 h 59"/>
                    <a:gd name="T58" fmla="*/ 36 w 36"/>
                    <a:gd name="T59" fmla="*/ 35 h 59"/>
                    <a:gd name="T60" fmla="*/ 35 w 36"/>
                    <a:gd name="T61" fmla="*/ 36 h 59"/>
                    <a:gd name="T62" fmla="*/ 20 w 36"/>
                    <a:gd name="T63" fmla="*/ 52 h 59"/>
                    <a:gd name="T64" fmla="*/ 20 w 36"/>
                    <a:gd name="T65" fmla="*/ 57 h 59"/>
                    <a:gd name="T66" fmla="*/ 18 w 36"/>
                    <a:gd name="T67"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6" h="59">
                      <a:moveTo>
                        <a:pt x="18" y="59"/>
                      </a:moveTo>
                      <a:cubicBezTo>
                        <a:pt x="17" y="59"/>
                        <a:pt x="16" y="58"/>
                        <a:pt x="16" y="57"/>
                      </a:cubicBezTo>
                      <a:cubicBezTo>
                        <a:pt x="16" y="51"/>
                        <a:pt x="16" y="51"/>
                        <a:pt x="16" y="51"/>
                      </a:cubicBezTo>
                      <a:cubicBezTo>
                        <a:pt x="16" y="50"/>
                        <a:pt x="16" y="50"/>
                        <a:pt x="17" y="49"/>
                      </a:cubicBezTo>
                      <a:cubicBezTo>
                        <a:pt x="17" y="49"/>
                        <a:pt x="28" y="38"/>
                        <a:pt x="32" y="34"/>
                      </a:cubicBezTo>
                      <a:cubicBezTo>
                        <a:pt x="32" y="5"/>
                        <a:pt x="32" y="5"/>
                        <a:pt x="32" y="5"/>
                      </a:cubicBezTo>
                      <a:cubicBezTo>
                        <a:pt x="32" y="5"/>
                        <a:pt x="31" y="5"/>
                        <a:pt x="31" y="5"/>
                      </a:cubicBezTo>
                      <a:cubicBezTo>
                        <a:pt x="29" y="7"/>
                        <a:pt x="26" y="11"/>
                        <a:pt x="26" y="27"/>
                      </a:cubicBezTo>
                      <a:cubicBezTo>
                        <a:pt x="26" y="28"/>
                        <a:pt x="26" y="28"/>
                        <a:pt x="25" y="28"/>
                      </a:cubicBezTo>
                      <a:cubicBezTo>
                        <a:pt x="14" y="40"/>
                        <a:pt x="14" y="40"/>
                        <a:pt x="14" y="40"/>
                      </a:cubicBezTo>
                      <a:cubicBezTo>
                        <a:pt x="13" y="41"/>
                        <a:pt x="12" y="41"/>
                        <a:pt x="11" y="41"/>
                      </a:cubicBezTo>
                      <a:cubicBezTo>
                        <a:pt x="10" y="40"/>
                        <a:pt x="10" y="39"/>
                        <a:pt x="10" y="38"/>
                      </a:cubicBezTo>
                      <a:cubicBezTo>
                        <a:pt x="13" y="26"/>
                        <a:pt x="13" y="26"/>
                        <a:pt x="13" y="26"/>
                      </a:cubicBezTo>
                      <a:cubicBezTo>
                        <a:pt x="13" y="24"/>
                        <a:pt x="13" y="23"/>
                        <a:pt x="12" y="23"/>
                      </a:cubicBezTo>
                      <a:cubicBezTo>
                        <a:pt x="11" y="23"/>
                        <a:pt x="11" y="23"/>
                        <a:pt x="10" y="24"/>
                      </a:cubicBezTo>
                      <a:cubicBezTo>
                        <a:pt x="8" y="27"/>
                        <a:pt x="5" y="36"/>
                        <a:pt x="4" y="39"/>
                      </a:cubicBezTo>
                      <a:cubicBezTo>
                        <a:pt x="4" y="57"/>
                        <a:pt x="4" y="57"/>
                        <a:pt x="4" y="57"/>
                      </a:cubicBezTo>
                      <a:cubicBezTo>
                        <a:pt x="4" y="58"/>
                        <a:pt x="3" y="59"/>
                        <a:pt x="2" y="59"/>
                      </a:cubicBezTo>
                      <a:cubicBezTo>
                        <a:pt x="1" y="59"/>
                        <a:pt x="0" y="58"/>
                        <a:pt x="0" y="57"/>
                      </a:cubicBezTo>
                      <a:cubicBezTo>
                        <a:pt x="0" y="39"/>
                        <a:pt x="0" y="39"/>
                        <a:pt x="0" y="39"/>
                      </a:cubicBezTo>
                      <a:cubicBezTo>
                        <a:pt x="0" y="39"/>
                        <a:pt x="0" y="39"/>
                        <a:pt x="0" y="38"/>
                      </a:cubicBezTo>
                      <a:cubicBezTo>
                        <a:pt x="0" y="38"/>
                        <a:pt x="4" y="26"/>
                        <a:pt x="6" y="22"/>
                      </a:cubicBezTo>
                      <a:cubicBezTo>
                        <a:pt x="8" y="19"/>
                        <a:pt x="12" y="18"/>
                        <a:pt x="14" y="19"/>
                      </a:cubicBezTo>
                      <a:cubicBezTo>
                        <a:pt x="16" y="20"/>
                        <a:pt x="18" y="23"/>
                        <a:pt x="17" y="27"/>
                      </a:cubicBezTo>
                      <a:cubicBezTo>
                        <a:pt x="16" y="33"/>
                        <a:pt x="16" y="33"/>
                        <a:pt x="16" y="33"/>
                      </a:cubicBezTo>
                      <a:cubicBezTo>
                        <a:pt x="22" y="26"/>
                        <a:pt x="22" y="26"/>
                        <a:pt x="22" y="26"/>
                      </a:cubicBezTo>
                      <a:cubicBezTo>
                        <a:pt x="22" y="13"/>
                        <a:pt x="24" y="5"/>
                        <a:pt x="29" y="2"/>
                      </a:cubicBezTo>
                      <a:cubicBezTo>
                        <a:pt x="32" y="0"/>
                        <a:pt x="34" y="1"/>
                        <a:pt x="35" y="1"/>
                      </a:cubicBezTo>
                      <a:cubicBezTo>
                        <a:pt x="35" y="1"/>
                        <a:pt x="36" y="2"/>
                        <a:pt x="36" y="3"/>
                      </a:cubicBezTo>
                      <a:cubicBezTo>
                        <a:pt x="36" y="35"/>
                        <a:pt x="36" y="35"/>
                        <a:pt x="36" y="35"/>
                      </a:cubicBezTo>
                      <a:cubicBezTo>
                        <a:pt x="36" y="36"/>
                        <a:pt x="36" y="36"/>
                        <a:pt x="35" y="36"/>
                      </a:cubicBezTo>
                      <a:cubicBezTo>
                        <a:pt x="33" y="39"/>
                        <a:pt x="23" y="49"/>
                        <a:pt x="20" y="52"/>
                      </a:cubicBezTo>
                      <a:cubicBezTo>
                        <a:pt x="20" y="57"/>
                        <a:pt x="20" y="57"/>
                        <a:pt x="20" y="57"/>
                      </a:cubicBezTo>
                      <a:cubicBezTo>
                        <a:pt x="20" y="58"/>
                        <a:pt x="19" y="59"/>
                        <a:pt x="18"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Freeform 45"/>
                <p:cNvSpPr>
                  <a:spLocks noEditPoints="1"/>
                </p:cNvSpPr>
                <p:nvPr/>
              </p:nvSpPr>
              <p:spPr bwMode="auto">
                <a:xfrm>
                  <a:off x="5268913" y="3522663"/>
                  <a:ext cx="109538" cy="61913"/>
                </a:xfrm>
                <a:custGeom>
                  <a:avLst/>
                  <a:gdLst>
                    <a:gd name="T0" fmla="*/ 26 w 28"/>
                    <a:gd name="T1" fmla="*/ 16 h 16"/>
                    <a:gd name="T2" fmla="*/ 2 w 28"/>
                    <a:gd name="T3" fmla="*/ 16 h 16"/>
                    <a:gd name="T4" fmla="*/ 0 w 28"/>
                    <a:gd name="T5" fmla="*/ 14 h 16"/>
                    <a:gd name="T6" fmla="*/ 0 w 28"/>
                    <a:gd name="T7" fmla="*/ 2 h 16"/>
                    <a:gd name="T8" fmla="*/ 2 w 28"/>
                    <a:gd name="T9" fmla="*/ 0 h 16"/>
                    <a:gd name="T10" fmla="*/ 26 w 28"/>
                    <a:gd name="T11" fmla="*/ 0 h 16"/>
                    <a:gd name="T12" fmla="*/ 28 w 28"/>
                    <a:gd name="T13" fmla="*/ 2 h 16"/>
                    <a:gd name="T14" fmla="*/ 28 w 28"/>
                    <a:gd name="T15" fmla="*/ 14 h 16"/>
                    <a:gd name="T16" fmla="*/ 26 w 28"/>
                    <a:gd name="T17" fmla="*/ 16 h 16"/>
                    <a:gd name="T18" fmla="*/ 4 w 28"/>
                    <a:gd name="T19" fmla="*/ 12 h 16"/>
                    <a:gd name="T20" fmla="*/ 24 w 28"/>
                    <a:gd name="T21" fmla="*/ 12 h 16"/>
                    <a:gd name="T22" fmla="*/ 24 w 28"/>
                    <a:gd name="T23" fmla="*/ 4 h 16"/>
                    <a:gd name="T24" fmla="*/ 4 w 28"/>
                    <a:gd name="T25" fmla="*/ 4 h 16"/>
                    <a:gd name="T26" fmla="*/ 4 w 28"/>
                    <a:gd name="T27" fmla="*/ 1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16">
                      <a:moveTo>
                        <a:pt x="26" y="16"/>
                      </a:moveTo>
                      <a:cubicBezTo>
                        <a:pt x="2" y="16"/>
                        <a:pt x="2" y="16"/>
                        <a:pt x="2" y="16"/>
                      </a:cubicBezTo>
                      <a:cubicBezTo>
                        <a:pt x="1" y="16"/>
                        <a:pt x="0" y="15"/>
                        <a:pt x="0" y="14"/>
                      </a:cubicBezTo>
                      <a:cubicBezTo>
                        <a:pt x="0" y="2"/>
                        <a:pt x="0" y="2"/>
                        <a:pt x="0" y="2"/>
                      </a:cubicBezTo>
                      <a:cubicBezTo>
                        <a:pt x="0" y="1"/>
                        <a:pt x="1" y="0"/>
                        <a:pt x="2" y="0"/>
                      </a:cubicBezTo>
                      <a:cubicBezTo>
                        <a:pt x="26" y="0"/>
                        <a:pt x="26" y="0"/>
                        <a:pt x="26" y="0"/>
                      </a:cubicBezTo>
                      <a:cubicBezTo>
                        <a:pt x="27" y="0"/>
                        <a:pt x="28" y="1"/>
                        <a:pt x="28" y="2"/>
                      </a:cubicBezTo>
                      <a:cubicBezTo>
                        <a:pt x="28" y="14"/>
                        <a:pt x="28" y="14"/>
                        <a:pt x="28" y="14"/>
                      </a:cubicBezTo>
                      <a:cubicBezTo>
                        <a:pt x="28" y="15"/>
                        <a:pt x="27" y="16"/>
                        <a:pt x="26" y="16"/>
                      </a:cubicBezTo>
                      <a:close/>
                      <a:moveTo>
                        <a:pt x="4" y="12"/>
                      </a:moveTo>
                      <a:cubicBezTo>
                        <a:pt x="24" y="12"/>
                        <a:pt x="24" y="12"/>
                        <a:pt x="24" y="12"/>
                      </a:cubicBezTo>
                      <a:cubicBezTo>
                        <a:pt x="24" y="4"/>
                        <a:pt x="24" y="4"/>
                        <a:pt x="24" y="4"/>
                      </a:cubicBezTo>
                      <a:cubicBezTo>
                        <a:pt x="4" y="4"/>
                        <a:pt x="4" y="4"/>
                        <a:pt x="4" y="4"/>
                      </a:cubicBezTo>
                      <a:lnTo>
                        <a:pt x="4"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46"/>
                <p:cNvSpPr>
                  <a:spLocks/>
                </p:cNvSpPr>
                <p:nvPr/>
              </p:nvSpPr>
              <p:spPr bwMode="auto">
                <a:xfrm>
                  <a:off x="5222875" y="3309938"/>
                  <a:ext cx="139700" cy="228600"/>
                </a:xfrm>
                <a:custGeom>
                  <a:avLst/>
                  <a:gdLst>
                    <a:gd name="T0" fmla="*/ 34 w 36"/>
                    <a:gd name="T1" fmla="*/ 59 h 59"/>
                    <a:gd name="T2" fmla="*/ 32 w 36"/>
                    <a:gd name="T3" fmla="*/ 57 h 59"/>
                    <a:gd name="T4" fmla="*/ 32 w 36"/>
                    <a:gd name="T5" fmla="*/ 39 h 59"/>
                    <a:gd name="T6" fmla="*/ 26 w 36"/>
                    <a:gd name="T7" fmla="*/ 24 h 59"/>
                    <a:gd name="T8" fmla="*/ 24 w 36"/>
                    <a:gd name="T9" fmla="*/ 23 h 59"/>
                    <a:gd name="T10" fmla="*/ 23 w 36"/>
                    <a:gd name="T11" fmla="*/ 26 h 59"/>
                    <a:gd name="T12" fmla="*/ 26 w 36"/>
                    <a:gd name="T13" fmla="*/ 38 h 59"/>
                    <a:gd name="T14" fmla="*/ 25 w 36"/>
                    <a:gd name="T15" fmla="*/ 41 h 59"/>
                    <a:gd name="T16" fmla="*/ 22 w 36"/>
                    <a:gd name="T17" fmla="*/ 40 h 59"/>
                    <a:gd name="T18" fmla="*/ 11 w 36"/>
                    <a:gd name="T19" fmla="*/ 28 h 59"/>
                    <a:gd name="T20" fmla="*/ 10 w 36"/>
                    <a:gd name="T21" fmla="*/ 27 h 59"/>
                    <a:gd name="T22" fmla="*/ 5 w 36"/>
                    <a:gd name="T23" fmla="*/ 5 h 59"/>
                    <a:gd name="T24" fmla="*/ 4 w 36"/>
                    <a:gd name="T25" fmla="*/ 5 h 59"/>
                    <a:gd name="T26" fmla="*/ 4 w 36"/>
                    <a:gd name="T27" fmla="*/ 34 h 59"/>
                    <a:gd name="T28" fmla="*/ 19 w 36"/>
                    <a:gd name="T29" fmla="*/ 49 h 59"/>
                    <a:gd name="T30" fmla="*/ 20 w 36"/>
                    <a:gd name="T31" fmla="*/ 51 h 59"/>
                    <a:gd name="T32" fmla="*/ 20 w 36"/>
                    <a:gd name="T33" fmla="*/ 57 h 59"/>
                    <a:gd name="T34" fmla="*/ 18 w 36"/>
                    <a:gd name="T35" fmla="*/ 59 h 59"/>
                    <a:gd name="T36" fmla="*/ 16 w 36"/>
                    <a:gd name="T37" fmla="*/ 57 h 59"/>
                    <a:gd name="T38" fmla="*/ 16 w 36"/>
                    <a:gd name="T39" fmla="*/ 52 h 59"/>
                    <a:gd name="T40" fmla="*/ 1 w 36"/>
                    <a:gd name="T41" fmla="*/ 37 h 59"/>
                    <a:gd name="T42" fmla="*/ 0 w 36"/>
                    <a:gd name="T43" fmla="*/ 35 h 59"/>
                    <a:gd name="T44" fmla="*/ 0 w 36"/>
                    <a:gd name="T45" fmla="*/ 3 h 59"/>
                    <a:gd name="T46" fmla="*/ 1 w 36"/>
                    <a:gd name="T47" fmla="*/ 1 h 59"/>
                    <a:gd name="T48" fmla="*/ 7 w 36"/>
                    <a:gd name="T49" fmla="*/ 2 h 59"/>
                    <a:gd name="T50" fmla="*/ 14 w 36"/>
                    <a:gd name="T51" fmla="*/ 26 h 59"/>
                    <a:gd name="T52" fmla="*/ 20 w 36"/>
                    <a:gd name="T53" fmla="*/ 33 h 59"/>
                    <a:gd name="T54" fmla="*/ 19 w 36"/>
                    <a:gd name="T55" fmla="*/ 27 h 59"/>
                    <a:gd name="T56" fmla="*/ 22 w 36"/>
                    <a:gd name="T57" fmla="*/ 19 h 59"/>
                    <a:gd name="T58" fmla="*/ 30 w 36"/>
                    <a:gd name="T59" fmla="*/ 22 h 59"/>
                    <a:gd name="T60" fmla="*/ 36 w 36"/>
                    <a:gd name="T61" fmla="*/ 38 h 59"/>
                    <a:gd name="T62" fmla="*/ 36 w 36"/>
                    <a:gd name="T63" fmla="*/ 39 h 59"/>
                    <a:gd name="T64" fmla="*/ 36 w 36"/>
                    <a:gd name="T65" fmla="*/ 57 h 59"/>
                    <a:gd name="T66" fmla="*/ 34 w 36"/>
                    <a:gd name="T67"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6" h="59">
                      <a:moveTo>
                        <a:pt x="34" y="59"/>
                      </a:moveTo>
                      <a:cubicBezTo>
                        <a:pt x="33" y="59"/>
                        <a:pt x="32" y="58"/>
                        <a:pt x="32" y="57"/>
                      </a:cubicBezTo>
                      <a:cubicBezTo>
                        <a:pt x="32" y="39"/>
                        <a:pt x="32" y="39"/>
                        <a:pt x="32" y="39"/>
                      </a:cubicBezTo>
                      <a:cubicBezTo>
                        <a:pt x="31" y="36"/>
                        <a:pt x="28" y="27"/>
                        <a:pt x="26" y="24"/>
                      </a:cubicBezTo>
                      <a:cubicBezTo>
                        <a:pt x="25" y="23"/>
                        <a:pt x="25" y="23"/>
                        <a:pt x="24" y="23"/>
                      </a:cubicBezTo>
                      <a:cubicBezTo>
                        <a:pt x="23" y="23"/>
                        <a:pt x="23" y="24"/>
                        <a:pt x="23" y="26"/>
                      </a:cubicBezTo>
                      <a:cubicBezTo>
                        <a:pt x="26" y="38"/>
                        <a:pt x="26" y="38"/>
                        <a:pt x="26" y="38"/>
                      </a:cubicBezTo>
                      <a:cubicBezTo>
                        <a:pt x="26" y="39"/>
                        <a:pt x="26" y="40"/>
                        <a:pt x="25" y="41"/>
                      </a:cubicBezTo>
                      <a:cubicBezTo>
                        <a:pt x="24" y="41"/>
                        <a:pt x="23" y="41"/>
                        <a:pt x="22" y="40"/>
                      </a:cubicBezTo>
                      <a:cubicBezTo>
                        <a:pt x="11" y="28"/>
                        <a:pt x="11" y="28"/>
                        <a:pt x="11" y="28"/>
                      </a:cubicBezTo>
                      <a:cubicBezTo>
                        <a:pt x="10" y="28"/>
                        <a:pt x="10" y="28"/>
                        <a:pt x="10" y="27"/>
                      </a:cubicBezTo>
                      <a:cubicBezTo>
                        <a:pt x="10" y="11"/>
                        <a:pt x="7" y="7"/>
                        <a:pt x="5" y="5"/>
                      </a:cubicBezTo>
                      <a:cubicBezTo>
                        <a:pt x="5" y="5"/>
                        <a:pt x="4" y="5"/>
                        <a:pt x="4" y="5"/>
                      </a:cubicBezTo>
                      <a:cubicBezTo>
                        <a:pt x="4" y="34"/>
                        <a:pt x="4" y="34"/>
                        <a:pt x="4" y="34"/>
                      </a:cubicBezTo>
                      <a:cubicBezTo>
                        <a:pt x="9" y="38"/>
                        <a:pt x="19" y="49"/>
                        <a:pt x="19" y="49"/>
                      </a:cubicBezTo>
                      <a:cubicBezTo>
                        <a:pt x="20" y="50"/>
                        <a:pt x="20" y="50"/>
                        <a:pt x="20" y="51"/>
                      </a:cubicBezTo>
                      <a:cubicBezTo>
                        <a:pt x="20" y="57"/>
                        <a:pt x="20" y="57"/>
                        <a:pt x="20" y="57"/>
                      </a:cubicBezTo>
                      <a:cubicBezTo>
                        <a:pt x="20" y="58"/>
                        <a:pt x="19" y="59"/>
                        <a:pt x="18" y="59"/>
                      </a:cubicBezTo>
                      <a:cubicBezTo>
                        <a:pt x="17" y="59"/>
                        <a:pt x="16" y="58"/>
                        <a:pt x="16" y="57"/>
                      </a:cubicBezTo>
                      <a:cubicBezTo>
                        <a:pt x="16" y="52"/>
                        <a:pt x="16" y="52"/>
                        <a:pt x="16" y="52"/>
                      </a:cubicBezTo>
                      <a:cubicBezTo>
                        <a:pt x="14" y="49"/>
                        <a:pt x="4" y="39"/>
                        <a:pt x="1" y="37"/>
                      </a:cubicBezTo>
                      <a:cubicBezTo>
                        <a:pt x="0" y="36"/>
                        <a:pt x="0" y="36"/>
                        <a:pt x="0" y="35"/>
                      </a:cubicBezTo>
                      <a:cubicBezTo>
                        <a:pt x="0" y="3"/>
                        <a:pt x="0" y="3"/>
                        <a:pt x="0" y="3"/>
                      </a:cubicBezTo>
                      <a:cubicBezTo>
                        <a:pt x="0" y="2"/>
                        <a:pt x="1" y="1"/>
                        <a:pt x="1" y="1"/>
                      </a:cubicBezTo>
                      <a:cubicBezTo>
                        <a:pt x="2" y="1"/>
                        <a:pt x="4" y="0"/>
                        <a:pt x="7" y="2"/>
                      </a:cubicBezTo>
                      <a:cubicBezTo>
                        <a:pt x="12" y="5"/>
                        <a:pt x="14" y="13"/>
                        <a:pt x="14" y="26"/>
                      </a:cubicBezTo>
                      <a:cubicBezTo>
                        <a:pt x="20" y="33"/>
                        <a:pt x="20" y="33"/>
                        <a:pt x="20" y="33"/>
                      </a:cubicBezTo>
                      <a:cubicBezTo>
                        <a:pt x="19" y="27"/>
                        <a:pt x="19" y="27"/>
                        <a:pt x="19" y="27"/>
                      </a:cubicBezTo>
                      <a:cubicBezTo>
                        <a:pt x="18" y="23"/>
                        <a:pt x="20" y="20"/>
                        <a:pt x="22" y="19"/>
                      </a:cubicBezTo>
                      <a:cubicBezTo>
                        <a:pt x="24" y="18"/>
                        <a:pt x="27" y="19"/>
                        <a:pt x="30" y="22"/>
                      </a:cubicBezTo>
                      <a:cubicBezTo>
                        <a:pt x="32" y="26"/>
                        <a:pt x="36" y="38"/>
                        <a:pt x="36" y="38"/>
                      </a:cubicBezTo>
                      <a:cubicBezTo>
                        <a:pt x="36" y="39"/>
                        <a:pt x="36" y="39"/>
                        <a:pt x="36" y="39"/>
                      </a:cubicBezTo>
                      <a:cubicBezTo>
                        <a:pt x="36" y="57"/>
                        <a:pt x="36" y="57"/>
                        <a:pt x="36" y="57"/>
                      </a:cubicBezTo>
                      <a:cubicBezTo>
                        <a:pt x="36" y="58"/>
                        <a:pt x="35" y="59"/>
                        <a:pt x="34"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 name="Freeform 47"/>
                <p:cNvSpPr>
                  <a:spLocks noEditPoints="1"/>
                </p:cNvSpPr>
                <p:nvPr/>
              </p:nvSpPr>
              <p:spPr bwMode="auto">
                <a:xfrm>
                  <a:off x="5316538" y="3259138"/>
                  <a:ext cx="185738" cy="155575"/>
                </a:xfrm>
                <a:custGeom>
                  <a:avLst/>
                  <a:gdLst>
                    <a:gd name="T0" fmla="*/ 22 w 48"/>
                    <a:gd name="T1" fmla="*/ 40 h 40"/>
                    <a:gd name="T2" fmla="*/ 21 w 48"/>
                    <a:gd name="T3" fmla="*/ 40 h 40"/>
                    <a:gd name="T4" fmla="*/ 1 w 48"/>
                    <a:gd name="T5" fmla="*/ 28 h 40"/>
                    <a:gd name="T6" fmla="*/ 0 w 48"/>
                    <a:gd name="T7" fmla="*/ 26 h 40"/>
                    <a:gd name="T8" fmla="*/ 0 w 48"/>
                    <a:gd name="T9" fmla="*/ 2 h 40"/>
                    <a:gd name="T10" fmla="*/ 1 w 48"/>
                    <a:gd name="T11" fmla="*/ 0 h 40"/>
                    <a:gd name="T12" fmla="*/ 3 w 48"/>
                    <a:gd name="T13" fmla="*/ 0 h 40"/>
                    <a:gd name="T14" fmla="*/ 22 w 48"/>
                    <a:gd name="T15" fmla="*/ 12 h 40"/>
                    <a:gd name="T16" fmla="*/ 45 w 48"/>
                    <a:gd name="T17" fmla="*/ 0 h 40"/>
                    <a:gd name="T18" fmla="*/ 47 w 48"/>
                    <a:gd name="T19" fmla="*/ 0 h 40"/>
                    <a:gd name="T20" fmla="*/ 48 w 48"/>
                    <a:gd name="T21" fmla="*/ 2 h 40"/>
                    <a:gd name="T22" fmla="*/ 48 w 48"/>
                    <a:gd name="T23" fmla="*/ 26 h 40"/>
                    <a:gd name="T24" fmla="*/ 47 w 48"/>
                    <a:gd name="T25" fmla="*/ 28 h 40"/>
                    <a:gd name="T26" fmla="*/ 23 w 48"/>
                    <a:gd name="T27" fmla="*/ 40 h 40"/>
                    <a:gd name="T28" fmla="*/ 22 w 48"/>
                    <a:gd name="T29" fmla="*/ 40 h 40"/>
                    <a:gd name="T30" fmla="*/ 4 w 48"/>
                    <a:gd name="T31" fmla="*/ 25 h 40"/>
                    <a:gd name="T32" fmla="*/ 22 w 48"/>
                    <a:gd name="T33" fmla="*/ 36 h 40"/>
                    <a:gd name="T34" fmla="*/ 44 w 48"/>
                    <a:gd name="T35" fmla="*/ 25 h 40"/>
                    <a:gd name="T36" fmla="*/ 44 w 48"/>
                    <a:gd name="T37" fmla="*/ 5 h 40"/>
                    <a:gd name="T38" fmla="*/ 23 w 48"/>
                    <a:gd name="T39" fmla="*/ 16 h 40"/>
                    <a:gd name="T40" fmla="*/ 21 w 48"/>
                    <a:gd name="T41" fmla="*/ 16 h 40"/>
                    <a:gd name="T42" fmla="*/ 4 w 48"/>
                    <a:gd name="T43" fmla="*/ 6 h 40"/>
                    <a:gd name="T44" fmla="*/ 4 w 48"/>
                    <a:gd name="T45" fmla="*/ 25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40">
                      <a:moveTo>
                        <a:pt x="22" y="40"/>
                      </a:moveTo>
                      <a:cubicBezTo>
                        <a:pt x="22" y="40"/>
                        <a:pt x="21" y="40"/>
                        <a:pt x="21" y="40"/>
                      </a:cubicBezTo>
                      <a:cubicBezTo>
                        <a:pt x="1" y="28"/>
                        <a:pt x="1" y="28"/>
                        <a:pt x="1" y="28"/>
                      </a:cubicBezTo>
                      <a:cubicBezTo>
                        <a:pt x="0" y="27"/>
                        <a:pt x="0" y="27"/>
                        <a:pt x="0" y="26"/>
                      </a:cubicBezTo>
                      <a:cubicBezTo>
                        <a:pt x="0" y="2"/>
                        <a:pt x="0" y="2"/>
                        <a:pt x="0" y="2"/>
                      </a:cubicBezTo>
                      <a:cubicBezTo>
                        <a:pt x="0" y="1"/>
                        <a:pt x="0" y="1"/>
                        <a:pt x="1" y="0"/>
                      </a:cubicBezTo>
                      <a:cubicBezTo>
                        <a:pt x="2" y="0"/>
                        <a:pt x="2" y="0"/>
                        <a:pt x="3" y="0"/>
                      </a:cubicBezTo>
                      <a:cubicBezTo>
                        <a:pt x="22" y="12"/>
                        <a:pt x="22" y="12"/>
                        <a:pt x="22" y="12"/>
                      </a:cubicBezTo>
                      <a:cubicBezTo>
                        <a:pt x="45" y="0"/>
                        <a:pt x="45" y="0"/>
                        <a:pt x="45" y="0"/>
                      </a:cubicBezTo>
                      <a:cubicBezTo>
                        <a:pt x="46" y="0"/>
                        <a:pt x="46" y="0"/>
                        <a:pt x="47" y="0"/>
                      </a:cubicBezTo>
                      <a:cubicBezTo>
                        <a:pt x="48" y="1"/>
                        <a:pt x="48" y="1"/>
                        <a:pt x="48" y="2"/>
                      </a:cubicBezTo>
                      <a:cubicBezTo>
                        <a:pt x="48" y="26"/>
                        <a:pt x="48" y="26"/>
                        <a:pt x="48" y="26"/>
                      </a:cubicBezTo>
                      <a:cubicBezTo>
                        <a:pt x="48" y="27"/>
                        <a:pt x="48" y="27"/>
                        <a:pt x="47" y="28"/>
                      </a:cubicBezTo>
                      <a:cubicBezTo>
                        <a:pt x="23" y="40"/>
                        <a:pt x="23" y="40"/>
                        <a:pt x="23" y="40"/>
                      </a:cubicBezTo>
                      <a:cubicBezTo>
                        <a:pt x="23" y="40"/>
                        <a:pt x="22" y="40"/>
                        <a:pt x="22" y="40"/>
                      </a:cubicBezTo>
                      <a:close/>
                      <a:moveTo>
                        <a:pt x="4" y="25"/>
                      </a:moveTo>
                      <a:cubicBezTo>
                        <a:pt x="22" y="36"/>
                        <a:pt x="22" y="36"/>
                        <a:pt x="22" y="36"/>
                      </a:cubicBezTo>
                      <a:cubicBezTo>
                        <a:pt x="44" y="25"/>
                        <a:pt x="44" y="25"/>
                        <a:pt x="44" y="25"/>
                      </a:cubicBezTo>
                      <a:cubicBezTo>
                        <a:pt x="44" y="5"/>
                        <a:pt x="44" y="5"/>
                        <a:pt x="44" y="5"/>
                      </a:cubicBezTo>
                      <a:cubicBezTo>
                        <a:pt x="23" y="16"/>
                        <a:pt x="23" y="16"/>
                        <a:pt x="23" y="16"/>
                      </a:cubicBezTo>
                      <a:cubicBezTo>
                        <a:pt x="22" y="16"/>
                        <a:pt x="22" y="16"/>
                        <a:pt x="21" y="16"/>
                      </a:cubicBezTo>
                      <a:cubicBezTo>
                        <a:pt x="4" y="6"/>
                        <a:pt x="4" y="6"/>
                        <a:pt x="4" y="6"/>
                      </a:cubicBezTo>
                      <a:lnTo>
                        <a:pt x="4"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 name="Freeform 48"/>
                <p:cNvSpPr>
                  <a:spLocks noEditPoints="1"/>
                </p:cNvSpPr>
                <p:nvPr/>
              </p:nvSpPr>
              <p:spPr bwMode="auto">
                <a:xfrm>
                  <a:off x="5316538" y="3213100"/>
                  <a:ext cx="185738" cy="107950"/>
                </a:xfrm>
                <a:custGeom>
                  <a:avLst/>
                  <a:gdLst>
                    <a:gd name="T0" fmla="*/ 22 w 48"/>
                    <a:gd name="T1" fmla="*/ 28 h 28"/>
                    <a:gd name="T2" fmla="*/ 21 w 48"/>
                    <a:gd name="T3" fmla="*/ 28 h 28"/>
                    <a:gd name="T4" fmla="*/ 1 w 48"/>
                    <a:gd name="T5" fmla="*/ 16 h 28"/>
                    <a:gd name="T6" fmla="*/ 0 w 48"/>
                    <a:gd name="T7" fmla="*/ 14 h 28"/>
                    <a:gd name="T8" fmla="*/ 1 w 48"/>
                    <a:gd name="T9" fmla="*/ 12 h 28"/>
                    <a:gd name="T10" fmla="*/ 23 w 48"/>
                    <a:gd name="T11" fmla="*/ 0 h 28"/>
                    <a:gd name="T12" fmla="*/ 25 w 48"/>
                    <a:gd name="T13" fmla="*/ 0 h 28"/>
                    <a:gd name="T14" fmla="*/ 47 w 48"/>
                    <a:gd name="T15" fmla="*/ 12 h 28"/>
                    <a:gd name="T16" fmla="*/ 48 w 48"/>
                    <a:gd name="T17" fmla="*/ 14 h 28"/>
                    <a:gd name="T18" fmla="*/ 47 w 48"/>
                    <a:gd name="T19" fmla="*/ 16 h 28"/>
                    <a:gd name="T20" fmla="*/ 23 w 48"/>
                    <a:gd name="T21" fmla="*/ 28 h 28"/>
                    <a:gd name="T22" fmla="*/ 22 w 48"/>
                    <a:gd name="T23" fmla="*/ 28 h 28"/>
                    <a:gd name="T24" fmla="*/ 6 w 48"/>
                    <a:gd name="T25" fmla="*/ 14 h 28"/>
                    <a:gd name="T26" fmla="*/ 22 w 48"/>
                    <a:gd name="T27" fmla="*/ 24 h 28"/>
                    <a:gd name="T28" fmla="*/ 42 w 48"/>
                    <a:gd name="T29" fmla="*/ 14 h 28"/>
                    <a:gd name="T30" fmla="*/ 24 w 48"/>
                    <a:gd name="T31" fmla="*/ 4 h 28"/>
                    <a:gd name="T32" fmla="*/ 6 w 48"/>
                    <a:gd name="T33" fmla="*/ 1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 h="28">
                      <a:moveTo>
                        <a:pt x="22" y="28"/>
                      </a:moveTo>
                      <a:cubicBezTo>
                        <a:pt x="22" y="28"/>
                        <a:pt x="21" y="28"/>
                        <a:pt x="21" y="28"/>
                      </a:cubicBezTo>
                      <a:cubicBezTo>
                        <a:pt x="1" y="16"/>
                        <a:pt x="1" y="16"/>
                        <a:pt x="1" y="16"/>
                      </a:cubicBezTo>
                      <a:cubicBezTo>
                        <a:pt x="0" y="15"/>
                        <a:pt x="0" y="15"/>
                        <a:pt x="0" y="14"/>
                      </a:cubicBezTo>
                      <a:cubicBezTo>
                        <a:pt x="0" y="13"/>
                        <a:pt x="0" y="13"/>
                        <a:pt x="1" y="12"/>
                      </a:cubicBezTo>
                      <a:cubicBezTo>
                        <a:pt x="23" y="0"/>
                        <a:pt x="23" y="0"/>
                        <a:pt x="23" y="0"/>
                      </a:cubicBezTo>
                      <a:cubicBezTo>
                        <a:pt x="24" y="0"/>
                        <a:pt x="24" y="0"/>
                        <a:pt x="25" y="0"/>
                      </a:cubicBezTo>
                      <a:cubicBezTo>
                        <a:pt x="47" y="12"/>
                        <a:pt x="47" y="12"/>
                        <a:pt x="47" y="12"/>
                      </a:cubicBezTo>
                      <a:cubicBezTo>
                        <a:pt x="48" y="13"/>
                        <a:pt x="48" y="13"/>
                        <a:pt x="48" y="14"/>
                      </a:cubicBezTo>
                      <a:cubicBezTo>
                        <a:pt x="48" y="15"/>
                        <a:pt x="48" y="15"/>
                        <a:pt x="47" y="16"/>
                      </a:cubicBezTo>
                      <a:cubicBezTo>
                        <a:pt x="23" y="28"/>
                        <a:pt x="23" y="28"/>
                        <a:pt x="23" y="28"/>
                      </a:cubicBezTo>
                      <a:cubicBezTo>
                        <a:pt x="23" y="28"/>
                        <a:pt x="22" y="28"/>
                        <a:pt x="22" y="28"/>
                      </a:cubicBezTo>
                      <a:close/>
                      <a:moveTo>
                        <a:pt x="6" y="14"/>
                      </a:moveTo>
                      <a:cubicBezTo>
                        <a:pt x="22" y="24"/>
                        <a:pt x="22" y="24"/>
                        <a:pt x="22" y="24"/>
                      </a:cubicBezTo>
                      <a:cubicBezTo>
                        <a:pt x="42" y="14"/>
                        <a:pt x="42" y="14"/>
                        <a:pt x="42" y="14"/>
                      </a:cubicBezTo>
                      <a:cubicBezTo>
                        <a:pt x="24" y="4"/>
                        <a:pt x="24" y="4"/>
                        <a:pt x="24" y="4"/>
                      </a:cubicBezTo>
                      <a:lnTo>
                        <a:pt x="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Rectangle 49"/>
                <p:cNvSpPr>
                  <a:spLocks noChangeArrowheads="1"/>
                </p:cNvSpPr>
                <p:nvPr/>
              </p:nvSpPr>
              <p:spPr bwMode="auto">
                <a:xfrm>
                  <a:off x="5392738" y="3313113"/>
                  <a:ext cx="158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8" name="Group 27"/>
              <p:cNvGrpSpPr>
                <a:grpSpLocks noChangeAspect="1"/>
              </p:cNvGrpSpPr>
              <p:nvPr/>
            </p:nvGrpSpPr>
            <p:grpSpPr>
              <a:xfrm>
                <a:off x="2647613" y="5405803"/>
                <a:ext cx="346154" cy="360000"/>
                <a:chOff x="4908550" y="5162550"/>
                <a:chExt cx="357188" cy="371475"/>
              </a:xfrm>
              <a:solidFill>
                <a:schemeClr val="bg1"/>
              </a:solidFill>
            </p:grpSpPr>
            <p:sp>
              <p:nvSpPr>
                <p:cNvPr id="29" name="Freeform 53"/>
                <p:cNvSpPr>
                  <a:spLocks/>
                </p:cNvSpPr>
                <p:nvPr/>
              </p:nvSpPr>
              <p:spPr bwMode="auto">
                <a:xfrm>
                  <a:off x="4908550" y="5224463"/>
                  <a:ext cx="231775" cy="185738"/>
                </a:xfrm>
                <a:custGeom>
                  <a:avLst/>
                  <a:gdLst>
                    <a:gd name="T0" fmla="*/ 30 w 60"/>
                    <a:gd name="T1" fmla="*/ 48 h 48"/>
                    <a:gd name="T2" fmla="*/ 2 w 60"/>
                    <a:gd name="T3" fmla="*/ 48 h 48"/>
                    <a:gd name="T4" fmla="*/ 0 w 60"/>
                    <a:gd name="T5" fmla="*/ 46 h 48"/>
                    <a:gd name="T6" fmla="*/ 0 w 60"/>
                    <a:gd name="T7" fmla="*/ 2 h 48"/>
                    <a:gd name="T8" fmla="*/ 2 w 60"/>
                    <a:gd name="T9" fmla="*/ 0 h 48"/>
                    <a:gd name="T10" fmla="*/ 58 w 60"/>
                    <a:gd name="T11" fmla="*/ 0 h 48"/>
                    <a:gd name="T12" fmla="*/ 60 w 60"/>
                    <a:gd name="T13" fmla="*/ 2 h 48"/>
                    <a:gd name="T14" fmla="*/ 60 w 60"/>
                    <a:gd name="T15" fmla="*/ 10 h 48"/>
                    <a:gd name="T16" fmla="*/ 58 w 60"/>
                    <a:gd name="T17" fmla="*/ 12 h 48"/>
                    <a:gd name="T18" fmla="*/ 56 w 60"/>
                    <a:gd name="T19" fmla="*/ 10 h 48"/>
                    <a:gd name="T20" fmla="*/ 56 w 60"/>
                    <a:gd name="T21" fmla="*/ 4 h 48"/>
                    <a:gd name="T22" fmla="*/ 4 w 60"/>
                    <a:gd name="T23" fmla="*/ 4 h 48"/>
                    <a:gd name="T24" fmla="*/ 4 w 60"/>
                    <a:gd name="T25" fmla="*/ 44 h 48"/>
                    <a:gd name="T26" fmla="*/ 30 w 60"/>
                    <a:gd name="T27" fmla="*/ 44 h 48"/>
                    <a:gd name="T28" fmla="*/ 32 w 60"/>
                    <a:gd name="T29" fmla="*/ 46 h 48"/>
                    <a:gd name="T30" fmla="*/ 30 w 60"/>
                    <a:gd name="T31"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 h="48">
                      <a:moveTo>
                        <a:pt x="30" y="48"/>
                      </a:moveTo>
                      <a:cubicBezTo>
                        <a:pt x="2" y="48"/>
                        <a:pt x="2" y="48"/>
                        <a:pt x="2" y="48"/>
                      </a:cubicBezTo>
                      <a:cubicBezTo>
                        <a:pt x="1" y="48"/>
                        <a:pt x="0" y="47"/>
                        <a:pt x="0" y="46"/>
                      </a:cubicBezTo>
                      <a:cubicBezTo>
                        <a:pt x="0" y="2"/>
                        <a:pt x="0" y="2"/>
                        <a:pt x="0" y="2"/>
                      </a:cubicBezTo>
                      <a:cubicBezTo>
                        <a:pt x="0" y="1"/>
                        <a:pt x="1" y="0"/>
                        <a:pt x="2" y="0"/>
                      </a:cubicBezTo>
                      <a:cubicBezTo>
                        <a:pt x="58" y="0"/>
                        <a:pt x="58" y="0"/>
                        <a:pt x="58" y="0"/>
                      </a:cubicBezTo>
                      <a:cubicBezTo>
                        <a:pt x="59" y="0"/>
                        <a:pt x="60" y="1"/>
                        <a:pt x="60" y="2"/>
                      </a:cubicBezTo>
                      <a:cubicBezTo>
                        <a:pt x="60" y="10"/>
                        <a:pt x="60" y="10"/>
                        <a:pt x="60" y="10"/>
                      </a:cubicBezTo>
                      <a:cubicBezTo>
                        <a:pt x="60" y="11"/>
                        <a:pt x="59" y="12"/>
                        <a:pt x="58" y="12"/>
                      </a:cubicBezTo>
                      <a:cubicBezTo>
                        <a:pt x="57" y="12"/>
                        <a:pt x="56" y="11"/>
                        <a:pt x="56" y="10"/>
                      </a:cubicBezTo>
                      <a:cubicBezTo>
                        <a:pt x="56" y="4"/>
                        <a:pt x="56" y="4"/>
                        <a:pt x="56" y="4"/>
                      </a:cubicBezTo>
                      <a:cubicBezTo>
                        <a:pt x="4" y="4"/>
                        <a:pt x="4" y="4"/>
                        <a:pt x="4" y="4"/>
                      </a:cubicBezTo>
                      <a:cubicBezTo>
                        <a:pt x="4" y="44"/>
                        <a:pt x="4" y="44"/>
                        <a:pt x="4" y="44"/>
                      </a:cubicBezTo>
                      <a:cubicBezTo>
                        <a:pt x="30" y="44"/>
                        <a:pt x="30" y="44"/>
                        <a:pt x="30" y="44"/>
                      </a:cubicBezTo>
                      <a:cubicBezTo>
                        <a:pt x="31" y="44"/>
                        <a:pt x="32" y="45"/>
                        <a:pt x="32" y="46"/>
                      </a:cubicBezTo>
                      <a:cubicBezTo>
                        <a:pt x="32" y="47"/>
                        <a:pt x="31" y="48"/>
                        <a:pt x="30"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54"/>
                <p:cNvSpPr>
                  <a:spLocks noEditPoints="1"/>
                </p:cNvSpPr>
                <p:nvPr/>
              </p:nvSpPr>
              <p:spPr bwMode="auto">
                <a:xfrm>
                  <a:off x="4908550" y="5162550"/>
                  <a:ext cx="231775" cy="77788"/>
                </a:xfrm>
                <a:custGeom>
                  <a:avLst/>
                  <a:gdLst>
                    <a:gd name="T0" fmla="*/ 58 w 60"/>
                    <a:gd name="T1" fmla="*/ 20 h 20"/>
                    <a:gd name="T2" fmla="*/ 58 w 60"/>
                    <a:gd name="T3" fmla="*/ 20 h 20"/>
                    <a:gd name="T4" fmla="*/ 2 w 60"/>
                    <a:gd name="T5" fmla="*/ 20 h 20"/>
                    <a:gd name="T6" fmla="*/ 0 w 60"/>
                    <a:gd name="T7" fmla="*/ 19 h 20"/>
                    <a:gd name="T8" fmla="*/ 1 w 60"/>
                    <a:gd name="T9" fmla="*/ 17 h 20"/>
                    <a:gd name="T10" fmla="*/ 17 w 60"/>
                    <a:gd name="T11" fmla="*/ 1 h 20"/>
                    <a:gd name="T12" fmla="*/ 18 w 60"/>
                    <a:gd name="T13" fmla="*/ 0 h 20"/>
                    <a:gd name="T14" fmla="*/ 42 w 60"/>
                    <a:gd name="T15" fmla="*/ 0 h 20"/>
                    <a:gd name="T16" fmla="*/ 43 w 60"/>
                    <a:gd name="T17" fmla="*/ 1 h 20"/>
                    <a:gd name="T18" fmla="*/ 59 w 60"/>
                    <a:gd name="T19" fmla="*/ 16 h 20"/>
                    <a:gd name="T20" fmla="*/ 60 w 60"/>
                    <a:gd name="T21" fmla="*/ 18 h 20"/>
                    <a:gd name="T22" fmla="*/ 58 w 60"/>
                    <a:gd name="T23" fmla="*/ 20 h 20"/>
                    <a:gd name="T24" fmla="*/ 7 w 60"/>
                    <a:gd name="T25" fmla="*/ 16 h 20"/>
                    <a:gd name="T26" fmla="*/ 53 w 60"/>
                    <a:gd name="T27" fmla="*/ 16 h 20"/>
                    <a:gd name="T28" fmla="*/ 41 w 60"/>
                    <a:gd name="T29" fmla="*/ 4 h 20"/>
                    <a:gd name="T30" fmla="*/ 19 w 60"/>
                    <a:gd name="T31" fmla="*/ 4 h 20"/>
                    <a:gd name="T32" fmla="*/ 7 w 60"/>
                    <a:gd name="T33" fmla="*/ 16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 h="20">
                      <a:moveTo>
                        <a:pt x="58" y="20"/>
                      </a:moveTo>
                      <a:cubicBezTo>
                        <a:pt x="58" y="20"/>
                        <a:pt x="58" y="20"/>
                        <a:pt x="58" y="20"/>
                      </a:cubicBezTo>
                      <a:cubicBezTo>
                        <a:pt x="2" y="20"/>
                        <a:pt x="2" y="20"/>
                        <a:pt x="2" y="20"/>
                      </a:cubicBezTo>
                      <a:cubicBezTo>
                        <a:pt x="1" y="20"/>
                        <a:pt x="0" y="20"/>
                        <a:pt x="0" y="19"/>
                      </a:cubicBezTo>
                      <a:cubicBezTo>
                        <a:pt x="0" y="18"/>
                        <a:pt x="0" y="17"/>
                        <a:pt x="1" y="17"/>
                      </a:cubicBezTo>
                      <a:cubicBezTo>
                        <a:pt x="17" y="1"/>
                        <a:pt x="17" y="1"/>
                        <a:pt x="17" y="1"/>
                      </a:cubicBezTo>
                      <a:cubicBezTo>
                        <a:pt x="17" y="0"/>
                        <a:pt x="17" y="0"/>
                        <a:pt x="18" y="0"/>
                      </a:cubicBezTo>
                      <a:cubicBezTo>
                        <a:pt x="42" y="0"/>
                        <a:pt x="42" y="0"/>
                        <a:pt x="42" y="0"/>
                      </a:cubicBezTo>
                      <a:cubicBezTo>
                        <a:pt x="43" y="0"/>
                        <a:pt x="43" y="0"/>
                        <a:pt x="43" y="1"/>
                      </a:cubicBezTo>
                      <a:cubicBezTo>
                        <a:pt x="59" y="16"/>
                        <a:pt x="59" y="16"/>
                        <a:pt x="59" y="16"/>
                      </a:cubicBezTo>
                      <a:cubicBezTo>
                        <a:pt x="60" y="17"/>
                        <a:pt x="60" y="17"/>
                        <a:pt x="60" y="18"/>
                      </a:cubicBezTo>
                      <a:cubicBezTo>
                        <a:pt x="60" y="19"/>
                        <a:pt x="59" y="20"/>
                        <a:pt x="58" y="20"/>
                      </a:cubicBezTo>
                      <a:close/>
                      <a:moveTo>
                        <a:pt x="7" y="16"/>
                      </a:moveTo>
                      <a:cubicBezTo>
                        <a:pt x="53" y="16"/>
                        <a:pt x="53" y="16"/>
                        <a:pt x="53" y="16"/>
                      </a:cubicBezTo>
                      <a:cubicBezTo>
                        <a:pt x="41" y="4"/>
                        <a:pt x="41" y="4"/>
                        <a:pt x="41" y="4"/>
                      </a:cubicBezTo>
                      <a:cubicBezTo>
                        <a:pt x="19" y="4"/>
                        <a:pt x="19" y="4"/>
                        <a:pt x="19" y="4"/>
                      </a:cubicBezTo>
                      <a:lnTo>
                        <a:pt x="7"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55"/>
                <p:cNvSpPr>
                  <a:spLocks/>
                </p:cNvSpPr>
                <p:nvPr/>
              </p:nvSpPr>
              <p:spPr bwMode="auto">
                <a:xfrm>
                  <a:off x="5016500" y="5162550"/>
                  <a:ext cx="15875" cy="77788"/>
                </a:xfrm>
                <a:custGeom>
                  <a:avLst/>
                  <a:gdLst>
                    <a:gd name="T0" fmla="*/ 2 w 4"/>
                    <a:gd name="T1" fmla="*/ 20 h 20"/>
                    <a:gd name="T2" fmla="*/ 0 w 4"/>
                    <a:gd name="T3" fmla="*/ 18 h 20"/>
                    <a:gd name="T4" fmla="*/ 0 w 4"/>
                    <a:gd name="T5" fmla="*/ 2 h 20"/>
                    <a:gd name="T6" fmla="*/ 2 w 4"/>
                    <a:gd name="T7" fmla="*/ 0 h 20"/>
                    <a:gd name="T8" fmla="*/ 4 w 4"/>
                    <a:gd name="T9" fmla="*/ 2 h 20"/>
                    <a:gd name="T10" fmla="*/ 4 w 4"/>
                    <a:gd name="T11" fmla="*/ 18 h 20"/>
                    <a:gd name="T12" fmla="*/ 2 w 4"/>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4" h="20">
                      <a:moveTo>
                        <a:pt x="2" y="20"/>
                      </a:moveTo>
                      <a:cubicBezTo>
                        <a:pt x="1" y="20"/>
                        <a:pt x="0" y="19"/>
                        <a:pt x="0" y="18"/>
                      </a:cubicBezTo>
                      <a:cubicBezTo>
                        <a:pt x="0" y="2"/>
                        <a:pt x="0" y="2"/>
                        <a:pt x="0" y="2"/>
                      </a:cubicBezTo>
                      <a:cubicBezTo>
                        <a:pt x="0" y="1"/>
                        <a:pt x="1" y="0"/>
                        <a:pt x="2" y="0"/>
                      </a:cubicBezTo>
                      <a:cubicBezTo>
                        <a:pt x="3" y="0"/>
                        <a:pt x="4" y="1"/>
                        <a:pt x="4" y="2"/>
                      </a:cubicBezTo>
                      <a:cubicBezTo>
                        <a:pt x="4" y="18"/>
                        <a:pt x="4" y="18"/>
                        <a:pt x="4" y="18"/>
                      </a:cubicBezTo>
                      <a:cubicBezTo>
                        <a:pt x="4" y="19"/>
                        <a:pt x="3" y="20"/>
                        <a:pt x="2"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56"/>
                <p:cNvSpPr>
                  <a:spLocks noEditPoints="1"/>
                </p:cNvSpPr>
                <p:nvPr/>
              </p:nvSpPr>
              <p:spPr bwMode="auto">
                <a:xfrm>
                  <a:off x="5032375" y="5302250"/>
                  <a:ext cx="233363" cy="231775"/>
                </a:xfrm>
                <a:custGeom>
                  <a:avLst/>
                  <a:gdLst>
                    <a:gd name="T0" fmla="*/ 58 w 60"/>
                    <a:gd name="T1" fmla="*/ 60 h 60"/>
                    <a:gd name="T2" fmla="*/ 58 w 60"/>
                    <a:gd name="T3" fmla="*/ 60 h 60"/>
                    <a:gd name="T4" fmla="*/ 2 w 60"/>
                    <a:gd name="T5" fmla="*/ 60 h 60"/>
                    <a:gd name="T6" fmla="*/ 0 w 60"/>
                    <a:gd name="T7" fmla="*/ 59 h 60"/>
                    <a:gd name="T8" fmla="*/ 0 w 60"/>
                    <a:gd name="T9" fmla="*/ 57 h 60"/>
                    <a:gd name="T10" fmla="*/ 28 w 60"/>
                    <a:gd name="T11" fmla="*/ 1 h 60"/>
                    <a:gd name="T12" fmla="*/ 32 w 60"/>
                    <a:gd name="T13" fmla="*/ 1 h 60"/>
                    <a:gd name="T14" fmla="*/ 60 w 60"/>
                    <a:gd name="T15" fmla="*/ 57 h 60"/>
                    <a:gd name="T16" fmla="*/ 60 w 60"/>
                    <a:gd name="T17" fmla="*/ 58 h 60"/>
                    <a:gd name="T18" fmla="*/ 58 w 60"/>
                    <a:gd name="T19" fmla="*/ 60 h 60"/>
                    <a:gd name="T20" fmla="*/ 5 w 60"/>
                    <a:gd name="T21" fmla="*/ 56 h 60"/>
                    <a:gd name="T22" fmla="*/ 55 w 60"/>
                    <a:gd name="T23" fmla="*/ 56 h 60"/>
                    <a:gd name="T24" fmla="*/ 30 w 60"/>
                    <a:gd name="T25" fmla="*/ 7 h 60"/>
                    <a:gd name="T26" fmla="*/ 5 w 60"/>
                    <a:gd name="T27"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60">
                      <a:moveTo>
                        <a:pt x="58" y="60"/>
                      </a:moveTo>
                      <a:cubicBezTo>
                        <a:pt x="58" y="60"/>
                        <a:pt x="58" y="60"/>
                        <a:pt x="58" y="60"/>
                      </a:cubicBezTo>
                      <a:cubicBezTo>
                        <a:pt x="2" y="60"/>
                        <a:pt x="2" y="60"/>
                        <a:pt x="2" y="60"/>
                      </a:cubicBezTo>
                      <a:cubicBezTo>
                        <a:pt x="1" y="60"/>
                        <a:pt x="1" y="60"/>
                        <a:pt x="0" y="59"/>
                      </a:cubicBezTo>
                      <a:cubicBezTo>
                        <a:pt x="0" y="59"/>
                        <a:pt x="0" y="58"/>
                        <a:pt x="0" y="57"/>
                      </a:cubicBezTo>
                      <a:cubicBezTo>
                        <a:pt x="28" y="1"/>
                        <a:pt x="28" y="1"/>
                        <a:pt x="28" y="1"/>
                      </a:cubicBezTo>
                      <a:cubicBezTo>
                        <a:pt x="29" y="0"/>
                        <a:pt x="31" y="0"/>
                        <a:pt x="32" y="1"/>
                      </a:cubicBezTo>
                      <a:cubicBezTo>
                        <a:pt x="60" y="57"/>
                        <a:pt x="60" y="57"/>
                        <a:pt x="60" y="57"/>
                      </a:cubicBezTo>
                      <a:cubicBezTo>
                        <a:pt x="60" y="57"/>
                        <a:pt x="60" y="58"/>
                        <a:pt x="60" y="58"/>
                      </a:cubicBezTo>
                      <a:cubicBezTo>
                        <a:pt x="60" y="59"/>
                        <a:pt x="59" y="60"/>
                        <a:pt x="58" y="60"/>
                      </a:cubicBezTo>
                      <a:close/>
                      <a:moveTo>
                        <a:pt x="5" y="56"/>
                      </a:moveTo>
                      <a:cubicBezTo>
                        <a:pt x="55" y="56"/>
                        <a:pt x="55" y="56"/>
                        <a:pt x="55" y="56"/>
                      </a:cubicBezTo>
                      <a:cubicBezTo>
                        <a:pt x="30" y="7"/>
                        <a:pt x="30" y="7"/>
                        <a:pt x="30" y="7"/>
                      </a:cubicBezTo>
                      <a:lnTo>
                        <a:pt x="5"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57"/>
                <p:cNvSpPr>
                  <a:spLocks/>
                </p:cNvSpPr>
                <p:nvPr/>
              </p:nvSpPr>
              <p:spPr bwMode="auto">
                <a:xfrm>
                  <a:off x="5140325" y="5372100"/>
                  <a:ext cx="15875" cy="100013"/>
                </a:xfrm>
                <a:custGeom>
                  <a:avLst/>
                  <a:gdLst>
                    <a:gd name="T0" fmla="*/ 2 w 4"/>
                    <a:gd name="T1" fmla="*/ 26 h 26"/>
                    <a:gd name="T2" fmla="*/ 0 w 4"/>
                    <a:gd name="T3" fmla="*/ 24 h 26"/>
                    <a:gd name="T4" fmla="*/ 0 w 4"/>
                    <a:gd name="T5" fmla="*/ 2 h 26"/>
                    <a:gd name="T6" fmla="*/ 2 w 4"/>
                    <a:gd name="T7" fmla="*/ 0 h 26"/>
                    <a:gd name="T8" fmla="*/ 4 w 4"/>
                    <a:gd name="T9" fmla="*/ 2 h 26"/>
                    <a:gd name="T10" fmla="*/ 4 w 4"/>
                    <a:gd name="T11" fmla="*/ 24 h 26"/>
                    <a:gd name="T12" fmla="*/ 2 w 4"/>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4" h="26">
                      <a:moveTo>
                        <a:pt x="2" y="26"/>
                      </a:moveTo>
                      <a:cubicBezTo>
                        <a:pt x="1" y="26"/>
                        <a:pt x="0" y="25"/>
                        <a:pt x="0" y="24"/>
                      </a:cubicBezTo>
                      <a:cubicBezTo>
                        <a:pt x="0" y="2"/>
                        <a:pt x="0" y="2"/>
                        <a:pt x="0" y="2"/>
                      </a:cubicBezTo>
                      <a:cubicBezTo>
                        <a:pt x="0" y="1"/>
                        <a:pt x="1" y="0"/>
                        <a:pt x="2" y="0"/>
                      </a:cubicBezTo>
                      <a:cubicBezTo>
                        <a:pt x="3" y="0"/>
                        <a:pt x="4" y="1"/>
                        <a:pt x="4" y="2"/>
                      </a:cubicBezTo>
                      <a:cubicBezTo>
                        <a:pt x="4" y="24"/>
                        <a:pt x="4" y="24"/>
                        <a:pt x="4" y="24"/>
                      </a:cubicBezTo>
                      <a:cubicBezTo>
                        <a:pt x="4" y="25"/>
                        <a:pt x="3" y="26"/>
                        <a:pt x="2"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Oval 58"/>
                <p:cNvSpPr>
                  <a:spLocks noChangeArrowheads="1"/>
                </p:cNvSpPr>
                <p:nvPr/>
              </p:nvSpPr>
              <p:spPr bwMode="auto">
                <a:xfrm>
                  <a:off x="5140325" y="5487988"/>
                  <a:ext cx="15875" cy="158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cxnSp>
          <p:nvCxnSpPr>
            <p:cNvPr id="8" name="Straight Connector 7"/>
            <p:cNvCxnSpPr/>
            <p:nvPr/>
          </p:nvCxnSpPr>
          <p:spPr>
            <a:xfrm flipV="1">
              <a:off x="2767613" y="1889406"/>
              <a:ext cx="2457874" cy="1"/>
            </a:xfrm>
            <a:prstGeom prst="line">
              <a:avLst/>
            </a:prstGeom>
            <a:ln>
              <a:solidFill>
                <a:schemeClr val="accent1">
                  <a:lumMod val="50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4256379" y="3304793"/>
              <a:ext cx="969108" cy="1"/>
            </a:xfrm>
            <a:prstGeom prst="line">
              <a:avLst/>
            </a:prstGeom>
            <a:ln>
              <a:solidFill>
                <a:schemeClr val="accent6">
                  <a:lumMod val="7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4201985" y="4720180"/>
              <a:ext cx="1023502" cy="1"/>
            </a:xfrm>
            <a:prstGeom prst="line">
              <a:avLst/>
            </a:prstGeom>
            <a:ln>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3106432" y="6135566"/>
              <a:ext cx="2119055" cy="1"/>
            </a:xfrm>
            <a:prstGeom prst="line">
              <a:avLst/>
            </a:prstGeom>
            <a:ln>
              <a:solidFill>
                <a:schemeClr val="accent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sp>
        <p:nvSpPr>
          <p:cNvPr id="74" name="Text Placeholder 73"/>
          <p:cNvSpPr>
            <a:spLocks noGrp="1"/>
          </p:cNvSpPr>
          <p:nvPr>
            <p:ph type="body" sz="quarter" idx="10" hasCustomPrompt="1"/>
          </p:nvPr>
        </p:nvSpPr>
        <p:spPr>
          <a:xfrm>
            <a:off x="5882079" y="983535"/>
            <a:ext cx="5845632" cy="847725"/>
          </a:xfrm>
        </p:spPr>
        <p:txBody>
          <a:bodyPr>
            <a:noAutofit/>
          </a:bodyPr>
          <a:lstStyle>
            <a:lvl1pPr marL="0" indent="0">
              <a:buNone/>
              <a:defRPr sz="1600" baseline="0"/>
            </a:lvl1pPr>
          </a:lstStyle>
          <a:p>
            <a:pPr lvl="0"/>
            <a:r>
              <a:rPr lang="en-US" dirty="0" smtClean="0"/>
              <a:t>Lorem Ipsum is simply dummy text of the printing and typesetting industry.  Lorem Ipsum has been the industry’s standard dummy text ever since the 1500s.  </a:t>
            </a:r>
            <a:endParaRPr lang="en-US" dirty="0"/>
          </a:p>
        </p:txBody>
      </p:sp>
      <p:sp>
        <p:nvSpPr>
          <p:cNvPr id="75" name="Text Placeholder 73"/>
          <p:cNvSpPr>
            <a:spLocks noGrp="1"/>
          </p:cNvSpPr>
          <p:nvPr>
            <p:ph type="body" sz="quarter" idx="11" hasCustomPrompt="1"/>
          </p:nvPr>
        </p:nvSpPr>
        <p:spPr>
          <a:xfrm>
            <a:off x="5882079" y="5446883"/>
            <a:ext cx="5845632" cy="847725"/>
          </a:xfrm>
        </p:spPr>
        <p:txBody>
          <a:bodyPr>
            <a:noAutofit/>
          </a:bodyPr>
          <a:lstStyle>
            <a:lvl1pPr marL="0" indent="0">
              <a:buNone/>
              <a:defRPr sz="1600" baseline="0"/>
            </a:lvl1pPr>
          </a:lstStyle>
          <a:p>
            <a:pPr lvl="0"/>
            <a:r>
              <a:rPr lang="en-US" dirty="0" smtClean="0"/>
              <a:t>Lorem Ipsum is simply dummy text of the printing and typesetting industry.  Lorem Ipsum has been the industry’s standard dummy text ever since the 1500s.  </a:t>
            </a:r>
            <a:endParaRPr lang="en-US" dirty="0"/>
          </a:p>
        </p:txBody>
      </p:sp>
      <p:sp>
        <p:nvSpPr>
          <p:cNvPr id="76" name="Text Placeholder 73"/>
          <p:cNvSpPr>
            <a:spLocks noGrp="1"/>
          </p:cNvSpPr>
          <p:nvPr>
            <p:ph type="body" sz="quarter" idx="12" hasCustomPrompt="1"/>
          </p:nvPr>
        </p:nvSpPr>
        <p:spPr>
          <a:xfrm>
            <a:off x="5882079" y="3959101"/>
            <a:ext cx="5845632" cy="847725"/>
          </a:xfrm>
        </p:spPr>
        <p:txBody>
          <a:bodyPr>
            <a:noAutofit/>
          </a:bodyPr>
          <a:lstStyle>
            <a:lvl1pPr marL="0" indent="0">
              <a:buNone/>
              <a:defRPr sz="1600" baseline="0"/>
            </a:lvl1pPr>
          </a:lstStyle>
          <a:p>
            <a:pPr lvl="0"/>
            <a:r>
              <a:rPr lang="en-US" dirty="0" smtClean="0"/>
              <a:t>Lorem Ipsum is simply dummy text of the printing and typesetting industry.  Lorem Ipsum has been the industry’s standard dummy text ever since the 1500s.  </a:t>
            </a:r>
            <a:endParaRPr lang="en-US" dirty="0"/>
          </a:p>
        </p:txBody>
      </p:sp>
      <p:sp>
        <p:nvSpPr>
          <p:cNvPr id="77" name="Text Placeholder 73"/>
          <p:cNvSpPr>
            <a:spLocks noGrp="1"/>
          </p:cNvSpPr>
          <p:nvPr>
            <p:ph type="body" sz="quarter" idx="13" hasCustomPrompt="1"/>
          </p:nvPr>
        </p:nvSpPr>
        <p:spPr>
          <a:xfrm>
            <a:off x="5882079" y="2471318"/>
            <a:ext cx="5845632" cy="847725"/>
          </a:xfrm>
        </p:spPr>
        <p:txBody>
          <a:bodyPr>
            <a:noAutofit/>
          </a:bodyPr>
          <a:lstStyle>
            <a:lvl1pPr marL="0" indent="0">
              <a:buNone/>
              <a:defRPr sz="1600" baseline="0"/>
            </a:lvl1pPr>
          </a:lstStyle>
          <a:p>
            <a:pPr lvl="0"/>
            <a:r>
              <a:rPr lang="en-US" dirty="0" smtClean="0"/>
              <a:t>Lorem Ipsum is simply dummy text of the printing and typesetting industry.  Lorem Ipsum has been the industry’s standard dummy text ever since the 1500s.  </a:t>
            </a:r>
            <a:endParaRPr lang="en-US" dirty="0"/>
          </a:p>
        </p:txBody>
      </p:sp>
      <p:sp>
        <p:nvSpPr>
          <p:cNvPr id="79" name="Text Placeholder 78"/>
          <p:cNvSpPr>
            <a:spLocks noGrp="1"/>
          </p:cNvSpPr>
          <p:nvPr>
            <p:ph type="body" sz="quarter" idx="14" hasCustomPrompt="1"/>
          </p:nvPr>
        </p:nvSpPr>
        <p:spPr>
          <a:xfrm>
            <a:off x="681038" y="181249"/>
            <a:ext cx="4816475" cy="661467"/>
          </a:xfrm>
        </p:spPr>
        <p:txBody>
          <a:bodyPr>
            <a:noAutofit/>
          </a:bodyPr>
          <a:lstStyle>
            <a:lvl1pPr marL="0" indent="0">
              <a:buNone/>
              <a:defRPr sz="4000"/>
            </a:lvl1pPr>
          </a:lstStyle>
          <a:p>
            <a:pPr lvl="0"/>
            <a:r>
              <a:rPr lang="en-US" dirty="0" smtClean="0"/>
              <a:t>Title</a:t>
            </a:r>
            <a:endParaRPr lang="en-US" dirty="0"/>
          </a:p>
        </p:txBody>
      </p:sp>
      <p:sp>
        <p:nvSpPr>
          <p:cNvPr id="81" name="Text Placeholder 80"/>
          <p:cNvSpPr>
            <a:spLocks noGrp="1"/>
          </p:cNvSpPr>
          <p:nvPr>
            <p:ph type="body" sz="quarter" idx="15" hasCustomPrompt="1"/>
          </p:nvPr>
        </p:nvSpPr>
        <p:spPr>
          <a:xfrm>
            <a:off x="1908339" y="2267220"/>
            <a:ext cx="2265363" cy="265113"/>
          </a:xfrm>
        </p:spPr>
        <p:txBody>
          <a:bodyPr>
            <a:noAutofit/>
          </a:bodyPr>
          <a:lstStyle>
            <a:lvl1pPr marL="0" indent="0" algn="ctr">
              <a:buNone/>
              <a:defRPr sz="1800">
                <a:solidFill>
                  <a:schemeClr val="bg1"/>
                </a:solidFill>
              </a:defRPr>
            </a:lvl1pPr>
          </a:lstStyle>
          <a:p>
            <a:pPr lvl="0"/>
            <a:r>
              <a:rPr lang="en-US" dirty="0" smtClean="0"/>
              <a:t>Label</a:t>
            </a:r>
            <a:endParaRPr lang="en-US" dirty="0"/>
          </a:p>
        </p:txBody>
      </p:sp>
      <p:sp>
        <p:nvSpPr>
          <p:cNvPr id="82" name="Text Placeholder 80"/>
          <p:cNvSpPr>
            <a:spLocks noGrp="1"/>
          </p:cNvSpPr>
          <p:nvPr>
            <p:ph type="body" sz="quarter" idx="16" hasCustomPrompt="1"/>
          </p:nvPr>
        </p:nvSpPr>
        <p:spPr>
          <a:xfrm>
            <a:off x="1963027" y="5630610"/>
            <a:ext cx="2265363" cy="265113"/>
          </a:xfrm>
        </p:spPr>
        <p:txBody>
          <a:bodyPr>
            <a:noAutofit/>
          </a:bodyPr>
          <a:lstStyle>
            <a:lvl1pPr marL="0" indent="0" algn="ctr">
              <a:buNone/>
              <a:defRPr sz="1800">
                <a:solidFill>
                  <a:schemeClr val="bg1"/>
                </a:solidFill>
              </a:defRPr>
            </a:lvl1pPr>
          </a:lstStyle>
          <a:p>
            <a:pPr lvl="0"/>
            <a:r>
              <a:rPr lang="en-US" dirty="0" smtClean="0"/>
              <a:t>Label</a:t>
            </a:r>
            <a:endParaRPr lang="en-US" dirty="0"/>
          </a:p>
        </p:txBody>
      </p:sp>
      <p:sp>
        <p:nvSpPr>
          <p:cNvPr id="83" name="Text Placeholder 80"/>
          <p:cNvSpPr>
            <a:spLocks noGrp="1"/>
          </p:cNvSpPr>
          <p:nvPr>
            <p:ph type="body" sz="quarter" idx="17" hasCustomPrompt="1"/>
          </p:nvPr>
        </p:nvSpPr>
        <p:spPr>
          <a:xfrm>
            <a:off x="2950749" y="4846625"/>
            <a:ext cx="2265363" cy="265113"/>
          </a:xfrm>
        </p:spPr>
        <p:txBody>
          <a:bodyPr>
            <a:noAutofit/>
          </a:bodyPr>
          <a:lstStyle>
            <a:lvl1pPr marL="0" indent="0" algn="ctr">
              <a:buNone/>
              <a:defRPr sz="1800">
                <a:solidFill>
                  <a:schemeClr val="bg1"/>
                </a:solidFill>
              </a:defRPr>
            </a:lvl1pPr>
          </a:lstStyle>
          <a:p>
            <a:pPr lvl="0"/>
            <a:r>
              <a:rPr lang="en-US" dirty="0" smtClean="0"/>
              <a:t>Label</a:t>
            </a:r>
            <a:endParaRPr lang="en-US" dirty="0"/>
          </a:p>
        </p:txBody>
      </p:sp>
      <p:sp>
        <p:nvSpPr>
          <p:cNvPr id="84" name="Text Placeholder 80"/>
          <p:cNvSpPr>
            <a:spLocks noGrp="1"/>
          </p:cNvSpPr>
          <p:nvPr>
            <p:ph type="body" sz="quarter" idx="18" hasCustomPrompt="1"/>
          </p:nvPr>
        </p:nvSpPr>
        <p:spPr>
          <a:xfrm>
            <a:off x="3103035" y="3428630"/>
            <a:ext cx="2265363" cy="265113"/>
          </a:xfrm>
        </p:spPr>
        <p:txBody>
          <a:bodyPr>
            <a:noAutofit/>
          </a:bodyPr>
          <a:lstStyle>
            <a:lvl1pPr marL="0" indent="0" algn="ctr">
              <a:buNone/>
              <a:defRPr sz="1800">
                <a:solidFill>
                  <a:schemeClr val="bg1"/>
                </a:solidFill>
              </a:defRPr>
            </a:lvl1pPr>
          </a:lstStyle>
          <a:p>
            <a:pPr lvl="0"/>
            <a:r>
              <a:rPr lang="en-US" dirty="0" smtClean="0"/>
              <a:t>Label</a:t>
            </a:r>
            <a:endParaRPr lang="en-US" dirty="0"/>
          </a:p>
        </p:txBody>
      </p:sp>
      <p:sp>
        <p:nvSpPr>
          <p:cNvPr id="86" name="Text Placeholder 80"/>
          <p:cNvSpPr>
            <a:spLocks noGrp="1"/>
          </p:cNvSpPr>
          <p:nvPr>
            <p:ph type="body" sz="quarter" idx="19" hasCustomPrompt="1"/>
          </p:nvPr>
        </p:nvSpPr>
        <p:spPr>
          <a:xfrm>
            <a:off x="1759130" y="3998162"/>
            <a:ext cx="1477593" cy="265113"/>
          </a:xfrm>
        </p:spPr>
        <p:txBody>
          <a:bodyPr>
            <a:noAutofit/>
          </a:bodyPr>
          <a:lstStyle>
            <a:lvl1pPr marL="0" indent="0" algn="ctr">
              <a:buNone/>
              <a:defRPr sz="1600">
                <a:solidFill>
                  <a:schemeClr val="bg2">
                    <a:lumMod val="25000"/>
                  </a:schemeClr>
                </a:solidFill>
              </a:defRPr>
            </a:lvl1pPr>
          </a:lstStyle>
          <a:p>
            <a:pPr lvl="0"/>
            <a:r>
              <a:rPr lang="en-US" dirty="0" smtClean="0"/>
              <a:t>Label</a:t>
            </a:r>
            <a:endParaRPr lang="en-US" dirty="0"/>
          </a:p>
        </p:txBody>
      </p:sp>
    </p:spTree>
    <p:extLst>
      <p:ext uri="{BB962C8B-B14F-4D97-AF65-F5344CB8AC3E}">
        <p14:creationId xmlns:p14="http://schemas.microsoft.com/office/powerpoint/2010/main" val="794265077"/>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hart content 2">
    <p:spTree>
      <p:nvGrpSpPr>
        <p:cNvPr id="1" name=""/>
        <p:cNvGrpSpPr/>
        <p:nvPr/>
      </p:nvGrpSpPr>
      <p:grpSpPr>
        <a:xfrm>
          <a:off x="0" y="0"/>
          <a:ext cx="0" cy="0"/>
          <a:chOff x="0" y="0"/>
          <a:chExt cx="0" cy="0"/>
        </a:xfrm>
      </p:grpSpPr>
      <p:grpSp>
        <p:nvGrpSpPr>
          <p:cNvPr id="33" name="Group 32"/>
          <p:cNvGrpSpPr>
            <a:grpSpLocks noChangeAspect="1"/>
          </p:cNvGrpSpPr>
          <p:nvPr userDrawn="1"/>
        </p:nvGrpSpPr>
        <p:grpSpPr>
          <a:xfrm>
            <a:off x="5147864" y="638175"/>
            <a:ext cx="6798616" cy="5860874"/>
            <a:chOff x="5584611" y="1572384"/>
            <a:chExt cx="4346972" cy="3747389"/>
          </a:xfrm>
        </p:grpSpPr>
        <p:sp>
          <p:nvSpPr>
            <p:cNvPr id="7" name="Isosceles Triangle 6"/>
            <p:cNvSpPr>
              <a:spLocks noChangeAspect="1"/>
            </p:cNvSpPr>
            <p:nvPr userDrawn="1"/>
          </p:nvSpPr>
          <p:spPr>
            <a:xfrm>
              <a:off x="5584611" y="1572384"/>
              <a:ext cx="4346972" cy="3747389"/>
            </a:xfrm>
            <a:prstGeom prst="triangl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Oval 7"/>
            <p:cNvSpPr/>
            <p:nvPr userDrawn="1"/>
          </p:nvSpPr>
          <p:spPr>
            <a:xfrm>
              <a:off x="6929002" y="3198640"/>
              <a:ext cx="1658194" cy="1658194"/>
            </a:xfrm>
            <a:prstGeom prst="ellipse">
              <a:avLst/>
            </a:prstGeom>
            <a:solidFill>
              <a:schemeClr val="tx1">
                <a:lumMod val="75000"/>
                <a:lumOff val="25000"/>
              </a:schemeClr>
            </a:solidFill>
            <a:ln w="57150">
              <a:solidFill>
                <a:schemeClr val="bg1"/>
              </a:solidFill>
            </a:ln>
            <a:effectLst>
              <a:outerShdw blurRad="25400" dist="38100" dir="2400000" algn="ctr" rotWithShape="0">
                <a:schemeClr val="tx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a:off x="7729709" y="4856833"/>
              <a:ext cx="56779" cy="4629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p:cNvSpPr/>
            <p:nvPr userDrawn="1"/>
          </p:nvSpPr>
          <p:spPr>
            <a:xfrm rot="3600000">
              <a:off x="8681080" y="3415255"/>
              <a:ext cx="56779" cy="4142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p:cNvSpPr/>
            <p:nvPr userDrawn="1"/>
          </p:nvSpPr>
          <p:spPr>
            <a:xfrm rot="18000000" flipH="1">
              <a:off x="6777198" y="3413278"/>
              <a:ext cx="56779" cy="4168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5" name="Text Placeholder 34"/>
          <p:cNvSpPr>
            <a:spLocks noGrp="1"/>
          </p:cNvSpPr>
          <p:nvPr>
            <p:ph type="body" sz="quarter" idx="10" hasCustomPrompt="1"/>
          </p:nvPr>
        </p:nvSpPr>
        <p:spPr>
          <a:xfrm>
            <a:off x="305964" y="833778"/>
            <a:ext cx="5450781" cy="2785722"/>
          </a:xfrm>
        </p:spPr>
        <p:txBody>
          <a:bodyPr/>
          <a:lstStyle>
            <a:lvl1pPr marL="0" indent="0">
              <a:buNone/>
              <a:defRPr sz="2800" baseline="0"/>
            </a:lvl1pPr>
          </a:lstStyle>
          <a:p>
            <a:pPr lvl="0"/>
            <a:r>
              <a:rPr lang="en-US" dirty="0" smtClean="0"/>
              <a:t>Add content                                     [tip – copy/paste white icons above each label in the triangle]</a:t>
            </a:r>
            <a:endParaRPr lang="en-US" dirty="0"/>
          </a:p>
        </p:txBody>
      </p:sp>
      <p:sp>
        <p:nvSpPr>
          <p:cNvPr id="36" name="Text Placeholder 80"/>
          <p:cNvSpPr>
            <a:spLocks noGrp="1"/>
          </p:cNvSpPr>
          <p:nvPr>
            <p:ph type="body" sz="quarter" idx="18" hasCustomPrompt="1"/>
          </p:nvPr>
        </p:nvSpPr>
        <p:spPr>
          <a:xfrm>
            <a:off x="7414490" y="2526556"/>
            <a:ext cx="2265363" cy="265113"/>
          </a:xfrm>
        </p:spPr>
        <p:txBody>
          <a:bodyPr>
            <a:noAutofit/>
          </a:bodyPr>
          <a:lstStyle>
            <a:lvl1pPr marL="0" indent="0" algn="ctr">
              <a:buNone/>
              <a:defRPr sz="1800">
                <a:solidFill>
                  <a:schemeClr val="bg1"/>
                </a:solidFill>
              </a:defRPr>
            </a:lvl1pPr>
          </a:lstStyle>
          <a:p>
            <a:pPr lvl="0"/>
            <a:r>
              <a:rPr lang="en-US" dirty="0" smtClean="0"/>
              <a:t>Label</a:t>
            </a:r>
            <a:endParaRPr lang="en-US" dirty="0"/>
          </a:p>
        </p:txBody>
      </p:sp>
      <p:sp>
        <p:nvSpPr>
          <p:cNvPr id="37" name="Text Placeholder 80"/>
          <p:cNvSpPr>
            <a:spLocks noGrp="1"/>
          </p:cNvSpPr>
          <p:nvPr>
            <p:ph type="body" sz="quarter" idx="19" hasCustomPrompt="1"/>
          </p:nvPr>
        </p:nvSpPr>
        <p:spPr>
          <a:xfrm>
            <a:off x="5924776" y="6043169"/>
            <a:ext cx="2265363" cy="265113"/>
          </a:xfrm>
        </p:spPr>
        <p:txBody>
          <a:bodyPr>
            <a:noAutofit/>
          </a:bodyPr>
          <a:lstStyle>
            <a:lvl1pPr marL="0" indent="0" algn="ctr">
              <a:buNone/>
              <a:defRPr sz="1800">
                <a:solidFill>
                  <a:schemeClr val="bg1"/>
                </a:solidFill>
              </a:defRPr>
            </a:lvl1pPr>
          </a:lstStyle>
          <a:p>
            <a:pPr lvl="0"/>
            <a:r>
              <a:rPr lang="en-US" dirty="0" smtClean="0"/>
              <a:t>Label</a:t>
            </a:r>
            <a:endParaRPr lang="en-US" dirty="0"/>
          </a:p>
        </p:txBody>
      </p:sp>
      <p:sp>
        <p:nvSpPr>
          <p:cNvPr id="38" name="Text Placeholder 80"/>
          <p:cNvSpPr>
            <a:spLocks noGrp="1"/>
          </p:cNvSpPr>
          <p:nvPr>
            <p:ph type="body" sz="quarter" idx="20" hasCustomPrompt="1"/>
          </p:nvPr>
        </p:nvSpPr>
        <p:spPr>
          <a:xfrm>
            <a:off x="9040552" y="6028438"/>
            <a:ext cx="2265363" cy="265113"/>
          </a:xfrm>
        </p:spPr>
        <p:txBody>
          <a:bodyPr>
            <a:noAutofit/>
          </a:bodyPr>
          <a:lstStyle>
            <a:lvl1pPr marL="0" indent="0" algn="ctr">
              <a:buNone/>
              <a:defRPr sz="1800">
                <a:solidFill>
                  <a:schemeClr val="bg1"/>
                </a:solidFill>
              </a:defRPr>
            </a:lvl1pPr>
          </a:lstStyle>
          <a:p>
            <a:pPr lvl="0"/>
            <a:r>
              <a:rPr lang="en-US" dirty="0" smtClean="0"/>
              <a:t>Label</a:t>
            </a:r>
            <a:endParaRPr lang="en-US" dirty="0"/>
          </a:p>
        </p:txBody>
      </p:sp>
      <p:sp>
        <p:nvSpPr>
          <p:cNvPr id="39" name="Text Placeholder 80"/>
          <p:cNvSpPr>
            <a:spLocks noGrp="1"/>
          </p:cNvSpPr>
          <p:nvPr>
            <p:ph type="body" sz="quarter" idx="21"/>
          </p:nvPr>
        </p:nvSpPr>
        <p:spPr>
          <a:xfrm>
            <a:off x="7382863" y="3908053"/>
            <a:ext cx="2265363" cy="1476135"/>
          </a:xfrm>
        </p:spPr>
        <p:txBody>
          <a:bodyPr>
            <a:noAutofit/>
          </a:bodyPr>
          <a:lstStyle>
            <a:lvl1pPr marL="0" indent="0" algn="ctr">
              <a:buNone/>
              <a:defRPr sz="2400">
                <a:solidFill>
                  <a:schemeClr val="bg1"/>
                </a:solidFill>
              </a:defRPr>
            </a:lvl1pPr>
          </a:lstStyle>
          <a:p>
            <a:pPr lvl="0"/>
            <a:endParaRPr lang="en-US" dirty="0" smtClean="0"/>
          </a:p>
          <a:p>
            <a:pPr lvl="0"/>
            <a:r>
              <a:rPr lang="en-US" dirty="0" smtClean="0"/>
              <a:t>Label</a:t>
            </a:r>
            <a:endParaRPr lang="en-US" dirty="0"/>
          </a:p>
        </p:txBody>
      </p:sp>
    </p:spTree>
    <p:extLst>
      <p:ext uri="{BB962C8B-B14F-4D97-AF65-F5344CB8AC3E}">
        <p14:creationId xmlns:p14="http://schemas.microsoft.com/office/powerpoint/2010/main" val="346023412"/>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hart content 3">
    <p:spTree>
      <p:nvGrpSpPr>
        <p:cNvPr id="1" name=""/>
        <p:cNvGrpSpPr/>
        <p:nvPr/>
      </p:nvGrpSpPr>
      <p:grpSpPr>
        <a:xfrm>
          <a:off x="0" y="0"/>
          <a:ext cx="0" cy="0"/>
          <a:chOff x="0" y="0"/>
          <a:chExt cx="0" cy="0"/>
        </a:xfrm>
      </p:grpSpPr>
      <p:sp>
        <p:nvSpPr>
          <p:cNvPr id="9" name="Text Placeholder 8"/>
          <p:cNvSpPr>
            <a:spLocks noGrp="1"/>
          </p:cNvSpPr>
          <p:nvPr>
            <p:ph type="body" sz="quarter" idx="10" hasCustomPrompt="1"/>
          </p:nvPr>
        </p:nvSpPr>
        <p:spPr>
          <a:xfrm>
            <a:off x="714103" y="347663"/>
            <a:ext cx="7167155" cy="592137"/>
          </a:xfrm>
        </p:spPr>
        <p:txBody>
          <a:bodyPr>
            <a:normAutofit/>
          </a:bodyPr>
          <a:lstStyle>
            <a:lvl1pPr marL="0" indent="0" algn="ctr">
              <a:buNone/>
              <a:defRPr sz="3600" baseline="0">
                <a:solidFill>
                  <a:schemeClr val="accent6">
                    <a:lumMod val="75000"/>
                  </a:schemeClr>
                </a:solidFill>
              </a:defRPr>
            </a:lvl1pPr>
          </a:lstStyle>
          <a:p>
            <a:pPr lvl="0"/>
            <a:r>
              <a:rPr lang="en-US" dirty="0" smtClean="0"/>
              <a:t>Chart Title</a:t>
            </a:r>
            <a:endParaRPr lang="en-US" dirty="0"/>
          </a:p>
        </p:txBody>
      </p:sp>
      <p:sp>
        <p:nvSpPr>
          <p:cNvPr id="11" name="Text Placeholder 10"/>
          <p:cNvSpPr>
            <a:spLocks noGrp="1"/>
          </p:cNvSpPr>
          <p:nvPr>
            <p:ph type="body" sz="quarter" idx="11" hasCustomPrompt="1"/>
          </p:nvPr>
        </p:nvSpPr>
        <p:spPr>
          <a:xfrm>
            <a:off x="8421190" y="1479687"/>
            <a:ext cx="3482702" cy="4032250"/>
          </a:xfrm>
        </p:spPr>
        <p:txBody>
          <a:bodyPr>
            <a:normAutofit/>
          </a:bodyPr>
          <a:lstStyle>
            <a:lvl1pPr marL="0" indent="0" algn="ctr">
              <a:buNone/>
              <a:defRPr sz="2400" i="1" baseline="0"/>
            </a:lvl1pPr>
          </a:lstStyle>
          <a:p>
            <a:pPr lvl="0"/>
            <a:r>
              <a:rPr lang="en-US" dirty="0" smtClean="0"/>
              <a:t>Add content</a:t>
            </a:r>
            <a:endParaRPr lang="en-US" dirty="0"/>
          </a:p>
        </p:txBody>
      </p:sp>
      <p:sp>
        <p:nvSpPr>
          <p:cNvPr id="13" name="Chart Placeholder 12"/>
          <p:cNvSpPr>
            <a:spLocks noGrp="1"/>
          </p:cNvSpPr>
          <p:nvPr>
            <p:ph type="chart" sz="quarter" idx="12"/>
          </p:nvPr>
        </p:nvSpPr>
        <p:spPr>
          <a:xfrm>
            <a:off x="809626" y="1479550"/>
            <a:ext cx="7071632" cy="4929188"/>
          </a:xfrm>
        </p:spPr>
        <p:txBody>
          <a:bodyPr/>
          <a:lstStyle/>
          <a:p>
            <a:endParaRPr lang="en-US" dirty="0"/>
          </a:p>
        </p:txBody>
      </p:sp>
    </p:spTree>
    <p:extLst>
      <p:ext uri="{BB962C8B-B14F-4D97-AF65-F5344CB8AC3E}">
        <p14:creationId xmlns:p14="http://schemas.microsoft.com/office/powerpoint/2010/main" val="3410126641"/>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hart content 4">
    <p:spTree>
      <p:nvGrpSpPr>
        <p:cNvPr id="1" name=""/>
        <p:cNvGrpSpPr/>
        <p:nvPr/>
      </p:nvGrpSpPr>
      <p:grpSpPr>
        <a:xfrm>
          <a:off x="0" y="0"/>
          <a:ext cx="0" cy="0"/>
          <a:chOff x="0" y="0"/>
          <a:chExt cx="0" cy="0"/>
        </a:xfrm>
      </p:grpSpPr>
      <p:sp>
        <p:nvSpPr>
          <p:cNvPr id="7" name="Text Placeholder 6"/>
          <p:cNvSpPr>
            <a:spLocks noGrp="1"/>
          </p:cNvSpPr>
          <p:nvPr>
            <p:ph type="body" sz="quarter" idx="10" hasCustomPrompt="1"/>
          </p:nvPr>
        </p:nvSpPr>
        <p:spPr>
          <a:xfrm>
            <a:off x="6103938" y="514350"/>
            <a:ext cx="5435600" cy="704850"/>
          </a:xfrm>
        </p:spPr>
        <p:txBody>
          <a:bodyPr>
            <a:normAutofit/>
          </a:bodyPr>
          <a:lstStyle>
            <a:lvl1pPr marL="0" indent="0" algn="ctr">
              <a:buNone/>
              <a:defRPr sz="4000" baseline="0">
                <a:solidFill>
                  <a:schemeClr val="accent1">
                    <a:lumMod val="50000"/>
                  </a:schemeClr>
                </a:solidFill>
              </a:defRPr>
            </a:lvl1pPr>
          </a:lstStyle>
          <a:p>
            <a:pPr lvl="0"/>
            <a:r>
              <a:rPr lang="en-US" dirty="0" smtClean="0"/>
              <a:t>Chart title</a:t>
            </a:r>
            <a:endParaRPr lang="en-US" dirty="0"/>
          </a:p>
        </p:txBody>
      </p:sp>
      <p:sp>
        <p:nvSpPr>
          <p:cNvPr id="8" name="Text Placeholder 10"/>
          <p:cNvSpPr>
            <a:spLocks noGrp="1"/>
          </p:cNvSpPr>
          <p:nvPr>
            <p:ph type="body" sz="quarter" idx="11" hasCustomPrompt="1"/>
          </p:nvPr>
        </p:nvSpPr>
        <p:spPr>
          <a:xfrm>
            <a:off x="552950" y="2508250"/>
            <a:ext cx="4498022" cy="4032250"/>
          </a:xfrm>
        </p:spPr>
        <p:txBody>
          <a:bodyPr>
            <a:normAutofit/>
          </a:bodyPr>
          <a:lstStyle>
            <a:lvl1pPr marL="0" indent="0" algn="ctr">
              <a:buNone/>
              <a:defRPr sz="2400" i="1" baseline="0"/>
            </a:lvl1pPr>
          </a:lstStyle>
          <a:p>
            <a:pPr lvl="0"/>
            <a:r>
              <a:rPr lang="en-US" dirty="0" smtClean="0"/>
              <a:t>Add content</a:t>
            </a:r>
            <a:endParaRPr lang="en-US" dirty="0"/>
          </a:p>
        </p:txBody>
      </p:sp>
      <p:sp>
        <p:nvSpPr>
          <p:cNvPr id="10" name="Chart Placeholder 9"/>
          <p:cNvSpPr>
            <a:spLocks noGrp="1"/>
          </p:cNvSpPr>
          <p:nvPr>
            <p:ph type="chart" sz="quarter" idx="12"/>
          </p:nvPr>
        </p:nvSpPr>
        <p:spPr>
          <a:xfrm>
            <a:off x="5399088" y="1654175"/>
            <a:ext cx="6427787" cy="4886325"/>
          </a:xfrm>
        </p:spPr>
        <p:txBody>
          <a:bodyPr/>
          <a:lstStyle/>
          <a:p>
            <a:endParaRPr lang="en-US" dirty="0"/>
          </a:p>
        </p:txBody>
      </p:sp>
    </p:spTree>
    <p:extLst>
      <p:ext uri="{BB962C8B-B14F-4D97-AF65-F5344CB8AC3E}">
        <p14:creationId xmlns:p14="http://schemas.microsoft.com/office/powerpoint/2010/main" val="2886203771"/>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World Map 1">
    <p:spTree>
      <p:nvGrpSpPr>
        <p:cNvPr id="1" name=""/>
        <p:cNvGrpSpPr/>
        <p:nvPr/>
      </p:nvGrpSpPr>
      <p:grpSpPr>
        <a:xfrm>
          <a:off x="0" y="0"/>
          <a:ext cx="0" cy="0"/>
          <a:chOff x="0" y="0"/>
          <a:chExt cx="0" cy="0"/>
        </a:xfrm>
      </p:grpSpPr>
      <p:grpSp>
        <p:nvGrpSpPr>
          <p:cNvPr id="7" name="Group 4"/>
          <p:cNvGrpSpPr>
            <a:grpSpLocks noChangeAspect="1"/>
          </p:cNvGrpSpPr>
          <p:nvPr/>
        </p:nvGrpSpPr>
        <p:grpSpPr bwMode="auto">
          <a:xfrm>
            <a:off x="1120837" y="415637"/>
            <a:ext cx="10767513" cy="5667112"/>
            <a:chOff x="201" y="1152"/>
            <a:chExt cx="5358" cy="2820"/>
          </a:xfrm>
        </p:grpSpPr>
        <p:sp>
          <p:nvSpPr>
            <p:cNvPr id="13" name="AutoShape 3"/>
            <p:cNvSpPr>
              <a:spLocks noChangeAspect="1" noChangeArrowheads="1" noTextEdit="1"/>
            </p:cNvSpPr>
            <p:nvPr/>
          </p:nvSpPr>
          <p:spPr bwMode="auto">
            <a:xfrm>
              <a:off x="201" y="1152"/>
              <a:ext cx="5358" cy="28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4" name="Group 205"/>
            <p:cNvGrpSpPr>
              <a:grpSpLocks/>
            </p:cNvGrpSpPr>
            <p:nvPr/>
          </p:nvGrpSpPr>
          <p:grpSpPr bwMode="auto">
            <a:xfrm>
              <a:off x="201" y="1152"/>
              <a:ext cx="5356" cy="2820"/>
              <a:chOff x="201" y="1152"/>
              <a:chExt cx="5356" cy="2820"/>
            </a:xfrm>
          </p:grpSpPr>
          <p:sp>
            <p:nvSpPr>
              <p:cNvPr id="33" name="Freeform 5"/>
              <p:cNvSpPr>
                <a:spLocks/>
              </p:cNvSpPr>
              <p:nvPr/>
            </p:nvSpPr>
            <p:spPr bwMode="auto">
              <a:xfrm>
                <a:off x="3215" y="3132"/>
                <a:ext cx="144" cy="142"/>
              </a:xfrm>
              <a:custGeom>
                <a:avLst/>
                <a:gdLst>
                  <a:gd name="T0" fmla="*/ 142 w 144"/>
                  <a:gd name="T1" fmla="*/ 44 h 142"/>
                  <a:gd name="T2" fmla="*/ 142 w 144"/>
                  <a:gd name="T3" fmla="*/ 28 h 142"/>
                  <a:gd name="T4" fmla="*/ 144 w 144"/>
                  <a:gd name="T5" fmla="*/ 21 h 142"/>
                  <a:gd name="T6" fmla="*/ 139 w 144"/>
                  <a:gd name="T7" fmla="*/ 21 h 142"/>
                  <a:gd name="T8" fmla="*/ 130 w 144"/>
                  <a:gd name="T9" fmla="*/ 16 h 142"/>
                  <a:gd name="T10" fmla="*/ 116 w 144"/>
                  <a:gd name="T11" fmla="*/ 9 h 142"/>
                  <a:gd name="T12" fmla="*/ 106 w 144"/>
                  <a:gd name="T13" fmla="*/ 7 h 142"/>
                  <a:gd name="T14" fmla="*/ 97 w 144"/>
                  <a:gd name="T15" fmla="*/ 7 h 142"/>
                  <a:gd name="T16" fmla="*/ 94 w 144"/>
                  <a:gd name="T17" fmla="*/ 0 h 142"/>
                  <a:gd name="T18" fmla="*/ 80 w 144"/>
                  <a:gd name="T19" fmla="*/ 0 h 142"/>
                  <a:gd name="T20" fmla="*/ 71 w 144"/>
                  <a:gd name="T21" fmla="*/ 4 h 142"/>
                  <a:gd name="T22" fmla="*/ 68 w 144"/>
                  <a:gd name="T23" fmla="*/ 9 h 142"/>
                  <a:gd name="T24" fmla="*/ 66 w 144"/>
                  <a:gd name="T25" fmla="*/ 18 h 142"/>
                  <a:gd name="T26" fmla="*/ 54 w 144"/>
                  <a:gd name="T27" fmla="*/ 23 h 142"/>
                  <a:gd name="T28" fmla="*/ 45 w 144"/>
                  <a:gd name="T29" fmla="*/ 33 h 142"/>
                  <a:gd name="T30" fmla="*/ 33 w 144"/>
                  <a:gd name="T31" fmla="*/ 47 h 142"/>
                  <a:gd name="T32" fmla="*/ 21 w 144"/>
                  <a:gd name="T33" fmla="*/ 47 h 142"/>
                  <a:gd name="T34" fmla="*/ 11 w 144"/>
                  <a:gd name="T35" fmla="*/ 47 h 142"/>
                  <a:gd name="T36" fmla="*/ 7 w 144"/>
                  <a:gd name="T37" fmla="*/ 44 h 142"/>
                  <a:gd name="T38" fmla="*/ 0 w 144"/>
                  <a:gd name="T39" fmla="*/ 44 h 142"/>
                  <a:gd name="T40" fmla="*/ 2 w 144"/>
                  <a:gd name="T41" fmla="*/ 49 h 142"/>
                  <a:gd name="T42" fmla="*/ 4 w 144"/>
                  <a:gd name="T43" fmla="*/ 54 h 142"/>
                  <a:gd name="T44" fmla="*/ 9 w 144"/>
                  <a:gd name="T45" fmla="*/ 63 h 142"/>
                  <a:gd name="T46" fmla="*/ 14 w 144"/>
                  <a:gd name="T47" fmla="*/ 68 h 142"/>
                  <a:gd name="T48" fmla="*/ 16 w 144"/>
                  <a:gd name="T49" fmla="*/ 78 h 142"/>
                  <a:gd name="T50" fmla="*/ 23 w 144"/>
                  <a:gd name="T51" fmla="*/ 85 h 142"/>
                  <a:gd name="T52" fmla="*/ 33 w 144"/>
                  <a:gd name="T53" fmla="*/ 92 h 142"/>
                  <a:gd name="T54" fmla="*/ 37 w 144"/>
                  <a:gd name="T55" fmla="*/ 97 h 142"/>
                  <a:gd name="T56" fmla="*/ 40 w 144"/>
                  <a:gd name="T57" fmla="*/ 101 h 142"/>
                  <a:gd name="T58" fmla="*/ 45 w 144"/>
                  <a:gd name="T59" fmla="*/ 101 h 142"/>
                  <a:gd name="T60" fmla="*/ 45 w 144"/>
                  <a:gd name="T61" fmla="*/ 106 h 142"/>
                  <a:gd name="T62" fmla="*/ 45 w 144"/>
                  <a:gd name="T63" fmla="*/ 113 h 142"/>
                  <a:gd name="T64" fmla="*/ 47 w 144"/>
                  <a:gd name="T65" fmla="*/ 120 h 142"/>
                  <a:gd name="T66" fmla="*/ 49 w 144"/>
                  <a:gd name="T67" fmla="*/ 125 h 142"/>
                  <a:gd name="T68" fmla="*/ 64 w 144"/>
                  <a:gd name="T69" fmla="*/ 127 h 142"/>
                  <a:gd name="T70" fmla="*/ 68 w 144"/>
                  <a:gd name="T71" fmla="*/ 130 h 142"/>
                  <a:gd name="T72" fmla="*/ 68 w 144"/>
                  <a:gd name="T73" fmla="*/ 132 h 142"/>
                  <a:gd name="T74" fmla="*/ 71 w 144"/>
                  <a:gd name="T75" fmla="*/ 134 h 142"/>
                  <a:gd name="T76" fmla="*/ 73 w 144"/>
                  <a:gd name="T77" fmla="*/ 137 h 142"/>
                  <a:gd name="T78" fmla="*/ 85 w 144"/>
                  <a:gd name="T79" fmla="*/ 137 h 142"/>
                  <a:gd name="T80" fmla="*/ 99 w 144"/>
                  <a:gd name="T81" fmla="*/ 139 h 142"/>
                  <a:gd name="T82" fmla="*/ 108 w 144"/>
                  <a:gd name="T83" fmla="*/ 142 h 142"/>
                  <a:gd name="T84" fmla="*/ 116 w 144"/>
                  <a:gd name="T85" fmla="*/ 137 h 142"/>
                  <a:gd name="T86" fmla="*/ 123 w 144"/>
                  <a:gd name="T87" fmla="*/ 127 h 142"/>
                  <a:gd name="T88" fmla="*/ 130 w 144"/>
                  <a:gd name="T89" fmla="*/ 118 h 142"/>
                  <a:gd name="T90" fmla="*/ 132 w 144"/>
                  <a:gd name="T91" fmla="*/ 111 h 142"/>
                  <a:gd name="T92" fmla="*/ 132 w 144"/>
                  <a:gd name="T93" fmla="*/ 104 h 142"/>
                  <a:gd name="T94" fmla="*/ 137 w 144"/>
                  <a:gd name="T95" fmla="*/ 99 h 142"/>
                  <a:gd name="T96" fmla="*/ 142 w 144"/>
                  <a:gd name="T97" fmla="*/ 89 h 142"/>
                  <a:gd name="T98" fmla="*/ 139 w 144"/>
                  <a:gd name="T99" fmla="*/ 85 h 142"/>
                  <a:gd name="T100" fmla="*/ 139 w 144"/>
                  <a:gd name="T101" fmla="*/ 75 h 142"/>
                  <a:gd name="T102" fmla="*/ 139 w 144"/>
                  <a:gd name="T103" fmla="*/ 71 h 142"/>
                  <a:gd name="T104" fmla="*/ 137 w 144"/>
                  <a:gd name="T105" fmla="*/ 68 h 142"/>
                  <a:gd name="T106" fmla="*/ 139 w 144"/>
                  <a:gd name="T107" fmla="*/ 66 h 142"/>
                  <a:gd name="T108" fmla="*/ 142 w 144"/>
                  <a:gd name="T109" fmla="*/ 61 h 142"/>
                  <a:gd name="T110" fmla="*/ 144 w 144"/>
                  <a:gd name="T111" fmla="*/ 56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44" h="142">
                    <a:moveTo>
                      <a:pt x="142" y="52"/>
                    </a:moveTo>
                    <a:lnTo>
                      <a:pt x="142" y="49"/>
                    </a:lnTo>
                    <a:lnTo>
                      <a:pt x="142" y="44"/>
                    </a:lnTo>
                    <a:lnTo>
                      <a:pt x="144" y="37"/>
                    </a:lnTo>
                    <a:lnTo>
                      <a:pt x="144" y="33"/>
                    </a:lnTo>
                    <a:lnTo>
                      <a:pt x="142" y="28"/>
                    </a:lnTo>
                    <a:lnTo>
                      <a:pt x="142" y="26"/>
                    </a:lnTo>
                    <a:lnTo>
                      <a:pt x="144" y="23"/>
                    </a:lnTo>
                    <a:lnTo>
                      <a:pt x="144" y="21"/>
                    </a:lnTo>
                    <a:lnTo>
                      <a:pt x="142" y="21"/>
                    </a:lnTo>
                    <a:lnTo>
                      <a:pt x="142" y="21"/>
                    </a:lnTo>
                    <a:lnTo>
                      <a:pt x="139" y="21"/>
                    </a:lnTo>
                    <a:lnTo>
                      <a:pt x="137" y="18"/>
                    </a:lnTo>
                    <a:lnTo>
                      <a:pt x="134" y="16"/>
                    </a:lnTo>
                    <a:lnTo>
                      <a:pt x="130" y="16"/>
                    </a:lnTo>
                    <a:lnTo>
                      <a:pt x="125" y="16"/>
                    </a:lnTo>
                    <a:lnTo>
                      <a:pt x="120" y="11"/>
                    </a:lnTo>
                    <a:lnTo>
                      <a:pt x="116" y="9"/>
                    </a:lnTo>
                    <a:lnTo>
                      <a:pt x="116" y="9"/>
                    </a:lnTo>
                    <a:lnTo>
                      <a:pt x="113" y="7"/>
                    </a:lnTo>
                    <a:lnTo>
                      <a:pt x="106" y="7"/>
                    </a:lnTo>
                    <a:lnTo>
                      <a:pt x="101" y="7"/>
                    </a:lnTo>
                    <a:lnTo>
                      <a:pt x="97" y="7"/>
                    </a:lnTo>
                    <a:lnTo>
                      <a:pt x="97" y="7"/>
                    </a:lnTo>
                    <a:lnTo>
                      <a:pt x="97" y="2"/>
                    </a:lnTo>
                    <a:lnTo>
                      <a:pt x="97" y="0"/>
                    </a:lnTo>
                    <a:lnTo>
                      <a:pt x="94" y="0"/>
                    </a:lnTo>
                    <a:lnTo>
                      <a:pt x="90" y="0"/>
                    </a:lnTo>
                    <a:lnTo>
                      <a:pt x="85" y="0"/>
                    </a:lnTo>
                    <a:lnTo>
                      <a:pt x="80" y="0"/>
                    </a:lnTo>
                    <a:lnTo>
                      <a:pt x="75" y="2"/>
                    </a:lnTo>
                    <a:lnTo>
                      <a:pt x="73" y="4"/>
                    </a:lnTo>
                    <a:lnTo>
                      <a:pt x="71" y="4"/>
                    </a:lnTo>
                    <a:lnTo>
                      <a:pt x="68" y="7"/>
                    </a:lnTo>
                    <a:lnTo>
                      <a:pt x="68" y="7"/>
                    </a:lnTo>
                    <a:lnTo>
                      <a:pt x="68" y="9"/>
                    </a:lnTo>
                    <a:lnTo>
                      <a:pt x="68" y="14"/>
                    </a:lnTo>
                    <a:lnTo>
                      <a:pt x="68" y="16"/>
                    </a:lnTo>
                    <a:lnTo>
                      <a:pt x="66" y="18"/>
                    </a:lnTo>
                    <a:lnTo>
                      <a:pt x="66" y="18"/>
                    </a:lnTo>
                    <a:lnTo>
                      <a:pt x="59" y="21"/>
                    </a:lnTo>
                    <a:lnTo>
                      <a:pt x="54" y="23"/>
                    </a:lnTo>
                    <a:lnTo>
                      <a:pt x="52" y="26"/>
                    </a:lnTo>
                    <a:lnTo>
                      <a:pt x="47" y="28"/>
                    </a:lnTo>
                    <a:lnTo>
                      <a:pt x="45" y="33"/>
                    </a:lnTo>
                    <a:lnTo>
                      <a:pt x="42" y="37"/>
                    </a:lnTo>
                    <a:lnTo>
                      <a:pt x="37" y="42"/>
                    </a:lnTo>
                    <a:lnTo>
                      <a:pt x="33" y="47"/>
                    </a:lnTo>
                    <a:lnTo>
                      <a:pt x="28" y="49"/>
                    </a:lnTo>
                    <a:lnTo>
                      <a:pt x="26" y="49"/>
                    </a:lnTo>
                    <a:lnTo>
                      <a:pt x="21" y="47"/>
                    </a:lnTo>
                    <a:lnTo>
                      <a:pt x="16" y="47"/>
                    </a:lnTo>
                    <a:lnTo>
                      <a:pt x="14" y="47"/>
                    </a:lnTo>
                    <a:lnTo>
                      <a:pt x="11" y="47"/>
                    </a:lnTo>
                    <a:lnTo>
                      <a:pt x="9" y="44"/>
                    </a:lnTo>
                    <a:lnTo>
                      <a:pt x="9" y="44"/>
                    </a:lnTo>
                    <a:lnTo>
                      <a:pt x="7" y="44"/>
                    </a:lnTo>
                    <a:lnTo>
                      <a:pt x="4" y="44"/>
                    </a:lnTo>
                    <a:lnTo>
                      <a:pt x="2" y="44"/>
                    </a:lnTo>
                    <a:lnTo>
                      <a:pt x="0" y="44"/>
                    </a:lnTo>
                    <a:lnTo>
                      <a:pt x="0" y="47"/>
                    </a:lnTo>
                    <a:lnTo>
                      <a:pt x="0" y="47"/>
                    </a:lnTo>
                    <a:lnTo>
                      <a:pt x="2" y="49"/>
                    </a:lnTo>
                    <a:lnTo>
                      <a:pt x="2" y="52"/>
                    </a:lnTo>
                    <a:lnTo>
                      <a:pt x="4" y="52"/>
                    </a:lnTo>
                    <a:lnTo>
                      <a:pt x="4" y="54"/>
                    </a:lnTo>
                    <a:lnTo>
                      <a:pt x="4" y="56"/>
                    </a:lnTo>
                    <a:lnTo>
                      <a:pt x="7" y="59"/>
                    </a:lnTo>
                    <a:lnTo>
                      <a:pt x="9" y="63"/>
                    </a:lnTo>
                    <a:lnTo>
                      <a:pt x="11" y="63"/>
                    </a:lnTo>
                    <a:lnTo>
                      <a:pt x="11" y="66"/>
                    </a:lnTo>
                    <a:lnTo>
                      <a:pt x="14" y="68"/>
                    </a:lnTo>
                    <a:lnTo>
                      <a:pt x="14" y="71"/>
                    </a:lnTo>
                    <a:lnTo>
                      <a:pt x="14" y="71"/>
                    </a:lnTo>
                    <a:lnTo>
                      <a:pt x="16" y="78"/>
                    </a:lnTo>
                    <a:lnTo>
                      <a:pt x="16" y="80"/>
                    </a:lnTo>
                    <a:lnTo>
                      <a:pt x="19" y="82"/>
                    </a:lnTo>
                    <a:lnTo>
                      <a:pt x="23" y="85"/>
                    </a:lnTo>
                    <a:lnTo>
                      <a:pt x="26" y="89"/>
                    </a:lnTo>
                    <a:lnTo>
                      <a:pt x="30" y="92"/>
                    </a:lnTo>
                    <a:lnTo>
                      <a:pt x="33" y="92"/>
                    </a:lnTo>
                    <a:lnTo>
                      <a:pt x="35" y="92"/>
                    </a:lnTo>
                    <a:lnTo>
                      <a:pt x="35" y="94"/>
                    </a:lnTo>
                    <a:lnTo>
                      <a:pt x="37" y="97"/>
                    </a:lnTo>
                    <a:lnTo>
                      <a:pt x="37" y="99"/>
                    </a:lnTo>
                    <a:lnTo>
                      <a:pt x="37" y="101"/>
                    </a:lnTo>
                    <a:lnTo>
                      <a:pt x="40" y="101"/>
                    </a:lnTo>
                    <a:lnTo>
                      <a:pt x="42" y="101"/>
                    </a:lnTo>
                    <a:lnTo>
                      <a:pt x="45" y="101"/>
                    </a:lnTo>
                    <a:lnTo>
                      <a:pt x="45" y="101"/>
                    </a:lnTo>
                    <a:lnTo>
                      <a:pt x="45" y="104"/>
                    </a:lnTo>
                    <a:lnTo>
                      <a:pt x="45" y="106"/>
                    </a:lnTo>
                    <a:lnTo>
                      <a:pt x="45" y="106"/>
                    </a:lnTo>
                    <a:lnTo>
                      <a:pt x="45" y="108"/>
                    </a:lnTo>
                    <a:lnTo>
                      <a:pt x="45" y="111"/>
                    </a:lnTo>
                    <a:lnTo>
                      <a:pt x="45" y="113"/>
                    </a:lnTo>
                    <a:lnTo>
                      <a:pt x="45" y="116"/>
                    </a:lnTo>
                    <a:lnTo>
                      <a:pt x="47" y="118"/>
                    </a:lnTo>
                    <a:lnTo>
                      <a:pt x="47" y="120"/>
                    </a:lnTo>
                    <a:lnTo>
                      <a:pt x="49" y="123"/>
                    </a:lnTo>
                    <a:lnTo>
                      <a:pt x="49" y="123"/>
                    </a:lnTo>
                    <a:lnTo>
                      <a:pt x="49" y="125"/>
                    </a:lnTo>
                    <a:lnTo>
                      <a:pt x="52" y="125"/>
                    </a:lnTo>
                    <a:lnTo>
                      <a:pt x="59" y="125"/>
                    </a:lnTo>
                    <a:lnTo>
                      <a:pt x="64" y="127"/>
                    </a:lnTo>
                    <a:lnTo>
                      <a:pt x="66" y="127"/>
                    </a:lnTo>
                    <a:lnTo>
                      <a:pt x="68" y="127"/>
                    </a:lnTo>
                    <a:lnTo>
                      <a:pt x="68" y="130"/>
                    </a:lnTo>
                    <a:lnTo>
                      <a:pt x="68" y="130"/>
                    </a:lnTo>
                    <a:lnTo>
                      <a:pt x="68" y="132"/>
                    </a:lnTo>
                    <a:lnTo>
                      <a:pt x="68" y="132"/>
                    </a:lnTo>
                    <a:lnTo>
                      <a:pt x="68" y="134"/>
                    </a:lnTo>
                    <a:lnTo>
                      <a:pt x="68" y="134"/>
                    </a:lnTo>
                    <a:lnTo>
                      <a:pt x="71" y="134"/>
                    </a:lnTo>
                    <a:lnTo>
                      <a:pt x="73" y="134"/>
                    </a:lnTo>
                    <a:lnTo>
                      <a:pt x="73" y="137"/>
                    </a:lnTo>
                    <a:lnTo>
                      <a:pt x="73" y="137"/>
                    </a:lnTo>
                    <a:lnTo>
                      <a:pt x="75" y="137"/>
                    </a:lnTo>
                    <a:lnTo>
                      <a:pt x="80" y="137"/>
                    </a:lnTo>
                    <a:lnTo>
                      <a:pt x="85" y="137"/>
                    </a:lnTo>
                    <a:lnTo>
                      <a:pt x="90" y="139"/>
                    </a:lnTo>
                    <a:lnTo>
                      <a:pt x="94" y="139"/>
                    </a:lnTo>
                    <a:lnTo>
                      <a:pt x="99" y="139"/>
                    </a:lnTo>
                    <a:lnTo>
                      <a:pt x="101" y="139"/>
                    </a:lnTo>
                    <a:lnTo>
                      <a:pt x="106" y="139"/>
                    </a:lnTo>
                    <a:lnTo>
                      <a:pt x="108" y="142"/>
                    </a:lnTo>
                    <a:lnTo>
                      <a:pt x="108" y="142"/>
                    </a:lnTo>
                    <a:lnTo>
                      <a:pt x="111" y="139"/>
                    </a:lnTo>
                    <a:lnTo>
                      <a:pt x="116" y="137"/>
                    </a:lnTo>
                    <a:lnTo>
                      <a:pt x="118" y="132"/>
                    </a:lnTo>
                    <a:lnTo>
                      <a:pt x="120" y="130"/>
                    </a:lnTo>
                    <a:lnTo>
                      <a:pt x="123" y="127"/>
                    </a:lnTo>
                    <a:lnTo>
                      <a:pt x="127" y="123"/>
                    </a:lnTo>
                    <a:lnTo>
                      <a:pt x="130" y="120"/>
                    </a:lnTo>
                    <a:lnTo>
                      <a:pt x="130" y="118"/>
                    </a:lnTo>
                    <a:lnTo>
                      <a:pt x="130" y="118"/>
                    </a:lnTo>
                    <a:lnTo>
                      <a:pt x="130" y="116"/>
                    </a:lnTo>
                    <a:lnTo>
                      <a:pt x="132" y="111"/>
                    </a:lnTo>
                    <a:lnTo>
                      <a:pt x="132" y="108"/>
                    </a:lnTo>
                    <a:lnTo>
                      <a:pt x="132" y="106"/>
                    </a:lnTo>
                    <a:lnTo>
                      <a:pt x="132" y="104"/>
                    </a:lnTo>
                    <a:lnTo>
                      <a:pt x="132" y="104"/>
                    </a:lnTo>
                    <a:lnTo>
                      <a:pt x="137" y="101"/>
                    </a:lnTo>
                    <a:lnTo>
                      <a:pt x="137" y="99"/>
                    </a:lnTo>
                    <a:lnTo>
                      <a:pt x="139" y="97"/>
                    </a:lnTo>
                    <a:lnTo>
                      <a:pt x="142" y="89"/>
                    </a:lnTo>
                    <a:lnTo>
                      <a:pt x="142" y="89"/>
                    </a:lnTo>
                    <a:lnTo>
                      <a:pt x="142" y="87"/>
                    </a:lnTo>
                    <a:lnTo>
                      <a:pt x="142" y="87"/>
                    </a:lnTo>
                    <a:lnTo>
                      <a:pt x="139" y="85"/>
                    </a:lnTo>
                    <a:lnTo>
                      <a:pt x="139" y="82"/>
                    </a:lnTo>
                    <a:lnTo>
                      <a:pt x="139" y="78"/>
                    </a:lnTo>
                    <a:lnTo>
                      <a:pt x="139" y="75"/>
                    </a:lnTo>
                    <a:lnTo>
                      <a:pt x="139" y="73"/>
                    </a:lnTo>
                    <a:lnTo>
                      <a:pt x="139" y="73"/>
                    </a:lnTo>
                    <a:lnTo>
                      <a:pt x="139" y="71"/>
                    </a:lnTo>
                    <a:lnTo>
                      <a:pt x="139" y="71"/>
                    </a:lnTo>
                    <a:lnTo>
                      <a:pt x="137" y="71"/>
                    </a:lnTo>
                    <a:lnTo>
                      <a:pt x="137" y="68"/>
                    </a:lnTo>
                    <a:lnTo>
                      <a:pt x="137" y="66"/>
                    </a:lnTo>
                    <a:lnTo>
                      <a:pt x="137" y="66"/>
                    </a:lnTo>
                    <a:lnTo>
                      <a:pt x="139" y="66"/>
                    </a:lnTo>
                    <a:lnTo>
                      <a:pt x="142" y="63"/>
                    </a:lnTo>
                    <a:lnTo>
                      <a:pt x="142" y="63"/>
                    </a:lnTo>
                    <a:lnTo>
                      <a:pt x="142" y="61"/>
                    </a:lnTo>
                    <a:lnTo>
                      <a:pt x="142" y="59"/>
                    </a:lnTo>
                    <a:lnTo>
                      <a:pt x="144" y="56"/>
                    </a:lnTo>
                    <a:lnTo>
                      <a:pt x="144" y="56"/>
                    </a:lnTo>
                    <a:lnTo>
                      <a:pt x="144" y="54"/>
                    </a:lnTo>
                    <a:lnTo>
                      <a:pt x="142" y="52"/>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 name="Freeform 6"/>
              <p:cNvSpPr>
                <a:spLocks/>
              </p:cNvSpPr>
              <p:nvPr/>
            </p:nvSpPr>
            <p:spPr bwMode="auto">
              <a:xfrm>
                <a:off x="3155" y="2973"/>
                <a:ext cx="220" cy="208"/>
              </a:xfrm>
              <a:custGeom>
                <a:avLst/>
                <a:gdLst>
                  <a:gd name="T0" fmla="*/ 218 w 220"/>
                  <a:gd name="T1" fmla="*/ 50 h 208"/>
                  <a:gd name="T2" fmla="*/ 213 w 220"/>
                  <a:gd name="T3" fmla="*/ 40 h 208"/>
                  <a:gd name="T4" fmla="*/ 211 w 220"/>
                  <a:gd name="T5" fmla="*/ 31 h 208"/>
                  <a:gd name="T6" fmla="*/ 206 w 220"/>
                  <a:gd name="T7" fmla="*/ 31 h 208"/>
                  <a:gd name="T8" fmla="*/ 204 w 220"/>
                  <a:gd name="T9" fmla="*/ 24 h 208"/>
                  <a:gd name="T10" fmla="*/ 192 w 220"/>
                  <a:gd name="T11" fmla="*/ 19 h 208"/>
                  <a:gd name="T12" fmla="*/ 185 w 220"/>
                  <a:gd name="T13" fmla="*/ 16 h 208"/>
                  <a:gd name="T14" fmla="*/ 180 w 220"/>
                  <a:gd name="T15" fmla="*/ 12 h 208"/>
                  <a:gd name="T16" fmla="*/ 168 w 220"/>
                  <a:gd name="T17" fmla="*/ 7 h 208"/>
                  <a:gd name="T18" fmla="*/ 154 w 220"/>
                  <a:gd name="T19" fmla="*/ 2 h 208"/>
                  <a:gd name="T20" fmla="*/ 133 w 220"/>
                  <a:gd name="T21" fmla="*/ 9 h 208"/>
                  <a:gd name="T22" fmla="*/ 126 w 220"/>
                  <a:gd name="T23" fmla="*/ 19 h 208"/>
                  <a:gd name="T24" fmla="*/ 126 w 220"/>
                  <a:gd name="T25" fmla="*/ 35 h 208"/>
                  <a:gd name="T26" fmla="*/ 126 w 220"/>
                  <a:gd name="T27" fmla="*/ 52 h 208"/>
                  <a:gd name="T28" fmla="*/ 121 w 220"/>
                  <a:gd name="T29" fmla="*/ 71 h 208"/>
                  <a:gd name="T30" fmla="*/ 128 w 220"/>
                  <a:gd name="T31" fmla="*/ 83 h 208"/>
                  <a:gd name="T32" fmla="*/ 140 w 220"/>
                  <a:gd name="T33" fmla="*/ 90 h 208"/>
                  <a:gd name="T34" fmla="*/ 142 w 220"/>
                  <a:gd name="T35" fmla="*/ 85 h 208"/>
                  <a:gd name="T36" fmla="*/ 147 w 220"/>
                  <a:gd name="T37" fmla="*/ 95 h 208"/>
                  <a:gd name="T38" fmla="*/ 147 w 220"/>
                  <a:gd name="T39" fmla="*/ 111 h 208"/>
                  <a:gd name="T40" fmla="*/ 142 w 220"/>
                  <a:gd name="T41" fmla="*/ 106 h 208"/>
                  <a:gd name="T42" fmla="*/ 133 w 220"/>
                  <a:gd name="T43" fmla="*/ 109 h 208"/>
                  <a:gd name="T44" fmla="*/ 126 w 220"/>
                  <a:gd name="T45" fmla="*/ 99 h 208"/>
                  <a:gd name="T46" fmla="*/ 121 w 220"/>
                  <a:gd name="T47" fmla="*/ 92 h 208"/>
                  <a:gd name="T48" fmla="*/ 107 w 220"/>
                  <a:gd name="T49" fmla="*/ 87 h 208"/>
                  <a:gd name="T50" fmla="*/ 100 w 220"/>
                  <a:gd name="T51" fmla="*/ 73 h 208"/>
                  <a:gd name="T52" fmla="*/ 95 w 220"/>
                  <a:gd name="T53" fmla="*/ 78 h 208"/>
                  <a:gd name="T54" fmla="*/ 86 w 220"/>
                  <a:gd name="T55" fmla="*/ 80 h 208"/>
                  <a:gd name="T56" fmla="*/ 69 w 220"/>
                  <a:gd name="T57" fmla="*/ 76 h 208"/>
                  <a:gd name="T58" fmla="*/ 64 w 220"/>
                  <a:gd name="T59" fmla="*/ 69 h 208"/>
                  <a:gd name="T60" fmla="*/ 60 w 220"/>
                  <a:gd name="T61" fmla="*/ 66 h 208"/>
                  <a:gd name="T62" fmla="*/ 48 w 220"/>
                  <a:gd name="T63" fmla="*/ 69 h 208"/>
                  <a:gd name="T64" fmla="*/ 45 w 220"/>
                  <a:gd name="T65" fmla="*/ 61 h 208"/>
                  <a:gd name="T66" fmla="*/ 38 w 220"/>
                  <a:gd name="T67" fmla="*/ 57 h 208"/>
                  <a:gd name="T68" fmla="*/ 41 w 220"/>
                  <a:gd name="T69" fmla="*/ 69 h 208"/>
                  <a:gd name="T70" fmla="*/ 38 w 220"/>
                  <a:gd name="T71" fmla="*/ 80 h 208"/>
                  <a:gd name="T72" fmla="*/ 38 w 220"/>
                  <a:gd name="T73" fmla="*/ 97 h 208"/>
                  <a:gd name="T74" fmla="*/ 3 w 220"/>
                  <a:gd name="T75" fmla="*/ 102 h 208"/>
                  <a:gd name="T76" fmla="*/ 0 w 220"/>
                  <a:gd name="T77" fmla="*/ 140 h 208"/>
                  <a:gd name="T78" fmla="*/ 5 w 220"/>
                  <a:gd name="T79" fmla="*/ 177 h 208"/>
                  <a:gd name="T80" fmla="*/ 19 w 220"/>
                  <a:gd name="T81" fmla="*/ 192 h 208"/>
                  <a:gd name="T82" fmla="*/ 43 w 220"/>
                  <a:gd name="T83" fmla="*/ 196 h 208"/>
                  <a:gd name="T84" fmla="*/ 62 w 220"/>
                  <a:gd name="T85" fmla="*/ 203 h 208"/>
                  <a:gd name="T86" fmla="*/ 74 w 220"/>
                  <a:gd name="T87" fmla="*/ 206 h 208"/>
                  <a:gd name="T88" fmla="*/ 97 w 220"/>
                  <a:gd name="T89" fmla="*/ 201 h 208"/>
                  <a:gd name="T90" fmla="*/ 119 w 220"/>
                  <a:gd name="T91" fmla="*/ 180 h 208"/>
                  <a:gd name="T92" fmla="*/ 128 w 220"/>
                  <a:gd name="T93" fmla="*/ 166 h 208"/>
                  <a:gd name="T94" fmla="*/ 145 w 220"/>
                  <a:gd name="T95" fmla="*/ 159 h 208"/>
                  <a:gd name="T96" fmla="*/ 154 w 220"/>
                  <a:gd name="T97" fmla="*/ 151 h 208"/>
                  <a:gd name="T98" fmla="*/ 159 w 220"/>
                  <a:gd name="T99" fmla="*/ 142 h 208"/>
                  <a:gd name="T100" fmla="*/ 180 w 220"/>
                  <a:gd name="T101" fmla="*/ 135 h 208"/>
                  <a:gd name="T102" fmla="*/ 197 w 220"/>
                  <a:gd name="T103" fmla="*/ 128 h 208"/>
                  <a:gd name="T104" fmla="*/ 206 w 220"/>
                  <a:gd name="T105" fmla="*/ 123 h 208"/>
                  <a:gd name="T106" fmla="*/ 204 w 220"/>
                  <a:gd name="T107" fmla="*/ 118 h 208"/>
                  <a:gd name="T108" fmla="*/ 202 w 220"/>
                  <a:gd name="T109" fmla="*/ 116 h 208"/>
                  <a:gd name="T110" fmla="*/ 204 w 220"/>
                  <a:gd name="T111" fmla="*/ 109 h 208"/>
                  <a:gd name="T112" fmla="*/ 206 w 220"/>
                  <a:gd name="T113" fmla="*/ 99 h 208"/>
                  <a:gd name="T114" fmla="*/ 213 w 220"/>
                  <a:gd name="T115" fmla="*/ 92 h 208"/>
                  <a:gd name="T116" fmla="*/ 213 w 220"/>
                  <a:gd name="T117" fmla="*/ 87 h 208"/>
                  <a:gd name="T118" fmla="*/ 211 w 220"/>
                  <a:gd name="T119" fmla="*/ 71 h 208"/>
                  <a:gd name="T120" fmla="*/ 213 w 220"/>
                  <a:gd name="T121" fmla="*/ 61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0" h="208">
                    <a:moveTo>
                      <a:pt x="213" y="57"/>
                    </a:moveTo>
                    <a:lnTo>
                      <a:pt x="216" y="54"/>
                    </a:lnTo>
                    <a:lnTo>
                      <a:pt x="216" y="54"/>
                    </a:lnTo>
                    <a:lnTo>
                      <a:pt x="220" y="52"/>
                    </a:lnTo>
                    <a:lnTo>
                      <a:pt x="220" y="50"/>
                    </a:lnTo>
                    <a:lnTo>
                      <a:pt x="218" y="50"/>
                    </a:lnTo>
                    <a:lnTo>
                      <a:pt x="218" y="47"/>
                    </a:lnTo>
                    <a:lnTo>
                      <a:pt x="218" y="45"/>
                    </a:lnTo>
                    <a:lnTo>
                      <a:pt x="218" y="42"/>
                    </a:lnTo>
                    <a:lnTo>
                      <a:pt x="216" y="42"/>
                    </a:lnTo>
                    <a:lnTo>
                      <a:pt x="216" y="40"/>
                    </a:lnTo>
                    <a:lnTo>
                      <a:pt x="213" y="40"/>
                    </a:lnTo>
                    <a:lnTo>
                      <a:pt x="213" y="38"/>
                    </a:lnTo>
                    <a:lnTo>
                      <a:pt x="213" y="35"/>
                    </a:lnTo>
                    <a:lnTo>
                      <a:pt x="213" y="35"/>
                    </a:lnTo>
                    <a:lnTo>
                      <a:pt x="211" y="33"/>
                    </a:lnTo>
                    <a:lnTo>
                      <a:pt x="211" y="31"/>
                    </a:lnTo>
                    <a:lnTo>
                      <a:pt x="211" y="31"/>
                    </a:lnTo>
                    <a:lnTo>
                      <a:pt x="211" y="31"/>
                    </a:lnTo>
                    <a:lnTo>
                      <a:pt x="209" y="31"/>
                    </a:lnTo>
                    <a:lnTo>
                      <a:pt x="209" y="31"/>
                    </a:lnTo>
                    <a:lnTo>
                      <a:pt x="209" y="31"/>
                    </a:lnTo>
                    <a:lnTo>
                      <a:pt x="209" y="31"/>
                    </a:lnTo>
                    <a:lnTo>
                      <a:pt x="206" y="31"/>
                    </a:lnTo>
                    <a:lnTo>
                      <a:pt x="206" y="28"/>
                    </a:lnTo>
                    <a:lnTo>
                      <a:pt x="206" y="28"/>
                    </a:lnTo>
                    <a:lnTo>
                      <a:pt x="206" y="26"/>
                    </a:lnTo>
                    <a:lnTo>
                      <a:pt x="206" y="26"/>
                    </a:lnTo>
                    <a:lnTo>
                      <a:pt x="204" y="26"/>
                    </a:lnTo>
                    <a:lnTo>
                      <a:pt x="204" y="24"/>
                    </a:lnTo>
                    <a:lnTo>
                      <a:pt x="202" y="24"/>
                    </a:lnTo>
                    <a:lnTo>
                      <a:pt x="199" y="21"/>
                    </a:lnTo>
                    <a:lnTo>
                      <a:pt x="197" y="21"/>
                    </a:lnTo>
                    <a:lnTo>
                      <a:pt x="194" y="21"/>
                    </a:lnTo>
                    <a:lnTo>
                      <a:pt x="192" y="21"/>
                    </a:lnTo>
                    <a:lnTo>
                      <a:pt x="192" y="19"/>
                    </a:lnTo>
                    <a:lnTo>
                      <a:pt x="190" y="19"/>
                    </a:lnTo>
                    <a:lnTo>
                      <a:pt x="187" y="19"/>
                    </a:lnTo>
                    <a:lnTo>
                      <a:pt x="187" y="19"/>
                    </a:lnTo>
                    <a:lnTo>
                      <a:pt x="187" y="16"/>
                    </a:lnTo>
                    <a:lnTo>
                      <a:pt x="187" y="16"/>
                    </a:lnTo>
                    <a:lnTo>
                      <a:pt x="185" y="16"/>
                    </a:lnTo>
                    <a:lnTo>
                      <a:pt x="185" y="16"/>
                    </a:lnTo>
                    <a:lnTo>
                      <a:pt x="183" y="16"/>
                    </a:lnTo>
                    <a:lnTo>
                      <a:pt x="183" y="16"/>
                    </a:lnTo>
                    <a:lnTo>
                      <a:pt x="183" y="14"/>
                    </a:lnTo>
                    <a:lnTo>
                      <a:pt x="180" y="14"/>
                    </a:lnTo>
                    <a:lnTo>
                      <a:pt x="180" y="12"/>
                    </a:lnTo>
                    <a:lnTo>
                      <a:pt x="178" y="9"/>
                    </a:lnTo>
                    <a:lnTo>
                      <a:pt x="178" y="9"/>
                    </a:lnTo>
                    <a:lnTo>
                      <a:pt x="173" y="9"/>
                    </a:lnTo>
                    <a:lnTo>
                      <a:pt x="171" y="9"/>
                    </a:lnTo>
                    <a:lnTo>
                      <a:pt x="171" y="7"/>
                    </a:lnTo>
                    <a:lnTo>
                      <a:pt x="168" y="7"/>
                    </a:lnTo>
                    <a:lnTo>
                      <a:pt x="168" y="5"/>
                    </a:lnTo>
                    <a:lnTo>
                      <a:pt x="166" y="2"/>
                    </a:lnTo>
                    <a:lnTo>
                      <a:pt x="166" y="0"/>
                    </a:lnTo>
                    <a:lnTo>
                      <a:pt x="164" y="0"/>
                    </a:lnTo>
                    <a:lnTo>
                      <a:pt x="159" y="2"/>
                    </a:lnTo>
                    <a:lnTo>
                      <a:pt x="154" y="2"/>
                    </a:lnTo>
                    <a:lnTo>
                      <a:pt x="147" y="5"/>
                    </a:lnTo>
                    <a:lnTo>
                      <a:pt x="142" y="5"/>
                    </a:lnTo>
                    <a:lnTo>
                      <a:pt x="138" y="5"/>
                    </a:lnTo>
                    <a:lnTo>
                      <a:pt x="133" y="7"/>
                    </a:lnTo>
                    <a:lnTo>
                      <a:pt x="131" y="7"/>
                    </a:lnTo>
                    <a:lnTo>
                      <a:pt x="133" y="9"/>
                    </a:lnTo>
                    <a:lnTo>
                      <a:pt x="133" y="12"/>
                    </a:lnTo>
                    <a:lnTo>
                      <a:pt x="131" y="12"/>
                    </a:lnTo>
                    <a:lnTo>
                      <a:pt x="131" y="14"/>
                    </a:lnTo>
                    <a:lnTo>
                      <a:pt x="128" y="16"/>
                    </a:lnTo>
                    <a:lnTo>
                      <a:pt x="128" y="19"/>
                    </a:lnTo>
                    <a:lnTo>
                      <a:pt x="126" y="19"/>
                    </a:lnTo>
                    <a:lnTo>
                      <a:pt x="124" y="21"/>
                    </a:lnTo>
                    <a:lnTo>
                      <a:pt x="121" y="21"/>
                    </a:lnTo>
                    <a:lnTo>
                      <a:pt x="121" y="24"/>
                    </a:lnTo>
                    <a:lnTo>
                      <a:pt x="126" y="28"/>
                    </a:lnTo>
                    <a:lnTo>
                      <a:pt x="126" y="31"/>
                    </a:lnTo>
                    <a:lnTo>
                      <a:pt x="126" y="35"/>
                    </a:lnTo>
                    <a:lnTo>
                      <a:pt x="126" y="38"/>
                    </a:lnTo>
                    <a:lnTo>
                      <a:pt x="126" y="40"/>
                    </a:lnTo>
                    <a:lnTo>
                      <a:pt x="126" y="45"/>
                    </a:lnTo>
                    <a:lnTo>
                      <a:pt x="126" y="47"/>
                    </a:lnTo>
                    <a:lnTo>
                      <a:pt x="126" y="50"/>
                    </a:lnTo>
                    <a:lnTo>
                      <a:pt x="126" y="52"/>
                    </a:lnTo>
                    <a:lnTo>
                      <a:pt x="124" y="54"/>
                    </a:lnTo>
                    <a:lnTo>
                      <a:pt x="124" y="59"/>
                    </a:lnTo>
                    <a:lnTo>
                      <a:pt x="124" y="61"/>
                    </a:lnTo>
                    <a:lnTo>
                      <a:pt x="121" y="66"/>
                    </a:lnTo>
                    <a:lnTo>
                      <a:pt x="121" y="71"/>
                    </a:lnTo>
                    <a:lnTo>
                      <a:pt x="121" y="71"/>
                    </a:lnTo>
                    <a:lnTo>
                      <a:pt x="121" y="73"/>
                    </a:lnTo>
                    <a:lnTo>
                      <a:pt x="121" y="73"/>
                    </a:lnTo>
                    <a:lnTo>
                      <a:pt x="124" y="76"/>
                    </a:lnTo>
                    <a:lnTo>
                      <a:pt x="124" y="78"/>
                    </a:lnTo>
                    <a:lnTo>
                      <a:pt x="124" y="78"/>
                    </a:lnTo>
                    <a:lnTo>
                      <a:pt x="128" y="83"/>
                    </a:lnTo>
                    <a:lnTo>
                      <a:pt x="131" y="83"/>
                    </a:lnTo>
                    <a:lnTo>
                      <a:pt x="133" y="85"/>
                    </a:lnTo>
                    <a:lnTo>
                      <a:pt x="133" y="87"/>
                    </a:lnTo>
                    <a:lnTo>
                      <a:pt x="135" y="87"/>
                    </a:lnTo>
                    <a:lnTo>
                      <a:pt x="138" y="90"/>
                    </a:lnTo>
                    <a:lnTo>
                      <a:pt x="140" y="90"/>
                    </a:lnTo>
                    <a:lnTo>
                      <a:pt x="142" y="90"/>
                    </a:lnTo>
                    <a:lnTo>
                      <a:pt x="142" y="90"/>
                    </a:lnTo>
                    <a:lnTo>
                      <a:pt x="142" y="87"/>
                    </a:lnTo>
                    <a:lnTo>
                      <a:pt x="142" y="87"/>
                    </a:lnTo>
                    <a:lnTo>
                      <a:pt x="142" y="85"/>
                    </a:lnTo>
                    <a:lnTo>
                      <a:pt x="142" y="85"/>
                    </a:lnTo>
                    <a:lnTo>
                      <a:pt x="145" y="85"/>
                    </a:lnTo>
                    <a:lnTo>
                      <a:pt x="147" y="85"/>
                    </a:lnTo>
                    <a:lnTo>
                      <a:pt x="147" y="85"/>
                    </a:lnTo>
                    <a:lnTo>
                      <a:pt x="147" y="87"/>
                    </a:lnTo>
                    <a:lnTo>
                      <a:pt x="147" y="90"/>
                    </a:lnTo>
                    <a:lnTo>
                      <a:pt x="147" y="95"/>
                    </a:lnTo>
                    <a:lnTo>
                      <a:pt x="147" y="99"/>
                    </a:lnTo>
                    <a:lnTo>
                      <a:pt x="147" y="102"/>
                    </a:lnTo>
                    <a:lnTo>
                      <a:pt x="147" y="106"/>
                    </a:lnTo>
                    <a:lnTo>
                      <a:pt x="147" y="109"/>
                    </a:lnTo>
                    <a:lnTo>
                      <a:pt x="147" y="111"/>
                    </a:lnTo>
                    <a:lnTo>
                      <a:pt x="147" y="111"/>
                    </a:lnTo>
                    <a:lnTo>
                      <a:pt x="145" y="111"/>
                    </a:lnTo>
                    <a:lnTo>
                      <a:pt x="145" y="111"/>
                    </a:lnTo>
                    <a:lnTo>
                      <a:pt x="145" y="109"/>
                    </a:lnTo>
                    <a:lnTo>
                      <a:pt x="145" y="109"/>
                    </a:lnTo>
                    <a:lnTo>
                      <a:pt x="142" y="106"/>
                    </a:lnTo>
                    <a:lnTo>
                      <a:pt x="142" y="106"/>
                    </a:lnTo>
                    <a:lnTo>
                      <a:pt x="140" y="106"/>
                    </a:lnTo>
                    <a:lnTo>
                      <a:pt x="140" y="109"/>
                    </a:lnTo>
                    <a:lnTo>
                      <a:pt x="138" y="109"/>
                    </a:lnTo>
                    <a:lnTo>
                      <a:pt x="135" y="111"/>
                    </a:lnTo>
                    <a:lnTo>
                      <a:pt x="133" y="111"/>
                    </a:lnTo>
                    <a:lnTo>
                      <a:pt x="133" y="109"/>
                    </a:lnTo>
                    <a:lnTo>
                      <a:pt x="131" y="109"/>
                    </a:lnTo>
                    <a:lnTo>
                      <a:pt x="131" y="106"/>
                    </a:lnTo>
                    <a:lnTo>
                      <a:pt x="131" y="104"/>
                    </a:lnTo>
                    <a:lnTo>
                      <a:pt x="128" y="102"/>
                    </a:lnTo>
                    <a:lnTo>
                      <a:pt x="128" y="99"/>
                    </a:lnTo>
                    <a:lnTo>
                      <a:pt x="126" y="99"/>
                    </a:lnTo>
                    <a:lnTo>
                      <a:pt x="126" y="99"/>
                    </a:lnTo>
                    <a:lnTo>
                      <a:pt x="124" y="99"/>
                    </a:lnTo>
                    <a:lnTo>
                      <a:pt x="124" y="97"/>
                    </a:lnTo>
                    <a:lnTo>
                      <a:pt x="124" y="95"/>
                    </a:lnTo>
                    <a:lnTo>
                      <a:pt x="121" y="92"/>
                    </a:lnTo>
                    <a:lnTo>
                      <a:pt x="121" y="92"/>
                    </a:lnTo>
                    <a:lnTo>
                      <a:pt x="121" y="90"/>
                    </a:lnTo>
                    <a:lnTo>
                      <a:pt x="119" y="90"/>
                    </a:lnTo>
                    <a:lnTo>
                      <a:pt x="114" y="87"/>
                    </a:lnTo>
                    <a:lnTo>
                      <a:pt x="112" y="87"/>
                    </a:lnTo>
                    <a:lnTo>
                      <a:pt x="109" y="87"/>
                    </a:lnTo>
                    <a:lnTo>
                      <a:pt x="107" y="87"/>
                    </a:lnTo>
                    <a:lnTo>
                      <a:pt x="107" y="85"/>
                    </a:lnTo>
                    <a:lnTo>
                      <a:pt x="105" y="85"/>
                    </a:lnTo>
                    <a:lnTo>
                      <a:pt x="105" y="83"/>
                    </a:lnTo>
                    <a:lnTo>
                      <a:pt x="102" y="80"/>
                    </a:lnTo>
                    <a:lnTo>
                      <a:pt x="100" y="76"/>
                    </a:lnTo>
                    <a:lnTo>
                      <a:pt x="100" y="73"/>
                    </a:lnTo>
                    <a:lnTo>
                      <a:pt x="97" y="71"/>
                    </a:lnTo>
                    <a:lnTo>
                      <a:pt x="97" y="73"/>
                    </a:lnTo>
                    <a:lnTo>
                      <a:pt x="97" y="73"/>
                    </a:lnTo>
                    <a:lnTo>
                      <a:pt x="95" y="73"/>
                    </a:lnTo>
                    <a:lnTo>
                      <a:pt x="95" y="78"/>
                    </a:lnTo>
                    <a:lnTo>
                      <a:pt x="95" y="78"/>
                    </a:lnTo>
                    <a:lnTo>
                      <a:pt x="95" y="78"/>
                    </a:lnTo>
                    <a:lnTo>
                      <a:pt x="93" y="80"/>
                    </a:lnTo>
                    <a:lnTo>
                      <a:pt x="93" y="80"/>
                    </a:lnTo>
                    <a:lnTo>
                      <a:pt x="90" y="80"/>
                    </a:lnTo>
                    <a:lnTo>
                      <a:pt x="88" y="80"/>
                    </a:lnTo>
                    <a:lnTo>
                      <a:pt x="86" y="80"/>
                    </a:lnTo>
                    <a:lnTo>
                      <a:pt x="83" y="80"/>
                    </a:lnTo>
                    <a:lnTo>
                      <a:pt x="79" y="78"/>
                    </a:lnTo>
                    <a:lnTo>
                      <a:pt x="79" y="78"/>
                    </a:lnTo>
                    <a:lnTo>
                      <a:pt x="76" y="78"/>
                    </a:lnTo>
                    <a:lnTo>
                      <a:pt x="74" y="78"/>
                    </a:lnTo>
                    <a:lnTo>
                      <a:pt x="69" y="76"/>
                    </a:lnTo>
                    <a:lnTo>
                      <a:pt x="67" y="76"/>
                    </a:lnTo>
                    <a:lnTo>
                      <a:pt x="67" y="73"/>
                    </a:lnTo>
                    <a:lnTo>
                      <a:pt x="67" y="73"/>
                    </a:lnTo>
                    <a:lnTo>
                      <a:pt x="64" y="73"/>
                    </a:lnTo>
                    <a:lnTo>
                      <a:pt x="64" y="71"/>
                    </a:lnTo>
                    <a:lnTo>
                      <a:pt x="64" y="69"/>
                    </a:lnTo>
                    <a:lnTo>
                      <a:pt x="64" y="66"/>
                    </a:lnTo>
                    <a:lnTo>
                      <a:pt x="64" y="64"/>
                    </a:lnTo>
                    <a:lnTo>
                      <a:pt x="64" y="64"/>
                    </a:lnTo>
                    <a:lnTo>
                      <a:pt x="62" y="64"/>
                    </a:lnTo>
                    <a:lnTo>
                      <a:pt x="62" y="64"/>
                    </a:lnTo>
                    <a:lnTo>
                      <a:pt x="60" y="66"/>
                    </a:lnTo>
                    <a:lnTo>
                      <a:pt x="57" y="66"/>
                    </a:lnTo>
                    <a:lnTo>
                      <a:pt x="55" y="66"/>
                    </a:lnTo>
                    <a:lnTo>
                      <a:pt x="53" y="66"/>
                    </a:lnTo>
                    <a:lnTo>
                      <a:pt x="53" y="66"/>
                    </a:lnTo>
                    <a:lnTo>
                      <a:pt x="50" y="69"/>
                    </a:lnTo>
                    <a:lnTo>
                      <a:pt x="48" y="69"/>
                    </a:lnTo>
                    <a:lnTo>
                      <a:pt x="48" y="69"/>
                    </a:lnTo>
                    <a:lnTo>
                      <a:pt x="45" y="69"/>
                    </a:lnTo>
                    <a:lnTo>
                      <a:pt x="48" y="66"/>
                    </a:lnTo>
                    <a:lnTo>
                      <a:pt x="48" y="66"/>
                    </a:lnTo>
                    <a:lnTo>
                      <a:pt x="48" y="61"/>
                    </a:lnTo>
                    <a:lnTo>
                      <a:pt x="45" y="61"/>
                    </a:lnTo>
                    <a:lnTo>
                      <a:pt x="43" y="61"/>
                    </a:lnTo>
                    <a:lnTo>
                      <a:pt x="43" y="59"/>
                    </a:lnTo>
                    <a:lnTo>
                      <a:pt x="43" y="59"/>
                    </a:lnTo>
                    <a:lnTo>
                      <a:pt x="41" y="57"/>
                    </a:lnTo>
                    <a:lnTo>
                      <a:pt x="41" y="57"/>
                    </a:lnTo>
                    <a:lnTo>
                      <a:pt x="38" y="57"/>
                    </a:lnTo>
                    <a:lnTo>
                      <a:pt x="41" y="59"/>
                    </a:lnTo>
                    <a:lnTo>
                      <a:pt x="41" y="64"/>
                    </a:lnTo>
                    <a:lnTo>
                      <a:pt x="41" y="66"/>
                    </a:lnTo>
                    <a:lnTo>
                      <a:pt x="41" y="69"/>
                    </a:lnTo>
                    <a:lnTo>
                      <a:pt x="41" y="69"/>
                    </a:lnTo>
                    <a:lnTo>
                      <a:pt x="41" y="69"/>
                    </a:lnTo>
                    <a:lnTo>
                      <a:pt x="41" y="71"/>
                    </a:lnTo>
                    <a:lnTo>
                      <a:pt x="41" y="71"/>
                    </a:lnTo>
                    <a:lnTo>
                      <a:pt x="38" y="73"/>
                    </a:lnTo>
                    <a:lnTo>
                      <a:pt x="41" y="76"/>
                    </a:lnTo>
                    <a:lnTo>
                      <a:pt x="38" y="78"/>
                    </a:lnTo>
                    <a:lnTo>
                      <a:pt x="38" y="80"/>
                    </a:lnTo>
                    <a:lnTo>
                      <a:pt x="38" y="83"/>
                    </a:lnTo>
                    <a:lnTo>
                      <a:pt x="41" y="87"/>
                    </a:lnTo>
                    <a:lnTo>
                      <a:pt x="41" y="90"/>
                    </a:lnTo>
                    <a:lnTo>
                      <a:pt x="38" y="92"/>
                    </a:lnTo>
                    <a:lnTo>
                      <a:pt x="38" y="95"/>
                    </a:lnTo>
                    <a:lnTo>
                      <a:pt x="38" y="97"/>
                    </a:lnTo>
                    <a:lnTo>
                      <a:pt x="38" y="97"/>
                    </a:lnTo>
                    <a:lnTo>
                      <a:pt x="38" y="102"/>
                    </a:lnTo>
                    <a:lnTo>
                      <a:pt x="38" y="102"/>
                    </a:lnTo>
                    <a:lnTo>
                      <a:pt x="38" y="102"/>
                    </a:lnTo>
                    <a:lnTo>
                      <a:pt x="36" y="102"/>
                    </a:lnTo>
                    <a:lnTo>
                      <a:pt x="3" y="102"/>
                    </a:lnTo>
                    <a:lnTo>
                      <a:pt x="3" y="104"/>
                    </a:lnTo>
                    <a:lnTo>
                      <a:pt x="3" y="111"/>
                    </a:lnTo>
                    <a:lnTo>
                      <a:pt x="3" y="118"/>
                    </a:lnTo>
                    <a:lnTo>
                      <a:pt x="3" y="125"/>
                    </a:lnTo>
                    <a:lnTo>
                      <a:pt x="3" y="132"/>
                    </a:lnTo>
                    <a:lnTo>
                      <a:pt x="0" y="140"/>
                    </a:lnTo>
                    <a:lnTo>
                      <a:pt x="0" y="147"/>
                    </a:lnTo>
                    <a:lnTo>
                      <a:pt x="0" y="154"/>
                    </a:lnTo>
                    <a:lnTo>
                      <a:pt x="0" y="159"/>
                    </a:lnTo>
                    <a:lnTo>
                      <a:pt x="0" y="163"/>
                    </a:lnTo>
                    <a:lnTo>
                      <a:pt x="3" y="170"/>
                    </a:lnTo>
                    <a:lnTo>
                      <a:pt x="5" y="177"/>
                    </a:lnTo>
                    <a:lnTo>
                      <a:pt x="5" y="177"/>
                    </a:lnTo>
                    <a:lnTo>
                      <a:pt x="8" y="180"/>
                    </a:lnTo>
                    <a:lnTo>
                      <a:pt x="10" y="182"/>
                    </a:lnTo>
                    <a:lnTo>
                      <a:pt x="12" y="185"/>
                    </a:lnTo>
                    <a:lnTo>
                      <a:pt x="15" y="187"/>
                    </a:lnTo>
                    <a:lnTo>
                      <a:pt x="19" y="192"/>
                    </a:lnTo>
                    <a:lnTo>
                      <a:pt x="24" y="196"/>
                    </a:lnTo>
                    <a:lnTo>
                      <a:pt x="27" y="201"/>
                    </a:lnTo>
                    <a:lnTo>
                      <a:pt x="31" y="199"/>
                    </a:lnTo>
                    <a:lnTo>
                      <a:pt x="34" y="199"/>
                    </a:lnTo>
                    <a:lnTo>
                      <a:pt x="38" y="196"/>
                    </a:lnTo>
                    <a:lnTo>
                      <a:pt x="43" y="196"/>
                    </a:lnTo>
                    <a:lnTo>
                      <a:pt x="43" y="196"/>
                    </a:lnTo>
                    <a:lnTo>
                      <a:pt x="53" y="196"/>
                    </a:lnTo>
                    <a:lnTo>
                      <a:pt x="55" y="199"/>
                    </a:lnTo>
                    <a:lnTo>
                      <a:pt x="57" y="199"/>
                    </a:lnTo>
                    <a:lnTo>
                      <a:pt x="57" y="199"/>
                    </a:lnTo>
                    <a:lnTo>
                      <a:pt x="62" y="203"/>
                    </a:lnTo>
                    <a:lnTo>
                      <a:pt x="64" y="203"/>
                    </a:lnTo>
                    <a:lnTo>
                      <a:pt x="67" y="203"/>
                    </a:lnTo>
                    <a:lnTo>
                      <a:pt x="69" y="203"/>
                    </a:lnTo>
                    <a:lnTo>
                      <a:pt x="69" y="203"/>
                    </a:lnTo>
                    <a:lnTo>
                      <a:pt x="71" y="206"/>
                    </a:lnTo>
                    <a:lnTo>
                      <a:pt x="74" y="206"/>
                    </a:lnTo>
                    <a:lnTo>
                      <a:pt x="76" y="206"/>
                    </a:lnTo>
                    <a:lnTo>
                      <a:pt x="81" y="206"/>
                    </a:lnTo>
                    <a:lnTo>
                      <a:pt x="86" y="208"/>
                    </a:lnTo>
                    <a:lnTo>
                      <a:pt x="88" y="208"/>
                    </a:lnTo>
                    <a:lnTo>
                      <a:pt x="93" y="206"/>
                    </a:lnTo>
                    <a:lnTo>
                      <a:pt x="97" y="201"/>
                    </a:lnTo>
                    <a:lnTo>
                      <a:pt x="102" y="196"/>
                    </a:lnTo>
                    <a:lnTo>
                      <a:pt x="105" y="192"/>
                    </a:lnTo>
                    <a:lnTo>
                      <a:pt x="107" y="187"/>
                    </a:lnTo>
                    <a:lnTo>
                      <a:pt x="112" y="185"/>
                    </a:lnTo>
                    <a:lnTo>
                      <a:pt x="114" y="182"/>
                    </a:lnTo>
                    <a:lnTo>
                      <a:pt x="119" y="180"/>
                    </a:lnTo>
                    <a:lnTo>
                      <a:pt x="126" y="177"/>
                    </a:lnTo>
                    <a:lnTo>
                      <a:pt x="126" y="177"/>
                    </a:lnTo>
                    <a:lnTo>
                      <a:pt x="128" y="175"/>
                    </a:lnTo>
                    <a:lnTo>
                      <a:pt x="128" y="173"/>
                    </a:lnTo>
                    <a:lnTo>
                      <a:pt x="128" y="168"/>
                    </a:lnTo>
                    <a:lnTo>
                      <a:pt x="128" y="166"/>
                    </a:lnTo>
                    <a:lnTo>
                      <a:pt x="128" y="166"/>
                    </a:lnTo>
                    <a:lnTo>
                      <a:pt x="131" y="163"/>
                    </a:lnTo>
                    <a:lnTo>
                      <a:pt x="133" y="163"/>
                    </a:lnTo>
                    <a:lnTo>
                      <a:pt x="135" y="161"/>
                    </a:lnTo>
                    <a:lnTo>
                      <a:pt x="140" y="159"/>
                    </a:lnTo>
                    <a:lnTo>
                      <a:pt x="145" y="159"/>
                    </a:lnTo>
                    <a:lnTo>
                      <a:pt x="150" y="159"/>
                    </a:lnTo>
                    <a:lnTo>
                      <a:pt x="154" y="159"/>
                    </a:lnTo>
                    <a:lnTo>
                      <a:pt x="157" y="159"/>
                    </a:lnTo>
                    <a:lnTo>
                      <a:pt x="157" y="154"/>
                    </a:lnTo>
                    <a:lnTo>
                      <a:pt x="157" y="151"/>
                    </a:lnTo>
                    <a:lnTo>
                      <a:pt x="154" y="151"/>
                    </a:lnTo>
                    <a:lnTo>
                      <a:pt x="154" y="149"/>
                    </a:lnTo>
                    <a:lnTo>
                      <a:pt x="154" y="147"/>
                    </a:lnTo>
                    <a:lnTo>
                      <a:pt x="154" y="144"/>
                    </a:lnTo>
                    <a:lnTo>
                      <a:pt x="154" y="144"/>
                    </a:lnTo>
                    <a:lnTo>
                      <a:pt x="159" y="142"/>
                    </a:lnTo>
                    <a:lnTo>
                      <a:pt x="159" y="142"/>
                    </a:lnTo>
                    <a:lnTo>
                      <a:pt x="161" y="140"/>
                    </a:lnTo>
                    <a:lnTo>
                      <a:pt x="166" y="140"/>
                    </a:lnTo>
                    <a:lnTo>
                      <a:pt x="171" y="137"/>
                    </a:lnTo>
                    <a:lnTo>
                      <a:pt x="176" y="137"/>
                    </a:lnTo>
                    <a:lnTo>
                      <a:pt x="178" y="135"/>
                    </a:lnTo>
                    <a:lnTo>
                      <a:pt x="180" y="135"/>
                    </a:lnTo>
                    <a:lnTo>
                      <a:pt x="183" y="132"/>
                    </a:lnTo>
                    <a:lnTo>
                      <a:pt x="187" y="132"/>
                    </a:lnTo>
                    <a:lnTo>
                      <a:pt x="187" y="130"/>
                    </a:lnTo>
                    <a:lnTo>
                      <a:pt x="190" y="130"/>
                    </a:lnTo>
                    <a:lnTo>
                      <a:pt x="192" y="130"/>
                    </a:lnTo>
                    <a:lnTo>
                      <a:pt x="197" y="128"/>
                    </a:lnTo>
                    <a:lnTo>
                      <a:pt x="204" y="125"/>
                    </a:lnTo>
                    <a:lnTo>
                      <a:pt x="206" y="125"/>
                    </a:lnTo>
                    <a:lnTo>
                      <a:pt x="209" y="123"/>
                    </a:lnTo>
                    <a:lnTo>
                      <a:pt x="209" y="121"/>
                    </a:lnTo>
                    <a:lnTo>
                      <a:pt x="209" y="123"/>
                    </a:lnTo>
                    <a:lnTo>
                      <a:pt x="206" y="123"/>
                    </a:lnTo>
                    <a:lnTo>
                      <a:pt x="206" y="123"/>
                    </a:lnTo>
                    <a:lnTo>
                      <a:pt x="206" y="123"/>
                    </a:lnTo>
                    <a:lnTo>
                      <a:pt x="206" y="123"/>
                    </a:lnTo>
                    <a:lnTo>
                      <a:pt x="206" y="123"/>
                    </a:lnTo>
                    <a:lnTo>
                      <a:pt x="204" y="121"/>
                    </a:lnTo>
                    <a:lnTo>
                      <a:pt x="204" y="118"/>
                    </a:lnTo>
                    <a:lnTo>
                      <a:pt x="202" y="118"/>
                    </a:lnTo>
                    <a:lnTo>
                      <a:pt x="202" y="118"/>
                    </a:lnTo>
                    <a:lnTo>
                      <a:pt x="202" y="118"/>
                    </a:lnTo>
                    <a:lnTo>
                      <a:pt x="202" y="116"/>
                    </a:lnTo>
                    <a:lnTo>
                      <a:pt x="202" y="116"/>
                    </a:lnTo>
                    <a:lnTo>
                      <a:pt x="202" y="116"/>
                    </a:lnTo>
                    <a:lnTo>
                      <a:pt x="199" y="116"/>
                    </a:lnTo>
                    <a:lnTo>
                      <a:pt x="199" y="114"/>
                    </a:lnTo>
                    <a:lnTo>
                      <a:pt x="202" y="114"/>
                    </a:lnTo>
                    <a:lnTo>
                      <a:pt x="202" y="114"/>
                    </a:lnTo>
                    <a:lnTo>
                      <a:pt x="204" y="111"/>
                    </a:lnTo>
                    <a:lnTo>
                      <a:pt x="204" y="109"/>
                    </a:lnTo>
                    <a:lnTo>
                      <a:pt x="204" y="106"/>
                    </a:lnTo>
                    <a:lnTo>
                      <a:pt x="206" y="106"/>
                    </a:lnTo>
                    <a:lnTo>
                      <a:pt x="206" y="106"/>
                    </a:lnTo>
                    <a:lnTo>
                      <a:pt x="206" y="104"/>
                    </a:lnTo>
                    <a:lnTo>
                      <a:pt x="206" y="102"/>
                    </a:lnTo>
                    <a:lnTo>
                      <a:pt x="206" y="99"/>
                    </a:lnTo>
                    <a:lnTo>
                      <a:pt x="206" y="99"/>
                    </a:lnTo>
                    <a:lnTo>
                      <a:pt x="206" y="97"/>
                    </a:lnTo>
                    <a:lnTo>
                      <a:pt x="206" y="95"/>
                    </a:lnTo>
                    <a:lnTo>
                      <a:pt x="206" y="95"/>
                    </a:lnTo>
                    <a:lnTo>
                      <a:pt x="211" y="92"/>
                    </a:lnTo>
                    <a:lnTo>
                      <a:pt x="213" y="92"/>
                    </a:lnTo>
                    <a:lnTo>
                      <a:pt x="213" y="90"/>
                    </a:lnTo>
                    <a:lnTo>
                      <a:pt x="216" y="90"/>
                    </a:lnTo>
                    <a:lnTo>
                      <a:pt x="216" y="87"/>
                    </a:lnTo>
                    <a:lnTo>
                      <a:pt x="216" y="87"/>
                    </a:lnTo>
                    <a:lnTo>
                      <a:pt x="213" y="87"/>
                    </a:lnTo>
                    <a:lnTo>
                      <a:pt x="213" y="87"/>
                    </a:lnTo>
                    <a:lnTo>
                      <a:pt x="211" y="83"/>
                    </a:lnTo>
                    <a:lnTo>
                      <a:pt x="213" y="78"/>
                    </a:lnTo>
                    <a:lnTo>
                      <a:pt x="213" y="76"/>
                    </a:lnTo>
                    <a:lnTo>
                      <a:pt x="213" y="73"/>
                    </a:lnTo>
                    <a:lnTo>
                      <a:pt x="211" y="73"/>
                    </a:lnTo>
                    <a:lnTo>
                      <a:pt x="211" y="71"/>
                    </a:lnTo>
                    <a:lnTo>
                      <a:pt x="211" y="71"/>
                    </a:lnTo>
                    <a:lnTo>
                      <a:pt x="211" y="69"/>
                    </a:lnTo>
                    <a:lnTo>
                      <a:pt x="211" y="69"/>
                    </a:lnTo>
                    <a:lnTo>
                      <a:pt x="213" y="64"/>
                    </a:lnTo>
                    <a:lnTo>
                      <a:pt x="213" y="64"/>
                    </a:lnTo>
                    <a:lnTo>
                      <a:pt x="213" y="61"/>
                    </a:lnTo>
                    <a:lnTo>
                      <a:pt x="213" y="59"/>
                    </a:lnTo>
                    <a:lnTo>
                      <a:pt x="211" y="57"/>
                    </a:lnTo>
                    <a:lnTo>
                      <a:pt x="211" y="57"/>
                    </a:lnTo>
                    <a:lnTo>
                      <a:pt x="213" y="57"/>
                    </a:lnTo>
                    <a:lnTo>
                      <a:pt x="213" y="57"/>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 name="Freeform 7"/>
              <p:cNvSpPr>
                <a:spLocks noEditPoints="1"/>
              </p:cNvSpPr>
              <p:nvPr/>
            </p:nvSpPr>
            <p:spPr bwMode="auto">
              <a:xfrm>
                <a:off x="3536" y="2397"/>
                <a:ext cx="225" cy="143"/>
              </a:xfrm>
              <a:custGeom>
                <a:avLst/>
                <a:gdLst>
                  <a:gd name="T0" fmla="*/ 211 w 225"/>
                  <a:gd name="T1" fmla="*/ 135 h 143"/>
                  <a:gd name="T2" fmla="*/ 204 w 225"/>
                  <a:gd name="T3" fmla="*/ 135 h 143"/>
                  <a:gd name="T4" fmla="*/ 206 w 225"/>
                  <a:gd name="T5" fmla="*/ 143 h 143"/>
                  <a:gd name="T6" fmla="*/ 223 w 225"/>
                  <a:gd name="T7" fmla="*/ 140 h 143"/>
                  <a:gd name="T8" fmla="*/ 5 w 225"/>
                  <a:gd name="T9" fmla="*/ 112 h 143"/>
                  <a:gd name="T10" fmla="*/ 5 w 225"/>
                  <a:gd name="T11" fmla="*/ 112 h 143"/>
                  <a:gd name="T12" fmla="*/ 5 w 225"/>
                  <a:gd name="T13" fmla="*/ 107 h 143"/>
                  <a:gd name="T14" fmla="*/ 5 w 225"/>
                  <a:gd name="T15" fmla="*/ 107 h 143"/>
                  <a:gd name="T16" fmla="*/ 0 w 225"/>
                  <a:gd name="T17" fmla="*/ 79 h 143"/>
                  <a:gd name="T18" fmla="*/ 0 w 225"/>
                  <a:gd name="T19" fmla="*/ 76 h 143"/>
                  <a:gd name="T20" fmla="*/ 187 w 225"/>
                  <a:gd name="T21" fmla="*/ 38 h 143"/>
                  <a:gd name="T22" fmla="*/ 182 w 225"/>
                  <a:gd name="T23" fmla="*/ 31 h 143"/>
                  <a:gd name="T24" fmla="*/ 180 w 225"/>
                  <a:gd name="T25" fmla="*/ 22 h 143"/>
                  <a:gd name="T26" fmla="*/ 175 w 225"/>
                  <a:gd name="T27" fmla="*/ 15 h 143"/>
                  <a:gd name="T28" fmla="*/ 173 w 225"/>
                  <a:gd name="T29" fmla="*/ 5 h 143"/>
                  <a:gd name="T30" fmla="*/ 161 w 225"/>
                  <a:gd name="T31" fmla="*/ 3 h 143"/>
                  <a:gd name="T32" fmla="*/ 140 w 225"/>
                  <a:gd name="T33" fmla="*/ 5 h 143"/>
                  <a:gd name="T34" fmla="*/ 119 w 225"/>
                  <a:gd name="T35" fmla="*/ 10 h 143"/>
                  <a:gd name="T36" fmla="*/ 104 w 225"/>
                  <a:gd name="T37" fmla="*/ 17 h 143"/>
                  <a:gd name="T38" fmla="*/ 95 w 225"/>
                  <a:gd name="T39" fmla="*/ 29 h 143"/>
                  <a:gd name="T40" fmla="*/ 88 w 225"/>
                  <a:gd name="T41" fmla="*/ 41 h 143"/>
                  <a:gd name="T42" fmla="*/ 81 w 225"/>
                  <a:gd name="T43" fmla="*/ 45 h 143"/>
                  <a:gd name="T44" fmla="*/ 74 w 225"/>
                  <a:gd name="T45" fmla="*/ 38 h 143"/>
                  <a:gd name="T46" fmla="*/ 59 w 225"/>
                  <a:gd name="T47" fmla="*/ 38 h 143"/>
                  <a:gd name="T48" fmla="*/ 48 w 225"/>
                  <a:gd name="T49" fmla="*/ 34 h 143"/>
                  <a:gd name="T50" fmla="*/ 36 w 225"/>
                  <a:gd name="T51" fmla="*/ 36 h 143"/>
                  <a:gd name="T52" fmla="*/ 26 w 225"/>
                  <a:gd name="T53" fmla="*/ 36 h 143"/>
                  <a:gd name="T54" fmla="*/ 22 w 225"/>
                  <a:gd name="T55" fmla="*/ 36 h 143"/>
                  <a:gd name="T56" fmla="*/ 17 w 225"/>
                  <a:gd name="T57" fmla="*/ 34 h 143"/>
                  <a:gd name="T58" fmla="*/ 12 w 225"/>
                  <a:gd name="T59" fmla="*/ 34 h 143"/>
                  <a:gd name="T60" fmla="*/ 12 w 225"/>
                  <a:gd name="T61" fmla="*/ 38 h 143"/>
                  <a:gd name="T62" fmla="*/ 10 w 225"/>
                  <a:gd name="T63" fmla="*/ 45 h 143"/>
                  <a:gd name="T64" fmla="*/ 10 w 225"/>
                  <a:gd name="T65" fmla="*/ 50 h 143"/>
                  <a:gd name="T66" fmla="*/ 7 w 225"/>
                  <a:gd name="T67" fmla="*/ 55 h 143"/>
                  <a:gd name="T68" fmla="*/ 5 w 225"/>
                  <a:gd name="T69" fmla="*/ 79 h 143"/>
                  <a:gd name="T70" fmla="*/ 3 w 225"/>
                  <a:gd name="T71" fmla="*/ 79 h 143"/>
                  <a:gd name="T72" fmla="*/ 7 w 225"/>
                  <a:gd name="T73" fmla="*/ 88 h 143"/>
                  <a:gd name="T74" fmla="*/ 7 w 225"/>
                  <a:gd name="T75" fmla="*/ 90 h 143"/>
                  <a:gd name="T76" fmla="*/ 10 w 225"/>
                  <a:gd name="T77" fmla="*/ 100 h 143"/>
                  <a:gd name="T78" fmla="*/ 15 w 225"/>
                  <a:gd name="T79" fmla="*/ 114 h 143"/>
                  <a:gd name="T80" fmla="*/ 19 w 225"/>
                  <a:gd name="T81" fmla="*/ 135 h 143"/>
                  <a:gd name="T82" fmla="*/ 29 w 225"/>
                  <a:gd name="T83" fmla="*/ 135 h 143"/>
                  <a:gd name="T84" fmla="*/ 41 w 225"/>
                  <a:gd name="T85" fmla="*/ 133 h 143"/>
                  <a:gd name="T86" fmla="*/ 50 w 225"/>
                  <a:gd name="T87" fmla="*/ 131 h 143"/>
                  <a:gd name="T88" fmla="*/ 59 w 225"/>
                  <a:gd name="T89" fmla="*/ 121 h 143"/>
                  <a:gd name="T90" fmla="*/ 78 w 225"/>
                  <a:gd name="T91" fmla="*/ 119 h 143"/>
                  <a:gd name="T92" fmla="*/ 93 w 225"/>
                  <a:gd name="T93" fmla="*/ 114 h 143"/>
                  <a:gd name="T94" fmla="*/ 102 w 225"/>
                  <a:gd name="T95" fmla="*/ 107 h 143"/>
                  <a:gd name="T96" fmla="*/ 114 w 225"/>
                  <a:gd name="T97" fmla="*/ 107 h 143"/>
                  <a:gd name="T98" fmla="*/ 121 w 225"/>
                  <a:gd name="T99" fmla="*/ 98 h 143"/>
                  <a:gd name="T100" fmla="*/ 138 w 225"/>
                  <a:gd name="T101" fmla="*/ 90 h 143"/>
                  <a:gd name="T102" fmla="*/ 156 w 225"/>
                  <a:gd name="T103" fmla="*/ 83 h 143"/>
                  <a:gd name="T104" fmla="*/ 171 w 225"/>
                  <a:gd name="T105" fmla="*/ 76 h 143"/>
                  <a:gd name="T106" fmla="*/ 178 w 225"/>
                  <a:gd name="T107" fmla="*/ 72 h 143"/>
                  <a:gd name="T108" fmla="*/ 180 w 225"/>
                  <a:gd name="T109" fmla="*/ 60 h 143"/>
                  <a:gd name="T110" fmla="*/ 192 w 225"/>
                  <a:gd name="T111" fmla="*/ 48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25" h="143">
                    <a:moveTo>
                      <a:pt x="218" y="135"/>
                    </a:moveTo>
                    <a:lnTo>
                      <a:pt x="213" y="135"/>
                    </a:lnTo>
                    <a:lnTo>
                      <a:pt x="211" y="135"/>
                    </a:lnTo>
                    <a:lnTo>
                      <a:pt x="211" y="135"/>
                    </a:lnTo>
                    <a:lnTo>
                      <a:pt x="209" y="135"/>
                    </a:lnTo>
                    <a:lnTo>
                      <a:pt x="206" y="133"/>
                    </a:lnTo>
                    <a:lnTo>
                      <a:pt x="204" y="135"/>
                    </a:lnTo>
                    <a:lnTo>
                      <a:pt x="204" y="135"/>
                    </a:lnTo>
                    <a:lnTo>
                      <a:pt x="204" y="138"/>
                    </a:lnTo>
                    <a:lnTo>
                      <a:pt x="201" y="138"/>
                    </a:lnTo>
                    <a:lnTo>
                      <a:pt x="206" y="140"/>
                    </a:lnTo>
                    <a:lnTo>
                      <a:pt x="206" y="143"/>
                    </a:lnTo>
                    <a:lnTo>
                      <a:pt x="209" y="143"/>
                    </a:lnTo>
                    <a:lnTo>
                      <a:pt x="218" y="143"/>
                    </a:lnTo>
                    <a:lnTo>
                      <a:pt x="220" y="140"/>
                    </a:lnTo>
                    <a:lnTo>
                      <a:pt x="223" y="140"/>
                    </a:lnTo>
                    <a:lnTo>
                      <a:pt x="223" y="138"/>
                    </a:lnTo>
                    <a:lnTo>
                      <a:pt x="225" y="138"/>
                    </a:lnTo>
                    <a:lnTo>
                      <a:pt x="218" y="135"/>
                    </a:lnTo>
                    <a:close/>
                    <a:moveTo>
                      <a:pt x="5" y="112"/>
                    </a:moveTo>
                    <a:lnTo>
                      <a:pt x="5" y="114"/>
                    </a:lnTo>
                    <a:lnTo>
                      <a:pt x="5" y="114"/>
                    </a:lnTo>
                    <a:lnTo>
                      <a:pt x="5" y="112"/>
                    </a:lnTo>
                    <a:lnTo>
                      <a:pt x="5" y="112"/>
                    </a:lnTo>
                    <a:lnTo>
                      <a:pt x="5" y="112"/>
                    </a:lnTo>
                    <a:close/>
                    <a:moveTo>
                      <a:pt x="5" y="107"/>
                    </a:moveTo>
                    <a:lnTo>
                      <a:pt x="5" y="107"/>
                    </a:lnTo>
                    <a:lnTo>
                      <a:pt x="5" y="107"/>
                    </a:lnTo>
                    <a:lnTo>
                      <a:pt x="5" y="105"/>
                    </a:lnTo>
                    <a:lnTo>
                      <a:pt x="5" y="107"/>
                    </a:lnTo>
                    <a:lnTo>
                      <a:pt x="5" y="107"/>
                    </a:lnTo>
                    <a:lnTo>
                      <a:pt x="5" y="107"/>
                    </a:lnTo>
                    <a:close/>
                    <a:moveTo>
                      <a:pt x="0" y="76"/>
                    </a:moveTo>
                    <a:lnTo>
                      <a:pt x="0" y="79"/>
                    </a:lnTo>
                    <a:lnTo>
                      <a:pt x="0" y="81"/>
                    </a:lnTo>
                    <a:lnTo>
                      <a:pt x="0" y="79"/>
                    </a:lnTo>
                    <a:lnTo>
                      <a:pt x="0" y="79"/>
                    </a:lnTo>
                    <a:lnTo>
                      <a:pt x="3" y="79"/>
                    </a:lnTo>
                    <a:lnTo>
                      <a:pt x="0" y="76"/>
                    </a:lnTo>
                    <a:lnTo>
                      <a:pt x="0" y="76"/>
                    </a:lnTo>
                    <a:close/>
                    <a:moveTo>
                      <a:pt x="192" y="45"/>
                    </a:moveTo>
                    <a:lnTo>
                      <a:pt x="190" y="43"/>
                    </a:lnTo>
                    <a:lnTo>
                      <a:pt x="187" y="41"/>
                    </a:lnTo>
                    <a:lnTo>
                      <a:pt x="187" y="38"/>
                    </a:lnTo>
                    <a:lnTo>
                      <a:pt x="187" y="38"/>
                    </a:lnTo>
                    <a:lnTo>
                      <a:pt x="185" y="36"/>
                    </a:lnTo>
                    <a:lnTo>
                      <a:pt x="185" y="34"/>
                    </a:lnTo>
                    <a:lnTo>
                      <a:pt x="182" y="31"/>
                    </a:lnTo>
                    <a:lnTo>
                      <a:pt x="182" y="29"/>
                    </a:lnTo>
                    <a:lnTo>
                      <a:pt x="182" y="27"/>
                    </a:lnTo>
                    <a:lnTo>
                      <a:pt x="180" y="24"/>
                    </a:lnTo>
                    <a:lnTo>
                      <a:pt x="180" y="22"/>
                    </a:lnTo>
                    <a:lnTo>
                      <a:pt x="178" y="19"/>
                    </a:lnTo>
                    <a:lnTo>
                      <a:pt x="178" y="19"/>
                    </a:lnTo>
                    <a:lnTo>
                      <a:pt x="178" y="17"/>
                    </a:lnTo>
                    <a:lnTo>
                      <a:pt x="175" y="15"/>
                    </a:lnTo>
                    <a:lnTo>
                      <a:pt x="175" y="12"/>
                    </a:lnTo>
                    <a:lnTo>
                      <a:pt x="173" y="10"/>
                    </a:lnTo>
                    <a:lnTo>
                      <a:pt x="173" y="8"/>
                    </a:lnTo>
                    <a:lnTo>
                      <a:pt x="173" y="5"/>
                    </a:lnTo>
                    <a:lnTo>
                      <a:pt x="171" y="3"/>
                    </a:lnTo>
                    <a:lnTo>
                      <a:pt x="171" y="0"/>
                    </a:lnTo>
                    <a:lnTo>
                      <a:pt x="166" y="3"/>
                    </a:lnTo>
                    <a:lnTo>
                      <a:pt x="161" y="3"/>
                    </a:lnTo>
                    <a:lnTo>
                      <a:pt x="156" y="3"/>
                    </a:lnTo>
                    <a:lnTo>
                      <a:pt x="152" y="5"/>
                    </a:lnTo>
                    <a:lnTo>
                      <a:pt x="147" y="5"/>
                    </a:lnTo>
                    <a:lnTo>
                      <a:pt x="140" y="5"/>
                    </a:lnTo>
                    <a:lnTo>
                      <a:pt x="135" y="8"/>
                    </a:lnTo>
                    <a:lnTo>
                      <a:pt x="130" y="8"/>
                    </a:lnTo>
                    <a:lnTo>
                      <a:pt x="123" y="8"/>
                    </a:lnTo>
                    <a:lnTo>
                      <a:pt x="119" y="10"/>
                    </a:lnTo>
                    <a:lnTo>
                      <a:pt x="116" y="10"/>
                    </a:lnTo>
                    <a:lnTo>
                      <a:pt x="114" y="12"/>
                    </a:lnTo>
                    <a:lnTo>
                      <a:pt x="109" y="15"/>
                    </a:lnTo>
                    <a:lnTo>
                      <a:pt x="104" y="17"/>
                    </a:lnTo>
                    <a:lnTo>
                      <a:pt x="102" y="19"/>
                    </a:lnTo>
                    <a:lnTo>
                      <a:pt x="100" y="24"/>
                    </a:lnTo>
                    <a:lnTo>
                      <a:pt x="97" y="24"/>
                    </a:lnTo>
                    <a:lnTo>
                      <a:pt x="95" y="29"/>
                    </a:lnTo>
                    <a:lnTo>
                      <a:pt x="93" y="31"/>
                    </a:lnTo>
                    <a:lnTo>
                      <a:pt x="90" y="34"/>
                    </a:lnTo>
                    <a:lnTo>
                      <a:pt x="90" y="36"/>
                    </a:lnTo>
                    <a:lnTo>
                      <a:pt x="88" y="41"/>
                    </a:lnTo>
                    <a:lnTo>
                      <a:pt x="88" y="43"/>
                    </a:lnTo>
                    <a:lnTo>
                      <a:pt x="86" y="43"/>
                    </a:lnTo>
                    <a:lnTo>
                      <a:pt x="83" y="45"/>
                    </a:lnTo>
                    <a:lnTo>
                      <a:pt x="81" y="45"/>
                    </a:lnTo>
                    <a:lnTo>
                      <a:pt x="78" y="43"/>
                    </a:lnTo>
                    <a:lnTo>
                      <a:pt x="76" y="38"/>
                    </a:lnTo>
                    <a:lnTo>
                      <a:pt x="76" y="38"/>
                    </a:lnTo>
                    <a:lnTo>
                      <a:pt x="74" y="38"/>
                    </a:lnTo>
                    <a:lnTo>
                      <a:pt x="71" y="38"/>
                    </a:lnTo>
                    <a:lnTo>
                      <a:pt x="69" y="38"/>
                    </a:lnTo>
                    <a:lnTo>
                      <a:pt x="64" y="38"/>
                    </a:lnTo>
                    <a:lnTo>
                      <a:pt x="59" y="38"/>
                    </a:lnTo>
                    <a:lnTo>
                      <a:pt x="55" y="38"/>
                    </a:lnTo>
                    <a:lnTo>
                      <a:pt x="52" y="36"/>
                    </a:lnTo>
                    <a:lnTo>
                      <a:pt x="48" y="36"/>
                    </a:lnTo>
                    <a:lnTo>
                      <a:pt x="48" y="34"/>
                    </a:lnTo>
                    <a:lnTo>
                      <a:pt x="45" y="34"/>
                    </a:lnTo>
                    <a:lnTo>
                      <a:pt x="43" y="34"/>
                    </a:lnTo>
                    <a:lnTo>
                      <a:pt x="38" y="34"/>
                    </a:lnTo>
                    <a:lnTo>
                      <a:pt x="36" y="36"/>
                    </a:lnTo>
                    <a:lnTo>
                      <a:pt x="31" y="36"/>
                    </a:lnTo>
                    <a:lnTo>
                      <a:pt x="29" y="36"/>
                    </a:lnTo>
                    <a:lnTo>
                      <a:pt x="26" y="36"/>
                    </a:lnTo>
                    <a:lnTo>
                      <a:pt x="26" y="36"/>
                    </a:lnTo>
                    <a:lnTo>
                      <a:pt x="24" y="36"/>
                    </a:lnTo>
                    <a:lnTo>
                      <a:pt x="24" y="36"/>
                    </a:lnTo>
                    <a:lnTo>
                      <a:pt x="24" y="36"/>
                    </a:lnTo>
                    <a:lnTo>
                      <a:pt x="22" y="36"/>
                    </a:lnTo>
                    <a:lnTo>
                      <a:pt x="19" y="36"/>
                    </a:lnTo>
                    <a:lnTo>
                      <a:pt x="19" y="34"/>
                    </a:lnTo>
                    <a:lnTo>
                      <a:pt x="17" y="34"/>
                    </a:lnTo>
                    <a:lnTo>
                      <a:pt x="17" y="34"/>
                    </a:lnTo>
                    <a:lnTo>
                      <a:pt x="15" y="34"/>
                    </a:lnTo>
                    <a:lnTo>
                      <a:pt x="15" y="34"/>
                    </a:lnTo>
                    <a:lnTo>
                      <a:pt x="12" y="34"/>
                    </a:lnTo>
                    <a:lnTo>
                      <a:pt x="12" y="34"/>
                    </a:lnTo>
                    <a:lnTo>
                      <a:pt x="10" y="36"/>
                    </a:lnTo>
                    <a:lnTo>
                      <a:pt x="10" y="36"/>
                    </a:lnTo>
                    <a:lnTo>
                      <a:pt x="12" y="38"/>
                    </a:lnTo>
                    <a:lnTo>
                      <a:pt x="12" y="38"/>
                    </a:lnTo>
                    <a:lnTo>
                      <a:pt x="10" y="38"/>
                    </a:lnTo>
                    <a:lnTo>
                      <a:pt x="10" y="41"/>
                    </a:lnTo>
                    <a:lnTo>
                      <a:pt x="10" y="43"/>
                    </a:lnTo>
                    <a:lnTo>
                      <a:pt x="10" y="45"/>
                    </a:lnTo>
                    <a:lnTo>
                      <a:pt x="10" y="48"/>
                    </a:lnTo>
                    <a:lnTo>
                      <a:pt x="10" y="48"/>
                    </a:lnTo>
                    <a:lnTo>
                      <a:pt x="10" y="48"/>
                    </a:lnTo>
                    <a:lnTo>
                      <a:pt x="10" y="50"/>
                    </a:lnTo>
                    <a:lnTo>
                      <a:pt x="10" y="50"/>
                    </a:lnTo>
                    <a:lnTo>
                      <a:pt x="10" y="53"/>
                    </a:lnTo>
                    <a:lnTo>
                      <a:pt x="7" y="53"/>
                    </a:lnTo>
                    <a:lnTo>
                      <a:pt x="7" y="55"/>
                    </a:lnTo>
                    <a:lnTo>
                      <a:pt x="5" y="57"/>
                    </a:lnTo>
                    <a:lnTo>
                      <a:pt x="5" y="64"/>
                    </a:lnTo>
                    <a:lnTo>
                      <a:pt x="3" y="72"/>
                    </a:lnTo>
                    <a:lnTo>
                      <a:pt x="5" y="79"/>
                    </a:lnTo>
                    <a:lnTo>
                      <a:pt x="5" y="79"/>
                    </a:lnTo>
                    <a:lnTo>
                      <a:pt x="5" y="81"/>
                    </a:lnTo>
                    <a:lnTo>
                      <a:pt x="3" y="79"/>
                    </a:lnTo>
                    <a:lnTo>
                      <a:pt x="3" y="79"/>
                    </a:lnTo>
                    <a:lnTo>
                      <a:pt x="3" y="81"/>
                    </a:lnTo>
                    <a:lnTo>
                      <a:pt x="5" y="83"/>
                    </a:lnTo>
                    <a:lnTo>
                      <a:pt x="7" y="86"/>
                    </a:lnTo>
                    <a:lnTo>
                      <a:pt x="7" y="88"/>
                    </a:lnTo>
                    <a:lnTo>
                      <a:pt x="7" y="88"/>
                    </a:lnTo>
                    <a:lnTo>
                      <a:pt x="7" y="88"/>
                    </a:lnTo>
                    <a:lnTo>
                      <a:pt x="7" y="90"/>
                    </a:lnTo>
                    <a:lnTo>
                      <a:pt x="7" y="90"/>
                    </a:lnTo>
                    <a:lnTo>
                      <a:pt x="10" y="95"/>
                    </a:lnTo>
                    <a:lnTo>
                      <a:pt x="10" y="95"/>
                    </a:lnTo>
                    <a:lnTo>
                      <a:pt x="10" y="98"/>
                    </a:lnTo>
                    <a:lnTo>
                      <a:pt x="10" y="100"/>
                    </a:lnTo>
                    <a:lnTo>
                      <a:pt x="12" y="102"/>
                    </a:lnTo>
                    <a:lnTo>
                      <a:pt x="12" y="107"/>
                    </a:lnTo>
                    <a:lnTo>
                      <a:pt x="15" y="109"/>
                    </a:lnTo>
                    <a:lnTo>
                      <a:pt x="15" y="114"/>
                    </a:lnTo>
                    <a:lnTo>
                      <a:pt x="15" y="114"/>
                    </a:lnTo>
                    <a:lnTo>
                      <a:pt x="15" y="124"/>
                    </a:lnTo>
                    <a:lnTo>
                      <a:pt x="19" y="131"/>
                    </a:lnTo>
                    <a:lnTo>
                      <a:pt x="19" y="135"/>
                    </a:lnTo>
                    <a:lnTo>
                      <a:pt x="22" y="133"/>
                    </a:lnTo>
                    <a:lnTo>
                      <a:pt x="26" y="135"/>
                    </a:lnTo>
                    <a:lnTo>
                      <a:pt x="29" y="135"/>
                    </a:lnTo>
                    <a:lnTo>
                      <a:pt x="29" y="135"/>
                    </a:lnTo>
                    <a:lnTo>
                      <a:pt x="31" y="135"/>
                    </a:lnTo>
                    <a:lnTo>
                      <a:pt x="33" y="135"/>
                    </a:lnTo>
                    <a:lnTo>
                      <a:pt x="36" y="135"/>
                    </a:lnTo>
                    <a:lnTo>
                      <a:pt x="41" y="133"/>
                    </a:lnTo>
                    <a:lnTo>
                      <a:pt x="43" y="133"/>
                    </a:lnTo>
                    <a:lnTo>
                      <a:pt x="45" y="133"/>
                    </a:lnTo>
                    <a:lnTo>
                      <a:pt x="48" y="133"/>
                    </a:lnTo>
                    <a:lnTo>
                      <a:pt x="50" y="131"/>
                    </a:lnTo>
                    <a:lnTo>
                      <a:pt x="50" y="128"/>
                    </a:lnTo>
                    <a:lnTo>
                      <a:pt x="55" y="126"/>
                    </a:lnTo>
                    <a:lnTo>
                      <a:pt x="57" y="124"/>
                    </a:lnTo>
                    <a:lnTo>
                      <a:pt x="59" y="121"/>
                    </a:lnTo>
                    <a:lnTo>
                      <a:pt x="64" y="119"/>
                    </a:lnTo>
                    <a:lnTo>
                      <a:pt x="69" y="119"/>
                    </a:lnTo>
                    <a:lnTo>
                      <a:pt x="76" y="119"/>
                    </a:lnTo>
                    <a:lnTo>
                      <a:pt x="78" y="119"/>
                    </a:lnTo>
                    <a:lnTo>
                      <a:pt x="81" y="119"/>
                    </a:lnTo>
                    <a:lnTo>
                      <a:pt x="83" y="117"/>
                    </a:lnTo>
                    <a:lnTo>
                      <a:pt x="88" y="117"/>
                    </a:lnTo>
                    <a:lnTo>
                      <a:pt x="93" y="114"/>
                    </a:lnTo>
                    <a:lnTo>
                      <a:pt x="95" y="109"/>
                    </a:lnTo>
                    <a:lnTo>
                      <a:pt x="100" y="107"/>
                    </a:lnTo>
                    <a:lnTo>
                      <a:pt x="100" y="107"/>
                    </a:lnTo>
                    <a:lnTo>
                      <a:pt x="102" y="107"/>
                    </a:lnTo>
                    <a:lnTo>
                      <a:pt x="107" y="107"/>
                    </a:lnTo>
                    <a:lnTo>
                      <a:pt x="112" y="107"/>
                    </a:lnTo>
                    <a:lnTo>
                      <a:pt x="114" y="107"/>
                    </a:lnTo>
                    <a:lnTo>
                      <a:pt x="114" y="107"/>
                    </a:lnTo>
                    <a:lnTo>
                      <a:pt x="116" y="105"/>
                    </a:lnTo>
                    <a:lnTo>
                      <a:pt x="119" y="102"/>
                    </a:lnTo>
                    <a:lnTo>
                      <a:pt x="121" y="100"/>
                    </a:lnTo>
                    <a:lnTo>
                      <a:pt x="121" y="98"/>
                    </a:lnTo>
                    <a:lnTo>
                      <a:pt x="123" y="98"/>
                    </a:lnTo>
                    <a:lnTo>
                      <a:pt x="126" y="93"/>
                    </a:lnTo>
                    <a:lnTo>
                      <a:pt x="130" y="93"/>
                    </a:lnTo>
                    <a:lnTo>
                      <a:pt x="138" y="90"/>
                    </a:lnTo>
                    <a:lnTo>
                      <a:pt x="142" y="88"/>
                    </a:lnTo>
                    <a:lnTo>
                      <a:pt x="145" y="88"/>
                    </a:lnTo>
                    <a:lnTo>
                      <a:pt x="147" y="86"/>
                    </a:lnTo>
                    <a:lnTo>
                      <a:pt x="156" y="83"/>
                    </a:lnTo>
                    <a:lnTo>
                      <a:pt x="164" y="81"/>
                    </a:lnTo>
                    <a:lnTo>
                      <a:pt x="168" y="79"/>
                    </a:lnTo>
                    <a:lnTo>
                      <a:pt x="168" y="79"/>
                    </a:lnTo>
                    <a:lnTo>
                      <a:pt x="171" y="76"/>
                    </a:lnTo>
                    <a:lnTo>
                      <a:pt x="171" y="76"/>
                    </a:lnTo>
                    <a:lnTo>
                      <a:pt x="173" y="74"/>
                    </a:lnTo>
                    <a:lnTo>
                      <a:pt x="175" y="74"/>
                    </a:lnTo>
                    <a:lnTo>
                      <a:pt x="178" y="72"/>
                    </a:lnTo>
                    <a:lnTo>
                      <a:pt x="178" y="69"/>
                    </a:lnTo>
                    <a:lnTo>
                      <a:pt x="178" y="67"/>
                    </a:lnTo>
                    <a:lnTo>
                      <a:pt x="178" y="62"/>
                    </a:lnTo>
                    <a:lnTo>
                      <a:pt x="180" y="60"/>
                    </a:lnTo>
                    <a:lnTo>
                      <a:pt x="182" y="57"/>
                    </a:lnTo>
                    <a:lnTo>
                      <a:pt x="185" y="55"/>
                    </a:lnTo>
                    <a:lnTo>
                      <a:pt x="194" y="50"/>
                    </a:lnTo>
                    <a:lnTo>
                      <a:pt x="192" y="48"/>
                    </a:lnTo>
                    <a:lnTo>
                      <a:pt x="192" y="45"/>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6" name="Freeform 8"/>
              <p:cNvSpPr>
                <a:spLocks/>
              </p:cNvSpPr>
              <p:nvPr/>
            </p:nvSpPr>
            <p:spPr bwMode="auto">
              <a:xfrm>
                <a:off x="2439" y="2215"/>
                <a:ext cx="161" cy="145"/>
              </a:xfrm>
              <a:custGeom>
                <a:avLst/>
                <a:gdLst>
                  <a:gd name="T0" fmla="*/ 158 w 161"/>
                  <a:gd name="T1" fmla="*/ 3 h 145"/>
                  <a:gd name="T2" fmla="*/ 158 w 161"/>
                  <a:gd name="T3" fmla="*/ 7 h 145"/>
                  <a:gd name="T4" fmla="*/ 158 w 161"/>
                  <a:gd name="T5" fmla="*/ 12 h 145"/>
                  <a:gd name="T6" fmla="*/ 149 w 161"/>
                  <a:gd name="T7" fmla="*/ 12 h 145"/>
                  <a:gd name="T8" fmla="*/ 144 w 161"/>
                  <a:gd name="T9" fmla="*/ 12 h 145"/>
                  <a:gd name="T10" fmla="*/ 139 w 161"/>
                  <a:gd name="T11" fmla="*/ 17 h 145"/>
                  <a:gd name="T12" fmla="*/ 135 w 161"/>
                  <a:gd name="T13" fmla="*/ 17 h 145"/>
                  <a:gd name="T14" fmla="*/ 130 w 161"/>
                  <a:gd name="T15" fmla="*/ 17 h 145"/>
                  <a:gd name="T16" fmla="*/ 123 w 161"/>
                  <a:gd name="T17" fmla="*/ 14 h 145"/>
                  <a:gd name="T18" fmla="*/ 113 w 161"/>
                  <a:gd name="T19" fmla="*/ 14 h 145"/>
                  <a:gd name="T20" fmla="*/ 111 w 161"/>
                  <a:gd name="T21" fmla="*/ 19 h 145"/>
                  <a:gd name="T22" fmla="*/ 109 w 161"/>
                  <a:gd name="T23" fmla="*/ 24 h 145"/>
                  <a:gd name="T24" fmla="*/ 104 w 161"/>
                  <a:gd name="T25" fmla="*/ 29 h 145"/>
                  <a:gd name="T26" fmla="*/ 101 w 161"/>
                  <a:gd name="T27" fmla="*/ 33 h 145"/>
                  <a:gd name="T28" fmla="*/ 97 w 161"/>
                  <a:gd name="T29" fmla="*/ 36 h 145"/>
                  <a:gd name="T30" fmla="*/ 97 w 161"/>
                  <a:gd name="T31" fmla="*/ 38 h 145"/>
                  <a:gd name="T32" fmla="*/ 94 w 161"/>
                  <a:gd name="T33" fmla="*/ 48 h 145"/>
                  <a:gd name="T34" fmla="*/ 90 w 161"/>
                  <a:gd name="T35" fmla="*/ 59 h 145"/>
                  <a:gd name="T36" fmla="*/ 85 w 161"/>
                  <a:gd name="T37" fmla="*/ 64 h 145"/>
                  <a:gd name="T38" fmla="*/ 80 w 161"/>
                  <a:gd name="T39" fmla="*/ 66 h 145"/>
                  <a:gd name="T40" fmla="*/ 75 w 161"/>
                  <a:gd name="T41" fmla="*/ 74 h 145"/>
                  <a:gd name="T42" fmla="*/ 71 w 161"/>
                  <a:gd name="T43" fmla="*/ 78 h 145"/>
                  <a:gd name="T44" fmla="*/ 64 w 161"/>
                  <a:gd name="T45" fmla="*/ 83 h 145"/>
                  <a:gd name="T46" fmla="*/ 59 w 161"/>
                  <a:gd name="T47" fmla="*/ 88 h 145"/>
                  <a:gd name="T48" fmla="*/ 57 w 161"/>
                  <a:gd name="T49" fmla="*/ 100 h 145"/>
                  <a:gd name="T50" fmla="*/ 54 w 161"/>
                  <a:gd name="T51" fmla="*/ 111 h 145"/>
                  <a:gd name="T52" fmla="*/ 52 w 161"/>
                  <a:gd name="T53" fmla="*/ 116 h 145"/>
                  <a:gd name="T54" fmla="*/ 49 w 161"/>
                  <a:gd name="T55" fmla="*/ 121 h 145"/>
                  <a:gd name="T56" fmla="*/ 47 w 161"/>
                  <a:gd name="T57" fmla="*/ 126 h 145"/>
                  <a:gd name="T58" fmla="*/ 42 w 161"/>
                  <a:gd name="T59" fmla="*/ 133 h 145"/>
                  <a:gd name="T60" fmla="*/ 30 w 161"/>
                  <a:gd name="T61" fmla="*/ 133 h 145"/>
                  <a:gd name="T62" fmla="*/ 21 w 161"/>
                  <a:gd name="T63" fmla="*/ 130 h 145"/>
                  <a:gd name="T64" fmla="*/ 4 w 161"/>
                  <a:gd name="T65" fmla="*/ 133 h 145"/>
                  <a:gd name="T66" fmla="*/ 0 w 161"/>
                  <a:gd name="T67" fmla="*/ 145 h 145"/>
                  <a:gd name="T68" fmla="*/ 2 w 161"/>
                  <a:gd name="T69" fmla="*/ 138 h 145"/>
                  <a:gd name="T70" fmla="*/ 14 w 161"/>
                  <a:gd name="T71" fmla="*/ 135 h 145"/>
                  <a:gd name="T72" fmla="*/ 30 w 161"/>
                  <a:gd name="T73" fmla="*/ 135 h 145"/>
                  <a:gd name="T74" fmla="*/ 47 w 161"/>
                  <a:gd name="T75" fmla="*/ 135 h 145"/>
                  <a:gd name="T76" fmla="*/ 64 w 161"/>
                  <a:gd name="T77" fmla="*/ 135 h 145"/>
                  <a:gd name="T78" fmla="*/ 75 w 161"/>
                  <a:gd name="T79" fmla="*/ 130 h 145"/>
                  <a:gd name="T80" fmla="*/ 75 w 161"/>
                  <a:gd name="T81" fmla="*/ 121 h 145"/>
                  <a:gd name="T82" fmla="*/ 75 w 161"/>
                  <a:gd name="T83" fmla="*/ 109 h 145"/>
                  <a:gd name="T84" fmla="*/ 73 w 161"/>
                  <a:gd name="T85" fmla="*/ 102 h 145"/>
                  <a:gd name="T86" fmla="*/ 83 w 161"/>
                  <a:gd name="T87" fmla="*/ 95 h 145"/>
                  <a:gd name="T88" fmla="*/ 92 w 161"/>
                  <a:gd name="T89" fmla="*/ 90 h 145"/>
                  <a:gd name="T90" fmla="*/ 97 w 161"/>
                  <a:gd name="T91" fmla="*/ 83 h 145"/>
                  <a:gd name="T92" fmla="*/ 97 w 161"/>
                  <a:gd name="T93" fmla="*/ 74 h 145"/>
                  <a:gd name="T94" fmla="*/ 97 w 161"/>
                  <a:gd name="T95" fmla="*/ 62 h 145"/>
                  <a:gd name="T96" fmla="*/ 97 w 161"/>
                  <a:gd name="T97" fmla="*/ 50 h 145"/>
                  <a:gd name="T98" fmla="*/ 97 w 161"/>
                  <a:gd name="T99" fmla="*/ 38 h 145"/>
                  <a:gd name="T100" fmla="*/ 137 w 161"/>
                  <a:gd name="T101" fmla="*/ 36 h 145"/>
                  <a:gd name="T102" fmla="*/ 158 w 161"/>
                  <a:gd name="T103" fmla="*/ 29 h 145"/>
                  <a:gd name="T104" fmla="*/ 158 w 161"/>
                  <a:gd name="T105" fmla="*/ 12 h 145"/>
                  <a:gd name="T106" fmla="*/ 158 w 161"/>
                  <a:gd name="T107"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61" h="145">
                    <a:moveTo>
                      <a:pt x="158" y="0"/>
                    </a:moveTo>
                    <a:lnTo>
                      <a:pt x="158" y="0"/>
                    </a:lnTo>
                    <a:lnTo>
                      <a:pt x="158" y="0"/>
                    </a:lnTo>
                    <a:lnTo>
                      <a:pt x="158" y="3"/>
                    </a:lnTo>
                    <a:lnTo>
                      <a:pt x="158" y="5"/>
                    </a:lnTo>
                    <a:lnTo>
                      <a:pt x="158" y="5"/>
                    </a:lnTo>
                    <a:lnTo>
                      <a:pt x="158" y="7"/>
                    </a:lnTo>
                    <a:lnTo>
                      <a:pt x="158" y="7"/>
                    </a:lnTo>
                    <a:lnTo>
                      <a:pt x="158" y="10"/>
                    </a:lnTo>
                    <a:lnTo>
                      <a:pt x="158" y="10"/>
                    </a:lnTo>
                    <a:lnTo>
                      <a:pt x="158" y="12"/>
                    </a:lnTo>
                    <a:lnTo>
                      <a:pt x="158" y="12"/>
                    </a:lnTo>
                    <a:lnTo>
                      <a:pt x="156" y="12"/>
                    </a:lnTo>
                    <a:lnTo>
                      <a:pt x="153" y="12"/>
                    </a:lnTo>
                    <a:lnTo>
                      <a:pt x="151" y="12"/>
                    </a:lnTo>
                    <a:lnTo>
                      <a:pt x="149" y="12"/>
                    </a:lnTo>
                    <a:lnTo>
                      <a:pt x="149" y="12"/>
                    </a:lnTo>
                    <a:lnTo>
                      <a:pt x="146" y="12"/>
                    </a:lnTo>
                    <a:lnTo>
                      <a:pt x="146" y="12"/>
                    </a:lnTo>
                    <a:lnTo>
                      <a:pt x="144" y="12"/>
                    </a:lnTo>
                    <a:lnTo>
                      <a:pt x="144" y="14"/>
                    </a:lnTo>
                    <a:lnTo>
                      <a:pt x="142" y="17"/>
                    </a:lnTo>
                    <a:lnTo>
                      <a:pt x="139" y="17"/>
                    </a:lnTo>
                    <a:lnTo>
                      <a:pt x="139" y="17"/>
                    </a:lnTo>
                    <a:lnTo>
                      <a:pt x="137" y="17"/>
                    </a:lnTo>
                    <a:lnTo>
                      <a:pt x="135" y="17"/>
                    </a:lnTo>
                    <a:lnTo>
                      <a:pt x="135" y="17"/>
                    </a:lnTo>
                    <a:lnTo>
                      <a:pt x="135" y="17"/>
                    </a:lnTo>
                    <a:lnTo>
                      <a:pt x="132" y="17"/>
                    </a:lnTo>
                    <a:lnTo>
                      <a:pt x="132" y="17"/>
                    </a:lnTo>
                    <a:lnTo>
                      <a:pt x="130" y="17"/>
                    </a:lnTo>
                    <a:lnTo>
                      <a:pt x="130" y="17"/>
                    </a:lnTo>
                    <a:lnTo>
                      <a:pt x="127" y="14"/>
                    </a:lnTo>
                    <a:lnTo>
                      <a:pt x="125" y="14"/>
                    </a:lnTo>
                    <a:lnTo>
                      <a:pt x="123" y="14"/>
                    </a:lnTo>
                    <a:lnTo>
                      <a:pt x="123" y="14"/>
                    </a:lnTo>
                    <a:lnTo>
                      <a:pt x="120" y="14"/>
                    </a:lnTo>
                    <a:lnTo>
                      <a:pt x="118" y="14"/>
                    </a:lnTo>
                    <a:lnTo>
                      <a:pt x="116" y="14"/>
                    </a:lnTo>
                    <a:lnTo>
                      <a:pt x="113" y="14"/>
                    </a:lnTo>
                    <a:lnTo>
                      <a:pt x="113" y="17"/>
                    </a:lnTo>
                    <a:lnTo>
                      <a:pt x="111" y="17"/>
                    </a:lnTo>
                    <a:lnTo>
                      <a:pt x="111" y="19"/>
                    </a:lnTo>
                    <a:lnTo>
                      <a:pt x="111" y="19"/>
                    </a:lnTo>
                    <a:lnTo>
                      <a:pt x="111" y="21"/>
                    </a:lnTo>
                    <a:lnTo>
                      <a:pt x="111" y="21"/>
                    </a:lnTo>
                    <a:lnTo>
                      <a:pt x="109" y="24"/>
                    </a:lnTo>
                    <a:lnTo>
                      <a:pt x="109" y="24"/>
                    </a:lnTo>
                    <a:lnTo>
                      <a:pt x="109" y="26"/>
                    </a:lnTo>
                    <a:lnTo>
                      <a:pt x="106" y="26"/>
                    </a:lnTo>
                    <a:lnTo>
                      <a:pt x="106" y="29"/>
                    </a:lnTo>
                    <a:lnTo>
                      <a:pt x="104" y="29"/>
                    </a:lnTo>
                    <a:lnTo>
                      <a:pt x="104" y="31"/>
                    </a:lnTo>
                    <a:lnTo>
                      <a:pt x="104" y="31"/>
                    </a:lnTo>
                    <a:lnTo>
                      <a:pt x="104" y="33"/>
                    </a:lnTo>
                    <a:lnTo>
                      <a:pt x="101" y="33"/>
                    </a:lnTo>
                    <a:lnTo>
                      <a:pt x="101" y="33"/>
                    </a:lnTo>
                    <a:lnTo>
                      <a:pt x="99" y="33"/>
                    </a:lnTo>
                    <a:lnTo>
                      <a:pt x="97" y="36"/>
                    </a:lnTo>
                    <a:lnTo>
                      <a:pt x="97" y="36"/>
                    </a:lnTo>
                    <a:lnTo>
                      <a:pt x="97" y="36"/>
                    </a:lnTo>
                    <a:lnTo>
                      <a:pt x="97" y="38"/>
                    </a:lnTo>
                    <a:lnTo>
                      <a:pt x="97" y="38"/>
                    </a:lnTo>
                    <a:lnTo>
                      <a:pt x="97" y="38"/>
                    </a:lnTo>
                    <a:lnTo>
                      <a:pt x="94" y="40"/>
                    </a:lnTo>
                    <a:lnTo>
                      <a:pt x="94" y="43"/>
                    </a:lnTo>
                    <a:lnTo>
                      <a:pt x="94" y="45"/>
                    </a:lnTo>
                    <a:lnTo>
                      <a:pt x="94" y="48"/>
                    </a:lnTo>
                    <a:lnTo>
                      <a:pt x="92" y="50"/>
                    </a:lnTo>
                    <a:lnTo>
                      <a:pt x="92" y="55"/>
                    </a:lnTo>
                    <a:lnTo>
                      <a:pt x="90" y="57"/>
                    </a:lnTo>
                    <a:lnTo>
                      <a:pt x="90" y="59"/>
                    </a:lnTo>
                    <a:lnTo>
                      <a:pt x="90" y="59"/>
                    </a:lnTo>
                    <a:lnTo>
                      <a:pt x="87" y="62"/>
                    </a:lnTo>
                    <a:lnTo>
                      <a:pt x="87" y="62"/>
                    </a:lnTo>
                    <a:lnTo>
                      <a:pt x="85" y="64"/>
                    </a:lnTo>
                    <a:lnTo>
                      <a:pt x="85" y="64"/>
                    </a:lnTo>
                    <a:lnTo>
                      <a:pt x="83" y="66"/>
                    </a:lnTo>
                    <a:lnTo>
                      <a:pt x="80" y="66"/>
                    </a:lnTo>
                    <a:lnTo>
                      <a:pt x="80" y="66"/>
                    </a:lnTo>
                    <a:lnTo>
                      <a:pt x="78" y="69"/>
                    </a:lnTo>
                    <a:lnTo>
                      <a:pt x="78" y="69"/>
                    </a:lnTo>
                    <a:lnTo>
                      <a:pt x="75" y="71"/>
                    </a:lnTo>
                    <a:lnTo>
                      <a:pt x="75" y="74"/>
                    </a:lnTo>
                    <a:lnTo>
                      <a:pt x="73" y="76"/>
                    </a:lnTo>
                    <a:lnTo>
                      <a:pt x="73" y="78"/>
                    </a:lnTo>
                    <a:lnTo>
                      <a:pt x="73" y="78"/>
                    </a:lnTo>
                    <a:lnTo>
                      <a:pt x="71" y="78"/>
                    </a:lnTo>
                    <a:lnTo>
                      <a:pt x="68" y="81"/>
                    </a:lnTo>
                    <a:lnTo>
                      <a:pt x="68" y="81"/>
                    </a:lnTo>
                    <a:lnTo>
                      <a:pt x="66" y="81"/>
                    </a:lnTo>
                    <a:lnTo>
                      <a:pt x="64" y="83"/>
                    </a:lnTo>
                    <a:lnTo>
                      <a:pt x="64" y="83"/>
                    </a:lnTo>
                    <a:lnTo>
                      <a:pt x="61" y="85"/>
                    </a:lnTo>
                    <a:lnTo>
                      <a:pt x="61" y="85"/>
                    </a:lnTo>
                    <a:lnTo>
                      <a:pt x="59" y="88"/>
                    </a:lnTo>
                    <a:lnTo>
                      <a:pt x="59" y="90"/>
                    </a:lnTo>
                    <a:lnTo>
                      <a:pt x="59" y="93"/>
                    </a:lnTo>
                    <a:lnTo>
                      <a:pt x="57" y="97"/>
                    </a:lnTo>
                    <a:lnTo>
                      <a:pt x="57" y="100"/>
                    </a:lnTo>
                    <a:lnTo>
                      <a:pt x="57" y="102"/>
                    </a:lnTo>
                    <a:lnTo>
                      <a:pt x="57" y="104"/>
                    </a:lnTo>
                    <a:lnTo>
                      <a:pt x="54" y="107"/>
                    </a:lnTo>
                    <a:lnTo>
                      <a:pt x="54" y="111"/>
                    </a:lnTo>
                    <a:lnTo>
                      <a:pt x="54" y="111"/>
                    </a:lnTo>
                    <a:lnTo>
                      <a:pt x="54" y="114"/>
                    </a:lnTo>
                    <a:lnTo>
                      <a:pt x="54" y="114"/>
                    </a:lnTo>
                    <a:lnTo>
                      <a:pt x="52" y="116"/>
                    </a:lnTo>
                    <a:lnTo>
                      <a:pt x="52" y="119"/>
                    </a:lnTo>
                    <a:lnTo>
                      <a:pt x="49" y="119"/>
                    </a:lnTo>
                    <a:lnTo>
                      <a:pt x="49" y="119"/>
                    </a:lnTo>
                    <a:lnTo>
                      <a:pt x="49" y="121"/>
                    </a:lnTo>
                    <a:lnTo>
                      <a:pt x="47" y="121"/>
                    </a:lnTo>
                    <a:lnTo>
                      <a:pt x="47" y="123"/>
                    </a:lnTo>
                    <a:lnTo>
                      <a:pt x="47" y="123"/>
                    </a:lnTo>
                    <a:lnTo>
                      <a:pt x="47" y="126"/>
                    </a:lnTo>
                    <a:lnTo>
                      <a:pt x="47" y="126"/>
                    </a:lnTo>
                    <a:lnTo>
                      <a:pt x="45" y="128"/>
                    </a:lnTo>
                    <a:lnTo>
                      <a:pt x="45" y="130"/>
                    </a:lnTo>
                    <a:lnTo>
                      <a:pt x="42" y="133"/>
                    </a:lnTo>
                    <a:lnTo>
                      <a:pt x="40" y="133"/>
                    </a:lnTo>
                    <a:lnTo>
                      <a:pt x="38" y="133"/>
                    </a:lnTo>
                    <a:lnTo>
                      <a:pt x="35" y="133"/>
                    </a:lnTo>
                    <a:lnTo>
                      <a:pt x="30" y="133"/>
                    </a:lnTo>
                    <a:lnTo>
                      <a:pt x="28" y="130"/>
                    </a:lnTo>
                    <a:lnTo>
                      <a:pt x="26" y="130"/>
                    </a:lnTo>
                    <a:lnTo>
                      <a:pt x="23" y="130"/>
                    </a:lnTo>
                    <a:lnTo>
                      <a:pt x="21" y="130"/>
                    </a:lnTo>
                    <a:lnTo>
                      <a:pt x="19" y="130"/>
                    </a:lnTo>
                    <a:lnTo>
                      <a:pt x="12" y="130"/>
                    </a:lnTo>
                    <a:lnTo>
                      <a:pt x="7" y="130"/>
                    </a:lnTo>
                    <a:lnTo>
                      <a:pt x="4" y="133"/>
                    </a:lnTo>
                    <a:lnTo>
                      <a:pt x="2" y="133"/>
                    </a:lnTo>
                    <a:lnTo>
                      <a:pt x="2" y="133"/>
                    </a:lnTo>
                    <a:lnTo>
                      <a:pt x="2" y="133"/>
                    </a:lnTo>
                    <a:lnTo>
                      <a:pt x="0" y="145"/>
                    </a:lnTo>
                    <a:lnTo>
                      <a:pt x="2" y="145"/>
                    </a:lnTo>
                    <a:lnTo>
                      <a:pt x="2" y="142"/>
                    </a:lnTo>
                    <a:lnTo>
                      <a:pt x="2" y="140"/>
                    </a:lnTo>
                    <a:lnTo>
                      <a:pt x="2" y="138"/>
                    </a:lnTo>
                    <a:lnTo>
                      <a:pt x="4" y="135"/>
                    </a:lnTo>
                    <a:lnTo>
                      <a:pt x="7" y="135"/>
                    </a:lnTo>
                    <a:lnTo>
                      <a:pt x="9" y="135"/>
                    </a:lnTo>
                    <a:lnTo>
                      <a:pt x="14" y="135"/>
                    </a:lnTo>
                    <a:lnTo>
                      <a:pt x="19" y="135"/>
                    </a:lnTo>
                    <a:lnTo>
                      <a:pt x="23" y="135"/>
                    </a:lnTo>
                    <a:lnTo>
                      <a:pt x="26" y="135"/>
                    </a:lnTo>
                    <a:lnTo>
                      <a:pt x="30" y="135"/>
                    </a:lnTo>
                    <a:lnTo>
                      <a:pt x="35" y="135"/>
                    </a:lnTo>
                    <a:lnTo>
                      <a:pt x="40" y="135"/>
                    </a:lnTo>
                    <a:lnTo>
                      <a:pt x="42" y="135"/>
                    </a:lnTo>
                    <a:lnTo>
                      <a:pt x="47" y="135"/>
                    </a:lnTo>
                    <a:lnTo>
                      <a:pt x="52" y="135"/>
                    </a:lnTo>
                    <a:lnTo>
                      <a:pt x="57" y="135"/>
                    </a:lnTo>
                    <a:lnTo>
                      <a:pt x="61" y="135"/>
                    </a:lnTo>
                    <a:lnTo>
                      <a:pt x="64" y="135"/>
                    </a:lnTo>
                    <a:lnTo>
                      <a:pt x="68" y="135"/>
                    </a:lnTo>
                    <a:lnTo>
                      <a:pt x="73" y="135"/>
                    </a:lnTo>
                    <a:lnTo>
                      <a:pt x="75" y="135"/>
                    </a:lnTo>
                    <a:lnTo>
                      <a:pt x="75" y="130"/>
                    </a:lnTo>
                    <a:lnTo>
                      <a:pt x="75" y="128"/>
                    </a:lnTo>
                    <a:lnTo>
                      <a:pt x="75" y="126"/>
                    </a:lnTo>
                    <a:lnTo>
                      <a:pt x="75" y="123"/>
                    </a:lnTo>
                    <a:lnTo>
                      <a:pt x="75" y="121"/>
                    </a:lnTo>
                    <a:lnTo>
                      <a:pt x="75" y="116"/>
                    </a:lnTo>
                    <a:lnTo>
                      <a:pt x="75" y="114"/>
                    </a:lnTo>
                    <a:lnTo>
                      <a:pt x="75" y="111"/>
                    </a:lnTo>
                    <a:lnTo>
                      <a:pt x="75" y="109"/>
                    </a:lnTo>
                    <a:lnTo>
                      <a:pt x="75" y="109"/>
                    </a:lnTo>
                    <a:lnTo>
                      <a:pt x="73" y="104"/>
                    </a:lnTo>
                    <a:lnTo>
                      <a:pt x="73" y="104"/>
                    </a:lnTo>
                    <a:lnTo>
                      <a:pt x="73" y="102"/>
                    </a:lnTo>
                    <a:lnTo>
                      <a:pt x="75" y="102"/>
                    </a:lnTo>
                    <a:lnTo>
                      <a:pt x="75" y="100"/>
                    </a:lnTo>
                    <a:lnTo>
                      <a:pt x="80" y="97"/>
                    </a:lnTo>
                    <a:lnTo>
                      <a:pt x="83" y="95"/>
                    </a:lnTo>
                    <a:lnTo>
                      <a:pt x="85" y="93"/>
                    </a:lnTo>
                    <a:lnTo>
                      <a:pt x="85" y="93"/>
                    </a:lnTo>
                    <a:lnTo>
                      <a:pt x="90" y="93"/>
                    </a:lnTo>
                    <a:lnTo>
                      <a:pt x="92" y="90"/>
                    </a:lnTo>
                    <a:lnTo>
                      <a:pt x="94" y="90"/>
                    </a:lnTo>
                    <a:lnTo>
                      <a:pt x="94" y="90"/>
                    </a:lnTo>
                    <a:lnTo>
                      <a:pt x="97" y="88"/>
                    </a:lnTo>
                    <a:lnTo>
                      <a:pt x="97" y="83"/>
                    </a:lnTo>
                    <a:lnTo>
                      <a:pt x="97" y="81"/>
                    </a:lnTo>
                    <a:lnTo>
                      <a:pt x="97" y="78"/>
                    </a:lnTo>
                    <a:lnTo>
                      <a:pt x="97" y="76"/>
                    </a:lnTo>
                    <a:lnTo>
                      <a:pt x="97" y="74"/>
                    </a:lnTo>
                    <a:lnTo>
                      <a:pt x="97" y="69"/>
                    </a:lnTo>
                    <a:lnTo>
                      <a:pt x="97" y="66"/>
                    </a:lnTo>
                    <a:lnTo>
                      <a:pt x="97" y="64"/>
                    </a:lnTo>
                    <a:lnTo>
                      <a:pt x="97" y="62"/>
                    </a:lnTo>
                    <a:lnTo>
                      <a:pt x="97" y="59"/>
                    </a:lnTo>
                    <a:lnTo>
                      <a:pt x="97" y="55"/>
                    </a:lnTo>
                    <a:lnTo>
                      <a:pt x="97" y="52"/>
                    </a:lnTo>
                    <a:lnTo>
                      <a:pt x="97" y="50"/>
                    </a:lnTo>
                    <a:lnTo>
                      <a:pt x="97" y="48"/>
                    </a:lnTo>
                    <a:lnTo>
                      <a:pt x="97" y="43"/>
                    </a:lnTo>
                    <a:lnTo>
                      <a:pt x="97" y="40"/>
                    </a:lnTo>
                    <a:lnTo>
                      <a:pt x="97" y="38"/>
                    </a:lnTo>
                    <a:lnTo>
                      <a:pt x="97" y="36"/>
                    </a:lnTo>
                    <a:lnTo>
                      <a:pt x="111" y="36"/>
                    </a:lnTo>
                    <a:lnTo>
                      <a:pt x="113" y="36"/>
                    </a:lnTo>
                    <a:lnTo>
                      <a:pt x="137" y="36"/>
                    </a:lnTo>
                    <a:lnTo>
                      <a:pt x="142" y="36"/>
                    </a:lnTo>
                    <a:lnTo>
                      <a:pt x="158" y="36"/>
                    </a:lnTo>
                    <a:lnTo>
                      <a:pt x="158" y="33"/>
                    </a:lnTo>
                    <a:lnTo>
                      <a:pt x="158" y="29"/>
                    </a:lnTo>
                    <a:lnTo>
                      <a:pt x="158" y="24"/>
                    </a:lnTo>
                    <a:lnTo>
                      <a:pt x="158" y="19"/>
                    </a:lnTo>
                    <a:lnTo>
                      <a:pt x="158" y="17"/>
                    </a:lnTo>
                    <a:lnTo>
                      <a:pt x="158" y="12"/>
                    </a:lnTo>
                    <a:lnTo>
                      <a:pt x="158" y="7"/>
                    </a:lnTo>
                    <a:lnTo>
                      <a:pt x="161" y="5"/>
                    </a:lnTo>
                    <a:lnTo>
                      <a:pt x="161" y="0"/>
                    </a:lnTo>
                    <a:lnTo>
                      <a:pt x="158" y="0"/>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7" name="Freeform 9"/>
              <p:cNvSpPr>
                <a:spLocks noEditPoints="1"/>
              </p:cNvSpPr>
              <p:nvPr/>
            </p:nvSpPr>
            <p:spPr bwMode="auto">
              <a:xfrm>
                <a:off x="4617" y="2308"/>
                <a:ext cx="161" cy="310"/>
              </a:xfrm>
              <a:custGeom>
                <a:avLst/>
                <a:gdLst>
                  <a:gd name="T0" fmla="*/ 64 w 161"/>
                  <a:gd name="T1" fmla="*/ 272 h 310"/>
                  <a:gd name="T2" fmla="*/ 64 w 161"/>
                  <a:gd name="T3" fmla="*/ 274 h 310"/>
                  <a:gd name="T4" fmla="*/ 95 w 161"/>
                  <a:gd name="T5" fmla="*/ 54 h 310"/>
                  <a:gd name="T6" fmla="*/ 90 w 161"/>
                  <a:gd name="T7" fmla="*/ 52 h 310"/>
                  <a:gd name="T8" fmla="*/ 102 w 161"/>
                  <a:gd name="T9" fmla="*/ 47 h 310"/>
                  <a:gd name="T10" fmla="*/ 159 w 161"/>
                  <a:gd name="T11" fmla="*/ 224 h 310"/>
                  <a:gd name="T12" fmla="*/ 157 w 161"/>
                  <a:gd name="T13" fmla="*/ 201 h 310"/>
                  <a:gd name="T14" fmla="*/ 147 w 161"/>
                  <a:gd name="T15" fmla="*/ 175 h 310"/>
                  <a:gd name="T16" fmla="*/ 131 w 161"/>
                  <a:gd name="T17" fmla="*/ 151 h 310"/>
                  <a:gd name="T18" fmla="*/ 121 w 161"/>
                  <a:gd name="T19" fmla="*/ 146 h 310"/>
                  <a:gd name="T20" fmla="*/ 95 w 161"/>
                  <a:gd name="T21" fmla="*/ 118 h 310"/>
                  <a:gd name="T22" fmla="*/ 81 w 161"/>
                  <a:gd name="T23" fmla="*/ 101 h 310"/>
                  <a:gd name="T24" fmla="*/ 76 w 161"/>
                  <a:gd name="T25" fmla="*/ 80 h 310"/>
                  <a:gd name="T26" fmla="*/ 90 w 161"/>
                  <a:gd name="T27" fmla="*/ 52 h 310"/>
                  <a:gd name="T28" fmla="*/ 95 w 161"/>
                  <a:gd name="T29" fmla="*/ 49 h 310"/>
                  <a:gd name="T30" fmla="*/ 107 w 161"/>
                  <a:gd name="T31" fmla="*/ 37 h 310"/>
                  <a:gd name="T32" fmla="*/ 95 w 161"/>
                  <a:gd name="T33" fmla="*/ 33 h 310"/>
                  <a:gd name="T34" fmla="*/ 86 w 161"/>
                  <a:gd name="T35" fmla="*/ 28 h 310"/>
                  <a:gd name="T36" fmla="*/ 81 w 161"/>
                  <a:gd name="T37" fmla="*/ 14 h 310"/>
                  <a:gd name="T38" fmla="*/ 74 w 161"/>
                  <a:gd name="T39" fmla="*/ 9 h 310"/>
                  <a:gd name="T40" fmla="*/ 60 w 161"/>
                  <a:gd name="T41" fmla="*/ 4 h 310"/>
                  <a:gd name="T42" fmla="*/ 48 w 161"/>
                  <a:gd name="T43" fmla="*/ 2 h 310"/>
                  <a:gd name="T44" fmla="*/ 38 w 161"/>
                  <a:gd name="T45" fmla="*/ 11 h 310"/>
                  <a:gd name="T46" fmla="*/ 26 w 161"/>
                  <a:gd name="T47" fmla="*/ 11 h 310"/>
                  <a:gd name="T48" fmla="*/ 19 w 161"/>
                  <a:gd name="T49" fmla="*/ 14 h 310"/>
                  <a:gd name="T50" fmla="*/ 7 w 161"/>
                  <a:gd name="T51" fmla="*/ 11 h 310"/>
                  <a:gd name="T52" fmla="*/ 0 w 161"/>
                  <a:gd name="T53" fmla="*/ 21 h 310"/>
                  <a:gd name="T54" fmla="*/ 12 w 161"/>
                  <a:gd name="T55" fmla="*/ 33 h 310"/>
                  <a:gd name="T56" fmla="*/ 17 w 161"/>
                  <a:gd name="T57" fmla="*/ 37 h 310"/>
                  <a:gd name="T58" fmla="*/ 34 w 161"/>
                  <a:gd name="T59" fmla="*/ 54 h 310"/>
                  <a:gd name="T60" fmla="*/ 50 w 161"/>
                  <a:gd name="T61" fmla="*/ 56 h 310"/>
                  <a:gd name="T62" fmla="*/ 52 w 161"/>
                  <a:gd name="T63" fmla="*/ 63 h 310"/>
                  <a:gd name="T64" fmla="*/ 55 w 161"/>
                  <a:gd name="T65" fmla="*/ 75 h 310"/>
                  <a:gd name="T66" fmla="*/ 43 w 161"/>
                  <a:gd name="T67" fmla="*/ 82 h 310"/>
                  <a:gd name="T68" fmla="*/ 57 w 161"/>
                  <a:gd name="T69" fmla="*/ 94 h 310"/>
                  <a:gd name="T70" fmla="*/ 69 w 161"/>
                  <a:gd name="T71" fmla="*/ 106 h 310"/>
                  <a:gd name="T72" fmla="*/ 83 w 161"/>
                  <a:gd name="T73" fmla="*/ 123 h 310"/>
                  <a:gd name="T74" fmla="*/ 97 w 161"/>
                  <a:gd name="T75" fmla="*/ 139 h 310"/>
                  <a:gd name="T76" fmla="*/ 104 w 161"/>
                  <a:gd name="T77" fmla="*/ 146 h 310"/>
                  <a:gd name="T78" fmla="*/ 112 w 161"/>
                  <a:gd name="T79" fmla="*/ 158 h 310"/>
                  <a:gd name="T80" fmla="*/ 121 w 161"/>
                  <a:gd name="T81" fmla="*/ 170 h 310"/>
                  <a:gd name="T82" fmla="*/ 121 w 161"/>
                  <a:gd name="T83" fmla="*/ 184 h 310"/>
                  <a:gd name="T84" fmla="*/ 126 w 161"/>
                  <a:gd name="T85" fmla="*/ 206 h 310"/>
                  <a:gd name="T86" fmla="*/ 123 w 161"/>
                  <a:gd name="T87" fmla="*/ 232 h 310"/>
                  <a:gd name="T88" fmla="*/ 109 w 161"/>
                  <a:gd name="T89" fmla="*/ 239 h 310"/>
                  <a:gd name="T90" fmla="*/ 100 w 161"/>
                  <a:gd name="T91" fmla="*/ 243 h 310"/>
                  <a:gd name="T92" fmla="*/ 97 w 161"/>
                  <a:gd name="T93" fmla="*/ 255 h 310"/>
                  <a:gd name="T94" fmla="*/ 97 w 161"/>
                  <a:gd name="T95" fmla="*/ 262 h 310"/>
                  <a:gd name="T96" fmla="*/ 86 w 161"/>
                  <a:gd name="T97" fmla="*/ 262 h 310"/>
                  <a:gd name="T98" fmla="*/ 76 w 161"/>
                  <a:gd name="T99" fmla="*/ 269 h 310"/>
                  <a:gd name="T100" fmla="*/ 78 w 161"/>
                  <a:gd name="T101" fmla="*/ 277 h 310"/>
                  <a:gd name="T102" fmla="*/ 81 w 161"/>
                  <a:gd name="T103" fmla="*/ 298 h 310"/>
                  <a:gd name="T104" fmla="*/ 104 w 161"/>
                  <a:gd name="T105" fmla="*/ 293 h 310"/>
                  <a:gd name="T106" fmla="*/ 112 w 161"/>
                  <a:gd name="T107" fmla="*/ 288 h 310"/>
                  <a:gd name="T108" fmla="*/ 114 w 161"/>
                  <a:gd name="T109" fmla="*/ 281 h 310"/>
                  <a:gd name="T110" fmla="*/ 114 w 161"/>
                  <a:gd name="T111" fmla="*/ 274 h 310"/>
                  <a:gd name="T112" fmla="*/ 119 w 161"/>
                  <a:gd name="T113" fmla="*/ 272 h 310"/>
                  <a:gd name="T114" fmla="*/ 126 w 161"/>
                  <a:gd name="T115" fmla="*/ 272 h 310"/>
                  <a:gd name="T116" fmla="*/ 149 w 161"/>
                  <a:gd name="T117" fmla="*/ 255 h 310"/>
                  <a:gd name="T118" fmla="*/ 157 w 161"/>
                  <a:gd name="T119" fmla="*/ 241 h 310"/>
                  <a:gd name="T120" fmla="*/ 159 w 161"/>
                  <a:gd name="T121" fmla="*/ 229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310">
                    <a:moveTo>
                      <a:pt x="114" y="307"/>
                    </a:moveTo>
                    <a:lnTo>
                      <a:pt x="114" y="310"/>
                    </a:lnTo>
                    <a:lnTo>
                      <a:pt x="114" y="310"/>
                    </a:lnTo>
                    <a:lnTo>
                      <a:pt x="116" y="307"/>
                    </a:lnTo>
                    <a:lnTo>
                      <a:pt x="116" y="307"/>
                    </a:lnTo>
                    <a:lnTo>
                      <a:pt x="116" y="307"/>
                    </a:lnTo>
                    <a:lnTo>
                      <a:pt x="114" y="307"/>
                    </a:lnTo>
                    <a:close/>
                    <a:moveTo>
                      <a:pt x="64" y="274"/>
                    </a:moveTo>
                    <a:lnTo>
                      <a:pt x="64" y="272"/>
                    </a:lnTo>
                    <a:lnTo>
                      <a:pt x="64" y="272"/>
                    </a:lnTo>
                    <a:lnTo>
                      <a:pt x="64" y="272"/>
                    </a:lnTo>
                    <a:lnTo>
                      <a:pt x="62" y="272"/>
                    </a:lnTo>
                    <a:lnTo>
                      <a:pt x="62" y="272"/>
                    </a:lnTo>
                    <a:lnTo>
                      <a:pt x="62" y="274"/>
                    </a:lnTo>
                    <a:lnTo>
                      <a:pt x="62" y="277"/>
                    </a:lnTo>
                    <a:lnTo>
                      <a:pt x="64" y="279"/>
                    </a:lnTo>
                    <a:lnTo>
                      <a:pt x="64" y="279"/>
                    </a:lnTo>
                    <a:lnTo>
                      <a:pt x="64" y="279"/>
                    </a:lnTo>
                    <a:lnTo>
                      <a:pt x="64" y="277"/>
                    </a:lnTo>
                    <a:lnTo>
                      <a:pt x="64" y="274"/>
                    </a:lnTo>
                    <a:close/>
                    <a:moveTo>
                      <a:pt x="121" y="272"/>
                    </a:moveTo>
                    <a:lnTo>
                      <a:pt x="121" y="272"/>
                    </a:lnTo>
                    <a:lnTo>
                      <a:pt x="121" y="274"/>
                    </a:lnTo>
                    <a:lnTo>
                      <a:pt x="123" y="272"/>
                    </a:lnTo>
                    <a:lnTo>
                      <a:pt x="123" y="272"/>
                    </a:lnTo>
                    <a:lnTo>
                      <a:pt x="123" y="272"/>
                    </a:lnTo>
                    <a:lnTo>
                      <a:pt x="121" y="272"/>
                    </a:lnTo>
                    <a:close/>
                    <a:moveTo>
                      <a:pt x="93" y="52"/>
                    </a:moveTo>
                    <a:lnTo>
                      <a:pt x="93" y="52"/>
                    </a:lnTo>
                    <a:lnTo>
                      <a:pt x="95" y="54"/>
                    </a:lnTo>
                    <a:lnTo>
                      <a:pt x="95" y="54"/>
                    </a:lnTo>
                    <a:lnTo>
                      <a:pt x="95" y="54"/>
                    </a:lnTo>
                    <a:lnTo>
                      <a:pt x="95" y="52"/>
                    </a:lnTo>
                    <a:lnTo>
                      <a:pt x="95" y="52"/>
                    </a:lnTo>
                    <a:lnTo>
                      <a:pt x="95" y="52"/>
                    </a:lnTo>
                    <a:lnTo>
                      <a:pt x="93" y="52"/>
                    </a:lnTo>
                    <a:close/>
                    <a:moveTo>
                      <a:pt x="90" y="49"/>
                    </a:moveTo>
                    <a:lnTo>
                      <a:pt x="90" y="52"/>
                    </a:lnTo>
                    <a:lnTo>
                      <a:pt x="90" y="52"/>
                    </a:lnTo>
                    <a:lnTo>
                      <a:pt x="90" y="52"/>
                    </a:lnTo>
                    <a:lnTo>
                      <a:pt x="93" y="52"/>
                    </a:lnTo>
                    <a:lnTo>
                      <a:pt x="90" y="52"/>
                    </a:lnTo>
                    <a:lnTo>
                      <a:pt x="90" y="49"/>
                    </a:lnTo>
                    <a:close/>
                    <a:moveTo>
                      <a:pt x="102" y="49"/>
                    </a:moveTo>
                    <a:lnTo>
                      <a:pt x="102" y="49"/>
                    </a:lnTo>
                    <a:lnTo>
                      <a:pt x="102" y="49"/>
                    </a:lnTo>
                    <a:lnTo>
                      <a:pt x="102" y="49"/>
                    </a:lnTo>
                    <a:lnTo>
                      <a:pt x="104" y="49"/>
                    </a:lnTo>
                    <a:lnTo>
                      <a:pt x="104" y="47"/>
                    </a:lnTo>
                    <a:lnTo>
                      <a:pt x="102" y="47"/>
                    </a:lnTo>
                    <a:lnTo>
                      <a:pt x="102" y="49"/>
                    </a:lnTo>
                    <a:close/>
                    <a:moveTo>
                      <a:pt x="102" y="45"/>
                    </a:moveTo>
                    <a:lnTo>
                      <a:pt x="102" y="42"/>
                    </a:lnTo>
                    <a:lnTo>
                      <a:pt x="100" y="42"/>
                    </a:lnTo>
                    <a:lnTo>
                      <a:pt x="100" y="47"/>
                    </a:lnTo>
                    <a:lnTo>
                      <a:pt x="102" y="47"/>
                    </a:lnTo>
                    <a:lnTo>
                      <a:pt x="104" y="45"/>
                    </a:lnTo>
                    <a:lnTo>
                      <a:pt x="102" y="45"/>
                    </a:lnTo>
                    <a:close/>
                    <a:moveTo>
                      <a:pt x="159" y="222"/>
                    </a:moveTo>
                    <a:lnTo>
                      <a:pt x="159" y="224"/>
                    </a:lnTo>
                    <a:lnTo>
                      <a:pt x="161" y="227"/>
                    </a:lnTo>
                    <a:lnTo>
                      <a:pt x="161" y="222"/>
                    </a:lnTo>
                    <a:lnTo>
                      <a:pt x="159" y="217"/>
                    </a:lnTo>
                    <a:lnTo>
                      <a:pt x="159" y="217"/>
                    </a:lnTo>
                    <a:lnTo>
                      <a:pt x="157" y="213"/>
                    </a:lnTo>
                    <a:lnTo>
                      <a:pt x="157" y="210"/>
                    </a:lnTo>
                    <a:lnTo>
                      <a:pt x="157" y="208"/>
                    </a:lnTo>
                    <a:lnTo>
                      <a:pt x="154" y="206"/>
                    </a:lnTo>
                    <a:lnTo>
                      <a:pt x="154" y="198"/>
                    </a:lnTo>
                    <a:lnTo>
                      <a:pt x="157" y="201"/>
                    </a:lnTo>
                    <a:lnTo>
                      <a:pt x="157" y="198"/>
                    </a:lnTo>
                    <a:lnTo>
                      <a:pt x="154" y="196"/>
                    </a:lnTo>
                    <a:lnTo>
                      <a:pt x="154" y="194"/>
                    </a:lnTo>
                    <a:lnTo>
                      <a:pt x="154" y="194"/>
                    </a:lnTo>
                    <a:lnTo>
                      <a:pt x="152" y="191"/>
                    </a:lnTo>
                    <a:lnTo>
                      <a:pt x="152" y="189"/>
                    </a:lnTo>
                    <a:lnTo>
                      <a:pt x="149" y="184"/>
                    </a:lnTo>
                    <a:lnTo>
                      <a:pt x="149" y="182"/>
                    </a:lnTo>
                    <a:lnTo>
                      <a:pt x="147" y="179"/>
                    </a:lnTo>
                    <a:lnTo>
                      <a:pt x="147" y="175"/>
                    </a:lnTo>
                    <a:lnTo>
                      <a:pt x="145" y="170"/>
                    </a:lnTo>
                    <a:lnTo>
                      <a:pt x="142" y="168"/>
                    </a:lnTo>
                    <a:lnTo>
                      <a:pt x="142" y="165"/>
                    </a:lnTo>
                    <a:lnTo>
                      <a:pt x="140" y="165"/>
                    </a:lnTo>
                    <a:lnTo>
                      <a:pt x="138" y="163"/>
                    </a:lnTo>
                    <a:lnTo>
                      <a:pt x="135" y="158"/>
                    </a:lnTo>
                    <a:lnTo>
                      <a:pt x="133" y="156"/>
                    </a:lnTo>
                    <a:lnTo>
                      <a:pt x="131" y="153"/>
                    </a:lnTo>
                    <a:lnTo>
                      <a:pt x="131" y="153"/>
                    </a:lnTo>
                    <a:lnTo>
                      <a:pt x="131" y="151"/>
                    </a:lnTo>
                    <a:lnTo>
                      <a:pt x="131" y="151"/>
                    </a:lnTo>
                    <a:lnTo>
                      <a:pt x="131" y="151"/>
                    </a:lnTo>
                    <a:lnTo>
                      <a:pt x="128" y="151"/>
                    </a:lnTo>
                    <a:lnTo>
                      <a:pt x="128" y="149"/>
                    </a:lnTo>
                    <a:lnTo>
                      <a:pt x="126" y="146"/>
                    </a:lnTo>
                    <a:lnTo>
                      <a:pt x="126" y="146"/>
                    </a:lnTo>
                    <a:lnTo>
                      <a:pt x="123" y="146"/>
                    </a:lnTo>
                    <a:lnTo>
                      <a:pt x="123" y="146"/>
                    </a:lnTo>
                    <a:lnTo>
                      <a:pt x="123" y="146"/>
                    </a:lnTo>
                    <a:lnTo>
                      <a:pt x="121" y="146"/>
                    </a:lnTo>
                    <a:lnTo>
                      <a:pt x="121" y="144"/>
                    </a:lnTo>
                    <a:lnTo>
                      <a:pt x="116" y="142"/>
                    </a:lnTo>
                    <a:lnTo>
                      <a:pt x="116" y="142"/>
                    </a:lnTo>
                    <a:lnTo>
                      <a:pt x="116" y="139"/>
                    </a:lnTo>
                    <a:lnTo>
                      <a:pt x="112" y="137"/>
                    </a:lnTo>
                    <a:lnTo>
                      <a:pt x="109" y="134"/>
                    </a:lnTo>
                    <a:lnTo>
                      <a:pt x="107" y="132"/>
                    </a:lnTo>
                    <a:lnTo>
                      <a:pt x="102" y="127"/>
                    </a:lnTo>
                    <a:lnTo>
                      <a:pt x="100" y="125"/>
                    </a:lnTo>
                    <a:lnTo>
                      <a:pt x="95" y="118"/>
                    </a:lnTo>
                    <a:lnTo>
                      <a:pt x="90" y="118"/>
                    </a:lnTo>
                    <a:lnTo>
                      <a:pt x="90" y="116"/>
                    </a:lnTo>
                    <a:lnTo>
                      <a:pt x="93" y="118"/>
                    </a:lnTo>
                    <a:lnTo>
                      <a:pt x="93" y="113"/>
                    </a:lnTo>
                    <a:lnTo>
                      <a:pt x="93" y="113"/>
                    </a:lnTo>
                    <a:lnTo>
                      <a:pt x="90" y="111"/>
                    </a:lnTo>
                    <a:lnTo>
                      <a:pt x="88" y="106"/>
                    </a:lnTo>
                    <a:lnTo>
                      <a:pt x="86" y="106"/>
                    </a:lnTo>
                    <a:lnTo>
                      <a:pt x="83" y="104"/>
                    </a:lnTo>
                    <a:lnTo>
                      <a:pt x="81" y="101"/>
                    </a:lnTo>
                    <a:lnTo>
                      <a:pt x="78" y="99"/>
                    </a:lnTo>
                    <a:lnTo>
                      <a:pt x="78" y="99"/>
                    </a:lnTo>
                    <a:lnTo>
                      <a:pt x="76" y="97"/>
                    </a:lnTo>
                    <a:lnTo>
                      <a:pt x="76" y="94"/>
                    </a:lnTo>
                    <a:lnTo>
                      <a:pt x="74" y="92"/>
                    </a:lnTo>
                    <a:lnTo>
                      <a:pt x="74" y="89"/>
                    </a:lnTo>
                    <a:lnTo>
                      <a:pt x="76" y="87"/>
                    </a:lnTo>
                    <a:lnTo>
                      <a:pt x="76" y="85"/>
                    </a:lnTo>
                    <a:lnTo>
                      <a:pt x="76" y="82"/>
                    </a:lnTo>
                    <a:lnTo>
                      <a:pt x="76" y="80"/>
                    </a:lnTo>
                    <a:lnTo>
                      <a:pt x="76" y="78"/>
                    </a:lnTo>
                    <a:lnTo>
                      <a:pt x="78" y="71"/>
                    </a:lnTo>
                    <a:lnTo>
                      <a:pt x="78" y="71"/>
                    </a:lnTo>
                    <a:lnTo>
                      <a:pt x="81" y="71"/>
                    </a:lnTo>
                    <a:lnTo>
                      <a:pt x="86" y="66"/>
                    </a:lnTo>
                    <a:lnTo>
                      <a:pt x="86" y="63"/>
                    </a:lnTo>
                    <a:lnTo>
                      <a:pt x="88" y="61"/>
                    </a:lnTo>
                    <a:lnTo>
                      <a:pt x="86" y="59"/>
                    </a:lnTo>
                    <a:lnTo>
                      <a:pt x="90" y="54"/>
                    </a:lnTo>
                    <a:lnTo>
                      <a:pt x="90" y="52"/>
                    </a:lnTo>
                    <a:lnTo>
                      <a:pt x="88" y="49"/>
                    </a:lnTo>
                    <a:lnTo>
                      <a:pt x="88" y="49"/>
                    </a:lnTo>
                    <a:lnTo>
                      <a:pt x="88" y="49"/>
                    </a:lnTo>
                    <a:lnTo>
                      <a:pt x="88" y="49"/>
                    </a:lnTo>
                    <a:lnTo>
                      <a:pt x="90" y="49"/>
                    </a:lnTo>
                    <a:lnTo>
                      <a:pt x="90" y="49"/>
                    </a:lnTo>
                    <a:lnTo>
                      <a:pt x="93" y="49"/>
                    </a:lnTo>
                    <a:lnTo>
                      <a:pt x="93" y="49"/>
                    </a:lnTo>
                    <a:lnTo>
                      <a:pt x="93" y="49"/>
                    </a:lnTo>
                    <a:lnTo>
                      <a:pt x="95" y="49"/>
                    </a:lnTo>
                    <a:lnTo>
                      <a:pt x="95" y="49"/>
                    </a:lnTo>
                    <a:lnTo>
                      <a:pt x="97" y="49"/>
                    </a:lnTo>
                    <a:lnTo>
                      <a:pt x="100" y="47"/>
                    </a:lnTo>
                    <a:lnTo>
                      <a:pt x="100" y="45"/>
                    </a:lnTo>
                    <a:lnTo>
                      <a:pt x="100" y="45"/>
                    </a:lnTo>
                    <a:lnTo>
                      <a:pt x="100" y="42"/>
                    </a:lnTo>
                    <a:lnTo>
                      <a:pt x="102" y="42"/>
                    </a:lnTo>
                    <a:lnTo>
                      <a:pt x="104" y="40"/>
                    </a:lnTo>
                    <a:lnTo>
                      <a:pt x="104" y="40"/>
                    </a:lnTo>
                    <a:lnTo>
                      <a:pt x="107" y="37"/>
                    </a:lnTo>
                    <a:lnTo>
                      <a:pt x="109" y="37"/>
                    </a:lnTo>
                    <a:lnTo>
                      <a:pt x="109" y="37"/>
                    </a:lnTo>
                    <a:lnTo>
                      <a:pt x="109" y="37"/>
                    </a:lnTo>
                    <a:lnTo>
                      <a:pt x="107" y="35"/>
                    </a:lnTo>
                    <a:lnTo>
                      <a:pt x="104" y="35"/>
                    </a:lnTo>
                    <a:lnTo>
                      <a:pt x="102" y="35"/>
                    </a:lnTo>
                    <a:lnTo>
                      <a:pt x="100" y="35"/>
                    </a:lnTo>
                    <a:lnTo>
                      <a:pt x="100" y="35"/>
                    </a:lnTo>
                    <a:lnTo>
                      <a:pt x="97" y="35"/>
                    </a:lnTo>
                    <a:lnTo>
                      <a:pt x="95" y="33"/>
                    </a:lnTo>
                    <a:lnTo>
                      <a:pt x="95" y="33"/>
                    </a:lnTo>
                    <a:lnTo>
                      <a:pt x="93" y="30"/>
                    </a:lnTo>
                    <a:lnTo>
                      <a:pt x="90" y="30"/>
                    </a:lnTo>
                    <a:lnTo>
                      <a:pt x="90" y="30"/>
                    </a:lnTo>
                    <a:lnTo>
                      <a:pt x="90" y="28"/>
                    </a:lnTo>
                    <a:lnTo>
                      <a:pt x="90" y="28"/>
                    </a:lnTo>
                    <a:lnTo>
                      <a:pt x="88" y="28"/>
                    </a:lnTo>
                    <a:lnTo>
                      <a:pt x="86" y="28"/>
                    </a:lnTo>
                    <a:lnTo>
                      <a:pt x="86" y="28"/>
                    </a:lnTo>
                    <a:lnTo>
                      <a:pt x="86" y="28"/>
                    </a:lnTo>
                    <a:lnTo>
                      <a:pt x="83" y="28"/>
                    </a:lnTo>
                    <a:lnTo>
                      <a:pt x="83" y="26"/>
                    </a:lnTo>
                    <a:lnTo>
                      <a:pt x="83" y="23"/>
                    </a:lnTo>
                    <a:lnTo>
                      <a:pt x="83" y="21"/>
                    </a:lnTo>
                    <a:lnTo>
                      <a:pt x="83" y="21"/>
                    </a:lnTo>
                    <a:lnTo>
                      <a:pt x="81" y="21"/>
                    </a:lnTo>
                    <a:lnTo>
                      <a:pt x="81" y="21"/>
                    </a:lnTo>
                    <a:lnTo>
                      <a:pt x="81" y="18"/>
                    </a:lnTo>
                    <a:lnTo>
                      <a:pt x="81" y="16"/>
                    </a:lnTo>
                    <a:lnTo>
                      <a:pt x="81" y="14"/>
                    </a:lnTo>
                    <a:lnTo>
                      <a:pt x="81" y="14"/>
                    </a:lnTo>
                    <a:lnTo>
                      <a:pt x="83" y="14"/>
                    </a:lnTo>
                    <a:lnTo>
                      <a:pt x="83" y="11"/>
                    </a:lnTo>
                    <a:lnTo>
                      <a:pt x="83" y="11"/>
                    </a:lnTo>
                    <a:lnTo>
                      <a:pt x="81" y="9"/>
                    </a:lnTo>
                    <a:lnTo>
                      <a:pt x="78" y="9"/>
                    </a:lnTo>
                    <a:lnTo>
                      <a:pt x="78" y="9"/>
                    </a:lnTo>
                    <a:lnTo>
                      <a:pt x="76" y="9"/>
                    </a:lnTo>
                    <a:lnTo>
                      <a:pt x="74" y="9"/>
                    </a:lnTo>
                    <a:lnTo>
                      <a:pt x="74" y="9"/>
                    </a:lnTo>
                    <a:lnTo>
                      <a:pt x="71" y="7"/>
                    </a:lnTo>
                    <a:lnTo>
                      <a:pt x="71" y="7"/>
                    </a:lnTo>
                    <a:lnTo>
                      <a:pt x="69" y="7"/>
                    </a:lnTo>
                    <a:lnTo>
                      <a:pt x="69" y="7"/>
                    </a:lnTo>
                    <a:lnTo>
                      <a:pt x="69" y="7"/>
                    </a:lnTo>
                    <a:lnTo>
                      <a:pt x="67" y="7"/>
                    </a:lnTo>
                    <a:lnTo>
                      <a:pt x="67" y="7"/>
                    </a:lnTo>
                    <a:lnTo>
                      <a:pt x="64" y="7"/>
                    </a:lnTo>
                    <a:lnTo>
                      <a:pt x="62" y="4"/>
                    </a:lnTo>
                    <a:lnTo>
                      <a:pt x="60" y="4"/>
                    </a:lnTo>
                    <a:lnTo>
                      <a:pt x="60" y="4"/>
                    </a:lnTo>
                    <a:lnTo>
                      <a:pt x="60" y="2"/>
                    </a:lnTo>
                    <a:lnTo>
                      <a:pt x="57" y="2"/>
                    </a:lnTo>
                    <a:lnTo>
                      <a:pt x="55" y="0"/>
                    </a:lnTo>
                    <a:lnTo>
                      <a:pt x="55" y="0"/>
                    </a:lnTo>
                    <a:lnTo>
                      <a:pt x="55" y="0"/>
                    </a:lnTo>
                    <a:lnTo>
                      <a:pt x="52" y="0"/>
                    </a:lnTo>
                    <a:lnTo>
                      <a:pt x="50" y="2"/>
                    </a:lnTo>
                    <a:lnTo>
                      <a:pt x="48" y="2"/>
                    </a:lnTo>
                    <a:lnTo>
                      <a:pt x="48" y="2"/>
                    </a:lnTo>
                    <a:lnTo>
                      <a:pt x="48" y="4"/>
                    </a:lnTo>
                    <a:lnTo>
                      <a:pt x="48" y="7"/>
                    </a:lnTo>
                    <a:lnTo>
                      <a:pt x="48" y="7"/>
                    </a:lnTo>
                    <a:lnTo>
                      <a:pt x="45" y="9"/>
                    </a:lnTo>
                    <a:lnTo>
                      <a:pt x="45" y="9"/>
                    </a:lnTo>
                    <a:lnTo>
                      <a:pt x="45" y="9"/>
                    </a:lnTo>
                    <a:lnTo>
                      <a:pt x="43" y="9"/>
                    </a:lnTo>
                    <a:lnTo>
                      <a:pt x="43" y="9"/>
                    </a:lnTo>
                    <a:lnTo>
                      <a:pt x="41" y="11"/>
                    </a:lnTo>
                    <a:lnTo>
                      <a:pt x="38" y="11"/>
                    </a:lnTo>
                    <a:lnTo>
                      <a:pt x="38" y="11"/>
                    </a:lnTo>
                    <a:lnTo>
                      <a:pt x="36" y="9"/>
                    </a:lnTo>
                    <a:lnTo>
                      <a:pt x="36" y="9"/>
                    </a:lnTo>
                    <a:lnTo>
                      <a:pt x="34" y="11"/>
                    </a:lnTo>
                    <a:lnTo>
                      <a:pt x="34" y="14"/>
                    </a:lnTo>
                    <a:lnTo>
                      <a:pt x="34" y="14"/>
                    </a:lnTo>
                    <a:lnTo>
                      <a:pt x="34" y="16"/>
                    </a:lnTo>
                    <a:lnTo>
                      <a:pt x="34" y="16"/>
                    </a:lnTo>
                    <a:lnTo>
                      <a:pt x="31" y="16"/>
                    </a:lnTo>
                    <a:lnTo>
                      <a:pt x="26" y="11"/>
                    </a:lnTo>
                    <a:lnTo>
                      <a:pt x="26" y="11"/>
                    </a:lnTo>
                    <a:lnTo>
                      <a:pt x="26" y="11"/>
                    </a:lnTo>
                    <a:lnTo>
                      <a:pt x="24" y="14"/>
                    </a:lnTo>
                    <a:lnTo>
                      <a:pt x="24" y="14"/>
                    </a:lnTo>
                    <a:lnTo>
                      <a:pt x="24" y="14"/>
                    </a:lnTo>
                    <a:lnTo>
                      <a:pt x="22" y="11"/>
                    </a:lnTo>
                    <a:lnTo>
                      <a:pt x="22" y="11"/>
                    </a:lnTo>
                    <a:lnTo>
                      <a:pt x="19" y="11"/>
                    </a:lnTo>
                    <a:lnTo>
                      <a:pt x="19" y="11"/>
                    </a:lnTo>
                    <a:lnTo>
                      <a:pt x="19" y="14"/>
                    </a:lnTo>
                    <a:lnTo>
                      <a:pt x="17" y="14"/>
                    </a:lnTo>
                    <a:lnTo>
                      <a:pt x="17" y="16"/>
                    </a:lnTo>
                    <a:lnTo>
                      <a:pt x="17" y="16"/>
                    </a:lnTo>
                    <a:lnTo>
                      <a:pt x="17" y="18"/>
                    </a:lnTo>
                    <a:lnTo>
                      <a:pt x="15" y="18"/>
                    </a:lnTo>
                    <a:lnTo>
                      <a:pt x="15" y="16"/>
                    </a:lnTo>
                    <a:lnTo>
                      <a:pt x="12" y="16"/>
                    </a:lnTo>
                    <a:lnTo>
                      <a:pt x="12" y="14"/>
                    </a:lnTo>
                    <a:lnTo>
                      <a:pt x="10" y="14"/>
                    </a:lnTo>
                    <a:lnTo>
                      <a:pt x="7" y="11"/>
                    </a:lnTo>
                    <a:lnTo>
                      <a:pt x="5" y="11"/>
                    </a:lnTo>
                    <a:lnTo>
                      <a:pt x="5" y="11"/>
                    </a:lnTo>
                    <a:lnTo>
                      <a:pt x="5" y="11"/>
                    </a:lnTo>
                    <a:lnTo>
                      <a:pt x="5" y="11"/>
                    </a:lnTo>
                    <a:lnTo>
                      <a:pt x="3" y="14"/>
                    </a:lnTo>
                    <a:lnTo>
                      <a:pt x="3" y="16"/>
                    </a:lnTo>
                    <a:lnTo>
                      <a:pt x="3" y="16"/>
                    </a:lnTo>
                    <a:lnTo>
                      <a:pt x="0" y="18"/>
                    </a:lnTo>
                    <a:lnTo>
                      <a:pt x="0" y="18"/>
                    </a:lnTo>
                    <a:lnTo>
                      <a:pt x="0" y="21"/>
                    </a:lnTo>
                    <a:lnTo>
                      <a:pt x="3" y="23"/>
                    </a:lnTo>
                    <a:lnTo>
                      <a:pt x="7" y="26"/>
                    </a:lnTo>
                    <a:lnTo>
                      <a:pt x="7" y="28"/>
                    </a:lnTo>
                    <a:lnTo>
                      <a:pt x="10" y="28"/>
                    </a:lnTo>
                    <a:lnTo>
                      <a:pt x="10" y="30"/>
                    </a:lnTo>
                    <a:lnTo>
                      <a:pt x="12" y="33"/>
                    </a:lnTo>
                    <a:lnTo>
                      <a:pt x="12" y="33"/>
                    </a:lnTo>
                    <a:lnTo>
                      <a:pt x="12" y="35"/>
                    </a:lnTo>
                    <a:lnTo>
                      <a:pt x="12" y="35"/>
                    </a:lnTo>
                    <a:lnTo>
                      <a:pt x="12" y="33"/>
                    </a:lnTo>
                    <a:lnTo>
                      <a:pt x="15" y="33"/>
                    </a:lnTo>
                    <a:lnTo>
                      <a:pt x="15" y="30"/>
                    </a:lnTo>
                    <a:lnTo>
                      <a:pt x="15" y="30"/>
                    </a:lnTo>
                    <a:lnTo>
                      <a:pt x="15" y="33"/>
                    </a:lnTo>
                    <a:lnTo>
                      <a:pt x="17" y="33"/>
                    </a:lnTo>
                    <a:lnTo>
                      <a:pt x="17" y="33"/>
                    </a:lnTo>
                    <a:lnTo>
                      <a:pt x="17" y="33"/>
                    </a:lnTo>
                    <a:lnTo>
                      <a:pt x="17" y="35"/>
                    </a:lnTo>
                    <a:lnTo>
                      <a:pt x="17" y="35"/>
                    </a:lnTo>
                    <a:lnTo>
                      <a:pt x="17" y="37"/>
                    </a:lnTo>
                    <a:lnTo>
                      <a:pt x="17" y="40"/>
                    </a:lnTo>
                    <a:lnTo>
                      <a:pt x="17" y="42"/>
                    </a:lnTo>
                    <a:lnTo>
                      <a:pt x="17" y="42"/>
                    </a:lnTo>
                    <a:lnTo>
                      <a:pt x="17" y="45"/>
                    </a:lnTo>
                    <a:lnTo>
                      <a:pt x="22" y="52"/>
                    </a:lnTo>
                    <a:lnTo>
                      <a:pt x="24" y="52"/>
                    </a:lnTo>
                    <a:lnTo>
                      <a:pt x="29" y="54"/>
                    </a:lnTo>
                    <a:lnTo>
                      <a:pt x="31" y="54"/>
                    </a:lnTo>
                    <a:lnTo>
                      <a:pt x="34" y="54"/>
                    </a:lnTo>
                    <a:lnTo>
                      <a:pt x="34" y="54"/>
                    </a:lnTo>
                    <a:lnTo>
                      <a:pt x="36" y="52"/>
                    </a:lnTo>
                    <a:lnTo>
                      <a:pt x="36" y="52"/>
                    </a:lnTo>
                    <a:lnTo>
                      <a:pt x="41" y="49"/>
                    </a:lnTo>
                    <a:lnTo>
                      <a:pt x="41" y="49"/>
                    </a:lnTo>
                    <a:lnTo>
                      <a:pt x="43" y="49"/>
                    </a:lnTo>
                    <a:lnTo>
                      <a:pt x="45" y="52"/>
                    </a:lnTo>
                    <a:lnTo>
                      <a:pt x="48" y="54"/>
                    </a:lnTo>
                    <a:lnTo>
                      <a:pt x="50" y="54"/>
                    </a:lnTo>
                    <a:lnTo>
                      <a:pt x="50" y="56"/>
                    </a:lnTo>
                    <a:lnTo>
                      <a:pt x="50" y="56"/>
                    </a:lnTo>
                    <a:lnTo>
                      <a:pt x="50" y="59"/>
                    </a:lnTo>
                    <a:lnTo>
                      <a:pt x="48" y="59"/>
                    </a:lnTo>
                    <a:lnTo>
                      <a:pt x="48" y="59"/>
                    </a:lnTo>
                    <a:lnTo>
                      <a:pt x="48" y="61"/>
                    </a:lnTo>
                    <a:lnTo>
                      <a:pt x="48" y="61"/>
                    </a:lnTo>
                    <a:lnTo>
                      <a:pt x="50" y="61"/>
                    </a:lnTo>
                    <a:lnTo>
                      <a:pt x="52" y="61"/>
                    </a:lnTo>
                    <a:lnTo>
                      <a:pt x="52" y="63"/>
                    </a:lnTo>
                    <a:lnTo>
                      <a:pt x="52" y="63"/>
                    </a:lnTo>
                    <a:lnTo>
                      <a:pt x="52" y="63"/>
                    </a:lnTo>
                    <a:lnTo>
                      <a:pt x="52" y="66"/>
                    </a:lnTo>
                    <a:lnTo>
                      <a:pt x="55" y="66"/>
                    </a:lnTo>
                    <a:lnTo>
                      <a:pt x="57" y="66"/>
                    </a:lnTo>
                    <a:lnTo>
                      <a:pt x="57" y="66"/>
                    </a:lnTo>
                    <a:lnTo>
                      <a:pt x="57" y="68"/>
                    </a:lnTo>
                    <a:lnTo>
                      <a:pt x="60" y="68"/>
                    </a:lnTo>
                    <a:lnTo>
                      <a:pt x="57" y="71"/>
                    </a:lnTo>
                    <a:lnTo>
                      <a:pt x="57" y="71"/>
                    </a:lnTo>
                    <a:lnTo>
                      <a:pt x="57" y="73"/>
                    </a:lnTo>
                    <a:lnTo>
                      <a:pt x="55" y="75"/>
                    </a:lnTo>
                    <a:lnTo>
                      <a:pt x="52" y="78"/>
                    </a:lnTo>
                    <a:lnTo>
                      <a:pt x="52" y="78"/>
                    </a:lnTo>
                    <a:lnTo>
                      <a:pt x="48" y="75"/>
                    </a:lnTo>
                    <a:lnTo>
                      <a:pt x="45" y="75"/>
                    </a:lnTo>
                    <a:lnTo>
                      <a:pt x="43" y="75"/>
                    </a:lnTo>
                    <a:lnTo>
                      <a:pt x="43" y="75"/>
                    </a:lnTo>
                    <a:lnTo>
                      <a:pt x="43" y="78"/>
                    </a:lnTo>
                    <a:lnTo>
                      <a:pt x="43" y="78"/>
                    </a:lnTo>
                    <a:lnTo>
                      <a:pt x="43" y="80"/>
                    </a:lnTo>
                    <a:lnTo>
                      <a:pt x="43" y="82"/>
                    </a:lnTo>
                    <a:lnTo>
                      <a:pt x="43" y="82"/>
                    </a:lnTo>
                    <a:lnTo>
                      <a:pt x="41" y="82"/>
                    </a:lnTo>
                    <a:lnTo>
                      <a:pt x="41" y="85"/>
                    </a:lnTo>
                    <a:lnTo>
                      <a:pt x="43" y="85"/>
                    </a:lnTo>
                    <a:lnTo>
                      <a:pt x="43" y="85"/>
                    </a:lnTo>
                    <a:lnTo>
                      <a:pt x="45" y="87"/>
                    </a:lnTo>
                    <a:lnTo>
                      <a:pt x="52" y="92"/>
                    </a:lnTo>
                    <a:lnTo>
                      <a:pt x="55" y="92"/>
                    </a:lnTo>
                    <a:lnTo>
                      <a:pt x="55" y="94"/>
                    </a:lnTo>
                    <a:lnTo>
                      <a:pt x="57" y="94"/>
                    </a:lnTo>
                    <a:lnTo>
                      <a:pt x="64" y="97"/>
                    </a:lnTo>
                    <a:lnTo>
                      <a:pt x="67" y="97"/>
                    </a:lnTo>
                    <a:lnTo>
                      <a:pt x="67" y="99"/>
                    </a:lnTo>
                    <a:lnTo>
                      <a:pt x="67" y="99"/>
                    </a:lnTo>
                    <a:lnTo>
                      <a:pt x="67" y="99"/>
                    </a:lnTo>
                    <a:lnTo>
                      <a:pt x="67" y="101"/>
                    </a:lnTo>
                    <a:lnTo>
                      <a:pt x="67" y="101"/>
                    </a:lnTo>
                    <a:lnTo>
                      <a:pt x="67" y="104"/>
                    </a:lnTo>
                    <a:lnTo>
                      <a:pt x="67" y="104"/>
                    </a:lnTo>
                    <a:lnTo>
                      <a:pt x="69" y="106"/>
                    </a:lnTo>
                    <a:lnTo>
                      <a:pt x="71" y="108"/>
                    </a:lnTo>
                    <a:lnTo>
                      <a:pt x="71" y="108"/>
                    </a:lnTo>
                    <a:lnTo>
                      <a:pt x="74" y="108"/>
                    </a:lnTo>
                    <a:lnTo>
                      <a:pt x="74" y="111"/>
                    </a:lnTo>
                    <a:lnTo>
                      <a:pt x="76" y="111"/>
                    </a:lnTo>
                    <a:lnTo>
                      <a:pt x="76" y="113"/>
                    </a:lnTo>
                    <a:lnTo>
                      <a:pt x="78" y="116"/>
                    </a:lnTo>
                    <a:lnTo>
                      <a:pt x="78" y="118"/>
                    </a:lnTo>
                    <a:lnTo>
                      <a:pt x="81" y="118"/>
                    </a:lnTo>
                    <a:lnTo>
                      <a:pt x="83" y="123"/>
                    </a:lnTo>
                    <a:lnTo>
                      <a:pt x="86" y="123"/>
                    </a:lnTo>
                    <a:lnTo>
                      <a:pt x="86" y="125"/>
                    </a:lnTo>
                    <a:lnTo>
                      <a:pt x="90" y="127"/>
                    </a:lnTo>
                    <a:lnTo>
                      <a:pt x="93" y="130"/>
                    </a:lnTo>
                    <a:lnTo>
                      <a:pt x="95" y="132"/>
                    </a:lnTo>
                    <a:lnTo>
                      <a:pt x="95" y="132"/>
                    </a:lnTo>
                    <a:lnTo>
                      <a:pt x="95" y="134"/>
                    </a:lnTo>
                    <a:lnTo>
                      <a:pt x="97" y="134"/>
                    </a:lnTo>
                    <a:lnTo>
                      <a:pt x="97" y="137"/>
                    </a:lnTo>
                    <a:lnTo>
                      <a:pt x="97" y="139"/>
                    </a:lnTo>
                    <a:lnTo>
                      <a:pt x="100" y="142"/>
                    </a:lnTo>
                    <a:lnTo>
                      <a:pt x="100" y="142"/>
                    </a:lnTo>
                    <a:lnTo>
                      <a:pt x="100" y="144"/>
                    </a:lnTo>
                    <a:lnTo>
                      <a:pt x="102" y="144"/>
                    </a:lnTo>
                    <a:lnTo>
                      <a:pt x="102" y="144"/>
                    </a:lnTo>
                    <a:lnTo>
                      <a:pt x="102" y="144"/>
                    </a:lnTo>
                    <a:lnTo>
                      <a:pt x="104" y="142"/>
                    </a:lnTo>
                    <a:lnTo>
                      <a:pt x="104" y="144"/>
                    </a:lnTo>
                    <a:lnTo>
                      <a:pt x="104" y="146"/>
                    </a:lnTo>
                    <a:lnTo>
                      <a:pt x="104" y="146"/>
                    </a:lnTo>
                    <a:lnTo>
                      <a:pt x="107" y="146"/>
                    </a:lnTo>
                    <a:lnTo>
                      <a:pt x="109" y="149"/>
                    </a:lnTo>
                    <a:lnTo>
                      <a:pt x="112" y="151"/>
                    </a:lnTo>
                    <a:lnTo>
                      <a:pt x="114" y="151"/>
                    </a:lnTo>
                    <a:lnTo>
                      <a:pt x="114" y="153"/>
                    </a:lnTo>
                    <a:lnTo>
                      <a:pt x="114" y="153"/>
                    </a:lnTo>
                    <a:lnTo>
                      <a:pt x="116" y="153"/>
                    </a:lnTo>
                    <a:lnTo>
                      <a:pt x="116" y="156"/>
                    </a:lnTo>
                    <a:lnTo>
                      <a:pt x="114" y="156"/>
                    </a:lnTo>
                    <a:lnTo>
                      <a:pt x="112" y="158"/>
                    </a:lnTo>
                    <a:lnTo>
                      <a:pt x="112" y="158"/>
                    </a:lnTo>
                    <a:lnTo>
                      <a:pt x="112" y="158"/>
                    </a:lnTo>
                    <a:lnTo>
                      <a:pt x="114" y="161"/>
                    </a:lnTo>
                    <a:lnTo>
                      <a:pt x="114" y="163"/>
                    </a:lnTo>
                    <a:lnTo>
                      <a:pt x="116" y="163"/>
                    </a:lnTo>
                    <a:lnTo>
                      <a:pt x="119" y="165"/>
                    </a:lnTo>
                    <a:lnTo>
                      <a:pt x="119" y="168"/>
                    </a:lnTo>
                    <a:lnTo>
                      <a:pt x="121" y="168"/>
                    </a:lnTo>
                    <a:lnTo>
                      <a:pt x="121" y="170"/>
                    </a:lnTo>
                    <a:lnTo>
                      <a:pt x="121" y="170"/>
                    </a:lnTo>
                    <a:lnTo>
                      <a:pt x="121" y="172"/>
                    </a:lnTo>
                    <a:lnTo>
                      <a:pt x="121" y="175"/>
                    </a:lnTo>
                    <a:lnTo>
                      <a:pt x="119" y="175"/>
                    </a:lnTo>
                    <a:lnTo>
                      <a:pt x="119" y="175"/>
                    </a:lnTo>
                    <a:lnTo>
                      <a:pt x="121" y="177"/>
                    </a:lnTo>
                    <a:lnTo>
                      <a:pt x="121" y="177"/>
                    </a:lnTo>
                    <a:lnTo>
                      <a:pt x="121" y="179"/>
                    </a:lnTo>
                    <a:lnTo>
                      <a:pt x="121" y="182"/>
                    </a:lnTo>
                    <a:lnTo>
                      <a:pt x="121" y="182"/>
                    </a:lnTo>
                    <a:lnTo>
                      <a:pt x="121" y="184"/>
                    </a:lnTo>
                    <a:lnTo>
                      <a:pt x="121" y="187"/>
                    </a:lnTo>
                    <a:lnTo>
                      <a:pt x="119" y="189"/>
                    </a:lnTo>
                    <a:lnTo>
                      <a:pt x="119" y="189"/>
                    </a:lnTo>
                    <a:lnTo>
                      <a:pt x="119" y="194"/>
                    </a:lnTo>
                    <a:lnTo>
                      <a:pt x="119" y="194"/>
                    </a:lnTo>
                    <a:lnTo>
                      <a:pt x="119" y="196"/>
                    </a:lnTo>
                    <a:lnTo>
                      <a:pt x="121" y="196"/>
                    </a:lnTo>
                    <a:lnTo>
                      <a:pt x="121" y="201"/>
                    </a:lnTo>
                    <a:lnTo>
                      <a:pt x="123" y="203"/>
                    </a:lnTo>
                    <a:lnTo>
                      <a:pt x="126" y="206"/>
                    </a:lnTo>
                    <a:lnTo>
                      <a:pt x="126" y="208"/>
                    </a:lnTo>
                    <a:lnTo>
                      <a:pt x="123" y="213"/>
                    </a:lnTo>
                    <a:lnTo>
                      <a:pt x="123" y="217"/>
                    </a:lnTo>
                    <a:lnTo>
                      <a:pt x="123" y="220"/>
                    </a:lnTo>
                    <a:lnTo>
                      <a:pt x="126" y="220"/>
                    </a:lnTo>
                    <a:lnTo>
                      <a:pt x="126" y="224"/>
                    </a:lnTo>
                    <a:lnTo>
                      <a:pt x="126" y="227"/>
                    </a:lnTo>
                    <a:lnTo>
                      <a:pt x="126" y="229"/>
                    </a:lnTo>
                    <a:lnTo>
                      <a:pt x="126" y="232"/>
                    </a:lnTo>
                    <a:lnTo>
                      <a:pt x="123" y="232"/>
                    </a:lnTo>
                    <a:lnTo>
                      <a:pt x="123" y="234"/>
                    </a:lnTo>
                    <a:lnTo>
                      <a:pt x="123" y="232"/>
                    </a:lnTo>
                    <a:lnTo>
                      <a:pt x="121" y="232"/>
                    </a:lnTo>
                    <a:lnTo>
                      <a:pt x="121" y="232"/>
                    </a:lnTo>
                    <a:lnTo>
                      <a:pt x="119" y="232"/>
                    </a:lnTo>
                    <a:lnTo>
                      <a:pt x="116" y="234"/>
                    </a:lnTo>
                    <a:lnTo>
                      <a:pt x="116" y="236"/>
                    </a:lnTo>
                    <a:lnTo>
                      <a:pt x="112" y="236"/>
                    </a:lnTo>
                    <a:lnTo>
                      <a:pt x="112" y="239"/>
                    </a:lnTo>
                    <a:lnTo>
                      <a:pt x="109" y="239"/>
                    </a:lnTo>
                    <a:lnTo>
                      <a:pt x="107" y="239"/>
                    </a:lnTo>
                    <a:lnTo>
                      <a:pt x="107" y="239"/>
                    </a:lnTo>
                    <a:lnTo>
                      <a:pt x="107" y="241"/>
                    </a:lnTo>
                    <a:lnTo>
                      <a:pt x="107" y="243"/>
                    </a:lnTo>
                    <a:lnTo>
                      <a:pt x="107" y="246"/>
                    </a:lnTo>
                    <a:lnTo>
                      <a:pt x="107" y="246"/>
                    </a:lnTo>
                    <a:lnTo>
                      <a:pt x="104" y="246"/>
                    </a:lnTo>
                    <a:lnTo>
                      <a:pt x="102" y="243"/>
                    </a:lnTo>
                    <a:lnTo>
                      <a:pt x="100" y="243"/>
                    </a:lnTo>
                    <a:lnTo>
                      <a:pt x="100" y="243"/>
                    </a:lnTo>
                    <a:lnTo>
                      <a:pt x="97" y="246"/>
                    </a:lnTo>
                    <a:lnTo>
                      <a:pt x="97" y="246"/>
                    </a:lnTo>
                    <a:lnTo>
                      <a:pt x="97" y="246"/>
                    </a:lnTo>
                    <a:lnTo>
                      <a:pt x="95" y="246"/>
                    </a:lnTo>
                    <a:lnTo>
                      <a:pt x="95" y="246"/>
                    </a:lnTo>
                    <a:lnTo>
                      <a:pt x="95" y="248"/>
                    </a:lnTo>
                    <a:lnTo>
                      <a:pt x="97" y="248"/>
                    </a:lnTo>
                    <a:lnTo>
                      <a:pt x="97" y="251"/>
                    </a:lnTo>
                    <a:lnTo>
                      <a:pt x="97" y="253"/>
                    </a:lnTo>
                    <a:lnTo>
                      <a:pt x="97" y="255"/>
                    </a:lnTo>
                    <a:lnTo>
                      <a:pt x="102" y="258"/>
                    </a:lnTo>
                    <a:lnTo>
                      <a:pt x="102" y="258"/>
                    </a:lnTo>
                    <a:lnTo>
                      <a:pt x="102" y="260"/>
                    </a:lnTo>
                    <a:lnTo>
                      <a:pt x="102" y="262"/>
                    </a:lnTo>
                    <a:lnTo>
                      <a:pt x="102" y="265"/>
                    </a:lnTo>
                    <a:lnTo>
                      <a:pt x="102" y="265"/>
                    </a:lnTo>
                    <a:lnTo>
                      <a:pt x="100" y="262"/>
                    </a:lnTo>
                    <a:lnTo>
                      <a:pt x="100" y="262"/>
                    </a:lnTo>
                    <a:lnTo>
                      <a:pt x="97" y="262"/>
                    </a:lnTo>
                    <a:lnTo>
                      <a:pt x="97" y="262"/>
                    </a:lnTo>
                    <a:lnTo>
                      <a:pt x="97" y="260"/>
                    </a:lnTo>
                    <a:lnTo>
                      <a:pt x="95" y="260"/>
                    </a:lnTo>
                    <a:lnTo>
                      <a:pt x="95" y="260"/>
                    </a:lnTo>
                    <a:lnTo>
                      <a:pt x="93" y="260"/>
                    </a:lnTo>
                    <a:lnTo>
                      <a:pt x="90" y="260"/>
                    </a:lnTo>
                    <a:lnTo>
                      <a:pt x="88" y="260"/>
                    </a:lnTo>
                    <a:lnTo>
                      <a:pt x="88" y="260"/>
                    </a:lnTo>
                    <a:lnTo>
                      <a:pt x="88" y="262"/>
                    </a:lnTo>
                    <a:lnTo>
                      <a:pt x="88" y="262"/>
                    </a:lnTo>
                    <a:lnTo>
                      <a:pt x="86" y="262"/>
                    </a:lnTo>
                    <a:lnTo>
                      <a:pt x="83" y="262"/>
                    </a:lnTo>
                    <a:lnTo>
                      <a:pt x="81" y="262"/>
                    </a:lnTo>
                    <a:lnTo>
                      <a:pt x="83" y="265"/>
                    </a:lnTo>
                    <a:lnTo>
                      <a:pt x="83" y="265"/>
                    </a:lnTo>
                    <a:lnTo>
                      <a:pt x="83" y="265"/>
                    </a:lnTo>
                    <a:lnTo>
                      <a:pt x="81" y="267"/>
                    </a:lnTo>
                    <a:lnTo>
                      <a:pt x="81" y="267"/>
                    </a:lnTo>
                    <a:lnTo>
                      <a:pt x="78" y="269"/>
                    </a:lnTo>
                    <a:lnTo>
                      <a:pt x="78" y="269"/>
                    </a:lnTo>
                    <a:lnTo>
                      <a:pt x="76" y="269"/>
                    </a:lnTo>
                    <a:lnTo>
                      <a:pt x="74" y="269"/>
                    </a:lnTo>
                    <a:lnTo>
                      <a:pt x="74" y="272"/>
                    </a:lnTo>
                    <a:lnTo>
                      <a:pt x="71" y="272"/>
                    </a:lnTo>
                    <a:lnTo>
                      <a:pt x="71" y="272"/>
                    </a:lnTo>
                    <a:lnTo>
                      <a:pt x="74" y="274"/>
                    </a:lnTo>
                    <a:lnTo>
                      <a:pt x="76" y="274"/>
                    </a:lnTo>
                    <a:lnTo>
                      <a:pt x="76" y="277"/>
                    </a:lnTo>
                    <a:lnTo>
                      <a:pt x="76" y="277"/>
                    </a:lnTo>
                    <a:lnTo>
                      <a:pt x="78" y="277"/>
                    </a:lnTo>
                    <a:lnTo>
                      <a:pt x="78" y="277"/>
                    </a:lnTo>
                    <a:lnTo>
                      <a:pt x="81" y="279"/>
                    </a:lnTo>
                    <a:lnTo>
                      <a:pt x="83" y="279"/>
                    </a:lnTo>
                    <a:lnTo>
                      <a:pt x="83" y="279"/>
                    </a:lnTo>
                    <a:lnTo>
                      <a:pt x="86" y="281"/>
                    </a:lnTo>
                    <a:lnTo>
                      <a:pt x="86" y="281"/>
                    </a:lnTo>
                    <a:lnTo>
                      <a:pt x="86" y="284"/>
                    </a:lnTo>
                    <a:lnTo>
                      <a:pt x="83" y="284"/>
                    </a:lnTo>
                    <a:lnTo>
                      <a:pt x="81" y="284"/>
                    </a:lnTo>
                    <a:lnTo>
                      <a:pt x="81" y="288"/>
                    </a:lnTo>
                    <a:lnTo>
                      <a:pt x="81" y="298"/>
                    </a:lnTo>
                    <a:lnTo>
                      <a:pt x="81" y="305"/>
                    </a:lnTo>
                    <a:lnTo>
                      <a:pt x="83" y="307"/>
                    </a:lnTo>
                    <a:lnTo>
                      <a:pt x="81" y="310"/>
                    </a:lnTo>
                    <a:lnTo>
                      <a:pt x="83" y="310"/>
                    </a:lnTo>
                    <a:lnTo>
                      <a:pt x="88" y="310"/>
                    </a:lnTo>
                    <a:lnTo>
                      <a:pt x="88" y="307"/>
                    </a:lnTo>
                    <a:lnTo>
                      <a:pt x="90" y="305"/>
                    </a:lnTo>
                    <a:lnTo>
                      <a:pt x="93" y="303"/>
                    </a:lnTo>
                    <a:lnTo>
                      <a:pt x="93" y="300"/>
                    </a:lnTo>
                    <a:lnTo>
                      <a:pt x="104" y="293"/>
                    </a:lnTo>
                    <a:lnTo>
                      <a:pt x="107" y="293"/>
                    </a:lnTo>
                    <a:lnTo>
                      <a:pt x="107" y="291"/>
                    </a:lnTo>
                    <a:lnTo>
                      <a:pt x="104" y="288"/>
                    </a:lnTo>
                    <a:lnTo>
                      <a:pt x="104" y="288"/>
                    </a:lnTo>
                    <a:lnTo>
                      <a:pt x="97" y="281"/>
                    </a:lnTo>
                    <a:lnTo>
                      <a:pt x="100" y="281"/>
                    </a:lnTo>
                    <a:lnTo>
                      <a:pt x="107" y="288"/>
                    </a:lnTo>
                    <a:lnTo>
                      <a:pt x="109" y="291"/>
                    </a:lnTo>
                    <a:lnTo>
                      <a:pt x="112" y="291"/>
                    </a:lnTo>
                    <a:lnTo>
                      <a:pt x="112" y="288"/>
                    </a:lnTo>
                    <a:lnTo>
                      <a:pt x="112" y="288"/>
                    </a:lnTo>
                    <a:lnTo>
                      <a:pt x="112" y="286"/>
                    </a:lnTo>
                    <a:lnTo>
                      <a:pt x="112" y="284"/>
                    </a:lnTo>
                    <a:lnTo>
                      <a:pt x="104" y="277"/>
                    </a:lnTo>
                    <a:lnTo>
                      <a:pt x="104" y="277"/>
                    </a:lnTo>
                    <a:lnTo>
                      <a:pt x="109" y="281"/>
                    </a:lnTo>
                    <a:lnTo>
                      <a:pt x="112" y="284"/>
                    </a:lnTo>
                    <a:lnTo>
                      <a:pt x="112" y="284"/>
                    </a:lnTo>
                    <a:lnTo>
                      <a:pt x="114" y="284"/>
                    </a:lnTo>
                    <a:lnTo>
                      <a:pt x="114" y="281"/>
                    </a:lnTo>
                    <a:lnTo>
                      <a:pt x="114" y="281"/>
                    </a:lnTo>
                    <a:lnTo>
                      <a:pt x="114" y="279"/>
                    </a:lnTo>
                    <a:lnTo>
                      <a:pt x="116" y="279"/>
                    </a:lnTo>
                    <a:lnTo>
                      <a:pt x="116" y="277"/>
                    </a:lnTo>
                    <a:lnTo>
                      <a:pt x="114" y="277"/>
                    </a:lnTo>
                    <a:lnTo>
                      <a:pt x="112" y="277"/>
                    </a:lnTo>
                    <a:lnTo>
                      <a:pt x="109" y="274"/>
                    </a:lnTo>
                    <a:lnTo>
                      <a:pt x="109" y="274"/>
                    </a:lnTo>
                    <a:lnTo>
                      <a:pt x="114" y="274"/>
                    </a:lnTo>
                    <a:lnTo>
                      <a:pt x="114" y="274"/>
                    </a:lnTo>
                    <a:lnTo>
                      <a:pt x="116" y="274"/>
                    </a:lnTo>
                    <a:lnTo>
                      <a:pt x="116" y="272"/>
                    </a:lnTo>
                    <a:lnTo>
                      <a:pt x="114" y="272"/>
                    </a:lnTo>
                    <a:lnTo>
                      <a:pt x="114" y="272"/>
                    </a:lnTo>
                    <a:lnTo>
                      <a:pt x="112" y="272"/>
                    </a:lnTo>
                    <a:lnTo>
                      <a:pt x="112" y="272"/>
                    </a:lnTo>
                    <a:lnTo>
                      <a:pt x="114" y="269"/>
                    </a:lnTo>
                    <a:lnTo>
                      <a:pt x="116" y="272"/>
                    </a:lnTo>
                    <a:lnTo>
                      <a:pt x="119" y="272"/>
                    </a:lnTo>
                    <a:lnTo>
                      <a:pt x="119" y="272"/>
                    </a:lnTo>
                    <a:lnTo>
                      <a:pt x="119" y="272"/>
                    </a:lnTo>
                    <a:lnTo>
                      <a:pt x="119" y="267"/>
                    </a:lnTo>
                    <a:lnTo>
                      <a:pt x="119" y="267"/>
                    </a:lnTo>
                    <a:lnTo>
                      <a:pt x="119" y="267"/>
                    </a:lnTo>
                    <a:lnTo>
                      <a:pt x="119" y="269"/>
                    </a:lnTo>
                    <a:lnTo>
                      <a:pt x="121" y="269"/>
                    </a:lnTo>
                    <a:lnTo>
                      <a:pt x="123" y="272"/>
                    </a:lnTo>
                    <a:lnTo>
                      <a:pt x="123" y="272"/>
                    </a:lnTo>
                    <a:lnTo>
                      <a:pt x="123" y="272"/>
                    </a:lnTo>
                    <a:lnTo>
                      <a:pt x="126" y="272"/>
                    </a:lnTo>
                    <a:lnTo>
                      <a:pt x="128" y="269"/>
                    </a:lnTo>
                    <a:lnTo>
                      <a:pt x="131" y="269"/>
                    </a:lnTo>
                    <a:lnTo>
                      <a:pt x="135" y="265"/>
                    </a:lnTo>
                    <a:lnTo>
                      <a:pt x="138" y="265"/>
                    </a:lnTo>
                    <a:lnTo>
                      <a:pt x="140" y="262"/>
                    </a:lnTo>
                    <a:lnTo>
                      <a:pt x="140" y="262"/>
                    </a:lnTo>
                    <a:lnTo>
                      <a:pt x="142" y="260"/>
                    </a:lnTo>
                    <a:lnTo>
                      <a:pt x="145" y="258"/>
                    </a:lnTo>
                    <a:lnTo>
                      <a:pt x="147" y="255"/>
                    </a:lnTo>
                    <a:lnTo>
                      <a:pt x="149" y="255"/>
                    </a:lnTo>
                    <a:lnTo>
                      <a:pt x="152" y="253"/>
                    </a:lnTo>
                    <a:lnTo>
                      <a:pt x="154" y="253"/>
                    </a:lnTo>
                    <a:lnTo>
                      <a:pt x="154" y="251"/>
                    </a:lnTo>
                    <a:lnTo>
                      <a:pt x="154" y="248"/>
                    </a:lnTo>
                    <a:lnTo>
                      <a:pt x="157" y="246"/>
                    </a:lnTo>
                    <a:lnTo>
                      <a:pt x="157" y="246"/>
                    </a:lnTo>
                    <a:lnTo>
                      <a:pt x="159" y="243"/>
                    </a:lnTo>
                    <a:lnTo>
                      <a:pt x="159" y="243"/>
                    </a:lnTo>
                    <a:lnTo>
                      <a:pt x="157" y="241"/>
                    </a:lnTo>
                    <a:lnTo>
                      <a:pt x="157" y="241"/>
                    </a:lnTo>
                    <a:lnTo>
                      <a:pt x="157" y="239"/>
                    </a:lnTo>
                    <a:lnTo>
                      <a:pt x="157" y="239"/>
                    </a:lnTo>
                    <a:lnTo>
                      <a:pt x="159" y="239"/>
                    </a:lnTo>
                    <a:lnTo>
                      <a:pt x="159" y="239"/>
                    </a:lnTo>
                    <a:lnTo>
                      <a:pt x="159" y="241"/>
                    </a:lnTo>
                    <a:lnTo>
                      <a:pt x="159" y="239"/>
                    </a:lnTo>
                    <a:lnTo>
                      <a:pt x="159" y="239"/>
                    </a:lnTo>
                    <a:lnTo>
                      <a:pt x="157" y="236"/>
                    </a:lnTo>
                    <a:lnTo>
                      <a:pt x="157" y="229"/>
                    </a:lnTo>
                    <a:lnTo>
                      <a:pt x="159" y="229"/>
                    </a:lnTo>
                    <a:lnTo>
                      <a:pt x="157" y="224"/>
                    </a:lnTo>
                    <a:lnTo>
                      <a:pt x="157" y="224"/>
                    </a:lnTo>
                    <a:lnTo>
                      <a:pt x="159" y="222"/>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8" name="Freeform 10"/>
              <p:cNvSpPr>
                <a:spLocks noEditPoints="1"/>
              </p:cNvSpPr>
              <p:nvPr/>
            </p:nvSpPr>
            <p:spPr bwMode="auto">
              <a:xfrm>
                <a:off x="1386" y="2542"/>
                <a:ext cx="251" cy="244"/>
              </a:xfrm>
              <a:custGeom>
                <a:avLst/>
                <a:gdLst>
                  <a:gd name="T0" fmla="*/ 232 w 251"/>
                  <a:gd name="T1" fmla="*/ 69 h 244"/>
                  <a:gd name="T2" fmla="*/ 234 w 251"/>
                  <a:gd name="T3" fmla="*/ 64 h 244"/>
                  <a:gd name="T4" fmla="*/ 151 w 251"/>
                  <a:gd name="T5" fmla="*/ 26 h 244"/>
                  <a:gd name="T6" fmla="*/ 175 w 251"/>
                  <a:gd name="T7" fmla="*/ 28 h 244"/>
                  <a:gd name="T8" fmla="*/ 173 w 251"/>
                  <a:gd name="T9" fmla="*/ 24 h 244"/>
                  <a:gd name="T10" fmla="*/ 244 w 251"/>
                  <a:gd name="T11" fmla="*/ 76 h 244"/>
                  <a:gd name="T12" fmla="*/ 220 w 251"/>
                  <a:gd name="T13" fmla="*/ 78 h 244"/>
                  <a:gd name="T14" fmla="*/ 230 w 251"/>
                  <a:gd name="T15" fmla="*/ 66 h 244"/>
                  <a:gd name="T16" fmla="*/ 220 w 251"/>
                  <a:gd name="T17" fmla="*/ 50 h 244"/>
                  <a:gd name="T18" fmla="*/ 215 w 251"/>
                  <a:gd name="T19" fmla="*/ 52 h 244"/>
                  <a:gd name="T20" fmla="*/ 208 w 251"/>
                  <a:gd name="T21" fmla="*/ 50 h 244"/>
                  <a:gd name="T22" fmla="*/ 204 w 251"/>
                  <a:gd name="T23" fmla="*/ 43 h 244"/>
                  <a:gd name="T24" fmla="*/ 199 w 251"/>
                  <a:gd name="T25" fmla="*/ 40 h 244"/>
                  <a:gd name="T26" fmla="*/ 208 w 251"/>
                  <a:gd name="T27" fmla="*/ 33 h 244"/>
                  <a:gd name="T28" fmla="*/ 185 w 251"/>
                  <a:gd name="T29" fmla="*/ 33 h 244"/>
                  <a:gd name="T30" fmla="*/ 177 w 251"/>
                  <a:gd name="T31" fmla="*/ 38 h 244"/>
                  <a:gd name="T32" fmla="*/ 140 w 251"/>
                  <a:gd name="T33" fmla="*/ 40 h 244"/>
                  <a:gd name="T34" fmla="*/ 99 w 251"/>
                  <a:gd name="T35" fmla="*/ 35 h 244"/>
                  <a:gd name="T36" fmla="*/ 88 w 251"/>
                  <a:gd name="T37" fmla="*/ 17 h 244"/>
                  <a:gd name="T38" fmla="*/ 69 w 251"/>
                  <a:gd name="T39" fmla="*/ 5 h 244"/>
                  <a:gd name="T40" fmla="*/ 62 w 251"/>
                  <a:gd name="T41" fmla="*/ 12 h 244"/>
                  <a:gd name="T42" fmla="*/ 62 w 251"/>
                  <a:gd name="T43" fmla="*/ 17 h 244"/>
                  <a:gd name="T44" fmla="*/ 36 w 251"/>
                  <a:gd name="T45" fmla="*/ 35 h 244"/>
                  <a:gd name="T46" fmla="*/ 40 w 251"/>
                  <a:gd name="T47" fmla="*/ 64 h 244"/>
                  <a:gd name="T48" fmla="*/ 28 w 251"/>
                  <a:gd name="T49" fmla="*/ 59 h 244"/>
                  <a:gd name="T50" fmla="*/ 36 w 251"/>
                  <a:gd name="T51" fmla="*/ 33 h 244"/>
                  <a:gd name="T52" fmla="*/ 28 w 251"/>
                  <a:gd name="T53" fmla="*/ 17 h 244"/>
                  <a:gd name="T54" fmla="*/ 40 w 251"/>
                  <a:gd name="T55" fmla="*/ 7 h 244"/>
                  <a:gd name="T56" fmla="*/ 14 w 251"/>
                  <a:gd name="T57" fmla="*/ 28 h 244"/>
                  <a:gd name="T58" fmla="*/ 0 w 251"/>
                  <a:gd name="T59" fmla="*/ 61 h 244"/>
                  <a:gd name="T60" fmla="*/ 7 w 251"/>
                  <a:gd name="T61" fmla="*/ 66 h 244"/>
                  <a:gd name="T62" fmla="*/ 17 w 251"/>
                  <a:gd name="T63" fmla="*/ 88 h 244"/>
                  <a:gd name="T64" fmla="*/ 17 w 251"/>
                  <a:gd name="T65" fmla="*/ 102 h 244"/>
                  <a:gd name="T66" fmla="*/ 38 w 251"/>
                  <a:gd name="T67" fmla="*/ 111 h 244"/>
                  <a:gd name="T68" fmla="*/ 54 w 251"/>
                  <a:gd name="T69" fmla="*/ 111 h 244"/>
                  <a:gd name="T70" fmla="*/ 71 w 251"/>
                  <a:gd name="T71" fmla="*/ 128 h 244"/>
                  <a:gd name="T72" fmla="*/ 97 w 251"/>
                  <a:gd name="T73" fmla="*/ 125 h 244"/>
                  <a:gd name="T74" fmla="*/ 102 w 251"/>
                  <a:gd name="T75" fmla="*/ 137 h 244"/>
                  <a:gd name="T76" fmla="*/ 99 w 251"/>
                  <a:gd name="T77" fmla="*/ 163 h 244"/>
                  <a:gd name="T78" fmla="*/ 107 w 251"/>
                  <a:gd name="T79" fmla="*/ 185 h 244"/>
                  <a:gd name="T80" fmla="*/ 99 w 251"/>
                  <a:gd name="T81" fmla="*/ 199 h 244"/>
                  <a:gd name="T82" fmla="*/ 109 w 251"/>
                  <a:gd name="T83" fmla="*/ 206 h 244"/>
                  <a:gd name="T84" fmla="*/ 111 w 251"/>
                  <a:gd name="T85" fmla="*/ 220 h 244"/>
                  <a:gd name="T86" fmla="*/ 123 w 251"/>
                  <a:gd name="T87" fmla="*/ 241 h 244"/>
                  <a:gd name="T88" fmla="*/ 137 w 251"/>
                  <a:gd name="T89" fmla="*/ 237 h 244"/>
                  <a:gd name="T90" fmla="*/ 144 w 251"/>
                  <a:gd name="T91" fmla="*/ 239 h 244"/>
                  <a:gd name="T92" fmla="*/ 159 w 251"/>
                  <a:gd name="T93" fmla="*/ 227 h 244"/>
                  <a:gd name="T94" fmla="*/ 168 w 251"/>
                  <a:gd name="T95" fmla="*/ 218 h 244"/>
                  <a:gd name="T96" fmla="*/ 180 w 251"/>
                  <a:gd name="T97" fmla="*/ 206 h 244"/>
                  <a:gd name="T98" fmla="*/ 168 w 251"/>
                  <a:gd name="T99" fmla="*/ 199 h 244"/>
                  <a:gd name="T100" fmla="*/ 156 w 251"/>
                  <a:gd name="T101" fmla="*/ 173 h 244"/>
                  <a:gd name="T102" fmla="*/ 166 w 251"/>
                  <a:gd name="T103" fmla="*/ 170 h 244"/>
                  <a:gd name="T104" fmla="*/ 177 w 251"/>
                  <a:gd name="T105" fmla="*/ 175 h 244"/>
                  <a:gd name="T106" fmla="*/ 194 w 251"/>
                  <a:gd name="T107" fmla="*/ 175 h 244"/>
                  <a:gd name="T108" fmla="*/ 211 w 251"/>
                  <a:gd name="T109" fmla="*/ 170 h 244"/>
                  <a:gd name="T110" fmla="*/ 227 w 251"/>
                  <a:gd name="T111" fmla="*/ 161 h 244"/>
                  <a:gd name="T112" fmla="*/ 232 w 251"/>
                  <a:gd name="T113" fmla="*/ 149 h 244"/>
                  <a:gd name="T114" fmla="*/ 225 w 251"/>
                  <a:gd name="T115" fmla="*/ 128 h 244"/>
                  <a:gd name="T116" fmla="*/ 227 w 251"/>
                  <a:gd name="T117" fmla="*/ 116 h 244"/>
                  <a:gd name="T118" fmla="*/ 239 w 251"/>
                  <a:gd name="T119" fmla="*/ 111 h 244"/>
                  <a:gd name="T120" fmla="*/ 234 w 251"/>
                  <a:gd name="T121" fmla="*/ 104 h 244"/>
                  <a:gd name="T122" fmla="*/ 239 w 251"/>
                  <a:gd name="T123" fmla="*/ 92 h 244"/>
                  <a:gd name="T124" fmla="*/ 251 w 251"/>
                  <a:gd name="T125" fmla="*/ 83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1" h="244">
                    <a:moveTo>
                      <a:pt x="232" y="66"/>
                    </a:moveTo>
                    <a:lnTo>
                      <a:pt x="230" y="66"/>
                    </a:lnTo>
                    <a:lnTo>
                      <a:pt x="227" y="69"/>
                    </a:lnTo>
                    <a:lnTo>
                      <a:pt x="227" y="69"/>
                    </a:lnTo>
                    <a:lnTo>
                      <a:pt x="227" y="71"/>
                    </a:lnTo>
                    <a:lnTo>
                      <a:pt x="230" y="71"/>
                    </a:lnTo>
                    <a:lnTo>
                      <a:pt x="230" y="71"/>
                    </a:lnTo>
                    <a:lnTo>
                      <a:pt x="232" y="69"/>
                    </a:lnTo>
                    <a:lnTo>
                      <a:pt x="232" y="69"/>
                    </a:lnTo>
                    <a:lnTo>
                      <a:pt x="232" y="66"/>
                    </a:lnTo>
                    <a:lnTo>
                      <a:pt x="232" y="66"/>
                    </a:lnTo>
                    <a:lnTo>
                      <a:pt x="232" y="66"/>
                    </a:lnTo>
                    <a:close/>
                    <a:moveTo>
                      <a:pt x="232" y="64"/>
                    </a:moveTo>
                    <a:lnTo>
                      <a:pt x="232" y="64"/>
                    </a:lnTo>
                    <a:lnTo>
                      <a:pt x="230" y="64"/>
                    </a:lnTo>
                    <a:lnTo>
                      <a:pt x="230" y="66"/>
                    </a:lnTo>
                    <a:lnTo>
                      <a:pt x="232" y="64"/>
                    </a:lnTo>
                    <a:lnTo>
                      <a:pt x="234" y="64"/>
                    </a:lnTo>
                    <a:lnTo>
                      <a:pt x="234" y="64"/>
                    </a:lnTo>
                    <a:lnTo>
                      <a:pt x="234" y="64"/>
                    </a:lnTo>
                    <a:lnTo>
                      <a:pt x="234" y="64"/>
                    </a:lnTo>
                    <a:lnTo>
                      <a:pt x="232" y="64"/>
                    </a:lnTo>
                    <a:lnTo>
                      <a:pt x="232" y="64"/>
                    </a:lnTo>
                    <a:close/>
                    <a:moveTo>
                      <a:pt x="151" y="28"/>
                    </a:moveTo>
                    <a:lnTo>
                      <a:pt x="154" y="28"/>
                    </a:lnTo>
                    <a:lnTo>
                      <a:pt x="154" y="26"/>
                    </a:lnTo>
                    <a:lnTo>
                      <a:pt x="151" y="26"/>
                    </a:lnTo>
                    <a:lnTo>
                      <a:pt x="149" y="26"/>
                    </a:lnTo>
                    <a:lnTo>
                      <a:pt x="149" y="26"/>
                    </a:lnTo>
                    <a:lnTo>
                      <a:pt x="151" y="28"/>
                    </a:lnTo>
                    <a:lnTo>
                      <a:pt x="151" y="28"/>
                    </a:lnTo>
                    <a:close/>
                    <a:moveTo>
                      <a:pt x="173" y="26"/>
                    </a:moveTo>
                    <a:lnTo>
                      <a:pt x="173" y="26"/>
                    </a:lnTo>
                    <a:lnTo>
                      <a:pt x="173" y="28"/>
                    </a:lnTo>
                    <a:lnTo>
                      <a:pt x="175" y="28"/>
                    </a:lnTo>
                    <a:lnTo>
                      <a:pt x="175" y="28"/>
                    </a:lnTo>
                    <a:lnTo>
                      <a:pt x="177" y="28"/>
                    </a:lnTo>
                    <a:lnTo>
                      <a:pt x="180" y="26"/>
                    </a:lnTo>
                    <a:lnTo>
                      <a:pt x="180" y="26"/>
                    </a:lnTo>
                    <a:lnTo>
                      <a:pt x="180" y="24"/>
                    </a:lnTo>
                    <a:lnTo>
                      <a:pt x="177" y="21"/>
                    </a:lnTo>
                    <a:lnTo>
                      <a:pt x="175" y="24"/>
                    </a:lnTo>
                    <a:lnTo>
                      <a:pt x="175" y="26"/>
                    </a:lnTo>
                    <a:lnTo>
                      <a:pt x="173" y="26"/>
                    </a:lnTo>
                    <a:lnTo>
                      <a:pt x="173" y="24"/>
                    </a:lnTo>
                    <a:lnTo>
                      <a:pt x="173" y="24"/>
                    </a:lnTo>
                    <a:lnTo>
                      <a:pt x="170" y="24"/>
                    </a:lnTo>
                    <a:lnTo>
                      <a:pt x="170" y="24"/>
                    </a:lnTo>
                    <a:lnTo>
                      <a:pt x="168" y="26"/>
                    </a:lnTo>
                    <a:lnTo>
                      <a:pt x="168" y="26"/>
                    </a:lnTo>
                    <a:lnTo>
                      <a:pt x="173" y="26"/>
                    </a:lnTo>
                    <a:close/>
                    <a:moveTo>
                      <a:pt x="251" y="83"/>
                    </a:moveTo>
                    <a:lnTo>
                      <a:pt x="246" y="78"/>
                    </a:lnTo>
                    <a:lnTo>
                      <a:pt x="244" y="76"/>
                    </a:lnTo>
                    <a:lnTo>
                      <a:pt x="241" y="76"/>
                    </a:lnTo>
                    <a:lnTo>
                      <a:pt x="239" y="76"/>
                    </a:lnTo>
                    <a:lnTo>
                      <a:pt x="239" y="78"/>
                    </a:lnTo>
                    <a:lnTo>
                      <a:pt x="232" y="76"/>
                    </a:lnTo>
                    <a:lnTo>
                      <a:pt x="232" y="76"/>
                    </a:lnTo>
                    <a:lnTo>
                      <a:pt x="227" y="78"/>
                    </a:lnTo>
                    <a:lnTo>
                      <a:pt x="225" y="78"/>
                    </a:lnTo>
                    <a:lnTo>
                      <a:pt x="222" y="80"/>
                    </a:lnTo>
                    <a:lnTo>
                      <a:pt x="220" y="78"/>
                    </a:lnTo>
                    <a:lnTo>
                      <a:pt x="220" y="78"/>
                    </a:lnTo>
                    <a:lnTo>
                      <a:pt x="218" y="76"/>
                    </a:lnTo>
                    <a:lnTo>
                      <a:pt x="225" y="76"/>
                    </a:lnTo>
                    <a:lnTo>
                      <a:pt x="225" y="73"/>
                    </a:lnTo>
                    <a:lnTo>
                      <a:pt x="227" y="71"/>
                    </a:lnTo>
                    <a:lnTo>
                      <a:pt x="227" y="69"/>
                    </a:lnTo>
                    <a:lnTo>
                      <a:pt x="227" y="69"/>
                    </a:lnTo>
                    <a:lnTo>
                      <a:pt x="227" y="66"/>
                    </a:lnTo>
                    <a:lnTo>
                      <a:pt x="230" y="66"/>
                    </a:lnTo>
                    <a:lnTo>
                      <a:pt x="230" y="64"/>
                    </a:lnTo>
                    <a:lnTo>
                      <a:pt x="230" y="64"/>
                    </a:lnTo>
                    <a:lnTo>
                      <a:pt x="232" y="61"/>
                    </a:lnTo>
                    <a:lnTo>
                      <a:pt x="234" y="59"/>
                    </a:lnTo>
                    <a:lnTo>
                      <a:pt x="232" y="59"/>
                    </a:lnTo>
                    <a:lnTo>
                      <a:pt x="230" y="57"/>
                    </a:lnTo>
                    <a:lnTo>
                      <a:pt x="225" y="54"/>
                    </a:lnTo>
                    <a:lnTo>
                      <a:pt x="225" y="54"/>
                    </a:lnTo>
                    <a:lnTo>
                      <a:pt x="220" y="50"/>
                    </a:lnTo>
                    <a:lnTo>
                      <a:pt x="220" y="50"/>
                    </a:lnTo>
                    <a:lnTo>
                      <a:pt x="218" y="50"/>
                    </a:lnTo>
                    <a:lnTo>
                      <a:pt x="215" y="50"/>
                    </a:lnTo>
                    <a:lnTo>
                      <a:pt x="215" y="52"/>
                    </a:lnTo>
                    <a:lnTo>
                      <a:pt x="215" y="52"/>
                    </a:lnTo>
                    <a:lnTo>
                      <a:pt x="215" y="54"/>
                    </a:lnTo>
                    <a:lnTo>
                      <a:pt x="215" y="54"/>
                    </a:lnTo>
                    <a:lnTo>
                      <a:pt x="215" y="52"/>
                    </a:lnTo>
                    <a:lnTo>
                      <a:pt x="215" y="52"/>
                    </a:lnTo>
                    <a:lnTo>
                      <a:pt x="215" y="52"/>
                    </a:lnTo>
                    <a:lnTo>
                      <a:pt x="213" y="50"/>
                    </a:lnTo>
                    <a:lnTo>
                      <a:pt x="211" y="47"/>
                    </a:lnTo>
                    <a:lnTo>
                      <a:pt x="211" y="47"/>
                    </a:lnTo>
                    <a:lnTo>
                      <a:pt x="211" y="47"/>
                    </a:lnTo>
                    <a:lnTo>
                      <a:pt x="208" y="47"/>
                    </a:lnTo>
                    <a:lnTo>
                      <a:pt x="208" y="47"/>
                    </a:lnTo>
                    <a:lnTo>
                      <a:pt x="208" y="50"/>
                    </a:lnTo>
                    <a:lnTo>
                      <a:pt x="208" y="50"/>
                    </a:lnTo>
                    <a:lnTo>
                      <a:pt x="208" y="50"/>
                    </a:lnTo>
                    <a:lnTo>
                      <a:pt x="208" y="50"/>
                    </a:lnTo>
                    <a:lnTo>
                      <a:pt x="208" y="50"/>
                    </a:lnTo>
                    <a:lnTo>
                      <a:pt x="206" y="50"/>
                    </a:lnTo>
                    <a:lnTo>
                      <a:pt x="206" y="52"/>
                    </a:lnTo>
                    <a:lnTo>
                      <a:pt x="206" y="52"/>
                    </a:lnTo>
                    <a:lnTo>
                      <a:pt x="206" y="52"/>
                    </a:lnTo>
                    <a:lnTo>
                      <a:pt x="204" y="47"/>
                    </a:lnTo>
                    <a:lnTo>
                      <a:pt x="204" y="43"/>
                    </a:lnTo>
                    <a:lnTo>
                      <a:pt x="201" y="43"/>
                    </a:lnTo>
                    <a:lnTo>
                      <a:pt x="201" y="43"/>
                    </a:lnTo>
                    <a:lnTo>
                      <a:pt x="201" y="43"/>
                    </a:lnTo>
                    <a:lnTo>
                      <a:pt x="201" y="45"/>
                    </a:lnTo>
                    <a:lnTo>
                      <a:pt x="199" y="45"/>
                    </a:lnTo>
                    <a:lnTo>
                      <a:pt x="199" y="45"/>
                    </a:lnTo>
                    <a:lnTo>
                      <a:pt x="199" y="45"/>
                    </a:lnTo>
                    <a:lnTo>
                      <a:pt x="199" y="43"/>
                    </a:lnTo>
                    <a:lnTo>
                      <a:pt x="199" y="40"/>
                    </a:lnTo>
                    <a:lnTo>
                      <a:pt x="199" y="40"/>
                    </a:lnTo>
                    <a:lnTo>
                      <a:pt x="199" y="38"/>
                    </a:lnTo>
                    <a:lnTo>
                      <a:pt x="196" y="38"/>
                    </a:lnTo>
                    <a:lnTo>
                      <a:pt x="196" y="38"/>
                    </a:lnTo>
                    <a:lnTo>
                      <a:pt x="196" y="35"/>
                    </a:lnTo>
                    <a:lnTo>
                      <a:pt x="196" y="35"/>
                    </a:lnTo>
                    <a:lnTo>
                      <a:pt x="199" y="35"/>
                    </a:lnTo>
                    <a:lnTo>
                      <a:pt x="206" y="35"/>
                    </a:lnTo>
                    <a:lnTo>
                      <a:pt x="208" y="33"/>
                    </a:lnTo>
                    <a:lnTo>
                      <a:pt x="211" y="33"/>
                    </a:lnTo>
                    <a:lnTo>
                      <a:pt x="213" y="33"/>
                    </a:lnTo>
                    <a:lnTo>
                      <a:pt x="215" y="31"/>
                    </a:lnTo>
                    <a:lnTo>
                      <a:pt x="208" y="33"/>
                    </a:lnTo>
                    <a:lnTo>
                      <a:pt x="199" y="31"/>
                    </a:lnTo>
                    <a:lnTo>
                      <a:pt x="194" y="31"/>
                    </a:lnTo>
                    <a:lnTo>
                      <a:pt x="194" y="31"/>
                    </a:lnTo>
                    <a:lnTo>
                      <a:pt x="189" y="31"/>
                    </a:lnTo>
                    <a:lnTo>
                      <a:pt x="185" y="33"/>
                    </a:lnTo>
                    <a:lnTo>
                      <a:pt x="177" y="33"/>
                    </a:lnTo>
                    <a:lnTo>
                      <a:pt x="173" y="33"/>
                    </a:lnTo>
                    <a:lnTo>
                      <a:pt x="170" y="33"/>
                    </a:lnTo>
                    <a:lnTo>
                      <a:pt x="170" y="35"/>
                    </a:lnTo>
                    <a:lnTo>
                      <a:pt x="173" y="35"/>
                    </a:lnTo>
                    <a:lnTo>
                      <a:pt x="177" y="35"/>
                    </a:lnTo>
                    <a:lnTo>
                      <a:pt x="180" y="35"/>
                    </a:lnTo>
                    <a:lnTo>
                      <a:pt x="180" y="38"/>
                    </a:lnTo>
                    <a:lnTo>
                      <a:pt x="177" y="38"/>
                    </a:lnTo>
                    <a:lnTo>
                      <a:pt x="173" y="38"/>
                    </a:lnTo>
                    <a:lnTo>
                      <a:pt x="159" y="45"/>
                    </a:lnTo>
                    <a:lnTo>
                      <a:pt x="156" y="45"/>
                    </a:lnTo>
                    <a:lnTo>
                      <a:pt x="156" y="45"/>
                    </a:lnTo>
                    <a:lnTo>
                      <a:pt x="154" y="45"/>
                    </a:lnTo>
                    <a:lnTo>
                      <a:pt x="149" y="45"/>
                    </a:lnTo>
                    <a:lnTo>
                      <a:pt x="147" y="43"/>
                    </a:lnTo>
                    <a:lnTo>
                      <a:pt x="144" y="43"/>
                    </a:lnTo>
                    <a:lnTo>
                      <a:pt x="140" y="40"/>
                    </a:lnTo>
                    <a:lnTo>
                      <a:pt x="137" y="38"/>
                    </a:lnTo>
                    <a:lnTo>
                      <a:pt x="137" y="35"/>
                    </a:lnTo>
                    <a:lnTo>
                      <a:pt x="137" y="35"/>
                    </a:lnTo>
                    <a:lnTo>
                      <a:pt x="133" y="33"/>
                    </a:lnTo>
                    <a:lnTo>
                      <a:pt x="121" y="33"/>
                    </a:lnTo>
                    <a:lnTo>
                      <a:pt x="116" y="35"/>
                    </a:lnTo>
                    <a:lnTo>
                      <a:pt x="109" y="35"/>
                    </a:lnTo>
                    <a:lnTo>
                      <a:pt x="104" y="38"/>
                    </a:lnTo>
                    <a:lnTo>
                      <a:pt x="99" y="35"/>
                    </a:lnTo>
                    <a:lnTo>
                      <a:pt x="97" y="35"/>
                    </a:lnTo>
                    <a:lnTo>
                      <a:pt x="95" y="33"/>
                    </a:lnTo>
                    <a:lnTo>
                      <a:pt x="95" y="31"/>
                    </a:lnTo>
                    <a:lnTo>
                      <a:pt x="97" y="28"/>
                    </a:lnTo>
                    <a:lnTo>
                      <a:pt x="95" y="26"/>
                    </a:lnTo>
                    <a:lnTo>
                      <a:pt x="95" y="24"/>
                    </a:lnTo>
                    <a:lnTo>
                      <a:pt x="95" y="21"/>
                    </a:lnTo>
                    <a:lnTo>
                      <a:pt x="90" y="19"/>
                    </a:lnTo>
                    <a:lnTo>
                      <a:pt x="88" y="17"/>
                    </a:lnTo>
                    <a:lnTo>
                      <a:pt x="83" y="17"/>
                    </a:lnTo>
                    <a:lnTo>
                      <a:pt x="81" y="14"/>
                    </a:lnTo>
                    <a:lnTo>
                      <a:pt x="73" y="14"/>
                    </a:lnTo>
                    <a:lnTo>
                      <a:pt x="73" y="14"/>
                    </a:lnTo>
                    <a:lnTo>
                      <a:pt x="71" y="17"/>
                    </a:lnTo>
                    <a:lnTo>
                      <a:pt x="71" y="14"/>
                    </a:lnTo>
                    <a:lnTo>
                      <a:pt x="69" y="12"/>
                    </a:lnTo>
                    <a:lnTo>
                      <a:pt x="69" y="7"/>
                    </a:lnTo>
                    <a:lnTo>
                      <a:pt x="69" y="5"/>
                    </a:lnTo>
                    <a:lnTo>
                      <a:pt x="69" y="2"/>
                    </a:lnTo>
                    <a:lnTo>
                      <a:pt x="69" y="2"/>
                    </a:lnTo>
                    <a:lnTo>
                      <a:pt x="66" y="0"/>
                    </a:lnTo>
                    <a:lnTo>
                      <a:pt x="64" y="2"/>
                    </a:lnTo>
                    <a:lnTo>
                      <a:pt x="62" y="2"/>
                    </a:lnTo>
                    <a:lnTo>
                      <a:pt x="62" y="5"/>
                    </a:lnTo>
                    <a:lnTo>
                      <a:pt x="62" y="7"/>
                    </a:lnTo>
                    <a:lnTo>
                      <a:pt x="62" y="9"/>
                    </a:lnTo>
                    <a:lnTo>
                      <a:pt x="62" y="12"/>
                    </a:lnTo>
                    <a:lnTo>
                      <a:pt x="62" y="12"/>
                    </a:lnTo>
                    <a:lnTo>
                      <a:pt x="66" y="12"/>
                    </a:lnTo>
                    <a:lnTo>
                      <a:pt x="69" y="12"/>
                    </a:lnTo>
                    <a:lnTo>
                      <a:pt x="69" y="14"/>
                    </a:lnTo>
                    <a:lnTo>
                      <a:pt x="69" y="17"/>
                    </a:lnTo>
                    <a:lnTo>
                      <a:pt x="66" y="17"/>
                    </a:lnTo>
                    <a:lnTo>
                      <a:pt x="64" y="14"/>
                    </a:lnTo>
                    <a:lnTo>
                      <a:pt x="64" y="14"/>
                    </a:lnTo>
                    <a:lnTo>
                      <a:pt x="62" y="17"/>
                    </a:lnTo>
                    <a:lnTo>
                      <a:pt x="62" y="17"/>
                    </a:lnTo>
                    <a:lnTo>
                      <a:pt x="54" y="19"/>
                    </a:lnTo>
                    <a:lnTo>
                      <a:pt x="50" y="21"/>
                    </a:lnTo>
                    <a:lnTo>
                      <a:pt x="40" y="26"/>
                    </a:lnTo>
                    <a:lnTo>
                      <a:pt x="38" y="26"/>
                    </a:lnTo>
                    <a:lnTo>
                      <a:pt x="38" y="28"/>
                    </a:lnTo>
                    <a:lnTo>
                      <a:pt x="36" y="31"/>
                    </a:lnTo>
                    <a:lnTo>
                      <a:pt x="36" y="33"/>
                    </a:lnTo>
                    <a:lnTo>
                      <a:pt x="36" y="35"/>
                    </a:lnTo>
                    <a:lnTo>
                      <a:pt x="36" y="38"/>
                    </a:lnTo>
                    <a:lnTo>
                      <a:pt x="38" y="40"/>
                    </a:lnTo>
                    <a:lnTo>
                      <a:pt x="40" y="43"/>
                    </a:lnTo>
                    <a:lnTo>
                      <a:pt x="40" y="47"/>
                    </a:lnTo>
                    <a:lnTo>
                      <a:pt x="43" y="50"/>
                    </a:lnTo>
                    <a:lnTo>
                      <a:pt x="43" y="52"/>
                    </a:lnTo>
                    <a:lnTo>
                      <a:pt x="43" y="57"/>
                    </a:lnTo>
                    <a:lnTo>
                      <a:pt x="43" y="61"/>
                    </a:lnTo>
                    <a:lnTo>
                      <a:pt x="40" y="64"/>
                    </a:lnTo>
                    <a:lnTo>
                      <a:pt x="38" y="64"/>
                    </a:lnTo>
                    <a:lnTo>
                      <a:pt x="38" y="66"/>
                    </a:lnTo>
                    <a:lnTo>
                      <a:pt x="33" y="66"/>
                    </a:lnTo>
                    <a:lnTo>
                      <a:pt x="31" y="66"/>
                    </a:lnTo>
                    <a:lnTo>
                      <a:pt x="31" y="66"/>
                    </a:lnTo>
                    <a:lnTo>
                      <a:pt x="31" y="64"/>
                    </a:lnTo>
                    <a:lnTo>
                      <a:pt x="28" y="61"/>
                    </a:lnTo>
                    <a:lnTo>
                      <a:pt x="28" y="61"/>
                    </a:lnTo>
                    <a:lnTo>
                      <a:pt x="28" y="59"/>
                    </a:lnTo>
                    <a:lnTo>
                      <a:pt x="28" y="59"/>
                    </a:lnTo>
                    <a:lnTo>
                      <a:pt x="26" y="57"/>
                    </a:lnTo>
                    <a:lnTo>
                      <a:pt x="26" y="54"/>
                    </a:lnTo>
                    <a:lnTo>
                      <a:pt x="24" y="50"/>
                    </a:lnTo>
                    <a:lnTo>
                      <a:pt x="26" y="45"/>
                    </a:lnTo>
                    <a:lnTo>
                      <a:pt x="28" y="43"/>
                    </a:lnTo>
                    <a:lnTo>
                      <a:pt x="31" y="40"/>
                    </a:lnTo>
                    <a:lnTo>
                      <a:pt x="33" y="38"/>
                    </a:lnTo>
                    <a:lnTo>
                      <a:pt x="36" y="33"/>
                    </a:lnTo>
                    <a:lnTo>
                      <a:pt x="36" y="31"/>
                    </a:lnTo>
                    <a:lnTo>
                      <a:pt x="33" y="28"/>
                    </a:lnTo>
                    <a:lnTo>
                      <a:pt x="33" y="26"/>
                    </a:lnTo>
                    <a:lnTo>
                      <a:pt x="33" y="26"/>
                    </a:lnTo>
                    <a:lnTo>
                      <a:pt x="33" y="26"/>
                    </a:lnTo>
                    <a:lnTo>
                      <a:pt x="31" y="24"/>
                    </a:lnTo>
                    <a:lnTo>
                      <a:pt x="31" y="21"/>
                    </a:lnTo>
                    <a:lnTo>
                      <a:pt x="28" y="17"/>
                    </a:lnTo>
                    <a:lnTo>
                      <a:pt x="28" y="17"/>
                    </a:lnTo>
                    <a:lnTo>
                      <a:pt x="28" y="14"/>
                    </a:lnTo>
                    <a:lnTo>
                      <a:pt x="31" y="12"/>
                    </a:lnTo>
                    <a:lnTo>
                      <a:pt x="31" y="12"/>
                    </a:lnTo>
                    <a:lnTo>
                      <a:pt x="38" y="9"/>
                    </a:lnTo>
                    <a:lnTo>
                      <a:pt x="40" y="9"/>
                    </a:lnTo>
                    <a:lnTo>
                      <a:pt x="40" y="9"/>
                    </a:lnTo>
                    <a:lnTo>
                      <a:pt x="40" y="7"/>
                    </a:lnTo>
                    <a:lnTo>
                      <a:pt x="40" y="7"/>
                    </a:lnTo>
                    <a:lnTo>
                      <a:pt x="40" y="7"/>
                    </a:lnTo>
                    <a:lnTo>
                      <a:pt x="38" y="9"/>
                    </a:lnTo>
                    <a:lnTo>
                      <a:pt x="33" y="9"/>
                    </a:lnTo>
                    <a:lnTo>
                      <a:pt x="28" y="12"/>
                    </a:lnTo>
                    <a:lnTo>
                      <a:pt x="28" y="12"/>
                    </a:lnTo>
                    <a:lnTo>
                      <a:pt x="24" y="21"/>
                    </a:lnTo>
                    <a:lnTo>
                      <a:pt x="19" y="24"/>
                    </a:lnTo>
                    <a:lnTo>
                      <a:pt x="17" y="24"/>
                    </a:lnTo>
                    <a:lnTo>
                      <a:pt x="17" y="26"/>
                    </a:lnTo>
                    <a:lnTo>
                      <a:pt x="14" y="28"/>
                    </a:lnTo>
                    <a:lnTo>
                      <a:pt x="14" y="31"/>
                    </a:lnTo>
                    <a:lnTo>
                      <a:pt x="10" y="35"/>
                    </a:lnTo>
                    <a:lnTo>
                      <a:pt x="10" y="43"/>
                    </a:lnTo>
                    <a:lnTo>
                      <a:pt x="7" y="45"/>
                    </a:lnTo>
                    <a:lnTo>
                      <a:pt x="7" y="52"/>
                    </a:lnTo>
                    <a:lnTo>
                      <a:pt x="5" y="54"/>
                    </a:lnTo>
                    <a:lnTo>
                      <a:pt x="5" y="57"/>
                    </a:lnTo>
                    <a:lnTo>
                      <a:pt x="2" y="59"/>
                    </a:lnTo>
                    <a:lnTo>
                      <a:pt x="0" y="61"/>
                    </a:lnTo>
                    <a:lnTo>
                      <a:pt x="0" y="64"/>
                    </a:lnTo>
                    <a:lnTo>
                      <a:pt x="0" y="64"/>
                    </a:lnTo>
                    <a:lnTo>
                      <a:pt x="0" y="64"/>
                    </a:lnTo>
                    <a:lnTo>
                      <a:pt x="2" y="64"/>
                    </a:lnTo>
                    <a:lnTo>
                      <a:pt x="5" y="64"/>
                    </a:lnTo>
                    <a:lnTo>
                      <a:pt x="5" y="61"/>
                    </a:lnTo>
                    <a:lnTo>
                      <a:pt x="7" y="64"/>
                    </a:lnTo>
                    <a:lnTo>
                      <a:pt x="7" y="64"/>
                    </a:lnTo>
                    <a:lnTo>
                      <a:pt x="7" y="66"/>
                    </a:lnTo>
                    <a:lnTo>
                      <a:pt x="10" y="64"/>
                    </a:lnTo>
                    <a:lnTo>
                      <a:pt x="10" y="66"/>
                    </a:lnTo>
                    <a:lnTo>
                      <a:pt x="12" y="71"/>
                    </a:lnTo>
                    <a:lnTo>
                      <a:pt x="12" y="76"/>
                    </a:lnTo>
                    <a:lnTo>
                      <a:pt x="14" y="78"/>
                    </a:lnTo>
                    <a:lnTo>
                      <a:pt x="17" y="80"/>
                    </a:lnTo>
                    <a:lnTo>
                      <a:pt x="17" y="83"/>
                    </a:lnTo>
                    <a:lnTo>
                      <a:pt x="17" y="85"/>
                    </a:lnTo>
                    <a:lnTo>
                      <a:pt x="17" y="88"/>
                    </a:lnTo>
                    <a:lnTo>
                      <a:pt x="17" y="88"/>
                    </a:lnTo>
                    <a:lnTo>
                      <a:pt x="14" y="90"/>
                    </a:lnTo>
                    <a:lnTo>
                      <a:pt x="14" y="92"/>
                    </a:lnTo>
                    <a:lnTo>
                      <a:pt x="14" y="95"/>
                    </a:lnTo>
                    <a:lnTo>
                      <a:pt x="14" y="97"/>
                    </a:lnTo>
                    <a:lnTo>
                      <a:pt x="14" y="99"/>
                    </a:lnTo>
                    <a:lnTo>
                      <a:pt x="14" y="99"/>
                    </a:lnTo>
                    <a:lnTo>
                      <a:pt x="17" y="102"/>
                    </a:lnTo>
                    <a:lnTo>
                      <a:pt x="17" y="102"/>
                    </a:lnTo>
                    <a:lnTo>
                      <a:pt x="19" y="102"/>
                    </a:lnTo>
                    <a:lnTo>
                      <a:pt x="19" y="104"/>
                    </a:lnTo>
                    <a:lnTo>
                      <a:pt x="21" y="109"/>
                    </a:lnTo>
                    <a:lnTo>
                      <a:pt x="24" y="109"/>
                    </a:lnTo>
                    <a:lnTo>
                      <a:pt x="24" y="111"/>
                    </a:lnTo>
                    <a:lnTo>
                      <a:pt x="26" y="109"/>
                    </a:lnTo>
                    <a:lnTo>
                      <a:pt x="31" y="109"/>
                    </a:lnTo>
                    <a:lnTo>
                      <a:pt x="33" y="109"/>
                    </a:lnTo>
                    <a:lnTo>
                      <a:pt x="38" y="111"/>
                    </a:lnTo>
                    <a:lnTo>
                      <a:pt x="38" y="111"/>
                    </a:lnTo>
                    <a:lnTo>
                      <a:pt x="40" y="111"/>
                    </a:lnTo>
                    <a:lnTo>
                      <a:pt x="45" y="109"/>
                    </a:lnTo>
                    <a:lnTo>
                      <a:pt x="47" y="109"/>
                    </a:lnTo>
                    <a:lnTo>
                      <a:pt x="47" y="109"/>
                    </a:lnTo>
                    <a:lnTo>
                      <a:pt x="50" y="109"/>
                    </a:lnTo>
                    <a:lnTo>
                      <a:pt x="52" y="109"/>
                    </a:lnTo>
                    <a:lnTo>
                      <a:pt x="52" y="111"/>
                    </a:lnTo>
                    <a:lnTo>
                      <a:pt x="54" y="111"/>
                    </a:lnTo>
                    <a:lnTo>
                      <a:pt x="57" y="111"/>
                    </a:lnTo>
                    <a:lnTo>
                      <a:pt x="57" y="111"/>
                    </a:lnTo>
                    <a:lnTo>
                      <a:pt x="59" y="111"/>
                    </a:lnTo>
                    <a:lnTo>
                      <a:pt x="62" y="116"/>
                    </a:lnTo>
                    <a:lnTo>
                      <a:pt x="64" y="121"/>
                    </a:lnTo>
                    <a:lnTo>
                      <a:pt x="66" y="125"/>
                    </a:lnTo>
                    <a:lnTo>
                      <a:pt x="69" y="128"/>
                    </a:lnTo>
                    <a:lnTo>
                      <a:pt x="69" y="128"/>
                    </a:lnTo>
                    <a:lnTo>
                      <a:pt x="71" y="128"/>
                    </a:lnTo>
                    <a:lnTo>
                      <a:pt x="71" y="128"/>
                    </a:lnTo>
                    <a:lnTo>
                      <a:pt x="73" y="130"/>
                    </a:lnTo>
                    <a:lnTo>
                      <a:pt x="73" y="128"/>
                    </a:lnTo>
                    <a:lnTo>
                      <a:pt x="76" y="128"/>
                    </a:lnTo>
                    <a:lnTo>
                      <a:pt x="78" y="128"/>
                    </a:lnTo>
                    <a:lnTo>
                      <a:pt x="83" y="128"/>
                    </a:lnTo>
                    <a:lnTo>
                      <a:pt x="88" y="128"/>
                    </a:lnTo>
                    <a:lnTo>
                      <a:pt x="95" y="128"/>
                    </a:lnTo>
                    <a:lnTo>
                      <a:pt x="97" y="125"/>
                    </a:lnTo>
                    <a:lnTo>
                      <a:pt x="99" y="125"/>
                    </a:lnTo>
                    <a:lnTo>
                      <a:pt x="102" y="125"/>
                    </a:lnTo>
                    <a:lnTo>
                      <a:pt x="104" y="125"/>
                    </a:lnTo>
                    <a:lnTo>
                      <a:pt x="107" y="128"/>
                    </a:lnTo>
                    <a:lnTo>
                      <a:pt x="107" y="128"/>
                    </a:lnTo>
                    <a:lnTo>
                      <a:pt x="107" y="130"/>
                    </a:lnTo>
                    <a:lnTo>
                      <a:pt x="107" y="133"/>
                    </a:lnTo>
                    <a:lnTo>
                      <a:pt x="104" y="135"/>
                    </a:lnTo>
                    <a:lnTo>
                      <a:pt x="102" y="137"/>
                    </a:lnTo>
                    <a:lnTo>
                      <a:pt x="102" y="140"/>
                    </a:lnTo>
                    <a:lnTo>
                      <a:pt x="102" y="142"/>
                    </a:lnTo>
                    <a:lnTo>
                      <a:pt x="99" y="144"/>
                    </a:lnTo>
                    <a:lnTo>
                      <a:pt x="99" y="147"/>
                    </a:lnTo>
                    <a:lnTo>
                      <a:pt x="99" y="149"/>
                    </a:lnTo>
                    <a:lnTo>
                      <a:pt x="99" y="154"/>
                    </a:lnTo>
                    <a:lnTo>
                      <a:pt x="97" y="159"/>
                    </a:lnTo>
                    <a:lnTo>
                      <a:pt x="97" y="163"/>
                    </a:lnTo>
                    <a:lnTo>
                      <a:pt x="99" y="163"/>
                    </a:lnTo>
                    <a:lnTo>
                      <a:pt x="99" y="166"/>
                    </a:lnTo>
                    <a:lnTo>
                      <a:pt x="99" y="168"/>
                    </a:lnTo>
                    <a:lnTo>
                      <a:pt x="99" y="170"/>
                    </a:lnTo>
                    <a:lnTo>
                      <a:pt x="99" y="173"/>
                    </a:lnTo>
                    <a:lnTo>
                      <a:pt x="102" y="178"/>
                    </a:lnTo>
                    <a:lnTo>
                      <a:pt x="102" y="178"/>
                    </a:lnTo>
                    <a:lnTo>
                      <a:pt x="104" y="180"/>
                    </a:lnTo>
                    <a:lnTo>
                      <a:pt x="104" y="180"/>
                    </a:lnTo>
                    <a:lnTo>
                      <a:pt x="107" y="185"/>
                    </a:lnTo>
                    <a:lnTo>
                      <a:pt x="107" y="187"/>
                    </a:lnTo>
                    <a:lnTo>
                      <a:pt x="107" y="187"/>
                    </a:lnTo>
                    <a:lnTo>
                      <a:pt x="107" y="187"/>
                    </a:lnTo>
                    <a:lnTo>
                      <a:pt x="107" y="187"/>
                    </a:lnTo>
                    <a:lnTo>
                      <a:pt x="104" y="192"/>
                    </a:lnTo>
                    <a:lnTo>
                      <a:pt x="97" y="196"/>
                    </a:lnTo>
                    <a:lnTo>
                      <a:pt x="97" y="199"/>
                    </a:lnTo>
                    <a:lnTo>
                      <a:pt x="97" y="199"/>
                    </a:lnTo>
                    <a:lnTo>
                      <a:pt x="99" y="199"/>
                    </a:lnTo>
                    <a:lnTo>
                      <a:pt x="99" y="199"/>
                    </a:lnTo>
                    <a:lnTo>
                      <a:pt x="102" y="199"/>
                    </a:lnTo>
                    <a:lnTo>
                      <a:pt x="102" y="199"/>
                    </a:lnTo>
                    <a:lnTo>
                      <a:pt x="102" y="201"/>
                    </a:lnTo>
                    <a:lnTo>
                      <a:pt x="102" y="201"/>
                    </a:lnTo>
                    <a:lnTo>
                      <a:pt x="104" y="201"/>
                    </a:lnTo>
                    <a:lnTo>
                      <a:pt x="107" y="204"/>
                    </a:lnTo>
                    <a:lnTo>
                      <a:pt x="107" y="206"/>
                    </a:lnTo>
                    <a:lnTo>
                      <a:pt x="109" y="206"/>
                    </a:lnTo>
                    <a:lnTo>
                      <a:pt x="109" y="208"/>
                    </a:lnTo>
                    <a:lnTo>
                      <a:pt x="109" y="208"/>
                    </a:lnTo>
                    <a:lnTo>
                      <a:pt x="109" y="211"/>
                    </a:lnTo>
                    <a:lnTo>
                      <a:pt x="109" y="213"/>
                    </a:lnTo>
                    <a:lnTo>
                      <a:pt x="111" y="213"/>
                    </a:lnTo>
                    <a:lnTo>
                      <a:pt x="111" y="215"/>
                    </a:lnTo>
                    <a:lnTo>
                      <a:pt x="111" y="215"/>
                    </a:lnTo>
                    <a:lnTo>
                      <a:pt x="111" y="218"/>
                    </a:lnTo>
                    <a:lnTo>
                      <a:pt x="111" y="220"/>
                    </a:lnTo>
                    <a:lnTo>
                      <a:pt x="114" y="223"/>
                    </a:lnTo>
                    <a:lnTo>
                      <a:pt x="114" y="225"/>
                    </a:lnTo>
                    <a:lnTo>
                      <a:pt x="114" y="225"/>
                    </a:lnTo>
                    <a:lnTo>
                      <a:pt x="114" y="227"/>
                    </a:lnTo>
                    <a:lnTo>
                      <a:pt x="114" y="230"/>
                    </a:lnTo>
                    <a:lnTo>
                      <a:pt x="114" y="232"/>
                    </a:lnTo>
                    <a:lnTo>
                      <a:pt x="114" y="232"/>
                    </a:lnTo>
                    <a:lnTo>
                      <a:pt x="118" y="237"/>
                    </a:lnTo>
                    <a:lnTo>
                      <a:pt x="123" y="241"/>
                    </a:lnTo>
                    <a:lnTo>
                      <a:pt x="125" y="241"/>
                    </a:lnTo>
                    <a:lnTo>
                      <a:pt x="125" y="241"/>
                    </a:lnTo>
                    <a:lnTo>
                      <a:pt x="128" y="241"/>
                    </a:lnTo>
                    <a:lnTo>
                      <a:pt x="130" y="241"/>
                    </a:lnTo>
                    <a:lnTo>
                      <a:pt x="130" y="241"/>
                    </a:lnTo>
                    <a:lnTo>
                      <a:pt x="133" y="239"/>
                    </a:lnTo>
                    <a:lnTo>
                      <a:pt x="135" y="239"/>
                    </a:lnTo>
                    <a:lnTo>
                      <a:pt x="137" y="237"/>
                    </a:lnTo>
                    <a:lnTo>
                      <a:pt x="137" y="237"/>
                    </a:lnTo>
                    <a:lnTo>
                      <a:pt x="137" y="237"/>
                    </a:lnTo>
                    <a:lnTo>
                      <a:pt x="140" y="239"/>
                    </a:lnTo>
                    <a:lnTo>
                      <a:pt x="140" y="239"/>
                    </a:lnTo>
                    <a:lnTo>
                      <a:pt x="140" y="241"/>
                    </a:lnTo>
                    <a:lnTo>
                      <a:pt x="140" y="244"/>
                    </a:lnTo>
                    <a:lnTo>
                      <a:pt x="140" y="244"/>
                    </a:lnTo>
                    <a:lnTo>
                      <a:pt x="142" y="241"/>
                    </a:lnTo>
                    <a:lnTo>
                      <a:pt x="142" y="239"/>
                    </a:lnTo>
                    <a:lnTo>
                      <a:pt x="144" y="239"/>
                    </a:lnTo>
                    <a:lnTo>
                      <a:pt x="147" y="237"/>
                    </a:lnTo>
                    <a:lnTo>
                      <a:pt x="147" y="234"/>
                    </a:lnTo>
                    <a:lnTo>
                      <a:pt x="149" y="234"/>
                    </a:lnTo>
                    <a:lnTo>
                      <a:pt x="151" y="232"/>
                    </a:lnTo>
                    <a:lnTo>
                      <a:pt x="154" y="232"/>
                    </a:lnTo>
                    <a:lnTo>
                      <a:pt x="154" y="232"/>
                    </a:lnTo>
                    <a:lnTo>
                      <a:pt x="156" y="230"/>
                    </a:lnTo>
                    <a:lnTo>
                      <a:pt x="159" y="230"/>
                    </a:lnTo>
                    <a:lnTo>
                      <a:pt x="159" y="227"/>
                    </a:lnTo>
                    <a:lnTo>
                      <a:pt x="159" y="227"/>
                    </a:lnTo>
                    <a:lnTo>
                      <a:pt x="161" y="227"/>
                    </a:lnTo>
                    <a:lnTo>
                      <a:pt x="163" y="227"/>
                    </a:lnTo>
                    <a:lnTo>
                      <a:pt x="166" y="225"/>
                    </a:lnTo>
                    <a:lnTo>
                      <a:pt x="166" y="225"/>
                    </a:lnTo>
                    <a:lnTo>
                      <a:pt x="168" y="220"/>
                    </a:lnTo>
                    <a:lnTo>
                      <a:pt x="168" y="218"/>
                    </a:lnTo>
                    <a:lnTo>
                      <a:pt x="168" y="218"/>
                    </a:lnTo>
                    <a:lnTo>
                      <a:pt x="168" y="218"/>
                    </a:lnTo>
                    <a:lnTo>
                      <a:pt x="170" y="215"/>
                    </a:lnTo>
                    <a:lnTo>
                      <a:pt x="170" y="215"/>
                    </a:lnTo>
                    <a:lnTo>
                      <a:pt x="175" y="215"/>
                    </a:lnTo>
                    <a:lnTo>
                      <a:pt x="177" y="213"/>
                    </a:lnTo>
                    <a:lnTo>
                      <a:pt x="177" y="213"/>
                    </a:lnTo>
                    <a:lnTo>
                      <a:pt x="180" y="213"/>
                    </a:lnTo>
                    <a:lnTo>
                      <a:pt x="180" y="211"/>
                    </a:lnTo>
                    <a:lnTo>
                      <a:pt x="180" y="208"/>
                    </a:lnTo>
                    <a:lnTo>
                      <a:pt x="180" y="206"/>
                    </a:lnTo>
                    <a:lnTo>
                      <a:pt x="177" y="206"/>
                    </a:lnTo>
                    <a:lnTo>
                      <a:pt x="175" y="206"/>
                    </a:lnTo>
                    <a:lnTo>
                      <a:pt x="170" y="206"/>
                    </a:lnTo>
                    <a:lnTo>
                      <a:pt x="168" y="206"/>
                    </a:lnTo>
                    <a:lnTo>
                      <a:pt x="168" y="206"/>
                    </a:lnTo>
                    <a:lnTo>
                      <a:pt x="168" y="204"/>
                    </a:lnTo>
                    <a:lnTo>
                      <a:pt x="168" y="204"/>
                    </a:lnTo>
                    <a:lnTo>
                      <a:pt x="168" y="201"/>
                    </a:lnTo>
                    <a:lnTo>
                      <a:pt x="168" y="199"/>
                    </a:lnTo>
                    <a:lnTo>
                      <a:pt x="166" y="194"/>
                    </a:lnTo>
                    <a:lnTo>
                      <a:pt x="166" y="189"/>
                    </a:lnTo>
                    <a:lnTo>
                      <a:pt x="166" y="187"/>
                    </a:lnTo>
                    <a:lnTo>
                      <a:pt x="166" y="185"/>
                    </a:lnTo>
                    <a:lnTo>
                      <a:pt x="166" y="182"/>
                    </a:lnTo>
                    <a:lnTo>
                      <a:pt x="163" y="180"/>
                    </a:lnTo>
                    <a:lnTo>
                      <a:pt x="159" y="175"/>
                    </a:lnTo>
                    <a:lnTo>
                      <a:pt x="156" y="173"/>
                    </a:lnTo>
                    <a:lnTo>
                      <a:pt x="156" y="173"/>
                    </a:lnTo>
                    <a:lnTo>
                      <a:pt x="154" y="168"/>
                    </a:lnTo>
                    <a:lnTo>
                      <a:pt x="154" y="168"/>
                    </a:lnTo>
                    <a:lnTo>
                      <a:pt x="156" y="168"/>
                    </a:lnTo>
                    <a:lnTo>
                      <a:pt x="156" y="168"/>
                    </a:lnTo>
                    <a:lnTo>
                      <a:pt x="159" y="170"/>
                    </a:lnTo>
                    <a:lnTo>
                      <a:pt x="159" y="170"/>
                    </a:lnTo>
                    <a:lnTo>
                      <a:pt x="159" y="170"/>
                    </a:lnTo>
                    <a:lnTo>
                      <a:pt x="166" y="170"/>
                    </a:lnTo>
                    <a:lnTo>
                      <a:pt x="166" y="170"/>
                    </a:lnTo>
                    <a:lnTo>
                      <a:pt x="166" y="170"/>
                    </a:lnTo>
                    <a:lnTo>
                      <a:pt x="168" y="173"/>
                    </a:lnTo>
                    <a:lnTo>
                      <a:pt x="168" y="175"/>
                    </a:lnTo>
                    <a:lnTo>
                      <a:pt x="168" y="175"/>
                    </a:lnTo>
                    <a:lnTo>
                      <a:pt x="170" y="175"/>
                    </a:lnTo>
                    <a:lnTo>
                      <a:pt x="175" y="175"/>
                    </a:lnTo>
                    <a:lnTo>
                      <a:pt x="175" y="175"/>
                    </a:lnTo>
                    <a:lnTo>
                      <a:pt x="177" y="175"/>
                    </a:lnTo>
                    <a:lnTo>
                      <a:pt x="177" y="175"/>
                    </a:lnTo>
                    <a:lnTo>
                      <a:pt x="180" y="175"/>
                    </a:lnTo>
                    <a:lnTo>
                      <a:pt x="182" y="175"/>
                    </a:lnTo>
                    <a:lnTo>
                      <a:pt x="182" y="175"/>
                    </a:lnTo>
                    <a:lnTo>
                      <a:pt x="185" y="178"/>
                    </a:lnTo>
                    <a:lnTo>
                      <a:pt x="187" y="180"/>
                    </a:lnTo>
                    <a:lnTo>
                      <a:pt x="189" y="182"/>
                    </a:lnTo>
                    <a:lnTo>
                      <a:pt x="192" y="182"/>
                    </a:lnTo>
                    <a:lnTo>
                      <a:pt x="192" y="180"/>
                    </a:lnTo>
                    <a:lnTo>
                      <a:pt x="194" y="175"/>
                    </a:lnTo>
                    <a:lnTo>
                      <a:pt x="194" y="173"/>
                    </a:lnTo>
                    <a:lnTo>
                      <a:pt x="194" y="173"/>
                    </a:lnTo>
                    <a:lnTo>
                      <a:pt x="196" y="173"/>
                    </a:lnTo>
                    <a:lnTo>
                      <a:pt x="196" y="173"/>
                    </a:lnTo>
                    <a:lnTo>
                      <a:pt x="199" y="170"/>
                    </a:lnTo>
                    <a:lnTo>
                      <a:pt x="199" y="170"/>
                    </a:lnTo>
                    <a:lnTo>
                      <a:pt x="204" y="170"/>
                    </a:lnTo>
                    <a:lnTo>
                      <a:pt x="206" y="170"/>
                    </a:lnTo>
                    <a:lnTo>
                      <a:pt x="211" y="170"/>
                    </a:lnTo>
                    <a:lnTo>
                      <a:pt x="215" y="168"/>
                    </a:lnTo>
                    <a:lnTo>
                      <a:pt x="218" y="166"/>
                    </a:lnTo>
                    <a:lnTo>
                      <a:pt x="218" y="163"/>
                    </a:lnTo>
                    <a:lnTo>
                      <a:pt x="220" y="163"/>
                    </a:lnTo>
                    <a:lnTo>
                      <a:pt x="222" y="163"/>
                    </a:lnTo>
                    <a:lnTo>
                      <a:pt x="225" y="163"/>
                    </a:lnTo>
                    <a:lnTo>
                      <a:pt x="225" y="163"/>
                    </a:lnTo>
                    <a:lnTo>
                      <a:pt x="225" y="163"/>
                    </a:lnTo>
                    <a:lnTo>
                      <a:pt x="227" y="161"/>
                    </a:lnTo>
                    <a:lnTo>
                      <a:pt x="227" y="159"/>
                    </a:lnTo>
                    <a:lnTo>
                      <a:pt x="230" y="159"/>
                    </a:lnTo>
                    <a:lnTo>
                      <a:pt x="230" y="156"/>
                    </a:lnTo>
                    <a:lnTo>
                      <a:pt x="232" y="156"/>
                    </a:lnTo>
                    <a:lnTo>
                      <a:pt x="232" y="154"/>
                    </a:lnTo>
                    <a:lnTo>
                      <a:pt x="234" y="154"/>
                    </a:lnTo>
                    <a:lnTo>
                      <a:pt x="234" y="151"/>
                    </a:lnTo>
                    <a:lnTo>
                      <a:pt x="232" y="151"/>
                    </a:lnTo>
                    <a:lnTo>
                      <a:pt x="232" y="149"/>
                    </a:lnTo>
                    <a:lnTo>
                      <a:pt x="232" y="149"/>
                    </a:lnTo>
                    <a:lnTo>
                      <a:pt x="232" y="149"/>
                    </a:lnTo>
                    <a:lnTo>
                      <a:pt x="227" y="142"/>
                    </a:lnTo>
                    <a:lnTo>
                      <a:pt x="222" y="137"/>
                    </a:lnTo>
                    <a:lnTo>
                      <a:pt x="220" y="133"/>
                    </a:lnTo>
                    <a:lnTo>
                      <a:pt x="220" y="133"/>
                    </a:lnTo>
                    <a:lnTo>
                      <a:pt x="220" y="130"/>
                    </a:lnTo>
                    <a:lnTo>
                      <a:pt x="222" y="128"/>
                    </a:lnTo>
                    <a:lnTo>
                      <a:pt x="225" y="128"/>
                    </a:lnTo>
                    <a:lnTo>
                      <a:pt x="225" y="128"/>
                    </a:lnTo>
                    <a:lnTo>
                      <a:pt x="225" y="123"/>
                    </a:lnTo>
                    <a:lnTo>
                      <a:pt x="225" y="121"/>
                    </a:lnTo>
                    <a:lnTo>
                      <a:pt x="225" y="121"/>
                    </a:lnTo>
                    <a:lnTo>
                      <a:pt x="222" y="118"/>
                    </a:lnTo>
                    <a:lnTo>
                      <a:pt x="225" y="118"/>
                    </a:lnTo>
                    <a:lnTo>
                      <a:pt x="225" y="116"/>
                    </a:lnTo>
                    <a:lnTo>
                      <a:pt x="225" y="116"/>
                    </a:lnTo>
                    <a:lnTo>
                      <a:pt x="227" y="116"/>
                    </a:lnTo>
                    <a:lnTo>
                      <a:pt x="230" y="116"/>
                    </a:lnTo>
                    <a:lnTo>
                      <a:pt x="230" y="116"/>
                    </a:lnTo>
                    <a:lnTo>
                      <a:pt x="230" y="114"/>
                    </a:lnTo>
                    <a:lnTo>
                      <a:pt x="230" y="114"/>
                    </a:lnTo>
                    <a:lnTo>
                      <a:pt x="232" y="116"/>
                    </a:lnTo>
                    <a:lnTo>
                      <a:pt x="234" y="114"/>
                    </a:lnTo>
                    <a:lnTo>
                      <a:pt x="234" y="114"/>
                    </a:lnTo>
                    <a:lnTo>
                      <a:pt x="239" y="111"/>
                    </a:lnTo>
                    <a:lnTo>
                      <a:pt x="239" y="111"/>
                    </a:lnTo>
                    <a:lnTo>
                      <a:pt x="239" y="109"/>
                    </a:lnTo>
                    <a:lnTo>
                      <a:pt x="239" y="106"/>
                    </a:lnTo>
                    <a:lnTo>
                      <a:pt x="239" y="106"/>
                    </a:lnTo>
                    <a:lnTo>
                      <a:pt x="239" y="106"/>
                    </a:lnTo>
                    <a:lnTo>
                      <a:pt x="237" y="106"/>
                    </a:lnTo>
                    <a:lnTo>
                      <a:pt x="237" y="106"/>
                    </a:lnTo>
                    <a:lnTo>
                      <a:pt x="234" y="106"/>
                    </a:lnTo>
                    <a:lnTo>
                      <a:pt x="234" y="106"/>
                    </a:lnTo>
                    <a:lnTo>
                      <a:pt x="234" y="104"/>
                    </a:lnTo>
                    <a:lnTo>
                      <a:pt x="234" y="104"/>
                    </a:lnTo>
                    <a:lnTo>
                      <a:pt x="234" y="102"/>
                    </a:lnTo>
                    <a:lnTo>
                      <a:pt x="234" y="99"/>
                    </a:lnTo>
                    <a:lnTo>
                      <a:pt x="234" y="99"/>
                    </a:lnTo>
                    <a:lnTo>
                      <a:pt x="234" y="97"/>
                    </a:lnTo>
                    <a:lnTo>
                      <a:pt x="234" y="97"/>
                    </a:lnTo>
                    <a:lnTo>
                      <a:pt x="237" y="95"/>
                    </a:lnTo>
                    <a:lnTo>
                      <a:pt x="237" y="92"/>
                    </a:lnTo>
                    <a:lnTo>
                      <a:pt x="239" y="92"/>
                    </a:lnTo>
                    <a:lnTo>
                      <a:pt x="241" y="92"/>
                    </a:lnTo>
                    <a:lnTo>
                      <a:pt x="241" y="90"/>
                    </a:lnTo>
                    <a:lnTo>
                      <a:pt x="244" y="90"/>
                    </a:lnTo>
                    <a:lnTo>
                      <a:pt x="246" y="88"/>
                    </a:lnTo>
                    <a:lnTo>
                      <a:pt x="246" y="85"/>
                    </a:lnTo>
                    <a:lnTo>
                      <a:pt x="248" y="85"/>
                    </a:lnTo>
                    <a:lnTo>
                      <a:pt x="251" y="83"/>
                    </a:lnTo>
                    <a:lnTo>
                      <a:pt x="251" y="83"/>
                    </a:lnTo>
                    <a:lnTo>
                      <a:pt x="251" y="83"/>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9" name="Freeform 11"/>
              <p:cNvSpPr>
                <a:spLocks/>
              </p:cNvSpPr>
              <p:nvPr/>
            </p:nvSpPr>
            <p:spPr bwMode="auto">
              <a:xfrm>
                <a:off x="2978" y="1914"/>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0" name="Freeform 12"/>
              <p:cNvSpPr>
                <a:spLocks noEditPoints="1"/>
              </p:cNvSpPr>
              <p:nvPr/>
            </p:nvSpPr>
            <p:spPr bwMode="auto">
              <a:xfrm>
                <a:off x="3707" y="1839"/>
                <a:ext cx="312" cy="175"/>
              </a:xfrm>
              <a:custGeom>
                <a:avLst/>
                <a:gdLst>
                  <a:gd name="T0" fmla="*/ 281 w 312"/>
                  <a:gd name="T1" fmla="*/ 113 h 175"/>
                  <a:gd name="T2" fmla="*/ 279 w 312"/>
                  <a:gd name="T3" fmla="*/ 116 h 175"/>
                  <a:gd name="T4" fmla="*/ 281 w 312"/>
                  <a:gd name="T5" fmla="*/ 116 h 175"/>
                  <a:gd name="T6" fmla="*/ 298 w 312"/>
                  <a:gd name="T7" fmla="*/ 94 h 175"/>
                  <a:gd name="T8" fmla="*/ 288 w 312"/>
                  <a:gd name="T9" fmla="*/ 92 h 175"/>
                  <a:gd name="T10" fmla="*/ 281 w 312"/>
                  <a:gd name="T11" fmla="*/ 85 h 175"/>
                  <a:gd name="T12" fmla="*/ 276 w 312"/>
                  <a:gd name="T13" fmla="*/ 92 h 175"/>
                  <a:gd name="T14" fmla="*/ 262 w 312"/>
                  <a:gd name="T15" fmla="*/ 87 h 175"/>
                  <a:gd name="T16" fmla="*/ 265 w 312"/>
                  <a:gd name="T17" fmla="*/ 75 h 175"/>
                  <a:gd name="T18" fmla="*/ 267 w 312"/>
                  <a:gd name="T19" fmla="*/ 68 h 175"/>
                  <a:gd name="T20" fmla="*/ 258 w 312"/>
                  <a:gd name="T21" fmla="*/ 73 h 175"/>
                  <a:gd name="T22" fmla="*/ 241 w 312"/>
                  <a:gd name="T23" fmla="*/ 85 h 175"/>
                  <a:gd name="T24" fmla="*/ 234 w 312"/>
                  <a:gd name="T25" fmla="*/ 99 h 175"/>
                  <a:gd name="T26" fmla="*/ 224 w 312"/>
                  <a:gd name="T27" fmla="*/ 97 h 175"/>
                  <a:gd name="T28" fmla="*/ 213 w 312"/>
                  <a:gd name="T29" fmla="*/ 92 h 175"/>
                  <a:gd name="T30" fmla="*/ 194 w 312"/>
                  <a:gd name="T31" fmla="*/ 83 h 175"/>
                  <a:gd name="T32" fmla="*/ 182 w 312"/>
                  <a:gd name="T33" fmla="*/ 64 h 175"/>
                  <a:gd name="T34" fmla="*/ 170 w 312"/>
                  <a:gd name="T35" fmla="*/ 49 h 175"/>
                  <a:gd name="T36" fmla="*/ 151 w 312"/>
                  <a:gd name="T37" fmla="*/ 42 h 175"/>
                  <a:gd name="T38" fmla="*/ 125 w 312"/>
                  <a:gd name="T39" fmla="*/ 42 h 175"/>
                  <a:gd name="T40" fmla="*/ 97 w 312"/>
                  <a:gd name="T41" fmla="*/ 35 h 175"/>
                  <a:gd name="T42" fmla="*/ 75 w 312"/>
                  <a:gd name="T43" fmla="*/ 21 h 175"/>
                  <a:gd name="T44" fmla="*/ 49 w 312"/>
                  <a:gd name="T45" fmla="*/ 4 h 175"/>
                  <a:gd name="T46" fmla="*/ 23 w 312"/>
                  <a:gd name="T47" fmla="*/ 4 h 175"/>
                  <a:gd name="T48" fmla="*/ 0 w 312"/>
                  <a:gd name="T49" fmla="*/ 19 h 175"/>
                  <a:gd name="T50" fmla="*/ 9 w 312"/>
                  <a:gd name="T51" fmla="*/ 64 h 175"/>
                  <a:gd name="T52" fmla="*/ 33 w 312"/>
                  <a:gd name="T53" fmla="*/ 90 h 175"/>
                  <a:gd name="T54" fmla="*/ 30 w 312"/>
                  <a:gd name="T55" fmla="*/ 75 h 175"/>
                  <a:gd name="T56" fmla="*/ 45 w 312"/>
                  <a:gd name="T57" fmla="*/ 66 h 175"/>
                  <a:gd name="T58" fmla="*/ 52 w 312"/>
                  <a:gd name="T59" fmla="*/ 68 h 175"/>
                  <a:gd name="T60" fmla="*/ 47 w 312"/>
                  <a:gd name="T61" fmla="*/ 61 h 175"/>
                  <a:gd name="T62" fmla="*/ 64 w 312"/>
                  <a:gd name="T63" fmla="*/ 64 h 175"/>
                  <a:gd name="T64" fmla="*/ 80 w 312"/>
                  <a:gd name="T65" fmla="*/ 71 h 175"/>
                  <a:gd name="T66" fmla="*/ 85 w 312"/>
                  <a:gd name="T67" fmla="*/ 78 h 175"/>
                  <a:gd name="T68" fmla="*/ 85 w 312"/>
                  <a:gd name="T69" fmla="*/ 87 h 175"/>
                  <a:gd name="T70" fmla="*/ 106 w 312"/>
                  <a:gd name="T71" fmla="*/ 92 h 175"/>
                  <a:gd name="T72" fmla="*/ 120 w 312"/>
                  <a:gd name="T73" fmla="*/ 97 h 175"/>
                  <a:gd name="T74" fmla="*/ 144 w 312"/>
                  <a:gd name="T75" fmla="*/ 123 h 175"/>
                  <a:gd name="T76" fmla="*/ 175 w 312"/>
                  <a:gd name="T77" fmla="*/ 142 h 175"/>
                  <a:gd name="T78" fmla="*/ 203 w 312"/>
                  <a:gd name="T79" fmla="*/ 151 h 175"/>
                  <a:gd name="T80" fmla="*/ 213 w 312"/>
                  <a:gd name="T81" fmla="*/ 165 h 175"/>
                  <a:gd name="T82" fmla="*/ 234 w 312"/>
                  <a:gd name="T83" fmla="*/ 173 h 175"/>
                  <a:gd name="T84" fmla="*/ 241 w 312"/>
                  <a:gd name="T85" fmla="*/ 158 h 175"/>
                  <a:gd name="T86" fmla="*/ 234 w 312"/>
                  <a:gd name="T87" fmla="*/ 142 h 175"/>
                  <a:gd name="T88" fmla="*/ 227 w 312"/>
                  <a:gd name="T89" fmla="*/ 132 h 175"/>
                  <a:gd name="T90" fmla="*/ 224 w 312"/>
                  <a:gd name="T91" fmla="*/ 123 h 175"/>
                  <a:gd name="T92" fmla="*/ 239 w 312"/>
                  <a:gd name="T93" fmla="*/ 118 h 175"/>
                  <a:gd name="T94" fmla="*/ 243 w 312"/>
                  <a:gd name="T95" fmla="*/ 116 h 175"/>
                  <a:gd name="T96" fmla="*/ 241 w 312"/>
                  <a:gd name="T97" fmla="*/ 113 h 175"/>
                  <a:gd name="T98" fmla="*/ 248 w 312"/>
                  <a:gd name="T99" fmla="*/ 109 h 175"/>
                  <a:gd name="T100" fmla="*/ 253 w 312"/>
                  <a:gd name="T101" fmla="*/ 102 h 175"/>
                  <a:gd name="T102" fmla="*/ 267 w 312"/>
                  <a:gd name="T103" fmla="*/ 97 h 175"/>
                  <a:gd name="T104" fmla="*/ 267 w 312"/>
                  <a:gd name="T105" fmla="*/ 104 h 175"/>
                  <a:gd name="T106" fmla="*/ 272 w 312"/>
                  <a:gd name="T107" fmla="*/ 111 h 175"/>
                  <a:gd name="T108" fmla="*/ 288 w 312"/>
                  <a:gd name="T109" fmla="*/ 111 h 175"/>
                  <a:gd name="T110" fmla="*/ 295 w 312"/>
                  <a:gd name="T111" fmla="*/ 106 h 175"/>
                  <a:gd name="T112" fmla="*/ 300 w 312"/>
                  <a:gd name="T113" fmla="*/ 104 h 175"/>
                  <a:gd name="T114" fmla="*/ 267 w 312"/>
                  <a:gd name="T115" fmla="*/ 97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175">
                    <a:moveTo>
                      <a:pt x="293" y="113"/>
                    </a:moveTo>
                    <a:lnTo>
                      <a:pt x="291" y="113"/>
                    </a:lnTo>
                    <a:lnTo>
                      <a:pt x="291" y="116"/>
                    </a:lnTo>
                    <a:lnTo>
                      <a:pt x="291" y="116"/>
                    </a:lnTo>
                    <a:lnTo>
                      <a:pt x="291" y="116"/>
                    </a:lnTo>
                    <a:lnTo>
                      <a:pt x="293" y="116"/>
                    </a:lnTo>
                    <a:lnTo>
                      <a:pt x="293" y="116"/>
                    </a:lnTo>
                    <a:lnTo>
                      <a:pt x="293" y="113"/>
                    </a:lnTo>
                    <a:lnTo>
                      <a:pt x="293" y="113"/>
                    </a:lnTo>
                    <a:close/>
                    <a:moveTo>
                      <a:pt x="281" y="113"/>
                    </a:moveTo>
                    <a:lnTo>
                      <a:pt x="281" y="116"/>
                    </a:lnTo>
                    <a:lnTo>
                      <a:pt x="284" y="116"/>
                    </a:lnTo>
                    <a:lnTo>
                      <a:pt x="281" y="113"/>
                    </a:lnTo>
                    <a:close/>
                    <a:moveTo>
                      <a:pt x="281" y="116"/>
                    </a:moveTo>
                    <a:lnTo>
                      <a:pt x="279" y="113"/>
                    </a:lnTo>
                    <a:lnTo>
                      <a:pt x="279" y="113"/>
                    </a:lnTo>
                    <a:lnTo>
                      <a:pt x="279" y="113"/>
                    </a:lnTo>
                    <a:lnTo>
                      <a:pt x="276" y="113"/>
                    </a:lnTo>
                    <a:lnTo>
                      <a:pt x="276" y="113"/>
                    </a:lnTo>
                    <a:lnTo>
                      <a:pt x="279" y="116"/>
                    </a:lnTo>
                    <a:lnTo>
                      <a:pt x="279" y="116"/>
                    </a:lnTo>
                    <a:lnTo>
                      <a:pt x="279" y="113"/>
                    </a:lnTo>
                    <a:lnTo>
                      <a:pt x="279" y="113"/>
                    </a:lnTo>
                    <a:lnTo>
                      <a:pt x="279" y="116"/>
                    </a:lnTo>
                    <a:lnTo>
                      <a:pt x="279" y="116"/>
                    </a:lnTo>
                    <a:lnTo>
                      <a:pt x="281" y="116"/>
                    </a:lnTo>
                    <a:lnTo>
                      <a:pt x="281" y="116"/>
                    </a:lnTo>
                    <a:lnTo>
                      <a:pt x="284" y="116"/>
                    </a:lnTo>
                    <a:lnTo>
                      <a:pt x="284" y="116"/>
                    </a:lnTo>
                    <a:lnTo>
                      <a:pt x="281" y="116"/>
                    </a:lnTo>
                    <a:lnTo>
                      <a:pt x="281" y="116"/>
                    </a:lnTo>
                    <a:close/>
                    <a:moveTo>
                      <a:pt x="312" y="99"/>
                    </a:moveTo>
                    <a:lnTo>
                      <a:pt x="307" y="97"/>
                    </a:lnTo>
                    <a:lnTo>
                      <a:pt x="307" y="99"/>
                    </a:lnTo>
                    <a:lnTo>
                      <a:pt x="307" y="99"/>
                    </a:lnTo>
                    <a:lnTo>
                      <a:pt x="305" y="97"/>
                    </a:lnTo>
                    <a:lnTo>
                      <a:pt x="302" y="97"/>
                    </a:lnTo>
                    <a:lnTo>
                      <a:pt x="302" y="97"/>
                    </a:lnTo>
                    <a:lnTo>
                      <a:pt x="300" y="94"/>
                    </a:lnTo>
                    <a:lnTo>
                      <a:pt x="298" y="94"/>
                    </a:lnTo>
                    <a:lnTo>
                      <a:pt x="295" y="94"/>
                    </a:lnTo>
                    <a:lnTo>
                      <a:pt x="295" y="94"/>
                    </a:lnTo>
                    <a:lnTo>
                      <a:pt x="293" y="94"/>
                    </a:lnTo>
                    <a:lnTo>
                      <a:pt x="293" y="94"/>
                    </a:lnTo>
                    <a:lnTo>
                      <a:pt x="293" y="94"/>
                    </a:lnTo>
                    <a:lnTo>
                      <a:pt x="293" y="92"/>
                    </a:lnTo>
                    <a:lnTo>
                      <a:pt x="293" y="92"/>
                    </a:lnTo>
                    <a:lnTo>
                      <a:pt x="291" y="92"/>
                    </a:lnTo>
                    <a:lnTo>
                      <a:pt x="291" y="92"/>
                    </a:lnTo>
                    <a:lnTo>
                      <a:pt x="288" y="92"/>
                    </a:lnTo>
                    <a:lnTo>
                      <a:pt x="288" y="92"/>
                    </a:lnTo>
                    <a:lnTo>
                      <a:pt x="286" y="90"/>
                    </a:lnTo>
                    <a:lnTo>
                      <a:pt x="286" y="87"/>
                    </a:lnTo>
                    <a:lnTo>
                      <a:pt x="284" y="87"/>
                    </a:lnTo>
                    <a:lnTo>
                      <a:pt x="284" y="85"/>
                    </a:lnTo>
                    <a:lnTo>
                      <a:pt x="284" y="85"/>
                    </a:lnTo>
                    <a:lnTo>
                      <a:pt x="284" y="85"/>
                    </a:lnTo>
                    <a:lnTo>
                      <a:pt x="281" y="85"/>
                    </a:lnTo>
                    <a:lnTo>
                      <a:pt x="281" y="85"/>
                    </a:lnTo>
                    <a:lnTo>
                      <a:pt x="281" y="85"/>
                    </a:lnTo>
                    <a:lnTo>
                      <a:pt x="281" y="85"/>
                    </a:lnTo>
                    <a:lnTo>
                      <a:pt x="281" y="85"/>
                    </a:lnTo>
                    <a:lnTo>
                      <a:pt x="281" y="87"/>
                    </a:lnTo>
                    <a:lnTo>
                      <a:pt x="281" y="87"/>
                    </a:lnTo>
                    <a:lnTo>
                      <a:pt x="281" y="90"/>
                    </a:lnTo>
                    <a:lnTo>
                      <a:pt x="281" y="90"/>
                    </a:lnTo>
                    <a:lnTo>
                      <a:pt x="279" y="87"/>
                    </a:lnTo>
                    <a:lnTo>
                      <a:pt x="279" y="92"/>
                    </a:lnTo>
                    <a:lnTo>
                      <a:pt x="279" y="92"/>
                    </a:lnTo>
                    <a:lnTo>
                      <a:pt x="276" y="92"/>
                    </a:lnTo>
                    <a:lnTo>
                      <a:pt x="276" y="92"/>
                    </a:lnTo>
                    <a:lnTo>
                      <a:pt x="274" y="92"/>
                    </a:lnTo>
                    <a:lnTo>
                      <a:pt x="272" y="92"/>
                    </a:lnTo>
                    <a:lnTo>
                      <a:pt x="272" y="92"/>
                    </a:lnTo>
                    <a:lnTo>
                      <a:pt x="269" y="90"/>
                    </a:lnTo>
                    <a:lnTo>
                      <a:pt x="269" y="90"/>
                    </a:lnTo>
                    <a:lnTo>
                      <a:pt x="267" y="87"/>
                    </a:lnTo>
                    <a:lnTo>
                      <a:pt x="265" y="85"/>
                    </a:lnTo>
                    <a:lnTo>
                      <a:pt x="265" y="85"/>
                    </a:lnTo>
                    <a:lnTo>
                      <a:pt x="262" y="87"/>
                    </a:lnTo>
                    <a:lnTo>
                      <a:pt x="260" y="85"/>
                    </a:lnTo>
                    <a:lnTo>
                      <a:pt x="258" y="85"/>
                    </a:lnTo>
                    <a:lnTo>
                      <a:pt x="258" y="85"/>
                    </a:lnTo>
                    <a:lnTo>
                      <a:pt x="255" y="85"/>
                    </a:lnTo>
                    <a:lnTo>
                      <a:pt x="255" y="83"/>
                    </a:lnTo>
                    <a:lnTo>
                      <a:pt x="260" y="80"/>
                    </a:lnTo>
                    <a:lnTo>
                      <a:pt x="262" y="78"/>
                    </a:lnTo>
                    <a:lnTo>
                      <a:pt x="262" y="78"/>
                    </a:lnTo>
                    <a:lnTo>
                      <a:pt x="265" y="75"/>
                    </a:lnTo>
                    <a:lnTo>
                      <a:pt x="265" y="75"/>
                    </a:lnTo>
                    <a:lnTo>
                      <a:pt x="265" y="73"/>
                    </a:lnTo>
                    <a:lnTo>
                      <a:pt x="265" y="73"/>
                    </a:lnTo>
                    <a:lnTo>
                      <a:pt x="267" y="73"/>
                    </a:lnTo>
                    <a:lnTo>
                      <a:pt x="267" y="73"/>
                    </a:lnTo>
                    <a:lnTo>
                      <a:pt x="272" y="71"/>
                    </a:lnTo>
                    <a:lnTo>
                      <a:pt x="272" y="71"/>
                    </a:lnTo>
                    <a:lnTo>
                      <a:pt x="269" y="71"/>
                    </a:lnTo>
                    <a:lnTo>
                      <a:pt x="269" y="68"/>
                    </a:lnTo>
                    <a:lnTo>
                      <a:pt x="267" y="68"/>
                    </a:lnTo>
                    <a:lnTo>
                      <a:pt x="267" y="68"/>
                    </a:lnTo>
                    <a:lnTo>
                      <a:pt x="265" y="68"/>
                    </a:lnTo>
                    <a:lnTo>
                      <a:pt x="265" y="71"/>
                    </a:lnTo>
                    <a:lnTo>
                      <a:pt x="262" y="71"/>
                    </a:lnTo>
                    <a:lnTo>
                      <a:pt x="262" y="71"/>
                    </a:lnTo>
                    <a:lnTo>
                      <a:pt x="262" y="73"/>
                    </a:lnTo>
                    <a:lnTo>
                      <a:pt x="260" y="73"/>
                    </a:lnTo>
                    <a:lnTo>
                      <a:pt x="260" y="73"/>
                    </a:lnTo>
                    <a:lnTo>
                      <a:pt x="260" y="73"/>
                    </a:lnTo>
                    <a:lnTo>
                      <a:pt x="258" y="73"/>
                    </a:lnTo>
                    <a:lnTo>
                      <a:pt x="258" y="73"/>
                    </a:lnTo>
                    <a:lnTo>
                      <a:pt x="255" y="73"/>
                    </a:lnTo>
                    <a:lnTo>
                      <a:pt x="255" y="75"/>
                    </a:lnTo>
                    <a:lnTo>
                      <a:pt x="253" y="78"/>
                    </a:lnTo>
                    <a:lnTo>
                      <a:pt x="250" y="80"/>
                    </a:lnTo>
                    <a:lnTo>
                      <a:pt x="248" y="80"/>
                    </a:lnTo>
                    <a:lnTo>
                      <a:pt x="246" y="80"/>
                    </a:lnTo>
                    <a:lnTo>
                      <a:pt x="246" y="83"/>
                    </a:lnTo>
                    <a:lnTo>
                      <a:pt x="243" y="85"/>
                    </a:lnTo>
                    <a:lnTo>
                      <a:pt x="243" y="85"/>
                    </a:lnTo>
                    <a:lnTo>
                      <a:pt x="241" y="85"/>
                    </a:lnTo>
                    <a:lnTo>
                      <a:pt x="239" y="87"/>
                    </a:lnTo>
                    <a:lnTo>
                      <a:pt x="239" y="87"/>
                    </a:lnTo>
                    <a:lnTo>
                      <a:pt x="239" y="90"/>
                    </a:lnTo>
                    <a:lnTo>
                      <a:pt x="239" y="90"/>
                    </a:lnTo>
                    <a:lnTo>
                      <a:pt x="236" y="92"/>
                    </a:lnTo>
                    <a:lnTo>
                      <a:pt x="234" y="94"/>
                    </a:lnTo>
                    <a:lnTo>
                      <a:pt x="234" y="97"/>
                    </a:lnTo>
                    <a:lnTo>
                      <a:pt x="231" y="97"/>
                    </a:lnTo>
                    <a:lnTo>
                      <a:pt x="231" y="99"/>
                    </a:lnTo>
                    <a:lnTo>
                      <a:pt x="234" y="99"/>
                    </a:lnTo>
                    <a:lnTo>
                      <a:pt x="234" y="102"/>
                    </a:lnTo>
                    <a:lnTo>
                      <a:pt x="234" y="102"/>
                    </a:lnTo>
                    <a:lnTo>
                      <a:pt x="234" y="104"/>
                    </a:lnTo>
                    <a:lnTo>
                      <a:pt x="231" y="104"/>
                    </a:lnTo>
                    <a:lnTo>
                      <a:pt x="231" y="104"/>
                    </a:lnTo>
                    <a:lnTo>
                      <a:pt x="229" y="102"/>
                    </a:lnTo>
                    <a:lnTo>
                      <a:pt x="227" y="102"/>
                    </a:lnTo>
                    <a:lnTo>
                      <a:pt x="224" y="99"/>
                    </a:lnTo>
                    <a:lnTo>
                      <a:pt x="224" y="99"/>
                    </a:lnTo>
                    <a:lnTo>
                      <a:pt x="224" y="97"/>
                    </a:lnTo>
                    <a:lnTo>
                      <a:pt x="224" y="97"/>
                    </a:lnTo>
                    <a:lnTo>
                      <a:pt x="224" y="94"/>
                    </a:lnTo>
                    <a:lnTo>
                      <a:pt x="222" y="94"/>
                    </a:lnTo>
                    <a:lnTo>
                      <a:pt x="222" y="92"/>
                    </a:lnTo>
                    <a:lnTo>
                      <a:pt x="222" y="92"/>
                    </a:lnTo>
                    <a:lnTo>
                      <a:pt x="220" y="92"/>
                    </a:lnTo>
                    <a:lnTo>
                      <a:pt x="220" y="92"/>
                    </a:lnTo>
                    <a:lnTo>
                      <a:pt x="217" y="92"/>
                    </a:lnTo>
                    <a:lnTo>
                      <a:pt x="217" y="92"/>
                    </a:lnTo>
                    <a:lnTo>
                      <a:pt x="213" y="92"/>
                    </a:lnTo>
                    <a:lnTo>
                      <a:pt x="210" y="92"/>
                    </a:lnTo>
                    <a:lnTo>
                      <a:pt x="208" y="92"/>
                    </a:lnTo>
                    <a:lnTo>
                      <a:pt x="205" y="92"/>
                    </a:lnTo>
                    <a:lnTo>
                      <a:pt x="201" y="92"/>
                    </a:lnTo>
                    <a:lnTo>
                      <a:pt x="201" y="92"/>
                    </a:lnTo>
                    <a:lnTo>
                      <a:pt x="198" y="92"/>
                    </a:lnTo>
                    <a:lnTo>
                      <a:pt x="198" y="90"/>
                    </a:lnTo>
                    <a:lnTo>
                      <a:pt x="196" y="87"/>
                    </a:lnTo>
                    <a:lnTo>
                      <a:pt x="196" y="85"/>
                    </a:lnTo>
                    <a:lnTo>
                      <a:pt x="194" y="83"/>
                    </a:lnTo>
                    <a:lnTo>
                      <a:pt x="194" y="80"/>
                    </a:lnTo>
                    <a:lnTo>
                      <a:pt x="191" y="75"/>
                    </a:lnTo>
                    <a:lnTo>
                      <a:pt x="191" y="75"/>
                    </a:lnTo>
                    <a:lnTo>
                      <a:pt x="189" y="75"/>
                    </a:lnTo>
                    <a:lnTo>
                      <a:pt x="187" y="75"/>
                    </a:lnTo>
                    <a:lnTo>
                      <a:pt x="182" y="73"/>
                    </a:lnTo>
                    <a:lnTo>
                      <a:pt x="182" y="73"/>
                    </a:lnTo>
                    <a:lnTo>
                      <a:pt x="182" y="71"/>
                    </a:lnTo>
                    <a:lnTo>
                      <a:pt x="182" y="68"/>
                    </a:lnTo>
                    <a:lnTo>
                      <a:pt x="182" y="64"/>
                    </a:lnTo>
                    <a:lnTo>
                      <a:pt x="179" y="61"/>
                    </a:lnTo>
                    <a:lnTo>
                      <a:pt x="179" y="59"/>
                    </a:lnTo>
                    <a:lnTo>
                      <a:pt x="179" y="57"/>
                    </a:lnTo>
                    <a:lnTo>
                      <a:pt x="179" y="54"/>
                    </a:lnTo>
                    <a:lnTo>
                      <a:pt x="177" y="54"/>
                    </a:lnTo>
                    <a:lnTo>
                      <a:pt x="177" y="57"/>
                    </a:lnTo>
                    <a:lnTo>
                      <a:pt x="175" y="57"/>
                    </a:lnTo>
                    <a:lnTo>
                      <a:pt x="172" y="54"/>
                    </a:lnTo>
                    <a:lnTo>
                      <a:pt x="172" y="52"/>
                    </a:lnTo>
                    <a:lnTo>
                      <a:pt x="170" y="49"/>
                    </a:lnTo>
                    <a:lnTo>
                      <a:pt x="168" y="47"/>
                    </a:lnTo>
                    <a:lnTo>
                      <a:pt x="165" y="47"/>
                    </a:lnTo>
                    <a:lnTo>
                      <a:pt x="163" y="45"/>
                    </a:lnTo>
                    <a:lnTo>
                      <a:pt x="161" y="45"/>
                    </a:lnTo>
                    <a:lnTo>
                      <a:pt x="158" y="42"/>
                    </a:lnTo>
                    <a:lnTo>
                      <a:pt x="158" y="40"/>
                    </a:lnTo>
                    <a:lnTo>
                      <a:pt x="156" y="40"/>
                    </a:lnTo>
                    <a:lnTo>
                      <a:pt x="153" y="40"/>
                    </a:lnTo>
                    <a:lnTo>
                      <a:pt x="151" y="40"/>
                    </a:lnTo>
                    <a:lnTo>
                      <a:pt x="151" y="42"/>
                    </a:lnTo>
                    <a:lnTo>
                      <a:pt x="149" y="42"/>
                    </a:lnTo>
                    <a:lnTo>
                      <a:pt x="149" y="42"/>
                    </a:lnTo>
                    <a:lnTo>
                      <a:pt x="146" y="42"/>
                    </a:lnTo>
                    <a:lnTo>
                      <a:pt x="144" y="42"/>
                    </a:lnTo>
                    <a:lnTo>
                      <a:pt x="142" y="42"/>
                    </a:lnTo>
                    <a:lnTo>
                      <a:pt x="137" y="42"/>
                    </a:lnTo>
                    <a:lnTo>
                      <a:pt x="135" y="42"/>
                    </a:lnTo>
                    <a:lnTo>
                      <a:pt x="132" y="42"/>
                    </a:lnTo>
                    <a:lnTo>
                      <a:pt x="127" y="40"/>
                    </a:lnTo>
                    <a:lnTo>
                      <a:pt x="125" y="42"/>
                    </a:lnTo>
                    <a:lnTo>
                      <a:pt x="120" y="42"/>
                    </a:lnTo>
                    <a:lnTo>
                      <a:pt x="118" y="42"/>
                    </a:lnTo>
                    <a:lnTo>
                      <a:pt x="116" y="42"/>
                    </a:lnTo>
                    <a:lnTo>
                      <a:pt x="111" y="42"/>
                    </a:lnTo>
                    <a:lnTo>
                      <a:pt x="108" y="45"/>
                    </a:lnTo>
                    <a:lnTo>
                      <a:pt x="106" y="45"/>
                    </a:lnTo>
                    <a:lnTo>
                      <a:pt x="106" y="42"/>
                    </a:lnTo>
                    <a:lnTo>
                      <a:pt x="101" y="40"/>
                    </a:lnTo>
                    <a:lnTo>
                      <a:pt x="99" y="38"/>
                    </a:lnTo>
                    <a:lnTo>
                      <a:pt x="97" y="35"/>
                    </a:lnTo>
                    <a:lnTo>
                      <a:pt x="94" y="33"/>
                    </a:lnTo>
                    <a:lnTo>
                      <a:pt x="92" y="33"/>
                    </a:lnTo>
                    <a:lnTo>
                      <a:pt x="90" y="30"/>
                    </a:lnTo>
                    <a:lnTo>
                      <a:pt x="87" y="28"/>
                    </a:lnTo>
                    <a:lnTo>
                      <a:pt x="87" y="26"/>
                    </a:lnTo>
                    <a:lnTo>
                      <a:pt x="87" y="26"/>
                    </a:lnTo>
                    <a:lnTo>
                      <a:pt x="85" y="23"/>
                    </a:lnTo>
                    <a:lnTo>
                      <a:pt x="80" y="23"/>
                    </a:lnTo>
                    <a:lnTo>
                      <a:pt x="78" y="21"/>
                    </a:lnTo>
                    <a:lnTo>
                      <a:pt x="75" y="21"/>
                    </a:lnTo>
                    <a:lnTo>
                      <a:pt x="73" y="19"/>
                    </a:lnTo>
                    <a:lnTo>
                      <a:pt x="71" y="16"/>
                    </a:lnTo>
                    <a:lnTo>
                      <a:pt x="68" y="16"/>
                    </a:lnTo>
                    <a:lnTo>
                      <a:pt x="66" y="14"/>
                    </a:lnTo>
                    <a:lnTo>
                      <a:pt x="64" y="14"/>
                    </a:lnTo>
                    <a:lnTo>
                      <a:pt x="59" y="9"/>
                    </a:lnTo>
                    <a:lnTo>
                      <a:pt x="56" y="9"/>
                    </a:lnTo>
                    <a:lnTo>
                      <a:pt x="54" y="7"/>
                    </a:lnTo>
                    <a:lnTo>
                      <a:pt x="52" y="7"/>
                    </a:lnTo>
                    <a:lnTo>
                      <a:pt x="49" y="4"/>
                    </a:lnTo>
                    <a:lnTo>
                      <a:pt x="47" y="4"/>
                    </a:lnTo>
                    <a:lnTo>
                      <a:pt x="45" y="2"/>
                    </a:lnTo>
                    <a:lnTo>
                      <a:pt x="42" y="0"/>
                    </a:lnTo>
                    <a:lnTo>
                      <a:pt x="40" y="0"/>
                    </a:lnTo>
                    <a:lnTo>
                      <a:pt x="38" y="0"/>
                    </a:lnTo>
                    <a:lnTo>
                      <a:pt x="35" y="0"/>
                    </a:lnTo>
                    <a:lnTo>
                      <a:pt x="33" y="2"/>
                    </a:lnTo>
                    <a:lnTo>
                      <a:pt x="30" y="2"/>
                    </a:lnTo>
                    <a:lnTo>
                      <a:pt x="26" y="4"/>
                    </a:lnTo>
                    <a:lnTo>
                      <a:pt x="23" y="4"/>
                    </a:lnTo>
                    <a:lnTo>
                      <a:pt x="21" y="4"/>
                    </a:lnTo>
                    <a:lnTo>
                      <a:pt x="19" y="7"/>
                    </a:lnTo>
                    <a:lnTo>
                      <a:pt x="14" y="7"/>
                    </a:lnTo>
                    <a:lnTo>
                      <a:pt x="11" y="7"/>
                    </a:lnTo>
                    <a:lnTo>
                      <a:pt x="9" y="9"/>
                    </a:lnTo>
                    <a:lnTo>
                      <a:pt x="7" y="9"/>
                    </a:lnTo>
                    <a:lnTo>
                      <a:pt x="4" y="9"/>
                    </a:lnTo>
                    <a:lnTo>
                      <a:pt x="2" y="12"/>
                    </a:lnTo>
                    <a:lnTo>
                      <a:pt x="0" y="14"/>
                    </a:lnTo>
                    <a:lnTo>
                      <a:pt x="0" y="19"/>
                    </a:lnTo>
                    <a:lnTo>
                      <a:pt x="2" y="23"/>
                    </a:lnTo>
                    <a:lnTo>
                      <a:pt x="2" y="28"/>
                    </a:lnTo>
                    <a:lnTo>
                      <a:pt x="2" y="33"/>
                    </a:lnTo>
                    <a:lnTo>
                      <a:pt x="4" y="38"/>
                    </a:lnTo>
                    <a:lnTo>
                      <a:pt x="4" y="42"/>
                    </a:lnTo>
                    <a:lnTo>
                      <a:pt x="7" y="47"/>
                    </a:lnTo>
                    <a:lnTo>
                      <a:pt x="7" y="52"/>
                    </a:lnTo>
                    <a:lnTo>
                      <a:pt x="9" y="54"/>
                    </a:lnTo>
                    <a:lnTo>
                      <a:pt x="9" y="59"/>
                    </a:lnTo>
                    <a:lnTo>
                      <a:pt x="9" y="64"/>
                    </a:lnTo>
                    <a:lnTo>
                      <a:pt x="11" y="68"/>
                    </a:lnTo>
                    <a:lnTo>
                      <a:pt x="11" y="73"/>
                    </a:lnTo>
                    <a:lnTo>
                      <a:pt x="14" y="78"/>
                    </a:lnTo>
                    <a:lnTo>
                      <a:pt x="14" y="83"/>
                    </a:lnTo>
                    <a:lnTo>
                      <a:pt x="14" y="87"/>
                    </a:lnTo>
                    <a:lnTo>
                      <a:pt x="19" y="90"/>
                    </a:lnTo>
                    <a:lnTo>
                      <a:pt x="23" y="90"/>
                    </a:lnTo>
                    <a:lnTo>
                      <a:pt x="28" y="90"/>
                    </a:lnTo>
                    <a:lnTo>
                      <a:pt x="30" y="90"/>
                    </a:lnTo>
                    <a:lnTo>
                      <a:pt x="33" y="90"/>
                    </a:lnTo>
                    <a:lnTo>
                      <a:pt x="33" y="90"/>
                    </a:lnTo>
                    <a:lnTo>
                      <a:pt x="33" y="90"/>
                    </a:lnTo>
                    <a:lnTo>
                      <a:pt x="35" y="87"/>
                    </a:lnTo>
                    <a:lnTo>
                      <a:pt x="35" y="87"/>
                    </a:lnTo>
                    <a:lnTo>
                      <a:pt x="35" y="87"/>
                    </a:lnTo>
                    <a:lnTo>
                      <a:pt x="33" y="87"/>
                    </a:lnTo>
                    <a:lnTo>
                      <a:pt x="33" y="85"/>
                    </a:lnTo>
                    <a:lnTo>
                      <a:pt x="30" y="80"/>
                    </a:lnTo>
                    <a:lnTo>
                      <a:pt x="30" y="78"/>
                    </a:lnTo>
                    <a:lnTo>
                      <a:pt x="30" y="75"/>
                    </a:lnTo>
                    <a:lnTo>
                      <a:pt x="33" y="75"/>
                    </a:lnTo>
                    <a:lnTo>
                      <a:pt x="33" y="73"/>
                    </a:lnTo>
                    <a:lnTo>
                      <a:pt x="33" y="71"/>
                    </a:lnTo>
                    <a:lnTo>
                      <a:pt x="35" y="71"/>
                    </a:lnTo>
                    <a:lnTo>
                      <a:pt x="40" y="71"/>
                    </a:lnTo>
                    <a:lnTo>
                      <a:pt x="42" y="71"/>
                    </a:lnTo>
                    <a:lnTo>
                      <a:pt x="42" y="71"/>
                    </a:lnTo>
                    <a:lnTo>
                      <a:pt x="45" y="68"/>
                    </a:lnTo>
                    <a:lnTo>
                      <a:pt x="45" y="66"/>
                    </a:lnTo>
                    <a:lnTo>
                      <a:pt x="45" y="66"/>
                    </a:lnTo>
                    <a:lnTo>
                      <a:pt x="45" y="64"/>
                    </a:lnTo>
                    <a:lnTo>
                      <a:pt x="45" y="64"/>
                    </a:lnTo>
                    <a:lnTo>
                      <a:pt x="47" y="66"/>
                    </a:lnTo>
                    <a:lnTo>
                      <a:pt x="49" y="66"/>
                    </a:lnTo>
                    <a:lnTo>
                      <a:pt x="49" y="66"/>
                    </a:lnTo>
                    <a:lnTo>
                      <a:pt x="49" y="66"/>
                    </a:lnTo>
                    <a:lnTo>
                      <a:pt x="52" y="68"/>
                    </a:lnTo>
                    <a:lnTo>
                      <a:pt x="52" y="68"/>
                    </a:lnTo>
                    <a:lnTo>
                      <a:pt x="52" y="68"/>
                    </a:lnTo>
                    <a:lnTo>
                      <a:pt x="52" y="68"/>
                    </a:lnTo>
                    <a:lnTo>
                      <a:pt x="54" y="68"/>
                    </a:lnTo>
                    <a:lnTo>
                      <a:pt x="54" y="68"/>
                    </a:lnTo>
                    <a:lnTo>
                      <a:pt x="54" y="68"/>
                    </a:lnTo>
                    <a:lnTo>
                      <a:pt x="54" y="68"/>
                    </a:lnTo>
                    <a:lnTo>
                      <a:pt x="52" y="66"/>
                    </a:lnTo>
                    <a:lnTo>
                      <a:pt x="49" y="64"/>
                    </a:lnTo>
                    <a:lnTo>
                      <a:pt x="47" y="64"/>
                    </a:lnTo>
                    <a:lnTo>
                      <a:pt x="47" y="61"/>
                    </a:lnTo>
                    <a:lnTo>
                      <a:pt x="47" y="61"/>
                    </a:lnTo>
                    <a:lnTo>
                      <a:pt x="47" y="61"/>
                    </a:lnTo>
                    <a:lnTo>
                      <a:pt x="47" y="61"/>
                    </a:lnTo>
                    <a:lnTo>
                      <a:pt x="49" y="61"/>
                    </a:lnTo>
                    <a:lnTo>
                      <a:pt x="52" y="61"/>
                    </a:lnTo>
                    <a:lnTo>
                      <a:pt x="52" y="61"/>
                    </a:lnTo>
                    <a:lnTo>
                      <a:pt x="54" y="59"/>
                    </a:lnTo>
                    <a:lnTo>
                      <a:pt x="56" y="61"/>
                    </a:lnTo>
                    <a:lnTo>
                      <a:pt x="59" y="64"/>
                    </a:lnTo>
                    <a:lnTo>
                      <a:pt x="59" y="64"/>
                    </a:lnTo>
                    <a:lnTo>
                      <a:pt x="61" y="64"/>
                    </a:lnTo>
                    <a:lnTo>
                      <a:pt x="64" y="64"/>
                    </a:lnTo>
                    <a:lnTo>
                      <a:pt x="64" y="64"/>
                    </a:lnTo>
                    <a:lnTo>
                      <a:pt x="66" y="64"/>
                    </a:lnTo>
                    <a:lnTo>
                      <a:pt x="66" y="66"/>
                    </a:lnTo>
                    <a:lnTo>
                      <a:pt x="68" y="68"/>
                    </a:lnTo>
                    <a:lnTo>
                      <a:pt x="71" y="68"/>
                    </a:lnTo>
                    <a:lnTo>
                      <a:pt x="75" y="68"/>
                    </a:lnTo>
                    <a:lnTo>
                      <a:pt x="78" y="68"/>
                    </a:lnTo>
                    <a:lnTo>
                      <a:pt x="78" y="68"/>
                    </a:lnTo>
                    <a:lnTo>
                      <a:pt x="80" y="71"/>
                    </a:lnTo>
                    <a:lnTo>
                      <a:pt x="80" y="71"/>
                    </a:lnTo>
                    <a:lnTo>
                      <a:pt x="80" y="71"/>
                    </a:lnTo>
                    <a:lnTo>
                      <a:pt x="80" y="71"/>
                    </a:lnTo>
                    <a:lnTo>
                      <a:pt x="80" y="73"/>
                    </a:lnTo>
                    <a:lnTo>
                      <a:pt x="80" y="73"/>
                    </a:lnTo>
                    <a:lnTo>
                      <a:pt x="80" y="75"/>
                    </a:lnTo>
                    <a:lnTo>
                      <a:pt x="80" y="75"/>
                    </a:lnTo>
                    <a:lnTo>
                      <a:pt x="80" y="75"/>
                    </a:lnTo>
                    <a:lnTo>
                      <a:pt x="82" y="75"/>
                    </a:lnTo>
                    <a:lnTo>
                      <a:pt x="85" y="78"/>
                    </a:lnTo>
                    <a:lnTo>
                      <a:pt x="85" y="78"/>
                    </a:lnTo>
                    <a:lnTo>
                      <a:pt x="85" y="78"/>
                    </a:lnTo>
                    <a:lnTo>
                      <a:pt x="85" y="78"/>
                    </a:lnTo>
                    <a:lnTo>
                      <a:pt x="82" y="78"/>
                    </a:lnTo>
                    <a:lnTo>
                      <a:pt x="82" y="80"/>
                    </a:lnTo>
                    <a:lnTo>
                      <a:pt x="82" y="80"/>
                    </a:lnTo>
                    <a:lnTo>
                      <a:pt x="85" y="83"/>
                    </a:lnTo>
                    <a:lnTo>
                      <a:pt x="85" y="83"/>
                    </a:lnTo>
                    <a:lnTo>
                      <a:pt x="85" y="83"/>
                    </a:lnTo>
                    <a:lnTo>
                      <a:pt x="85" y="85"/>
                    </a:lnTo>
                    <a:lnTo>
                      <a:pt x="85" y="87"/>
                    </a:lnTo>
                    <a:lnTo>
                      <a:pt x="85" y="87"/>
                    </a:lnTo>
                    <a:lnTo>
                      <a:pt x="87" y="87"/>
                    </a:lnTo>
                    <a:lnTo>
                      <a:pt x="92" y="90"/>
                    </a:lnTo>
                    <a:lnTo>
                      <a:pt x="92" y="90"/>
                    </a:lnTo>
                    <a:lnTo>
                      <a:pt x="97" y="90"/>
                    </a:lnTo>
                    <a:lnTo>
                      <a:pt x="99" y="90"/>
                    </a:lnTo>
                    <a:lnTo>
                      <a:pt x="99" y="90"/>
                    </a:lnTo>
                    <a:lnTo>
                      <a:pt x="104" y="90"/>
                    </a:lnTo>
                    <a:lnTo>
                      <a:pt x="104" y="92"/>
                    </a:lnTo>
                    <a:lnTo>
                      <a:pt x="106" y="92"/>
                    </a:lnTo>
                    <a:lnTo>
                      <a:pt x="106" y="92"/>
                    </a:lnTo>
                    <a:lnTo>
                      <a:pt x="108" y="90"/>
                    </a:lnTo>
                    <a:lnTo>
                      <a:pt x="108" y="90"/>
                    </a:lnTo>
                    <a:lnTo>
                      <a:pt x="108" y="90"/>
                    </a:lnTo>
                    <a:lnTo>
                      <a:pt x="108" y="90"/>
                    </a:lnTo>
                    <a:lnTo>
                      <a:pt x="113" y="90"/>
                    </a:lnTo>
                    <a:lnTo>
                      <a:pt x="116" y="92"/>
                    </a:lnTo>
                    <a:lnTo>
                      <a:pt x="118" y="92"/>
                    </a:lnTo>
                    <a:lnTo>
                      <a:pt x="118" y="94"/>
                    </a:lnTo>
                    <a:lnTo>
                      <a:pt x="120" y="97"/>
                    </a:lnTo>
                    <a:lnTo>
                      <a:pt x="123" y="102"/>
                    </a:lnTo>
                    <a:lnTo>
                      <a:pt x="125" y="104"/>
                    </a:lnTo>
                    <a:lnTo>
                      <a:pt x="127" y="106"/>
                    </a:lnTo>
                    <a:lnTo>
                      <a:pt x="130" y="109"/>
                    </a:lnTo>
                    <a:lnTo>
                      <a:pt x="132" y="116"/>
                    </a:lnTo>
                    <a:lnTo>
                      <a:pt x="132" y="116"/>
                    </a:lnTo>
                    <a:lnTo>
                      <a:pt x="132" y="116"/>
                    </a:lnTo>
                    <a:lnTo>
                      <a:pt x="137" y="118"/>
                    </a:lnTo>
                    <a:lnTo>
                      <a:pt x="142" y="120"/>
                    </a:lnTo>
                    <a:lnTo>
                      <a:pt x="144" y="123"/>
                    </a:lnTo>
                    <a:lnTo>
                      <a:pt x="149" y="125"/>
                    </a:lnTo>
                    <a:lnTo>
                      <a:pt x="153" y="128"/>
                    </a:lnTo>
                    <a:lnTo>
                      <a:pt x="158" y="132"/>
                    </a:lnTo>
                    <a:lnTo>
                      <a:pt x="158" y="132"/>
                    </a:lnTo>
                    <a:lnTo>
                      <a:pt x="163" y="135"/>
                    </a:lnTo>
                    <a:lnTo>
                      <a:pt x="165" y="137"/>
                    </a:lnTo>
                    <a:lnTo>
                      <a:pt x="168" y="135"/>
                    </a:lnTo>
                    <a:lnTo>
                      <a:pt x="172" y="139"/>
                    </a:lnTo>
                    <a:lnTo>
                      <a:pt x="175" y="139"/>
                    </a:lnTo>
                    <a:lnTo>
                      <a:pt x="175" y="142"/>
                    </a:lnTo>
                    <a:lnTo>
                      <a:pt x="179" y="142"/>
                    </a:lnTo>
                    <a:lnTo>
                      <a:pt x="184" y="144"/>
                    </a:lnTo>
                    <a:lnTo>
                      <a:pt x="189" y="149"/>
                    </a:lnTo>
                    <a:lnTo>
                      <a:pt x="194" y="151"/>
                    </a:lnTo>
                    <a:lnTo>
                      <a:pt x="196" y="151"/>
                    </a:lnTo>
                    <a:lnTo>
                      <a:pt x="196" y="151"/>
                    </a:lnTo>
                    <a:lnTo>
                      <a:pt x="196" y="151"/>
                    </a:lnTo>
                    <a:lnTo>
                      <a:pt x="198" y="151"/>
                    </a:lnTo>
                    <a:lnTo>
                      <a:pt x="201" y="151"/>
                    </a:lnTo>
                    <a:lnTo>
                      <a:pt x="203" y="151"/>
                    </a:lnTo>
                    <a:lnTo>
                      <a:pt x="203" y="154"/>
                    </a:lnTo>
                    <a:lnTo>
                      <a:pt x="205" y="154"/>
                    </a:lnTo>
                    <a:lnTo>
                      <a:pt x="208" y="156"/>
                    </a:lnTo>
                    <a:lnTo>
                      <a:pt x="208" y="156"/>
                    </a:lnTo>
                    <a:lnTo>
                      <a:pt x="213" y="156"/>
                    </a:lnTo>
                    <a:lnTo>
                      <a:pt x="213" y="156"/>
                    </a:lnTo>
                    <a:lnTo>
                      <a:pt x="213" y="158"/>
                    </a:lnTo>
                    <a:lnTo>
                      <a:pt x="213" y="158"/>
                    </a:lnTo>
                    <a:lnTo>
                      <a:pt x="213" y="161"/>
                    </a:lnTo>
                    <a:lnTo>
                      <a:pt x="213" y="165"/>
                    </a:lnTo>
                    <a:lnTo>
                      <a:pt x="213" y="168"/>
                    </a:lnTo>
                    <a:lnTo>
                      <a:pt x="215" y="170"/>
                    </a:lnTo>
                    <a:lnTo>
                      <a:pt x="220" y="170"/>
                    </a:lnTo>
                    <a:lnTo>
                      <a:pt x="224" y="170"/>
                    </a:lnTo>
                    <a:lnTo>
                      <a:pt x="227" y="173"/>
                    </a:lnTo>
                    <a:lnTo>
                      <a:pt x="229" y="173"/>
                    </a:lnTo>
                    <a:lnTo>
                      <a:pt x="229" y="173"/>
                    </a:lnTo>
                    <a:lnTo>
                      <a:pt x="231" y="173"/>
                    </a:lnTo>
                    <a:lnTo>
                      <a:pt x="231" y="173"/>
                    </a:lnTo>
                    <a:lnTo>
                      <a:pt x="234" y="173"/>
                    </a:lnTo>
                    <a:lnTo>
                      <a:pt x="234" y="173"/>
                    </a:lnTo>
                    <a:lnTo>
                      <a:pt x="236" y="175"/>
                    </a:lnTo>
                    <a:lnTo>
                      <a:pt x="236" y="175"/>
                    </a:lnTo>
                    <a:lnTo>
                      <a:pt x="236" y="173"/>
                    </a:lnTo>
                    <a:lnTo>
                      <a:pt x="236" y="168"/>
                    </a:lnTo>
                    <a:lnTo>
                      <a:pt x="236" y="165"/>
                    </a:lnTo>
                    <a:lnTo>
                      <a:pt x="239" y="163"/>
                    </a:lnTo>
                    <a:lnTo>
                      <a:pt x="239" y="161"/>
                    </a:lnTo>
                    <a:lnTo>
                      <a:pt x="241" y="158"/>
                    </a:lnTo>
                    <a:lnTo>
                      <a:pt x="241" y="158"/>
                    </a:lnTo>
                    <a:lnTo>
                      <a:pt x="241" y="156"/>
                    </a:lnTo>
                    <a:lnTo>
                      <a:pt x="241" y="154"/>
                    </a:lnTo>
                    <a:lnTo>
                      <a:pt x="241" y="154"/>
                    </a:lnTo>
                    <a:lnTo>
                      <a:pt x="241" y="151"/>
                    </a:lnTo>
                    <a:lnTo>
                      <a:pt x="241" y="151"/>
                    </a:lnTo>
                    <a:lnTo>
                      <a:pt x="239" y="151"/>
                    </a:lnTo>
                    <a:lnTo>
                      <a:pt x="236" y="149"/>
                    </a:lnTo>
                    <a:lnTo>
                      <a:pt x="236" y="146"/>
                    </a:lnTo>
                    <a:lnTo>
                      <a:pt x="234" y="144"/>
                    </a:lnTo>
                    <a:lnTo>
                      <a:pt x="234" y="142"/>
                    </a:lnTo>
                    <a:lnTo>
                      <a:pt x="234" y="137"/>
                    </a:lnTo>
                    <a:lnTo>
                      <a:pt x="234" y="137"/>
                    </a:lnTo>
                    <a:lnTo>
                      <a:pt x="234" y="137"/>
                    </a:lnTo>
                    <a:lnTo>
                      <a:pt x="234" y="135"/>
                    </a:lnTo>
                    <a:lnTo>
                      <a:pt x="231" y="135"/>
                    </a:lnTo>
                    <a:lnTo>
                      <a:pt x="229" y="135"/>
                    </a:lnTo>
                    <a:lnTo>
                      <a:pt x="229" y="135"/>
                    </a:lnTo>
                    <a:lnTo>
                      <a:pt x="227" y="135"/>
                    </a:lnTo>
                    <a:lnTo>
                      <a:pt x="227" y="135"/>
                    </a:lnTo>
                    <a:lnTo>
                      <a:pt x="227" y="132"/>
                    </a:lnTo>
                    <a:lnTo>
                      <a:pt x="224" y="132"/>
                    </a:lnTo>
                    <a:lnTo>
                      <a:pt x="224" y="132"/>
                    </a:lnTo>
                    <a:lnTo>
                      <a:pt x="220" y="130"/>
                    </a:lnTo>
                    <a:lnTo>
                      <a:pt x="220" y="130"/>
                    </a:lnTo>
                    <a:lnTo>
                      <a:pt x="220" y="130"/>
                    </a:lnTo>
                    <a:lnTo>
                      <a:pt x="220" y="125"/>
                    </a:lnTo>
                    <a:lnTo>
                      <a:pt x="220" y="125"/>
                    </a:lnTo>
                    <a:lnTo>
                      <a:pt x="220" y="125"/>
                    </a:lnTo>
                    <a:lnTo>
                      <a:pt x="222" y="123"/>
                    </a:lnTo>
                    <a:lnTo>
                      <a:pt x="224" y="123"/>
                    </a:lnTo>
                    <a:lnTo>
                      <a:pt x="227" y="123"/>
                    </a:lnTo>
                    <a:lnTo>
                      <a:pt x="231" y="123"/>
                    </a:lnTo>
                    <a:lnTo>
                      <a:pt x="234" y="123"/>
                    </a:lnTo>
                    <a:lnTo>
                      <a:pt x="234" y="123"/>
                    </a:lnTo>
                    <a:lnTo>
                      <a:pt x="236" y="125"/>
                    </a:lnTo>
                    <a:lnTo>
                      <a:pt x="236" y="123"/>
                    </a:lnTo>
                    <a:lnTo>
                      <a:pt x="239" y="123"/>
                    </a:lnTo>
                    <a:lnTo>
                      <a:pt x="239" y="123"/>
                    </a:lnTo>
                    <a:lnTo>
                      <a:pt x="239" y="120"/>
                    </a:lnTo>
                    <a:lnTo>
                      <a:pt x="239" y="118"/>
                    </a:lnTo>
                    <a:lnTo>
                      <a:pt x="239" y="118"/>
                    </a:lnTo>
                    <a:lnTo>
                      <a:pt x="241" y="118"/>
                    </a:lnTo>
                    <a:lnTo>
                      <a:pt x="241" y="118"/>
                    </a:lnTo>
                    <a:lnTo>
                      <a:pt x="241" y="116"/>
                    </a:lnTo>
                    <a:lnTo>
                      <a:pt x="241" y="116"/>
                    </a:lnTo>
                    <a:lnTo>
                      <a:pt x="241" y="116"/>
                    </a:lnTo>
                    <a:lnTo>
                      <a:pt x="241" y="116"/>
                    </a:lnTo>
                    <a:lnTo>
                      <a:pt x="243" y="116"/>
                    </a:lnTo>
                    <a:lnTo>
                      <a:pt x="243" y="116"/>
                    </a:lnTo>
                    <a:lnTo>
                      <a:pt x="243" y="116"/>
                    </a:lnTo>
                    <a:lnTo>
                      <a:pt x="241" y="116"/>
                    </a:lnTo>
                    <a:lnTo>
                      <a:pt x="241" y="116"/>
                    </a:lnTo>
                    <a:lnTo>
                      <a:pt x="241" y="116"/>
                    </a:lnTo>
                    <a:lnTo>
                      <a:pt x="241" y="116"/>
                    </a:lnTo>
                    <a:lnTo>
                      <a:pt x="243" y="113"/>
                    </a:lnTo>
                    <a:lnTo>
                      <a:pt x="243" y="113"/>
                    </a:lnTo>
                    <a:lnTo>
                      <a:pt x="243" y="113"/>
                    </a:lnTo>
                    <a:lnTo>
                      <a:pt x="243" y="113"/>
                    </a:lnTo>
                    <a:lnTo>
                      <a:pt x="243" y="113"/>
                    </a:lnTo>
                    <a:lnTo>
                      <a:pt x="241" y="113"/>
                    </a:lnTo>
                    <a:lnTo>
                      <a:pt x="239" y="113"/>
                    </a:lnTo>
                    <a:lnTo>
                      <a:pt x="236" y="113"/>
                    </a:lnTo>
                    <a:lnTo>
                      <a:pt x="236" y="113"/>
                    </a:lnTo>
                    <a:lnTo>
                      <a:pt x="236" y="111"/>
                    </a:lnTo>
                    <a:lnTo>
                      <a:pt x="243" y="111"/>
                    </a:lnTo>
                    <a:lnTo>
                      <a:pt x="246" y="111"/>
                    </a:lnTo>
                    <a:lnTo>
                      <a:pt x="248" y="111"/>
                    </a:lnTo>
                    <a:lnTo>
                      <a:pt x="248" y="111"/>
                    </a:lnTo>
                    <a:lnTo>
                      <a:pt x="246" y="109"/>
                    </a:lnTo>
                    <a:lnTo>
                      <a:pt x="248" y="109"/>
                    </a:lnTo>
                    <a:lnTo>
                      <a:pt x="248" y="109"/>
                    </a:lnTo>
                    <a:lnTo>
                      <a:pt x="246" y="104"/>
                    </a:lnTo>
                    <a:lnTo>
                      <a:pt x="246" y="104"/>
                    </a:lnTo>
                    <a:lnTo>
                      <a:pt x="246" y="102"/>
                    </a:lnTo>
                    <a:lnTo>
                      <a:pt x="246" y="102"/>
                    </a:lnTo>
                    <a:lnTo>
                      <a:pt x="246" y="99"/>
                    </a:lnTo>
                    <a:lnTo>
                      <a:pt x="248" y="99"/>
                    </a:lnTo>
                    <a:lnTo>
                      <a:pt x="248" y="99"/>
                    </a:lnTo>
                    <a:lnTo>
                      <a:pt x="250" y="102"/>
                    </a:lnTo>
                    <a:lnTo>
                      <a:pt x="253" y="102"/>
                    </a:lnTo>
                    <a:lnTo>
                      <a:pt x="253" y="102"/>
                    </a:lnTo>
                    <a:lnTo>
                      <a:pt x="255" y="102"/>
                    </a:lnTo>
                    <a:lnTo>
                      <a:pt x="258" y="99"/>
                    </a:lnTo>
                    <a:lnTo>
                      <a:pt x="260" y="99"/>
                    </a:lnTo>
                    <a:lnTo>
                      <a:pt x="262" y="97"/>
                    </a:lnTo>
                    <a:lnTo>
                      <a:pt x="262" y="97"/>
                    </a:lnTo>
                    <a:lnTo>
                      <a:pt x="262" y="94"/>
                    </a:lnTo>
                    <a:lnTo>
                      <a:pt x="262" y="94"/>
                    </a:lnTo>
                    <a:lnTo>
                      <a:pt x="265" y="94"/>
                    </a:lnTo>
                    <a:lnTo>
                      <a:pt x="267" y="97"/>
                    </a:lnTo>
                    <a:lnTo>
                      <a:pt x="269" y="99"/>
                    </a:lnTo>
                    <a:lnTo>
                      <a:pt x="269" y="99"/>
                    </a:lnTo>
                    <a:lnTo>
                      <a:pt x="269" y="99"/>
                    </a:lnTo>
                    <a:lnTo>
                      <a:pt x="269" y="99"/>
                    </a:lnTo>
                    <a:lnTo>
                      <a:pt x="269" y="102"/>
                    </a:lnTo>
                    <a:lnTo>
                      <a:pt x="272" y="102"/>
                    </a:lnTo>
                    <a:lnTo>
                      <a:pt x="269" y="102"/>
                    </a:lnTo>
                    <a:lnTo>
                      <a:pt x="269" y="102"/>
                    </a:lnTo>
                    <a:lnTo>
                      <a:pt x="269" y="102"/>
                    </a:lnTo>
                    <a:lnTo>
                      <a:pt x="267" y="104"/>
                    </a:lnTo>
                    <a:lnTo>
                      <a:pt x="265" y="106"/>
                    </a:lnTo>
                    <a:lnTo>
                      <a:pt x="265" y="106"/>
                    </a:lnTo>
                    <a:lnTo>
                      <a:pt x="265" y="106"/>
                    </a:lnTo>
                    <a:lnTo>
                      <a:pt x="267" y="109"/>
                    </a:lnTo>
                    <a:lnTo>
                      <a:pt x="267" y="109"/>
                    </a:lnTo>
                    <a:lnTo>
                      <a:pt x="267" y="109"/>
                    </a:lnTo>
                    <a:lnTo>
                      <a:pt x="269" y="109"/>
                    </a:lnTo>
                    <a:lnTo>
                      <a:pt x="269" y="111"/>
                    </a:lnTo>
                    <a:lnTo>
                      <a:pt x="272" y="111"/>
                    </a:lnTo>
                    <a:lnTo>
                      <a:pt x="272" y="111"/>
                    </a:lnTo>
                    <a:lnTo>
                      <a:pt x="276" y="111"/>
                    </a:lnTo>
                    <a:lnTo>
                      <a:pt x="276" y="111"/>
                    </a:lnTo>
                    <a:lnTo>
                      <a:pt x="276" y="111"/>
                    </a:lnTo>
                    <a:lnTo>
                      <a:pt x="279" y="111"/>
                    </a:lnTo>
                    <a:lnTo>
                      <a:pt x="284" y="111"/>
                    </a:lnTo>
                    <a:lnTo>
                      <a:pt x="284" y="111"/>
                    </a:lnTo>
                    <a:lnTo>
                      <a:pt x="286" y="111"/>
                    </a:lnTo>
                    <a:lnTo>
                      <a:pt x="286" y="111"/>
                    </a:lnTo>
                    <a:lnTo>
                      <a:pt x="288" y="111"/>
                    </a:lnTo>
                    <a:lnTo>
                      <a:pt x="288" y="111"/>
                    </a:lnTo>
                    <a:lnTo>
                      <a:pt x="288" y="111"/>
                    </a:lnTo>
                    <a:lnTo>
                      <a:pt x="288" y="111"/>
                    </a:lnTo>
                    <a:lnTo>
                      <a:pt x="291" y="113"/>
                    </a:lnTo>
                    <a:lnTo>
                      <a:pt x="291" y="111"/>
                    </a:lnTo>
                    <a:lnTo>
                      <a:pt x="293" y="111"/>
                    </a:lnTo>
                    <a:lnTo>
                      <a:pt x="293" y="111"/>
                    </a:lnTo>
                    <a:lnTo>
                      <a:pt x="293" y="111"/>
                    </a:lnTo>
                    <a:lnTo>
                      <a:pt x="293" y="109"/>
                    </a:lnTo>
                    <a:lnTo>
                      <a:pt x="295" y="109"/>
                    </a:lnTo>
                    <a:lnTo>
                      <a:pt x="295" y="106"/>
                    </a:lnTo>
                    <a:lnTo>
                      <a:pt x="298" y="106"/>
                    </a:lnTo>
                    <a:lnTo>
                      <a:pt x="298" y="106"/>
                    </a:lnTo>
                    <a:lnTo>
                      <a:pt x="298" y="106"/>
                    </a:lnTo>
                    <a:lnTo>
                      <a:pt x="298" y="106"/>
                    </a:lnTo>
                    <a:lnTo>
                      <a:pt x="300" y="106"/>
                    </a:lnTo>
                    <a:lnTo>
                      <a:pt x="300" y="106"/>
                    </a:lnTo>
                    <a:lnTo>
                      <a:pt x="300" y="106"/>
                    </a:lnTo>
                    <a:lnTo>
                      <a:pt x="300" y="104"/>
                    </a:lnTo>
                    <a:lnTo>
                      <a:pt x="300" y="104"/>
                    </a:lnTo>
                    <a:lnTo>
                      <a:pt x="300" y="104"/>
                    </a:lnTo>
                    <a:lnTo>
                      <a:pt x="300" y="104"/>
                    </a:lnTo>
                    <a:lnTo>
                      <a:pt x="302" y="104"/>
                    </a:lnTo>
                    <a:lnTo>
                      <a:pt x="302" y="104"/>
                    </a:lnTo>
                    <a:lnTo>
                      <a:pt x="305" y="104"/>
                    </a:lnTo>
                    <a:lnTo>
                      <a:pt x="305" y="104"/>
                    </a:lnTo>
                    <a:lnTo>
                      <a:pt x="305" y="102"/>
                    </a:lnTo>
                    <a:lnTo>
                      <a:pt x="310" y="99"/>
                    </a:lnTo>
                    <a:lnTo>
                      <a:pt x="312" y="99"/>
                    </a:lnTo>
                    <a:lnTo>
                      <a:pt x="312" y="99"/>
                    </a:lnTo>
                    <a:close/>
                    <a:moveTo>
                      <a:pt x="267" y="97"/>
                    </a:moveTo>
                    <a:lnTo>
                      <a:pt x="267" y="94"/>
                    </a:lnTo>
                    <a:lnTo>
                      <a:pt x="265" y="94"/>
                    </a:lnTo>
                    <a:lnTo>
                      <a:pt x="267" y="94"/>
                    </a:lnTo>
                    <a:lnTo>
                      <a:pt x="267" y="94"/>
                    </a:lnTo>
                    <a:lnTo>
                      <a:pt x="267" y="97"/>
                    </a:lnTo>
                    <a:lnTo>
                      <a:pt x="267" y="97"/>
                    </a:lnTo>
                    <a:lnTo>
                      <a:pt x="267" y="97"/>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1" name="Freeform 13"/>
              <p:cNvSpPr>
                <a:spLocks/>
              </p:cNvSpPr>
              <p:nvPr/>
            </p:nvSpPr>
            <p:spPr bwMode="auto">
              <a:xfrm>
                <a:off x="1722" y="3437"/>
                <a:ext cx="95" cy="102"/>
              </a:xfrm>
              <a:custGeom>
                <a:avLst/>
                <a:gdLst>
                  <a:gd name="T0" fmla="*/ 90 w 95"/>
                  <a:gd name="T1" fmla="*/ 73 h 102"/>
                  <a:gd name="T2" fmla="*/ 88 w 95"/>
                  <a:gd name="T3" fmla="*/ 64 h 102"/>
                  <a:gd name="T4" fmla="*/ 90 w 95"/>
                  <a:gd name="T5" fmla="*/ 62 h 102"/>
                  <a:gd name="T6" fmla="*/ 95 w 95"/>
                  <a:gd name="T7" fmla="*/ 54 h 102"/>
                  <a:gd name="T8" fmla="*/ 90 w 95"/>
                  <a:gd name="T9" fmla="*/ 52 h 102"/>
                  <a:gd name="T10" fmla="*/ 83 w 95"/>
                  <a:gd name="T11" fmla="*/ 45 h 102"/>
                  <a:gd name="T12" fmla="*/ 80 w 95"/>
                  <a:gd name="T13" fmla="*/ 40 h 102"/>
                  <a:gd name="T14" fmla="*/ 76 w 95"/>
                  <a:gd name="T15" fmla="*/ 38 h 102"/>
                  <a:gd name="T16" fmla="*/ 71 w 95"/>
                  <a:gd name="T17" fmla="*/ 35 h 102"/>
                  <a:gd name="T18" fmla="*/ 64 w 95"/>
                  <a:gd name="T19" fmla="*/ 31 h 102"/>
                  <a:gd name="T20" fmla="*/ 54 w 95"/>
                  <a:gd name="T21" fmla="*/ 24 h 102"/>
                  <a:gd name="T22" fmla="*/ 50 w 95"/>
                  <a:gd name="T23" fmla="*/ 24 h 102"/>
                  <a:gd name="T24" fmla="*/ 47 w 95"/>
                  <a:gd name="T25" fmla="*/ 21 h 102"/>
                  <a:gd name="T26" fmla="*/ 43 w 95"/>
                  <a:gd name="T27" fmla="*/ 17 h 102"/>
                  <a:gd name="T28" fmla="*/ 40 w 95"/>
                  <a:gd name="T29" fmla="*/ 17 h 102"/>
                  <a:gd name="T30" fmla="*/ 40 w 95"/>
                  <a:gd name="T31" fmla="*/ 19 h 102"/>
                  <a:gd name="T32" fmla="*/ 35 w 95"/>
                  <a:gd name="T33" fmla="*/ 19 h 102"/>
                  <a:gd name="T34" fmla="*/ 35 w 95"/>
                  <a:gd name="T35" fmla="*/ 19 h 102"/>
                  <a:gd name="T36" fmla="*/ 33 w 95"/>
                  <a:gd name="T37" fmla="*/ 12 h 102"/>
                  <a:gd name="T38" fmla="*/ 19 w 95"/>
                  <a:gd name="T39" fmla="*/ 2 h 102"/>
                  <a:gd name="T40" fmla="*/ 14 w 95"/>
                  <a:gd name="T41" fmla="*/ 0 h 102"/>
                  <a:gd name="T42" fmla="*/ 12 w 95"/>
                  <a:gd name="T43" fmla="*/ 2 h 102"/>
                  <a:gd name="T44" fmla="*/ 2 w 95"/>
                  <a:gd name="T45" fmla="*/ 2 h 102"/>
                  <a:gd name="T46" fmla="*/ 2 w 95"/>
                  <a:gd name="T47" fmla="*/ 5 h 102"/>
                  <a:gd name="T48" fmla="*/ 2 w 95"/>
                  <a:gd name="T49" fmla="*/ 12 h 102"/>
                  <a:gd name="T50" fmla="*/ 2 w 95"/>
                  <a:gd name="T51" fmla="*/ 17 h 102"/>
                  <a:gd name="T52" fmla="*/ 2 w 95"/>
                  <a:gd name="T53" fmla="*/ 21 h 102"/>
                  <a:gd name="T54" fmla="*/ 0 w 95"/>
                  <a:gd name="T55" fmla="*/ 26 h 102"/>
                  <a:gd name="T56" fmla="*/ 2 w 95"/>
                  <a:gd name="T57" fmla="*/ 31 h 102"/>
                  <a:gd name="T58" fmla="*/ 2 w 95"/>
                  <a:gd name="T59" fmla="*/ 35 h 102"/>
                  <a:gd name="T60" fmla="*/ 0 w 95"/>
                  <a:gd name="T61" fmla="*/ 38 h 102"/>
                  <a:gd name="T62" fmla="*/ 2 w 95"/>
                  <a:gd name="T63" fmla="*/ 43 h 102"/>
                  <a:gd name="T64" fmla="*/ 2 w 95"/>
                  <a:gd name="T65" fmla="*/ 47 h 102"/>
                  <a:gd name="T66" fmla="*/ 5 w 95"/>
                  <a:gd name="T67" fmla="*/ 54 h 102"/>
                  <a:gd name="T68" fmla="*/ 7 w 95"/>
                  <a:gd name="T69" fmla="*/ 62 h 102"/>
                  <a:gd name="T70" fmla="*/ 2 w 95"/>
                  <a:gd name="T71" fmla="*/ 64 h 102"/>
                  <a:gd name="T72" fmla="*/ 5 w 95"/>
                  <a:gd name="T73" fmla="*/ 76 h 102"/>
                  <a:gd name="T74" fmla="*/ 14 w 95"/>
                  <a:gd name="T75" fmla="*/ 88 h 102"/>
                  <a:gd name="T76" fmla="*/ 19 w 95"/>
                  <a:gd name="T77" fmla="*/ 92 h 102"/>
                  <a:gd name="T78" fmla="*/ 35 w 95"/>
                  <a:gd name="T79" fmla="*/ 97 h 102"/>
                  <a:gd name="T80" fmla="*/ 47 w 95"/>
                  <a:gd name="T81" fmla="*/ 102 h 102"/>
                  <a:gd name="T82" fmla="*/ 54 w 95"/>
                  <a:gd name="T83" fmla="*/ 99 h 102"/>
                  <a:gd name="T84" fmla="*/ 66 w 95"/>
                  <a:gd name="T85" fmla="*/ 102 h 102"/>
                  <a:gd name="T86" fmla="*/ 80 w 95"/>
                  <a:gd name="T87" fmla="*/ 97 h 102"/>
                  <a:gd name="T88" fmla="*/ 85 w 95"/>
                  <a:gd name="T89" fmla="*/ 92 h 102"/>
                  <a:gd name="T90" fmla="*/ 92 w 95"/>
                  <a:gd name="T91" fmla="*/ 83 h 102"/>
                  <a:gd name="T92" fmla="*/ 95 w 95"/>
                  <a:gd name="T93" fmla="*/ 76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5" h="102">
                    <a:moveTo>
                      <a:pt x="92" y="76"/>
                    </a:moveTo>
                    <a:lnTo>
                      <a:pt x="90" y="76"/>
                    </a:lnTo>
                    <a:lnTo>
                      <a:pt x="90" y="73"/>
                    </a:lnTo>
                    <a:lnTo>
                      <a:pt x="90" y="73"/>
                    </a:lnTo>
                    <a:lnTo>
                      <a:pt x="90" y="71"/>
                    </a:lnTo>
                    <a:lnTo>
                      <a:pt x="88" y="64"/>
                    </a:lnTo>
                    <a:lnTo>
                      <a:pt x="88" y="64"/>
                    </a:lnTo>
                    <a:lnTo>
                      <a:pt x="90" y="62"/>
                    </a:lnTo>
                    <a:lnTo>
                      <a:pt x="90" y="62"/>
                    </a:lnTo>
                    <a:lnTo>
                      <a:pt x="92" y="59"/>
                    </a:lnTo>
                    <a:lnTo>
                      <a:pt x="92" y="57"/>
                    </a:lnTo>
                    <a:lnTo>
                      <a:pt x="95" y="54"/>
                    </a:lnTo>
                    <a:lnTo>
                      <a:pt x="92" y="54"/>
                    </a:lnTo>
                    <a:lnTo>
                      <a:pt x="92" y="52"/>
                    </a:lnTo>
                    <a:lnTo>
                      <a:pt x="90" y="52"/>
                    </a:lnTo>
                    <a:lnTo>
                      <a:pt x="85" y="50"/>
                    </a:lnTo>
                    <a:lnTo>
                      <a:pt x="83" y="47"/>
                    </a:lnTo>
                    <a:lnTo>
                      <a:pt x="83" y="45"/>
                    </a:lnTo>
                    <a:lnTo>
                      <a:pt x="80" y="43"/>
                    </a:lnTo>
                    <a:lnTo>
                      <a:pt x="80" y="43"/>
                    </a:lnTo>
                    <a:lnTo>
                      <a:pt x="80" y="40"/>
                    </a:lnTo>
                    <a:lnTo>
                      <a:pt x="78" y="40"/>
                    </a:lnTo>
                    <a:lnTo>
                      <a:pt x="78" y="40"/>
                    </a:lnTo>
                    <a:lnTo>
                      <a:pt x="76" y="38"/>
                    </a:lnTo>
                    <a:lnTo>
                      <a:pt x="76" y="38"/>
                    </a:lnTo>
                    <a:lnTo>
                      <a:pt x="73" y="38"/>
                    </a:lnTo>
                    <a:lnTo>
                      <a:pt x="71" y="35"/>
                    </a:lnTo>
                    <a:lnTo>
                      <a:pt x="69" y="33"/>
                    </a:lnTo>
                    <a:lnTo>
                      <a:pt x="66" y="31"/>
                    </a:lnTo>
                    <a:lnTo>
                      <a:pt x="64" y="31"/>
                    </a:lnTo>
                    <a:lnTo>
                      <a:pt x="61" y="28"/>
                    </a:lnTo>
                    <a:lnTo>
                      <a:pt x="57" y="26"/>
                    </a:lnTo>
                    <a:lnTo>
                      <a:pt x="54" y="24"/>
                    </a:lnTo>
                    <a:lnTo>
                      <a:pt x="52" y="26"/>
                    </a:lnTo>
                    <a:lnTo>
                      <a:pt x="52" y="24"/>
                    </a:lnTo>
                    <a:lnTo>
                      <a:pt x="50" y="24"/>
                    </a:lnTo>
                    <a:lnTo>
                      <a:pt x="50" y="21"/>
                    </a:lnTo>
                    <a:lnTo>
                      <a:pt x="47" y="21"/>
                    </a:lnTo>
                    <a:lnTo>
                      <a:pt x="47" y="21"/>
                    </a:lnTo>
                    <a:lnTo>
                      <a:pt x="47" y="19"/>
                    </a:lnTo>
                    <a:lnTo>
                      <a:pt x="45" y="17"/>
                    </a:lnTo>
                    <a:lnTo>
                      <a:pt x="43" y="17"/>
                    </a:lnTo>
                    <a:lnTo>
                      <a:pt x="43" y="14"/>
                    </a:lnTo>
                    <a:lnTo>
                      <a:pt x="43" y="17"/>
                    </a:lnTo>
                    <a:lnTo>
                      <a:pt x="40" y="17"/>
                    </a:lnTo>
                    <a:lnTo>
                      <a:pt x="40" y="17"/>
                    </a:lnTo>
                    <a:lnTo>
                      <a:pt x="40" y="17"/>
                    </a:lnTo>
                    <a:lnTo>
                      <a:pt x="40" y="19"/>
                    </a:lnTo>
                    <a:lnTo>
                      <a:pt x="38" y="19"/>
                    </a:lnTo>
                    <a:lnTo>
                      <a:pt x="38" y="19"/>
                    </a:lnTo>
                    <a:lnTo>
                      <a:pt x="35" y="19"/>
                    </a:lnTo>
                    <a:lnTo>
                      <a:pt x="35" y="19"/>
                    </a:lnTo>
                    <a:lnTo>
                      <a:pt x="35" y="19"/>
                    </a:lnTo>
                    <a:lnTo>
                      <a:pt x="35" y="19"/>
                    </a:lnTo>
                    <a:lnTo>
                      <a:pt x="35" y="14"/>
                    </a:lnTo>
                    <a:lnTo>
                      <a:pt x="33" y="14"/>
                    </a:lnTo>
                    <a:lnTo>
                      <a:pt x="33" y="12"/>
                    </a:lnTo>
                    <a:lnTo>
                      <a:pt x="31" y="9"/>
                    </a:lnTo>
                    <a:lnTo>
                      <a:pt x="26" y="7"/>
                    </a:lnTo>
                    <a:lnTo>
                      <a:pt x="19" y="2"/>
                    </a:lnTo>
                    <a:lnTo>
                      <a:pt x="17" y="0"/>
                    </a:lnTo>
                    <a:lnTo>
                      <a:pt x="14" y="0"/>
                    </a:lnTo>
                    <a:lnTo>
                      <a:pt x="14" y="0"/>
                    </a:lnTo>
                    <a:lnTo>
                      <a:pt x="12" y="0"/>
                    </a:lnTo>
                    <a:lnTo>
                      <a:pt x="12" y="2"/>
                    </a:lnTo>
                    <a:lnTo>
                      <a:pt x="12" y="2"/>
                    </a:lnTo>
                    <a:lnTo>
                      <a:pt x="7" y="2"/>
                    </a:lnTo>
                    <a:lnTo>
                      <a:pt x="5" y="2"/>
                    </a:lnTo>
                    <a:lnTo>
                      <a:pt x="2" y="2"/>
                    </a:lnTo>
                    <a:lnTo>
                      <a:pt x="2" y="2"/>
                    </a:lnTo>
                    <a:lnTo>
                      <a:pt x="2" y="5"/>
                    </a:lnTo>
                    <a:lnTo>
                      <a:pt x="2" y="5"/>
                    </a:lnTo>
                    <a:lnTo>
                      <a:pt x="0" y="7"/>
                    </a:lnTo>
                    <a:lnTo>
                      <a:pt x="0" y="9"/>
                    </a:lnTo>
                    <a:lnTo>
                      <a:pt x="2" y="12"/>
                    </a:lnTo>
                    <a:lnTo>
                      <a:pt x="2" y="17"/>
                    </a:lnTo>
                    <a:lnTo>
                      <a:pt x="2" y="17"/>
                    </a:lnTo>
                    <a:lnTo>
                      <a:pt x="2" y="17"/>
                    </a:lnTo>
                    <a:lnTo>
                      <a:pt x="2" y="19"/>
                    </a:lnTo>
                    <a:lnTo>
                      <a:pt x="2" y="19"/>
                    </a:lnTo>
                    <a:lnTo>
                      <a:pt x="2" y="21"/>
                    </a:lnTo>
                    <a:lnTo>
                      <a:pt x="2" y="24"/>
                    </a:lnTo>
                    <a:lnTo>
                      <a:pt x="2" y="24"/>
                    </a:lnTo>
                    <a:lnTo>
                      <a:pt x="0" y="26"/>
                    </a:lnTo>
                    <a:lnTo>
                      <a:pt x="0" y="28"/>
                    </a:lnTo>
                    <a:lnTo>
                      <a:pt x="2" y="31"/>
                    </a:lnTo>
                    <a:lnTo>
                      <a:pt x="2" y="31"/>
                    </a:lnTo>
                    <a:lnTo>
                      <a:pt x="2" y="31"/>
                    </a:lnTo>
                    <a:lnTo>
                      <a:pt x="2" y="33"/>
                    </a:lnTo>
                    <a:lnTo>
                      <a:pt x="2" y="35"/>
                    </a:lnTo>
                    <a:lnTo>
                      <a:pt x="2" y="35"/>
                    </a:lnTo>
                    <a:lnTo>
                      <a:pt x="0" y="38"/>
                    </a:lnTo>
                    <a:lnTo>
                      <a:pt x="0" y="38"/>
                    </a:lnTo>
                    <a:lnTo>
                      <a:pt x="0" y="40"/>
                    </a:lnTo>
                    <a:lnTo>
                      <a:pt x="2" y="40"/>
                    </a:lnTo>
                    <a:lnTo>
                      <a:pt x="2" y="43"/>
                    </a:lnTo>
                    <a:lnTo>
                      <a:pt x="2" y="43"/>
                    </a:lnTo>
                    <a:lnTo>
                      <a:pt x="2" y="45"/>
                    </a:lnTo>
                    <a:lnTo>
                      <a:pt x="2" y="47"/>
                    </a:lnTo>
                    <a:lnTo>
                      <a:pt x="2" y="50"/>
                    </a:lnTo>
                    <a:lnTo>
                      <a:pt x="5" y="52"/>
                    </a:lnTo>
                    <a:lnTo>
                      <a:pt x="5" y="54"/>
                    </a:lnTo>
                    <a:lnTo>
                      <a:pt x="7" y="59"/>
                    </a:lnTo>
                    <a:lnTo>
                      <a:pt x="7" y="59"/>
                    </a:lnTo>
                    <a:lnTo>
                      <a:pt x="7" y="62"/>
                    </a:lnTo>
                    <a:lnTo>
                      <a:pt x="5" y="64"/>
                    </a:lnTo>
                    <a:lnTo>
                      <a:pt x="5" y="64"/>
                    </a:lnTo>
                    <a:lnTo>
                      <a:pt x="2" y="64"/>
                    </a:lnTo>
                    <a:lnTo>
                      <a:pt x="2" y="66"/>
                    </a:lnTo>
                    <a:lnTo>
                      <a:pt x="2" y="71"/>
                    </a:lnTo>
                    <a:lnTo>
                      <a:pt x="5" y="76"/>
                    </a:lnTo>
                    <a:lnTo>
                      <a:pt x="5" y="80"/>
                    </a:lnTo>
                    <a:lnTo>
                      <a:pt x="9" y="83"/>
                    </a:lnTo>
                    <a:lnTo>
                      <a:pt x="14" y="88"/>
                    </a:lnTo>
                    <a:lnTo>
                      <a:pt x="17" y="90"/>
                    </a:lnTo>
                    <a:lnTo>
                      <a:pt x="17" y="92"/>
                    </a:lnTo>
                    <a:lnTo>
                      <a:pt x="19" y="92"/>
                    </a:lnTo>
                    <a:lnTo>
                      <a:pt x="24" y="92"/>
                    </a:lnTo>
                    <a:lnTo>
                      <a:pt x="31" y="92"/>
                    </a:lnTo>
                    <a:lnTo>
                      <a:pt x="35" y="97"/>
                    </a:lnTo>
                    <a:lnTo>
                      <a:pt x="45" y="97"/>
                    </a:lnTo>
                    <a:lnTo>
                      <a:pt x="45" y="99"/>
                    </a:lnTo>
                    <a:lnTo>
                      <a:pt x="47" y="102"/>
                    </a:lnTo>
                    <a:lnTo>
                      <a:pt x="50" y="102"/>
                    </a:lnTo>
                    <a:lnTo>
                      <a:pt x="50" y="102"/>
                    </a:lnTo>
                    <a:lnTo>
                      <a:pt x="54" y="99"/>
                    </a:lnTo>
                    <a:lnTo>
                      <a:pt x="57" y="97"/>
                    </a:lnTo>
                    <a:lnTo>
                      <a:pt x="64" y="99"/>
                    </a:lnTo>
                    <a:lnTo>
                      <a:pt x="66" y="102"/>
                    </a:lnTo>
                    <a:lnTo>
                      <a:pt x="69" y="102"/>
                    </a:lnTo>
                    <a:lnTo>
                      <a:pt x="71" y="102"/>
                    </a:lnTo>
                    <a:lnTo>
                      <a:pt x="80" y="97"/>
                    </a:lnTo>
                    <a:lnTo>
                      <a:pt x="83" y="97"/>
                    </a:lnTo>
                    <a:lnTo>
                      <a:pt x="83" y="97"/>
                    </a:lnTo>
                    <a:lnTo>
                      <a:pt x="85" y="92"/>
                    </a:lnTo>
                    <a:lnTo>
                      <a:pt x="90" y="90"/>
                    </a:lnTo>
                    <a:lnTo>
                      <a:pt x="90" y="88"/>
                    </a:lnTo>
                    <a:lnTo>
                      <a:pt x="92" y="83"/>
                    </a:lnTo>
                    <a:lnTo>
                      <a:pt x="92" y="78"/>
                    </a:lnTo>
                    <a:lnTo>
                      <a:pt x="92" y="78"/>
                    </a:lnTo>
                    <a:lnTo>
                      <a:pt x="95" y="76"/>
                    </a:lnTo>
                    <a:lnTo>
                      <a:pt x="92" y="76"/>
                    </a:lnTo>
                    <a:lnTo>
                      <a:pt x="92" y="76"/>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14"/>
              <p:cNvSpPr>
                <a:spLocks noEditPoints="1"/>
              </p:cNvSpPr>
              <p:nvPr/>
            </p:nvSpPr>
            <p:spPr bwMode="auto">
              <a:xfrm>
                <a:off x="201" y="1337"/>
                <a:ext cx="1452" cy="944"/>
              </a:xfrm>
              <a:custGeom>
                <a:avLst/>
                <a:gdLst>
                  <a:gd name="T0" fmla="*/ 461 w 1452"/>
                  <a:gd name="T1" fmla="*/ 208 h 944"/>
                  <a:gd name="T2" fmla="*/ 530 w 1452"/>
                  <a:gd name="T3" fmla="*/ 236 h 944"/>
                  <a:gd name="T4" fmla="*/ 563 w 1452"/>
                  <a:gd name="T5" fmla="*/ 239 h 944"/>
                  <a:gd name="T6" fmla="*/ 549 w 1452"/>
                  <a:gd name="T7" fmla="*/ 303 h 944"/>
                  <a:gd name="T8" fmla="*/ 556 w 1452"/>
                  <a:gd name="T9" fmla="*/ 218 h 944"/>
                  <a:gd name="T10" fmla="*/ 674 w 1452"/>
                  <a:gd name="T11" fmla="*/ 23 h 944"/>
                  <a:gd name="T12" fmla="*/ 499 w 1452"/>
                  <a:gd name="T13" fmla="*/ 12 h 944"/>
                  <a:gd name="T14" fmla="*/ 357 w 1452"/>
                  <a:gd name="T15" fmla="*/ 80 h 944"/>
                  <a:gd name="T16" fmla="*/ 234 w 1452"/>
                  <a:gd name="T17" fmla="*/ 102 h 944"/>
                  <a:gd name="T18" fmla="*/ 244 w 1452"/>
                  <a:gd name="T19" fmla="*/ 149 h 944"/>
                  <a:gd name="T20" fmla="*/ 151 w 1452"/>
                  <a:gd name="T21" fmla="*/ 194 h 944"/>
                  <a:gd name="T22" fmla="*/ 156 w 1452"/>
                  <a:gd name="T23" fmla="*/ 234 h 944"/>
                  <a:gd name="T24" fmla="*/ 149 w 1452"/>
                  <a:gd name="T25" fmla="*/ 274 h 944"/>
                  <a:gd name="T26" fmla="*/ 57 w 1452"/>
                  <a:gd name="T27" fmla="*/ 308 h 944"/>
                  <a:gd name="T28" fmla="*/ 163 w 1452"/>
                  <a:gd name="T29" fmla="*/ 277 h 944"/>
                  <a:gd name="T30" fmla="*/ 296 w 1452"/>
                  <a:gd name="T31" fmla="*/ 218 h 944"/>
                  <a:gd name="T32" fmla="*/ 331 w 1452"/>
                  <a:gd name="T33" fmla="*/ 208 h 944"/>
                  <a:gd name="T34" fmla="*/ 388 w 1452"/>
                  <a:gd name="T35" fmla="*/ 203 h 944"/>
                  <a:gd name="T36" fmla="*/ 563 w 1452"/>
                  <a:gd name="T37" fmla="*/ 438 h 944"/>
                  <a:gd name="T38" fmla="*/ 390 w 1452"/>
                  <a:gd name="T39" fmla="*/ 210 h 944"/>
                  <a:gd name="T40" fmla="*/ 409 w 1452"/>
                  <a:gd name="T41" fmla="*/ 206 h 944"/>
                  <a:gd name="T42" fmla="*/ 546 w 1452"/>
                  <a:gd name="T43" fmla="*/ 272 h 944"/>
                  <a:gd name="T44" fmla="*/ 506 w 1452"/>
                  <a:gd name="T45" fmla="*/ 270 h 944"/>
                  <a:gd name="T46" fmla="*/ 511 w 1452"/>
                  <a:gd name="T47" fmla="*/ 305 h 944"/>
                  <a:gd name="T48" fmla="*/ 513 w 1452"/>
                  <a:gd name="T49" fmla="*/ 305 h 944"/>
                  <a:gd name="T50" fmla="*/ 532 w 1452"/>
                  <a:gd name="T51" fmla="*/ 260 h 944"/>
                  <a:gd name="T52" fmla="*/ 513 w 1452"/>
                  <a:gd name="T53" fmla="*/ 248 h 944"/>
                  <a:gd name="T54" fmla="*/ 225 w 1452"/>
                  <a:gd name="T55" fmla="*/ 267 h 944"/>
                  <a:gd name="T56" fmla="*/ 99 w 1452"/>
                  <a:gd name="T57" fmla="*/ 206 h 944"/>
                  <a:gd name="T58" fmla="*/ 208 w 1452"/>
                  <a:gd name="T59" fmla="*/ 277 h 944"/>
                  <a:gd name="T60" fmla="*/ 50 w 1452"/>
                  <a:gd name="T61" fmla="*/ 310 h 944"/>
                  <a:gd name="T62" fmla="*/ 1315 w 1452"/>
                  <a:gd name="T63" fmla="*/ 599 h 944"/>
                  <a:gd name="T64" fmla="*/ 1431 w 1452"/>
                  <a:gd name="T65" fmla="*/ 461 h 944"/>
                  <a:gd name="T66" fmla="*/ 1282 w 1452"/>
                  <a:gd name="T67" fmla="*/ 542 h 944"/>
                  <a:gd name="T68" fmla="*/ 1145 w 1452"/>
                  <a:gd name="T69" fmla="*/ 582 h 944"/>
                  <a:gd name="T70" fmla="*/ 1173 w 1452"/>
                  <a:gd name="T71" fmla="*/ 523 h 944"/>
                  <a:gd name="T72" fmla="*/ 1133 w 1452"/>
                  <a:gd name="T73" fmla="*/ 516 h 944"/>
                  <a:gd name="T74" fmla="*/ 1093 w 1452"/>
                  <a:gd name="T75" fmla="*/ 535 h 944"/>
                  <a:gd name="T76" fmla="*/ 1150 w 1452"/>
                  <a:gd name="T77" fmla="*/ 490 h 944"/>
                  <a:gd name="T78" fmla="*/ 1124 w 1452"/>
                  <a:gd name="T79" fmla="*/ 483 h 944"/>
                  <a:gd name="T80" fmla="*/ 1100 w 1452"/>
                  <a:gd name="T81" fmla="*/ 452 h 944"/>
                  <a:gd name="T82" fmla="*/ 565 w 1452"/>
                  <a:gd name="T83" fmla="*/ 447 h 944"/>
                  <a:gd name="T84" fmla="*/ 558 w 1452"/>
                  <a:gd name="T85" fmla="*/ 452 h 944"/>
                  <a:gd name="T86" fmla="*/ 454 w 1452"/>
                  <a:gd name="T87" fmla="*/ 568 h 944"/>
                  <a:gd name="T88" fmla="*/ 433 w 1452"/>
                  <a:gd name="T89" fmla="*/ 663 h 944"/>
                  <a:gd name="T90" fmla="*/ 594 w 1452"/>
                  <a:gd name="T91" fmla="*/ 800 h 944"/>
                  <a:gd name="T92" fmla="*/ 759 w 1452"/>
                  <a:gd name="T93" fmla="*/ 881 h 944"/>
                  <a:gd name="T94" fmla="*/ 821 w 1452"/>
                  <a:gd name="T95" fmla="*/ 857 h 944"/>
                  <a:gd name="T96" fmla="*/ 939 w 1452"/>
                  <a:gd name="T97" fmla="*/ 843 h 944"/>
                  <a:gd name="T98" fmla="*/ 982 w 1452"/>
                  <a:gd name="T99" fmla="*/ 814 h 944"/>
                  <a:gd name="T100" fmla="*/ 1062 w 1452"/>
                  <a:gd name="T101" fmla="*/ 876 h 944"/>
                  <a:gd name="T102" fmla="*/ 1102 w 1452"/>
                  <a:gd name="T103" fmla="*/ 857 h 944"/>
                  <a:gd name="T104" fmla="*/ 1131 w 1452"/>
                  <a:gd name="T105" fmla="*/ 776 h 944"/>
                  <a:gd name="T106" fmla="*/ 1232 w 1452"/>
                  <a:gd name="T107" fmla="*/ 708 h 944"/>
                  <a:gd name="T108" fmla="*/ 1228 w 1452"/>
                  <a:gd name="T109" fmla="*/ 675 h 944"/>
                  <a:gd name="T110" fmla="*/ 1242 w 1452"/>
                  <a:gd name="T111" fmla="*/ 634 h 944"/>
                  <a:gd name="T112" fmla="*/ 1239 w 1452"/>
                  <a:gd name="T113" fmla="*/ 675 h 944"/>
                  <a:gd name="T114" fmla="*/ 1292 w 1452"/>
                  <a:gd name="T115" fmla="*/ 604 h 944"/>
                  <a:gd name="T116" fmla="*/ 1370 w 1452"/>
                  <a:gd name="T117" fmla="*/ 563 h 944"/>
                  <a:gd name="T118" fmla="*/ 1438 w 1452"/>
                  <a:gd name="T119" fmla="*/ 523 h 944"/>
                  <a:gd name="T120" fmla="*/ 958 w 1452"/>
                  <a:gd name="T121" fmla="*/ 828 h 944"/>
                  <a:gd name="T122" fmla="*/ 440 w 1452"/>
                  <a:gd name="T123" fmla="*/ 760 h 944"/>
                  <a:gd name="T124" fmla="*/ 1230 w 1452"/>
                  <a:gd name="T125" fmla="*/ 72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52" h="944">
                    <a:moveTo>
                      <a:pt x="156" y="239"/>
                    </a:moveTo>
                    <a:lnTo>
                      <a:pt x="166" y="234"/>
                    </a:lnTo>
                    <a:lnTo>
                      <a:pt x="163" y="234"/>
                    </a:lnTo>
                    <a:lnTo>
                      <a:pt x="158" y="234"/>
                    </a:lnTo>
                    <a:lnTo>
                      <a:pt x="156" y="236"/>
                    </a:lnTo>
                    <a:lnTo>
                      <a:pt x="156" y="236"/>
                    </a:lnTo>
                    <a:lnTo>
                      <a:pt x="154" y="239"/>
                    </a:lnTo>
                    <a:lnTo>
                      <a:pt x="156" y="239"/>
                    </a:lnTo>
                    <a:lnTo>
                      <a:pt x="156" y="239"/>
                    </a:lnTo>
                    <a:close/>
                    <a:moveTo>
                      <a:pt x="565" y="445"/>
                    </a:moveTo>
                    <a:lnTo>
                      <a:pt x="565" y="445"/>
                    </a:lnTo>
                    <a:lnTo>
                      <a:pt x="565" y="445"/>
                    </a:lnTo>
                    <a:lnTo>
                      <a:pt x="565" y="442"/>
                    </a:lnTo>
                    <a:lnTo>
                      <a:pt x="565" y="442"/>
                    </a:lnTo>
                    <a:lnTo>
                      <a:pt x="563" y="445"/>
                    </a:lnTo>
                    <a:lnTo>
                      <a:pt x="561" y="445"/>
                    </a:lnTo>
                    <a:lnTo>
                      <a:pt x="561" y="447"/>
                    </a:lnTo>
                    <a:lnTo>
                      <a:pt x="561" y="447"/>
                    </a:lnTo>
                    <a:lnTo>
                      <a:pt x="561" y="447"/>
                    </a:lnTo>
                    <a:lnTo>
                      <a:pt x="561" y="447"/>
                    </a:lnTo>
                    <a:lnTo>
                      <a:pt x="561" y="447"/>
                    </a:lnTo>
                    <a:lnTo>
                      <a:pt x="561" y="450"/>
                    </a:lnTo>
                    <a:lnTo>
                      <a:pt x="561" y="450"/>
                    </a:lnTo>
                    <a:lnTo>
                      <a:pt x="561" y="450"/>
                    </a:lnTo>
                    <a:lnTo>
                      <a:pt x="561" y="452"/>
                    </a:lnTo>
                    <a:lnTo>
                      <a:pt x="561" y="452"/>
                    </a:lnTo>
                    <a:lnTo>
                      <a:pt x="561" y="452"/>
                    </a:lnTo>
                    <a:lnTo>
                      <a:pt x="561" y="452"/>
                    </a:lnTo>
                    <a:lnTo>
                      <a:pt x="561" y="452"/>
                    </a:lnTo>
                    <a:lnTo>
                      <a:pt x="563" y="452"/>
                    </a:lnTo>
                    <a:lnTo>
                      <a:pt x="563" y="452"/>
                    </a:lnTo>
                    <a:lnTo>
                      <a:pt x="563" y="452"/>
                    </a:lnTo>
                    <a:lnTo>
                      <a:pt x="563" y="450"/>
                    </a:lnTo>
                    <a:lnTo>
                      <a:pt x="561" y="452"/>
                    </a:lnTo>
                    <a:lnTo>
                      <a:pt x="563" y="447"/>
                    </a:lnTo>
                    <a:lnTo>
                      <a:pt x="563" y="447"/>
                    </a:lnTo>
                    <a:lnTo>
                      <a:pt x="563" y="447"/>
                    </a:lnTo>
                    <a:lnTo>
                      <a:pt x="561" y="447"/>
                    </a:lnTo>
                    <a:lnTo>
                      <a:pt x="561" y="447"/>
                    </a:lnTo>
                    <a:lnTo>
                      <a:pt x="565" y="445"/>
                    </a:lnTo>
                    <a:close/>
                    <a:moveTo>
                      <a:pt x="333" y="203"/>
                    </a:moveTo>
                    <a:lnTo>
                      <a:pt x="336" y="201"/>
                    </a:lnTo>
                    <a:lnTo>
                      <a:pt x="336" y="201"/>
                    </a:lnTo>
                    <a:lnTo>
                      <a:pt x="336" y="201"/>
                    </a:lnTo>
                    <a:lnTo>
                      <a:pt x="333" y="203"/>
                    </a:lnTo>
                    <a:lnTo>
                      <a:pt x="331" y="203"/>
                    </a:lnTo>
                    <a:lnTo>
                      <a:pt x="331" y="203"/>
                    </a:lnTo>
                    <a:lnTo>
                      <a:pt x="333" y="203"/>
                    </a:lnTo>
                    <a:close/>
                    <a:moveTo>
                      <a:pt x="426" y="196"/>
                    </a:moveTo>
                    <a:lnTo>
                      <a:pt x="426" y="196"/>
                    </a:lnTo>
                    <a:lnTo>
                      <a:pt x="426" y="196"/>
                    </a:lnTo>
                    <a:lnTo>
                      <a:pt x="426" y="196"/>
                    </a:lnTo>
                    <a:lnTo>
                      <a:pt x="426" y="199"/>
                    </a:lnTo>
                    <a:lnTo>
                      <a:pt x="433" y="199"/>
                    </a:lnTo>
                    <a:lnTo>
                      <a:pt x="430" y="199"/>
                    </a:lnTo>
                    <a:lnTo>
                      <a:pt x="428" y="201"/>
                    </a:lnTo>
                    <a:lnTo>
                      <a:pt x="428" y="201"/>
                    </a:lnTo>
                    <a:lnTo>
                      <a:pt x="426" y="201"/>
                    </a:lnTo>
                    <a:lnTo>
                      <a:pt x="426" y="201"/>
                    </a:lnTo>
                    <a:lnTo>
                      <a:pt x="428" y="201"/>
                    </a:lnTo>
                    <a:lnTo>
                      <a:pt x="428" y="203"/>
                    </a:lnTo>
                    <a:lnTo>
                      <a:pt x="430" y="203"/>
                    </a:lnTo>
                    <a:lnTo>
                      <a:pt x="433" y="203"/>
                    </a:lnTo>
                    <a:lnTo>
                      <a:pt x="435" y="203"/>
                    </a:lnTo>
                    <a:lnTo>
                      <a:pt x="438" y="201"/>
                    </a:lnTo>
                    <a:lnTo>
                      <a:pt x="440" y="201"/>
                    </a:lnTo>
                    <a:lnTo>
                      <a:pt x="442" y="199"/>
                    </a:lnTo>
                    <a:lnTo>
                      <a:pt x="447" y="199"/>
                    </a:lnTo>
                    <a:lnTo>
                      <a:pt x="447" y="199"/>
                    </a:lnTo>
                    <a:lnTo>
                      <a:pt x="445" y="199"/>
                    </a:lnTo>
                    <a:lnTo>
                      <a:pt x="442" y="201"/>
                    </a:lnTo>
                    <a:lnTo>
                      <a:pt x="440" y="201"/>
                    </a:lnTo>
                    <a:lnTo>
                      <a:pt x="438" y="203"/>
                    </a:lnTo>
                    <a:lnTo>
                      <a:pt x="438" y="206"/>
                    </a:lnTo>
                    <a:lnTo>
                      <a:pt x="438" y="206"/>
                    </a:lnTo>
                    <a:lnTo>
                      <a:pt x="438" y="206"/>
                    </a:lnTo>
                    <a:lnTo>
                      <a:pt x="438" y="206"/>
                    </a:lnTo>
                    <a:lnTo>
                      <a:pt x="440" y="206"/>
                    </a:lnTo>
                    <a:lnTo>
                      <a:pt x="442" y="208"/>
                    </a:lnTo>
                    <a:lnTo>
                      <a:pt x="442" y="208"/>
                    </a:lnTo>
                    <a:lnTo>
                      <a:pt x="442" y="208"/>
                    </a:lnTo>
                    <a:lnTo>
                      <a:pt x="442" y="210"/>
                    </a:lnTo>
                    <a:lnTo>
                      <a:pt x="442" y="210"/>
                    </a:lnTo>
                    <a:lnTo>
                      <a:pt x="440" y="210"/>
                    </a:lnTo>
                    <a:lnTo>
                      <a:pt x="442" y="210"/>
                    </a:lnTo>
                    <a:lnTo>
                      <a:pt x="447" y="210"/>
                    </a:lnTo>
                    <a:lnTo>
                      <a:pt x="452" y="210"/>
                    </a:lnTo>
                    <a:lnTo>
                      <a:pt x="461" y="208"/>
                    </a:lnTo>
                    <a:lnTo>
                      <a:pt x="466" y="208"/>
                    </a:lnTo>
                    <a:lnTo>
                      <a:pt x="471" y="210"/>
                    </a:lnTo>
                    <a:lnTo>
                      <a:pt x="478" y="210"/>
                    </a:lnTo>
                    <a:lnTo>
                      <a:pt x="480" y="210"/>
                    </a:lnTo>
                    <a:lnTo>
                      <a:pt x="480" y="210"/>
                    </a:lnTo>
                    <a:lnTo>
                      <a:pt x="483" y="210"/>
                    </a:lnTo>
                    <a:lnTo>
                      <a:pt x="483" y="208"/>
                    </a:lnTo>
                    <a:lnTo>
                      <a:pt x="483" y="208"/>
                    </a:lnTo>
                    <a:lnTo>
                      <a:pt x="485" y="208"/>
                    </a:lnTo>
                    <a:lnTo>
                      <a:pt x="485" y="208"/>
                    </a:lnTo>
                    <a:lnTo>
                      <a:pt x="485" y="208"/>
                    </a:lnTo>
                    <a:lnTo>
                      <a:pt x="483" y="210"/>
                    </a:lnTo>
                    <a:lnTo>
                      <a:pt x="483" y="210"/>
                    </a:lnTo>
                    <a:lnTo>
                      <a:pt x="480" y="213"/>
                    </a:lnTo>
                    <a:lnTo>
                      <a:pt x="480" y="213"/>
                    </a:lnTo>
                    <a:lnTo>
                      <a:pt x="485" y="215"/>
                    </a:lnTo>
                    <a:lnTo>
                      <a:pt x="487" y="215"/>
                    </a:lnTo>
                    <a:lnTo>
                      <a:pt x="490" y="215"/>
                    </a:lnTo>
                    <a:lnTo>
                      <a:pt x="494" y="215"/>
                    </a:lnTo>
                    <a:lnTo>
                      <a:pt x="499" y="215"/>
                    </a:lnTo>
                    <a:lnTo>
                      <a:pt x="501" y="213"/>
                    </a:lnTo>
                    <a:lnTo>
                      <a:pt x="509" y="210"/>
                    </a:lnTo>
                    <a:lnTo>
                      <a:pt x="511" y="210"/>
                    </a:lnTo>
                    <a:lnTo>
                      <a:pt x="511" y="210"/>
                    </a:lnTo>
                    <a:lnTo>
                      <a:pt x="511" y="210"/>
                    </a:lnTo>
                    <a:lnTo>
                      <a:pt x="511" y="213"/>
                    </a:lnTo>
                    <a:lnTo>
                      <a:pt x="513" y="213"/>
                    </a:lnTo>
                    <a:lnTo>
                      <a:pt x="513" y="215"/>
                    </a:lnTo>
                    <a:lnTo>
                      <a:pt x="511" y="213"/>
                    </a:lnTo>
                    <a:lnTo>
                      <a:pt x="511" y="215"/>
                    </a:lnTo>
                    <a:lnTo>
                      <a:pt x="509" y="215"/>
                    </a:lnTo>
                    <a:lnTo>
                      <a:pt x="509" y="215"/>
                    </a:lnTo>
                    <a:lnTo>
                      <a:pt x="506" y="218"/>
                    </a:lnTo>
                    <a:lnTo>
                      <a:pt x="506" y="218"/>
                    </a:lnTo>
                    <a:lnTo>
                      <a:pt x="504" y="218"/>
                    </a:lnTo>
                    <a:lnTo>
                      <a:pt x="506" y="215"/>
                    </a:lnTo>
                    <a:lnTo>
                      <a:pt x="509" y="213"/>
                    </a:lnTo>
                    <a:lnTo>
                      <a:pt x="511" y="213"/>
                    </a:lnTo>
                    <a:lnTo>
                      <a:pt x="509" y="210"/>
                    </a:lnTo>
                    <a:lnTo>
                      <a:pt x="509" y="210"/>
                    </a:lnTo>
                    <a:lnTo>
                      <a:pt x="509" y="210"/>
                    </a:lnTo>
                    <a:lnTo>
                      <a:pt x="509" y="213"/>
                    </a:lnTo>
                    <a:lnTo>
                      <a:pt x="506" y="213"/>
                    </a:lnTo>
                    <a:lnTo>
                      <a:pt x="506" y="213"/>
                    </a:lnTo>
                    <a:lnTo>
                      <a:pt x="506" y="213"/>
                    </a:lnTo>
                    <a:lnTo>
                      <a:pt x="504" y="215"/>
                    </a:lnTo>
                    <a:lnTo>
                      <a:pt x="504" y="215"/>
                    </a:lnTo>
                    <a:lnTo>
                      <a:pt x="504" y="218"/>
                    </a:lnTo>
                    <a:lnTo>
                      <a:pt x="499" y="218"/>
                    </a:lnTo>
                    <a:lnTo>
                      <a:pt x="499" y="218"/>
                    </a:lnTo>
                    <a:lnTo>
                      <a:pt x="497" y="220"/>
                    </a:lnTo>
                    <a:lnTo>
                      <a:pt x="497" y="220"/>
                    </a:lnTo>
                    <a:lnTo>
                      <a:pt x="497" y="220"/>
                    </a:lnTo>
                    <a:lnTo>
                      <a:pt x="497" y="220"/>
                    </a:lnTo>
                    <a:lnTo>
                      <a:pt x="497" y="222"/>
                    </a:lnTo>
                    <a:lnTo>
                      <a:pt x="499" y="222"/>
                    </a:lnTo>
                    <a:lnTo>
                      <a:pt x="504" y="225"/>
                    </a:lnTo>
                    <a:lnTo>
                      <a:pt x="504" y="227"/>
                    </a:lnTo>
                    <a:lnTo>
                      <a:pt x="506" y="227"/>
                    </a:lnTo>
                    <a:lnTo>
                      <a:pt x="506" y="227"/>
                    </a:lnTo>
                    <a:lnTo>
                      <a:pt x="506" y="227"/>
                    </a:lnTo>
                    <a:lnTo>
                      <a:pt x="506" y="227"/>
                    </a:lnTo>
                    <a:lnTo>
                      <a:pt x="506" y="227"/>
                    </a:lnTo>
                    <a:lnTo>
                      <a:pt x="509" y="229"/>
                    </a:lnTo>
                    <a:lnTo>
                      <a:pt x="509" y="229"/>
                    </a:lnTo>
                    <a:lnTo>
                      <a:pt x="509" y="232"/>
                    </a:lnTo>
                    <a:lnTo>
                      <a:pt x="509" y="232"/>
                    </a:lnTo>
                    <a:lnTo>
                      <a:pt x="509" y="234"/>
                    </a:lnTo>
                    <a:lnTo>
                      <a:pt x="509" y="234"/>
                    </a:lnTo>
                    <a:lnTo>
                      <a:pt x="509" y="236"/>
                    </a:lnTo>
                    <a:lnTo>
                      <a:pt x="509" y="236"/>
                    </a:lnTo>
                    <a:lnTo>
                      <a:pt x="511" y="236"/>
                    </a:lnTo>
                    <a:lnTo>
                      <a:pt x="511" y="236"/>
                    </a:lnTo>
                    <a:lnTo>
                      <a:pt x="509" y="239"/>
                    </a:lnTo>
                    <a:lnTo>
                      <a:pt x="509" y="239"/>
                    </a:lnTo>
                    <a:lnTo>
                      <a:pt x="513" y="241"/>
                    </a:lnTo>
                    <a:lnTo>
                      <a:pt x="516" y="244"/>
                    </a:lnTo>
                    <a:lnTo>
                      <a:pt x="516" y="244"/>
                    </a:lnTo>
                    <a:lnTo>
                      <a:pt x="518" y="246"/>
                    </a:lnTo>
                    <a:lnTo>
                      <a:pt x="518" y="246"/>
                    </a:lnTo>
                    <a:lnTo>
                      <a:pt x="520" y="244"/>
                    </a:lnTo>
                    <a:lnTo>
                      <a:pt x="525" y="244"/>
                    </a:lnTo>
                    <a:lnTo>
                      <a:pt x="527" y="244"/>
                    </a:lnTo>
                    <a:lnTo>
                      <a:pt x="527" y="241"/>
                    </a:lnTo>
                    <a:lnTo>
                      <a:pt x="530" y="241"/>
                    </a:lnTo>
                    <a:lnTo>
                      <a:pt x="530" y="239"/>
                    </a:lnTo>
                    <a:lnTo>
                      <a:pt x="530" y="239"/>
                    </a:lnTo>
                    <a:lnTo>
                      <a:pt x="530" y="236"/>
                    </a:lnTo>
                    <a:lnTo>
                      <a:pt x="527" y="236"/>
                    </a:lnTo>
                    <a:lnTo>
                      <a:pt x="530" y="236"/>
                    </a:lnTo>
                    <a:lnTo>
                      <a:pt x="530" y="236"/>
                    </a:lnTo>
                    <a:lnTo>
                      <a:pt x="527" y="234"/>
                    </a:lnTo>
                    <a:lnTo>
                      <a:pt x="527" y="234"/>
                    </a:lnTo>
                    <a:lnTo>
                      <a:pt x="527" y="234"/>
                    </a:lnTo>
                    <a:lnTo>
                      <a:pt x="527" y="234"/>
                    </a:lnTo>
                    <a:lnTo>
                      <a:pt x="527" y="234"/>
                    </a:lnTo>
                    <a:lnTo>
                      <a:pt x="525" y="232"/>
                    </a:lnTo>
                    <a:lnTo>
                      <a:pt x="525" y="232"/>
                    </a:lnTo>
                    <a:lnTo>
                      <a:pt x="523" y="232"/>
                    </a:lnTo>
                    <a:lnTo>
                      <a:pt x="523" y="232"/>
                    </a:lnTo>
                    <a:lnTo>
                      <a:pt x="525" y="232"/>
                    </a:lnTo>
                    <a:lnTo>
                      <a:pt x="525" y="232"/>
                    </a:lnTo>
                    <a:lnTo>
                      <a:pt x="527" y="232"/>
                    </a:lnTo>
                    <a:lnTo>
                      <a:pt x="527" y="229"/>
                    </a:lnTo>
                    <a:lnTo>
                      <a:pt x="527" y="229"/>
                    </a:lnTo>
                    <a:lnTo>
                      <a:pt x="527" y="229"/>
                    </a:lnTo>
                    <a:lnTo>
                      <a:pt x="532" y="232"/>
                    </a:lnTo>
                    <a:lnTo>
                      <a:pt x="532" y="232"/>
                    </a:lnTo>
                    <a:lnTo>
                      <a:pt x="532" y="232"/>
                    </a:lnTo>
                    <a:lnTo>
                      <a:pt x="532" y="234"/>
                    </a:lnTo>
                    <a:lnTo>
                      <a:pt x="532" y="234"/>
                    </a:lnTo>
                    <a:lnTo>
                      <a:pt x="532" y="234"/>
                    </a:lnTo>
                    <a:lnTo>
                      <a:pt x="532" y="234"/>
                    </a:lnTo>
                    <a:lnTo>
                      <a:pt x="535" y="234"/>
                    </a:lnTo>
                    <a:lnTo>
                      <a:pt x="535" y="234"/>
                    </a:lnTo>
                    <a:lnTo>
                      <a:pt x="537" y="234"/>
                    </a:lnTo>
                    <a:lnTo>
                      <a:pt x="537" y="232"/>
                    </a:lnTo>
                    <a:lnTo>
                      <a:pt x="537" y="232"/>
                    </a:lnTo>
                    <a:lnTo>
                      <a:pt x="537" y="232"/>
                    </a:lnTo>
                    <a:lnTo>
                      <a:pt x="539" y="229"/>
                    </a:lnTo>
                    <a:lnTo>
                      <a:pt x="539" y="229"/>
                    </a:lnTo>
                    <a:lnTo>
                      <a:pt x="539" y="229"/>
                    </a:lnTo>
                    <a:lnTo>
                      <a:pt x="539" y="232"/>
                    </a:lnTo>
                    <a:lnTo>
                      <a:pt x="539" y="232"/>
                    </a:lnTo>
                    <a:lnTo>
                      <a:pt x="542" y="232"/>
                    </a:lnTo>
                    <a:lnTo>
                      <a:pt x="542" y="232"/>
                    </a:lnTo>
                    <a:lnTo>
                      <a:pt x="537" y="234"/>
                    </a:lnTo>
                    <a:lnTo>
                      <a:pt x="537" y="234"/>
                    </a:lnTo>
                    <a:lnTo>
                      <a:pt x="535" y="236"/>
                    </a:lnTo>
                    <a:lnTo>
                      <a:pt x="535" y="239"/>
                    </a:lnTo>
                    <a:lnTo>
                      <a:pt x="532" y="241"/>
                    </a:lnTo>
                    <a:lnTo>
                      <a:pt x="530" y="241"/>
                    </a:lnTo>
                    <a:lnTo>
                      <a:pt x="530" y="241"/>
                    </a:lnTo>
                    <a:lnTo>
                      <a:pt x="537" y="241"/>
                    </a:lnTo>
                    <a:lnTo>
                      <a:pt x="537" y="241"/>
                    </a:lnTo>
                    <a:lnTo>
                      <a:pt x="537" y="244"/>
                    </a:lnTo>
                    <a:lnTo>
                      <a:pt x="537" y="244"/>
                    </a:lnTo>
                    <a:lnTo>
                      <a:pt x="539" y="246"/>
                    </a:lnTo>
                    <a:lnTo>
                      <a:pt x="539" y="246"/>
                    </a:lnTo>
                    <a:lnTo>
                      <a:pt x="542" y="244"/>
                    </a:lnTo>
                    <a:lnTo>
                      <a:pt x="542" y="244"/>
                    </a:lnTo>
                    <a:lnTo>
                      <a:pt x="542" y="244"/>
                    </a:lnTo>
                    <a:lnTo>
                      <a:pt x="544" y="239"/>
                    </a:lnTo>
                    <a:lnTo>
                      <a:pt x="546" y="239"/>
                    </a:lnTo>
                    <a:lnTo>
                      <a:pt x="546" y="236"/>
                    </a:lnTo>
                    <a:lnTo>
                      <a:pt x="549" y="234"/>
                    </a:lnTo>
                    <a:lnTo>
                      <a:pt x="549" y="232"/>
                    </a:lnTo>
                    <a:lnTo>
                      <a:pt x="553" y="229"/>
                    </a:lnTo>
                    <a:lnTo>
                      <a:pt x="553" y="227"/>
                    </a:lnTo>
                    <a:lnTo>
                      <a:pt x="553" y="227"/>
                    </a:lnTo>
                    <a:lnTo>
                      <a:pt x="556" y="227"/>
                    </a:lnTo>
                    <a:lnTo>
                      <a:pt x="556" y="225"/>
                    </a:lnTo>
                    <a:lnTo>
                      <a:pt x="556" y="225"/>
                    </a:lnTo>
                    <a:lnTo>
                      <a:pt x="556" y="225"/>
                    </a:lnTo>
                    <a:lnTo>
                      <a:pt x="558" y="222"/>
                    </a:lnTo>
                    <a:lnTo>
                      <a:pt x="561" y="222"/>
                    </a:lnTo>
                    <a:lnTo>
                      <a:pt x="561" y="222"/>
                    </a:lnTo>
                    <a:lnTo>
                      <a:pt x="558" y="225"/>
                    </a:lnTo>
                    <a:lnTo>
                      <a:pt x="556" y="225"/>
                    </a:lnTo>
                    <a:lnTo>
                      <a:pt x="556" y="229"/>
                    </a:lnTo>
                    <a:lnTo>
                      <a:pt x="551" y="234"/>
                    </a:lnTo>
                    <a:lnTo>
                      <a:pt x="551" y="234"/>
                    </a:lnTo>
                    <a:lnTo>
                      <a:pt x="551" y="234"/>
                    </a:lnTo>
                    <a:lnTo>
                      <a:pt x="551" y="234"/>
                    </a:lnTo>
                    <a:lnTo>
                      <a:pt x="551" y="236"/>
                    </a:lnTo>
                    <a:lnTo>
                      <a:pt x="549" y="241"/>
                    </a:lnTo>
                    <a:lnTo>
                      <a:pt x="549" y="241"/>
                    </a:lnTo>
                    <a:lnTo>
                      <a:pt x="551" y="244"/>
                    </a:lnTo>
                    <a:lnTo>
                      <a:pt x="553" y="244"/>
                    </a:lnTo>
                    <a:lnTo>
                      <a:pt x="553" y="246"/>
                    </a:lnTo>
                    <a:lnTo>
                      <a:pt x="553" y="246"/>
                    </a:lnTo>
                    <a:lnTo>
                      <a:pt x="556" y="244"/>
                    </a:lnTo>
                    <a:lnTo>
                      <a:pt x="558" y="241"/>
                    </a:lnTo>
                    <a:lnTo>
                      <a:pt x="563" y="239"/>
                    </a:lnTo>
                    <a:lnTo>
                      <a:pt x="563" y="239"/>
                    </a:lnTo>
                    <a:lnTo>
                      <a:pt x="563" y="239"/>
                    </a:lnTo>
                    <a:lnTo>
                      <a:pt x="563" y="239"/>
                    </a:lnTo>
                    <a:lnTo>
                      <a:pt x="563" y="241"/>
                    </a:lnTo>
                    <a:lnTo>
                      <a:pt x="556" y="244"/>
                    </a:lnTo>
                    <a:lnTo>
                      <a:pt x="556" y="246"/>
                    </a:lnTo>
                    <a:lnTo>
                      <a:pt x="553" y="248"/>
                    </a:lnTo>
                    <a:lnTo>
                      <a:pt x="553" y="248"/>
                    </a:lnTo>
                    <a:lnTo>
                      <a:pt x="553" y="251"/>
                    </a:lnTo>
                    <a:lnTo>
                      <a:pt x="553" y="251"/>
                    </a:lnTo>
                    <a:lnTo>
                      <a:pt x="553" y="253"/>
                    </a:lnTo>
                    <a:lnTo>
                      <a:pt x="553" y="253"/>
                    </a:lnTo>
                    <a:lnTo>
                      <a:pt x="553" y="253"/>
                    </a:lnTo>
                    <a:lnTo>
                      <a:pt x="553" y="253"/>
                    </a:lnTo>
                    <a:lnTo>
                      <a:pt x="556" y="251"/>
                    </a:lnTo>
                    <a:lnTo>
                      <a:pt x="558" y="251"/>
                    </a:lnTo>
                    <a:lnTo>
                      <a:pt x="561" y="253"/>
                    </a:lnTo>
                    <a:lnTo>
                      <a:pt x="561" y="253"/>
                    </a:lnTo>
                    <a:lnTo>
                      <a:pt x="556" y="253"/>
                    </a:lnTo>
                    <a:lnTo>
                      <a:pt x="556" y="253"/>
                    </a:lnTo>
                    <a:lnTo>
                      <a:pt x="556" y="253"/>
                    </a:lnTo>
                    <a:lnTo>
                      <a:pt x="553" y="253"/>
                    </a:lnTo>
                    <a:lnTo>
                      <a:pt x="556" y="255"/>
                    </a:lnTo>
                    <a:lnTo>
                      <a:pt x="556" y="258"/>
                    </a:lnTo>
                    <a:lnTo>
                      <a:pt x="556" y="258"/>
                    </a:lnTo>
                    <a:lnTo>
                      <a:pt x="553" y="258"/>
                    </a:lnTo>
                    <a:lnTo>
                      <a:pt x="551" y="255"/>
                    </a:lnTo>
                    <a:lnTo>
                      <a:pt x="551" y="255"/>
                    </a:lnTo>
                    <a:lnTo>
                      <a:pt x="551" y="255"/>
                    </a:lnTo>
                    <a:lnTo>
                      <a:pt x="549" y="258"/>
                    </a:lnTo>
                    <a:lnTo>
                      <a:pt x="549" y="258"/>
                    </a:lnTo>
                    <a:lnTo>
                      <a:pt x="546" y="263"/>
                    </a:lnTo>
                    <a:lnTo>
                      <a:pt x="544" y="265"/>
                    </a:lnTo>
                    <a:lnTo>
                      <a:pt x="549" y="267"/>
                    </a:lnTo>
                    <a:lnTo>
                      <a:pt x="551" y="267"/>
                    </a:lnTo>
                    <a:lnTo>
                      <a:pt x="551" y="270"/>
                    </a:lnTo>
                    <a:lnTo>
                      <a:pt x="549" y="270"/>
                    </a:lnTo>
                    <a:lnTo>
                      <a:pt x="549" y="270"/>
                    </a:lnTo>
                    <a:lnTo>
                      <a:pt x="549" y="272"/>
                    </a:lnTo>
                    <a:lnTo>
                      <a:pt x="549" y="272"/>
                    </a:lnTo>
                    <a:lnTo>
                      <a:pt x="549" y="274"/>
                    </a:lnTo>
                    <a:lnTo>
                      <a:pt x="551" y="274"/>
                    </a:lnTo>
                    <a:lnTo>
                      <a:pt x="549" y="277"/>
                    </a:lnTo>
                    <a:lnTo>
                      <a:pt x="549" y="277"/>
                    </a:lnTo>
                    <a:lnTo>
                      <a:pt x="549" y="277"/>
                    </a:lnTo>
                    <a:lnTo>
                      <a:pt x="549" y="277"/>
                    </a:lnTo>
                    <a:lnTo>
                      <a:pt x="549" y="279"/>
                    </a:lnTo>
                    <a:lnTo>
                      <a:pt x="549" y="279"/>
                    </a:lnTo>
                    <a:lnTo>
                      <a:pt x="549" y="279"/>
                    </a:lnTo>
                    <a:lnTo>
                      <a:pt x="549" y="281"/>
                    </a:lnTo>
                    <a:lnTo>
                      <a:pt x="549" y="281"/>
                    </a:lnTo>
                    <a:lnTo>
                      <a:pt x="551" y="281"/>
                    </a:lnTo>
                    <a:lnTo>
                      <a:pt x="551" y="284"/>
                    </a:lnTo>
                    <a:lnTo>
                      <a:pt x="549" y="284"/>
                    </a:lnTo>
                    <a:lnTo>
                      <a:pt x="549" y="284"/>
                    </a:lnTo>
                    <a:lnTo>
                      <a:pt x="551" y="284"/>
                    </a:lnTo>
                    <a:lnTo>
                      <a:pt x="553" y="286"/>
                    </a:lnTo>
                    <a:lnTo>
                      <a:pt x="551" y="286"/>
                    </a:lnTo>
                    <a:lnTo>
                      <a:pt x="549" y="286"/>
                    </a:lnTo>
                    <a:lnTo>
                      <a:pt x="542" y="291"/>
                    </a:lnTo>
                    <a:lnTo>
                      <a:pt x="539" y="293"/>
                    </a:lnTo>
                    <a:lnTo>
                      <a:pt x="537" y="293"/>
                    </a:lnTo>
                    <a:lnTo>
                      <a:pt x="535" y="293"/>
                    </a:lnTo>
                    <a:lnTo>
                      <a:pt x="535" y="296"/>
                    </a:lnTo>
                    <a:lnTo>
                      <a:pt x="532" y="298"/>
                    </a:lnTo>
                    <a:lnTo>
                      <a:pt x="532" y="298"/>
                    </a:lnTo>
                    <a:lnTo>
                      <a:pt x="535" y="298"/>
                    </a:lnTo>
                    <a:lnTo>
                      <a:pt x="535" y="298"/>
                    </a:lnTo>
                    <a:lnTo>
                      <a:pt x="539" y="296"/>
                    </a:lnTo>
                    <a:lnTo>
                      <a:pt x="542" y="293"/>
                    </a:lnTo>
                    <a:lnTo>
                      <a:pt x="542" y="293"/>
                    </a:lnTo>
                    <a:lnTo>
                      <a:pt x="542" y="293"/>
                    </a:lnTo>
                    <a:lnTo>
                      <a:pt x="544" y="293"/>
                    </a:lnTo>
                    <a:lnTo>
                      <a:pt x="544" y="291"/>
                    </a:lnTo>
                    <a:lnTo>
                      <a:pt x="544" y="291"/>
                    </a:lnTo>
                    <a:lnTo>
                      <a:pt x="549" y="291"/>
                    </a:lnTo>
                    <a:lnTo>
                      <a:pt x="553" y="289"/>
                    </a:lnTo>
                    <a:lnTo>
                      <a:pt x="561" y="289"/>
                    </a:lnTo>
                    <a:lnTo>
                      <a:pt x="558" y="289"/>
                    </a:lnTo>
                    <a:lnTo>
                      <a:pt x="556" y="289"/>
                    </a:lnTo>
                    <a:lnTo>
                      <a:pt x="556" y="291"/>
                    </a:lnTo>
                    <a:lnTo>
                      <a:pt x="556" y="293"/>
                    </a:lnTo>
                    <a:lnTo>
                      <a:pt x="556" y="293"/>
                    </a:lnTo>
                    <a:lnTo>
                      <a:pt x="553" y="296"/>
                    </a:lnTo>
                    <a:lnTo>
                      <a:pt x="551" y="298"/>
                    </a:lnTo>
                    <a:lnTo>
                      <a:pt x="551" y="300"/>
                    </a:lnTo>
                    <a:lnTo>
                      <a:pt x="549" y="303"/>
                    </a:lnTo>
                    <a:lnTo>
                      <a:pt x="549" y="303"/>
                    </a:lnTo>
                    <a:lnTo>
                      <a:pt x="549" y="303"/>
                    </a:lnTo>
                    <a:lnTo>
                      <a:pt x="549" y="303"/>
                    </a:lnTo>
                    <a:lnTo>
                      <a:pt x="544" y="305"/>
                    </a:lnTo>
                    <a:lnTo>
                      <a:pt x="542" y="305"/>
                    </a:lnTo>
                    <a:lnTo>
                      <a:pt x="542" y="305"/>
                    </a:lnTo>
                    <a:lnTo>
                      <a:pt x="542" y="308"/>
                    </a:lnTo>
                    <a:lnTo>
                      <a:pt x="539" y="310"/>
                    </a:lnTo>
                    <a:lnTo>
                      <a:pt x="539" y="312"/>
                    </a:lnTo>
                    <a:lnTo>
                      <a:pt x="542" y="312"/>
                    </a:lnTo>
                    <a:lnTo>
                      <a:pt x="542" y="315"/>
                    </a:lnTo>
                    <a:lnTo>
                      <a:pt x="544" y="312"/>
                    </a:lnTo>
                    <a:lnTo>
                      <a:pt x="549" y="310"/>
                    </a:lnTo>
                    <a:lnTo>
                      <a:pt x="553" y="308"/>
                    </a:lnTo>
                    <a:lnTo>
                      <a:pt x="553" y="308"/>
                    </a:lnTo>
                    <a:lnTo>
                      <a:pt x="556" y="305"/>
                    </a:lnTo>
                    <a:lnTo>
                      <a:pt x="561" y="303"/>
                    </a:lnTo>
                    <a:lnTo>
                      <a:pt x="561" y="303"/>
                    </a:lnTo>
                    <a:lnTo>
                      <a:pt x="563" y="300"/>
                    </a:lnTo>
                    <a:lnTo>
                      <a:pt x="563" y="298"/>
                    </a:lnTo>
                    <a:lnTo>
                      <a:pt x="565" y="298"/>
                    </a:lnTo>
                    <a:lnTo>
                      <a:pt x="565" y="296"/>
                    </a:lnTo>
                    <a:lnTo>
                      <a:pt x="568" y="296"/>
                    </a:lnTo>
                    <a:lnTo>
                      <a:pt x="568" y="293"/>
                    </a:lnTo>
                    <a:lnTo>
                      <a:pt x="570" y="293"/>
                    </a:lnTo>
                    <a:lnTo>
                      <a:pt x="572" y="291"/>
                    </a:lnTo>
                    <a:lnTo>
                      <a:pt x="572" y="291"/>
                    </a:lnTo>
                    <a:lnTo>
                      <a:pt x="575" y="289"/>
                    </a:lnTo>
                    <a:lnTo>
                      <a:pt x="575" y="289"/>
                    </a:lnTo>
                    <a:lnTo>
                      <a:pt x="575" y="286"/>
                    </a:lnTo>
                    <a:lnTo>
                      <a:pt x="572" y="289"/>
                    </a:lnTo>
                    <a:lnTo>
                      <a:pt x="570" y="286"/>
                    </a:lnTo>
                    <a:lnTo>
                      <a:pt x="570" y="284"/>
                    </a:lnTo>
                    <a:lnTo>
                      <a:pt x="570" y="284"/>
                    </a:lnTo>
                    <a:lnTo>
                      <a:pt x="570" y="281"/>
                    </a:lnTo>
                    <a:lnTo>
                      <a:pt x="568" y="281"/>
                    </a:lnTo>
                    <a:lnTo>
                      <a:pt x="565" y="281"/>
                    </a:lnTo>
                    <a:lnTo>
                      <a:pt x="565" y="279"/>
                    </a:lnTo>
                    <a:lnTo>
                      <a:pt x="563" y="279"/>
                    </a:lnTo>
                    <a:lnTo>
                      <a:pt x="563" y="279"/>
                    </a:lnTo>
                    <a:lnTo>
                      <a:pt x="561" y="277"/>
                    </a:lnTo>
                    <a:lnTo>
                      <a:pt x="561" y="277"/>
                    </a:lnTo>
                    <a:lnTo>
                      <a:pt x="558" y="277"/>
                    </a:lnTo>
                    <a:lnTo>
                      <a:pt x="558" y="277"/>
                    </a:lnTo>
                    <a:lnTo>
                      <a:pt x="558" y="274"/>
                    </a:lnTo>
                    <a:lnTo>
                      <a:pt x="561" y="274"/>
                    </a:lnTo>
                    <a:lnTo>
                      <a:pt x="561" y="272"/>
                    </a:lnTo>
                    <a:lnTo>
                      <a:pt x="558" y="272"/>
                    </a:lnTo>
                    <a:lnTo>
                      <a:pt x="561" y="270"/>
                    </a:lnTo>
                    <a:lnTo>
                      <a:pt x="563" y="270"/>
                    </a:lnTo>
                    <a:lnTo>
                      <a:pt x="561" y="267"/>
                    </a:lnTo>
                    <a:lnTo>
                      <a:pt x="558" y="267"/>
                    </a:lnTo>
                    <a:lnTo>
                      <a:pt x="561" y="267"/>
                    </a:lnTo>
                    <a:lnTo>
                      <a:pt x="563" y="265"/>
                    </a:lnTo>
                    <a:lnTo>
                      <a:pt x="563" y="265"/>
                    </a:lnTo>
                    <a:lnTo>
                      <a:pt x="563" y="260"/>
                    </a:lnTo>
                    <a:lnTo>
                      <a:pt x="563" y="260"/>
                    </a:lnTo>
                    <a:lnTo>
                      <a:pt x="565" y="258"/>
                    </a:lnTo>
                    <a:lnTo>
                      <a:pt x="565" y="253"/>
                    </a:lnTo>
                    <a:lnTo>
                      <a:pt x="565" y="253"/>
                    </a:lnTo>
                    <a:lnTo>
                      <a:pt x="565" y="251"/>
                    </a:lnTo>
                    <a:lnTo>
                      <a:pt x="565" y="248"/>
                    </a:lnTo>
                    <a:lnTo>
                      <a:pt x="568" y="246"/>
                    </a:lnTo>
                    <a:lnTo>
                      <a:pt x="568" y="244"/>
                    </a:lnTo>
                    <a:lnTo>
                      <a:pt x="568" y="241"/>
                    </a:lnTo>
                    <a:lnTo>
                      <a:pt x="568" y="239"/>
                    </a:lnTo>
                    <a:lnTo>
                      <a:pt x="568" y="239"/>
                    </a:lnTo>
                    <a:lnTo>
                      <a:pt x="568" y="236"/>
                    </a:lnTo>
                    <a:lnTo>
                      <a:pt x="568" y="234"/>
                    </a:lnTo>
                    <a:lnTo>
                      <a:pt x="565" y="234"/>
                    </a:lnTo>
                    <a:lnTo>
                      <a:pt x="565" y="234"/>
                    </a:lnTo>
                    <a:lnTo>
                      <a:pt x="565" y="232"/>
                    </a:lnTo>
                    <a:lnTo>
                      <a:pt x="565" y="232"/>
                    </a:lnTo>
                    <a:lnTo>
                      <a:pt x="565" y="232"/>
                    </a:lnTo>
                    <a:lnTo>
                      <a:pt x="565" y="229"/>
                    </a:lnTo>
                    <a:lnTo>
                      <a:pt x="565" y="229"/>
                    </a:lnTo>
                    <a:lnTo>
                      <a:pt x="568" y="229"/>
                    </a:lnTo>
                    <a:lnTo>
                      <a:pt x="565" y="227"/>
                    </a:lnTo>
                    <a:lnTo>
                      <a:pt x="565" y="227"/>
                    </a:lnTo>
                    <a:lnTo>
                      <a:pt x="565" y="225"/>
                    </a:lnTo>
                    <a:lnTo>
                      <a:pt x="563" y="225"/>
                    </a:lnTo>
                    <a:lnTo>
                      <a:pt x="563" y="225"/>
                    </a:lnTo>
                    <a:lnTo>
                      <a:pt x="565" y="222"/>
                    </a:lnTo>
                    <a:lnTo>
                      <a:pt x="565" y="220"/>
                    </a:lnTo>
                    <a:lnTo>
                      <a:pt x="568" y="220"/>
                    </a:lnTo>
                    <a:lnTo>
                      <a:pt x="568" y="220"/>
                    </a:lnTo>
                    <a:lnTo>
                      <a:pt x="568" y="218"/>
                    </a:lnTo>
                    <a:lnTo>
                      <a:pt x="565" y="215"/>
                    </a:lnTo>
                    <a:lnTo>
                      <a:pt x="565" y="215"/>
                    </a:lnTo>
                    <a:lnTo>
                      <a:pt x="561" y="215"/>
                    </a:lnTo>
                    <a:lnTo>
                      <a:pt x="556" y="218"/>
                    </a:lnTo>
                    <a:lnTo>
                      <a:pt x="553" y="218"/>
                    </a:lnTo>
                    <a:lnTo>
                      <a:pt x="549" y="218"/>
                    </a:lnTo>
                    <a:lnTo>
                      <a:pt x="549" y="220"/>
                    </a:lnTo>
                    <a:lnTo>
                      <a:pt x="546" y="220"/>
                    </a:lnTo>
                    <a:lnTo>
                      <a:pt x="546" y="222"/>
                    </a:lnTo>
                    <a:lnTo>
                      <a:pt x="544" y="222"/>
                    </a:lnTo>
                    <a:lnTo>
                      <a:pt x="539" y="225"/>
                    </a:lnTo>
                    <a:lnTo>
                      <a:pt x="537" y="227"/>
                    </a:lnTo>
                    <a:lnTo>
                      <a:pt x="532" y="227"/>
                    </a:lnTo>
                    <a:lnTo>
                      <a:pt x="530" y="227"/>
                    </a:lnTo>
                    <a:lnTo>
                      <a:pt x="525" y="229"/>
                    </a:lnTo>
                    <a:lnTo>
                      <a:pt x="523" y="229"/>
                    </a:lnTo>
                    <a:lnTo>
                      <a:pt x="518" y="232"/>
                    </a:lnTo>
                    <a:lnTo>
                      <a:pt x="516" y="232"/>
                    </a:lnTo>
                    <a:lnTo>
                      <a:pt x="518" y="229"/>
                    </a:lnTo>
                    <a:lnTo>
                      <a:pt x="520" y="227"/>
                    </a:lnTo>
                    <a:lnTo>
                      <a:pt x="523" y="225"/>
                    </a:lnTo>
                    <a:lnTo>
                      <a:pt x="523" y="225"/>
                    </a:lnTo>
                    <a:lnTo>
                      <a:pt x="520" y="222"/>
                    </a:lnTo>
                    <a:lnTo>
                      <a:pt x="520" y="222"/>
                    </a:lnTo>
                    <a:lnTo>
                      <a:pt x="520" y="220"/>
                    </a:lnTo>
                    <a:lnTo>
                      <a:pt x="520" y="218"/>
                    </a:lnTo>
                    <a:lnTo>
                      <a:pt x="518" y="218"/>
                    </a:lnTo>
                    <a:lnTo>
                      <a:pt x="518" y="215"/>
                    </a:lnTo>
                    <a:lnTo>
                      <a:pt x="520" y="213"/>
                    </a:lnTo>
                    <a:lnTo>
                      <a:pt x="518" y="213"/>
                    </a:lnTo>
                    <a:lnTo>
                      <a:pt x="516" y="210"/>
                    </a:lnTo>
                    <a:lnTo>
                      <a:pt x="516" y="208"/>
                    </a:lnTo>
                    <a:lnTo>
                      <a:pt x="518" y="208"/>
                    </a:lnTo>
                    <a:lnTo>
                      <a:pt x="523" y="206"/>
                    </a:lnTo>
                    <a:lnTo>
                      <a:pt x="523" y="203"/>
                    </a:lnTo>
                    <a:lnTo>
                      <a:pt x="520" y="203"/>
                    </a:lnTo>
                    <a:lnTo>
                      <a:pt x="518" y="203"/>
                    </a:lnTo>
                    <a:lnTo>
                      <a:pt x="513" y="203"/>
                    </a:lnTo>
                    <a:lnTo>
                      <a:pt x="511" y="206"/>
                    </a:lnTo>
                    <a:lnTo>
                      <a:pt x="506" y="208"/>
                    </a:lnTo>
                    <a:lnTo>
                      <a:pt x="504" y="206"/>
                    </a:lnTo>
                    <a:lnTo>
                      <a:pt x="501" y="206"/>
                    </a:lnTo>
                    <a:lnTo>
                      <a:pt x="499" y="206"/>
                    </a:lnTo>
                    <a:lnTo>
                      <a:pt x="497" y="206"/>
                    </a:lnTo>
                    <a:lnTo>
                      <a:pt x="494" y="206"/>
                    </a:lnTo>
                    <a:lnTo>
                      <a:pt x="499" y="199"/>
                    </a:lnTo>
                    <a:lnTo>
                      <a:pt x="506" y="194"/>
                    </a:lnTo>
                    <a:lnTo>
                      <a:pt x="513" y="189"/>
                    </a:lnTo>
                    <a:lnTo>
                      <a:pt x="520" y="182"/>
                    </a:lnTo>
                    <a:lnTo>
                      <a:pt x="525" y="177"/>
                    </a:lnTo>
                    <a:lnTo>
                      <a:pt x="532" y="170"/>
                    </a:lnTo>
                    <a:lnTo>
                      <a:pt x="539" y="165"/>
                    </a:lnTo>
                    <a:lnTo>
                      <a:pt x="544" y="161"/>
                    </a:lnTo>
                    <a:lnTo>
                      <a:pt x="551" y="154"/>
                    </a:lnTo>
                    <a:lnTo>
                      <a:pt x="558" y="149"/>
                    </a:lnTo>
                    <a:lnTo>
                      <a:pt x="565" y="144"/>
                    </a:lnTo>
                    <a:lnTo>
                      <a:pt x="570" y="137"/>
                    </a:lnTo>
                    <a:lnTo>
                      <a:pt x="577" y="132"/>
                    </a:lnTo>
                    <a:lnTo>
                      <a:pt x="584" y="128"/>
                    </a:lnTo>
                    <a:lnTo>
                      <a:pt x="591" y="120"/>
                    </a:lnTo>
                    <a:lnTo>
                      <a:pt x="596" y="116"/>
                    </a:lnTo>
                    <a:lnTo>
                      <a:pt x="603" y="111"/>
                    </a:lnTo>
                    <a:lnTo>
                      <a:pt x="610" y="106"/>
                    </a:lnTo>
                    <a:lnTo>
                      <a:pt x="617" y="99"/>
                    </a:lnTo>
                    <a:lnTo>
                      <a:pt x="624" y="94"/>
                    </a:lnTo>
                    <a:lnTo>
                      <a:pt x="632" y="90"/>
                    </a:lnTo>
                    <a:lnTo>
                      <a:pt x="636" y="85"/>
                    </a:lnTo>
                    <a:lnTo>
                      <a:pt x="643" y="78"/>
                    </a:lnTo>
                    <a:lnTo>
                      <a:pt x="650" y="73"/>
                    </a:lnTo>
                    <a:lnTo>
                      <a:pt x="658" y="68"/>
                    </a:lnTo>
                    <a:lnTo>
                      <a:pt x="665" y="64"/>
                    </a:lnTo>
                    <a:lnTo>
                      <a:pt x="672" y="57"/>
                    </a:lnTo>
                    <a:lnTo>
                      <a:pt x="679" y="52"/>
                    </a:lnTo>
                    <a:lnTo>
                      <a:pt x="686" y="47"/>
                    </a:lnTo>
                    <a:lnTo>
                      <a:pt x="693" y="42"/>
                    </a:lnTo>
                    <a:lnTo>
                      <a:pt x="700" y="35"/>
                    </a:lnTo>
                    <a:lnTo>
                      <a:pt x="705" y="30"/>
                    </a:lnTo>
                    <a:lnTo>
                      <a:pt x="705" y="30"/>
                    </a:lnTo>
                    <a:lnTo>
                      <a:pt x="703" y="30"/>
                    </a:lnTo>
                    <a:lnTo>
                      <a:pt x="703" y="30"/>
                    </a:lnTo>
                    <a:lnTo>
                      <a:pt x="700" y="30"/>
                    </a:lnTo>
                    <a:lnTo>
                      <a:pt x="700" y="30"/>
                    </a:lnTo>
                    <a:lnTo>
                      <a:pt x="700" y="28"/>
                    </a:lnTo>
                    <a:lnTo>
                      <a:pt x="693" y="28"/>
                    </a:lnTo>
                    <a:lnTo>
                      <a:pt x="693" y="26"/>
                    </a:lnTo>
                    <a:lnTo>
                      <a:pt x="693" y="23"/>
                    </a:lnTo>
                    <a:lnTo>
                      <a:pt x="688" y="23"/>
                    </a:lnTo>
                    <a:lnTo>
                      <a:pt x="686" y="23"/>
                    </a:lnTo>
                    <a:lnTo>
                      <a:pt x="686" y="23"/>
                    </a:lnTo>
                    <a:lnTo>
                      <a:pt x="684" y="23"/>
                    </a:lnTo>
                    <a:lnTo>
                      <a:pt x="681" y="23"/>
                    </a:lnTo>
                    <a:lnTo>
                      <a:pt x="674" y="23"/>
                    </a:lnTo>
                    <a:lnTo>
                      <a:pt x="669" y="23"/>
                    </a:lnTo>
                    <a:lnTo>
                      <a:pt x="665" y="26"/>
                    </a:lnTo>
                    <a:lnTo>
                      <a:pt x="658" y="26"/>
                    </a:lnTo>
                    <a:lnTo>
                      <a:pt x="658" y="23"/>
                    </a:lnTo>
                    <a:lnTo>
                      <a:pt x="655" y="23"/>
                    </a:lnTo>
                    <a:lnTo>
                      <a:pt x="653" y="21"/>
                    </a:lnTo>
                    <a:lnTo>
                      <a:pt x="650" y="23"/>
                    </a:lnTo>
                    <a:lnTo>
                      <a:pt x="648" y="21"/>
                    </a:lnTo>
                    <a:lnTo>
                      <a:pt x="641" y="21"/>
                    </a:lnTo>
                    <a:lnTo>
                      <a:pt x="636" y="21"/>
                    </a:lnTo>
                    <a:lnTo>
                      <a:pt x="629" y="21"/>
                    </a:lnTo>
                    <a:lnTo>
                      <a:pt x="629" y="21"/>
                    </a:lnTo>
                    <a:lnTo>
                      <a:pt x="629" y="19"/>
                    </a:lnTo>
                    <a:lnTo>
                      <a:pt x="629" y="19"/>
                    </a:lnTo>
                    <a:lnTo>
                      <a:pt x="627" y="19"/>
                    </a:lnTo>
                    <a:lnTo>
                      <a:pt x="627" y="19"/>
                    </a:lnTo>
                    <a:lnTo>
                      <a:pt x="624" y="19"/>
                    </a:lnTo>
                    <a:lnTo>
                      <a:pt x="622" y="19"/>
                    </a:lnTo>
                    <a:lnTo>
                      <a:pt x="622" y="19"/>
                    </a:lnTo>
                    <a:lnTo>
                      <a:pt x="620" y="19"/>
                    </a:lnTo>
                    <a:lnTo>
                      <a:pt x="617" y="16"/>
                    </a:lnTo>
                    <a:lnTo>
                      <a:pt x="615" y="16"/>
                    </a:lnTo>
                    <a:lnTo>
                      <a:pt x="613" y="16"/>
                    </a:lnTo>
                    <a:lnTo>
                      <a:pt x="608" y="16"/>
                    </a:lnTo>
                    <a:lnTo>
                      <a:pt x="603" y="16"/>
                    </a:lnTo>
                    <a:lnTo>
                      <a:pt x="601" y="16"/>
                    </a:lnTo>
                    <a:lnTo>
                      <a:pt x="601" y="16"/>
                    </a:lnTo>
                    <a:lnTo>
                      <a:pt x="598" y="16"/>
                    </a:lnTo>
                    <a:lnTo>
                      <a:pt x="598" y="16"/>
                    </a:lnTo>
                    <a:lnTo>
                      <a:pt x="594" y="16"/>
                    </a:lnTo>
                    <a:lnTo>
                      <a:pt x="591" y="16"/>
                    </a:lnTo>
                    <a:lnTo>
                      <a:pt x="589" y="19"/>
                    </a:lnTo>
                    <a:lnTo>
                      <a:pt x="579" y="16"/>
                    </a:lnTo>
                    <a:lnTo>
                      <a:pt x="582" y="16"/>
                    </a:lnTo>
                    <a:lnTo>
                      <a:pt x="584" y="16"/>
                    </a:lnTo>
                    <a:lnTo>
                      <a:pt x="584" y="16"/>
                    </a:lnTo>
                    <a:lnTo>
                      <a:pt x="579" y="16"/>
                    </a:lnTo>
                    <a:lnTo>
                      <a:pt x="577" y="14"/>
                    </a:lnTo>
                    <a:lnTo>
                      <a:pt x="579" y="14"/>
                    </a:lnTo>
                    <a:lnTo>
                      <a:pt x="577" y="14"/>
                    </a:lnTo>
                    <a:lnTo>
                      <a:pt x="577" y="14"/>
                    </a:lnTo>
                    <a:lnTo>
                      <a:pt x="579" y="12"/>
                    </a:lnTo>
                    <a:lnTo>
                      <a:pt x="584" y="12"/>
                    </a:lnTo>
                    <a:lnTo>
                      <a:pt x="584" y="9"/>
                    </a:lnTo>
                    <a:lnTo>
                      <a:pt x="584" y="9"/>
                    </a:lnTo>
                    <a:lnTo>
                      <a:pt x="582" y="9"/>
                    </a:lnTo>
                    <a:lnTo>
                      <a:pt x="579" y="9"/>
                    </a:lnTo>
                    <a:lnTo>
                      <a:pt x="575" y="9"/>
                    </a:lnTo>
                    <a:lnTo>
                      <a:pt x="570" y="9"/>
                    </a:lnTo>
                    <a:lnTo>
                      <a:pt x="568" y="9"/>
                    </a:lnTo>
                    <a:lnTo>
                      <a:pt x="565" y="9"/>
                    </a:lnTo>
                    <a:lnTo>
                      <a:pt x="558" y="12"/>
                    </a:lnTo>
                    <a:lnTo>
                      <a:pt x="556" y="9"/>
                    </a:lnTo>
                    <a:lnTo>
                      <a:pt x="553" y="9"/>
                    </a:lnTo>
                    <a:lnTo>
                      <a:pt x="553" y="9"/>
                    </a:lnTo>
                    <a:lnTo>
                      <a:pt x="556" y="9"/>
                    </a:lnTo>
                    <a:lnTo>
                      <a:pt x="558" y="7"/>
                    </a:lnTo>
                    <a:lnTo>
                      <a:pt x="556" y="7"/>
                    </a:lnTo>
                    <a:lnTo>
                      <a:pt x="556" y="7"/>
                    </a:lnTo>
                    <a:lnTo>
                      <a:pt x="553" y="7"/>
                    </a:lnTo>
                    <a:lnTo>
                      <a:pt x="553" y="7"/>
                    </a:lnTo>
                    <a:lnTo>
                      <a:pt x="549" y="7"/>
                    </a:lnTo>
                    <a:lnTo>
                      <a:pt x="542" y="9"/>
                    </a:lnTo>
                    <a:lnTo>
                      <a:pt x="539" y="9"/>
                    </a:lnTo>
                    <a:lnTo>
                      <a:pt x="537" y="12"/>
                    </a:lnTo>
                    <a:lnTo>
                      <a:pt x="537" y="9"/>
                    </a:lnTo>
                    <a:lnTo>
                      <a:pt x="537" y="9"/>
                    </a:lnTo>
                    <a:lnTo>
                      <a:pt x="537" y="9"/>
                    </a:lnTo>
                    <a:lnTo>
                      <a:pt x="542" y="7"/>
                    </a:lnTo>
                    <a:lnTo>
                      <a:pt x="546" y="7"/>
                    </a:lnTo>
                    <a:lnTo>
                      <a:pt x="549" y="4"/>
                    </a:lnTo>
                    <a:lnTo>
                      <a:pt x="549" y="4"/>
                    </a:lnTo>
                    <a:lnTo>
                      <a:pt x="549" y="4"/>
                    </a:lnTo>
                    <a:lnTo>
                      <a:pt x="542" y="2"/>
                    </a:lnTo>
                    <a:lnTo>
                      <a:pt x="542" y="2"/>
                    </a:lnTo>
                    <a:lnTo>
                      <a:pt x="544" y="2"/>
                    </a:lnTo>
                    <a:lnTo>
                      <a:pt x="546" y="0"/>
                    </a:lnTo>
                    <a:lnTo>
                      <a:pt x="544" y="0"/>
                    </a:lnTo>
                    <a:lnTo>
                      <a:pt x="539" y="2"/>
                    </a:lnTo>
                    <a:lnTo>
                      <a:pt x="535" y="4"/>
                    </a:lnTo>
                    <a:lnTo>
                      <a:pt x="527" y="7"/>
                    </a:lnTo>
                    <a:lnTo>
                      <a:pt x="523" y="7"/>
                    </a:lnTo>
                    <a:lnTo>
                      <a:pt x="518" y="9"/>
                    </a:lnTo>
                    <a:lnTo>
                      <a:pt x="511" y="9"/>
                    </a:lnTo>
                    <a:lnTo>
                      <a:pt x="509" y="9"/>
                    </a:lnTo>
                    <a:lnTo>
                      <a:pt x="504" y="9"/>
                    </a:lnTo>
                    <a:lnTo>
                      <a:pt x="501" y="12"/>
                    </a:lnTo>
                    <a:lnTo>
                      <a:pt x="499" y="12"/>
                    </a:lnTo>
                    <a:lnTo>
                      <a:pt x="494" y="12"/>
                    </a:lnTo>
                    <a:lnTo>
                      <a:pt x="492" y="12"/>
                    </a:lnTo>
                    <a:lnTo>
                      <a:pt x="490" y="12"/>
                    </a:lnTo>
                    <a:lnTo>
                      <a:pt x="490" y="12"/>
                    </a:lnTo>
                    <a:lnTo>
                      <a:pt x="490" y="12"/>
                    </a:lnTo>
                    <a:lnTo>
                      <a:pt x="492" y="12"/>
                    </a:lnTo>
                    <a:lnTo>
                      <a:pt x="494" y="12"/>
                    </a:lnTo>
                    <a:lnTo>
                      <a:pt x="494" y="9"/>
                    </a:lnTo>
                    <a:lnTo>
                      <a:pt x="494" y="9"/>
                    </a:lnTo>
                    <a:lnTo>
                      <a:pt x="492" y="9"/>
                    </a:lnTo>
                    <a:lnTo>
                      <a:pt x="485" y="12"/>
                    </a:lnTo>
                    <a:lnTo>
                      <a:pt x="475" y="14"/>
                    </a:lnTo>
                    <a:lnTo>
                      <a:pt x="478" y="14"/>
                    </a:lnTo>
                    <a:lnTo>
                      <a:pt x="478" y="16"/>
                    </a:lnTo>
                    <a:lnTo>
                      <a:pt x="483" y="16"/>
                    </a:lnTo>
                    <a:lnTo>
                      <a:pt x="478" y="16"/>
                    </a:lnTo>
                    <a:lnTo>
                      <a:pt x="475" y="16"/>
                    </a:lnTo>
                    <a:lnTo>
                      <a:pt x="473" y="16"/>
                    </a:lnTo>
                    <a:lnTo>
                      <a:pt x="473" y="19"/>
                    </a:lnTo>
                    <a:lnTo>
                      <a:pt x="471" y="19"/>
                    </a:lnTo>
                    <a:lnTo>
                      <a:pt x="468" y="21"/>
                    </a:lnTo>
                    <a:lnTo>
                      <a:pt x="471" y="19"/>
                    </a:lnTo>
                    <a:lnTo>
                      <a:pt x="468" y="19"/>
                    </a:lnTo>
                    <a:lnTo>
                      <a:pt x="471" y="16"/>
                    </a:lnTo>
                    <a:lnTo>
                      <a:pt x="471" y="16"/>
                    </a:lnTo>
                    <a:lnTo>
                      <a:pt x="475" y="14"/>
                    </a:lnTo>
                    <a:lnTo>
                      <a:pt x="475" y="14"/>
                    </a:lnTo>
                    <a:lnTo>
                      <a:pt x="473" y="14"/>
                    </a:lnTo>
                    <a:lnTo>
                      <a:pt x="464" y="16"/>
                    </a:lnTo>
                    <a:lnTo>
                      <a:pt x="464" y="19"/>
                    </a:lnTo>
                    <a:lnTo>
                      <a:pt x="454" y="19"/>
                    </a:lnTo>
                    <a:lnTo>
                      <a:pt x="445" y="21"/>
                    </a:lnTo>
                    <a:lnTo>
                      <a:pt x="442" y="21"/>
                    </a:lnTo>
                    <a:lnTo>
                      <a:pt x="438" y="21"/>
                    </a:lnTo>
                    <a:lnTo>
                      <a:pt x="435" y="21"/>
                    </a:lnTo>
                    <a:lnTo>
                      <a:pt x="438" y="21"/>
                    </a:lnTo>
                    <a:lnTo>
                      <a:pt x="440" y="21"/>
                    </a:lnTo>
                    <a:lnTo>
                      <a:pt x="442" y="21"/>
                    </a:lnTo>
                    <a:lnTo>
                      <a:pt x="442" y="21"/>
                    </a:lnTo>
                    <a:lnTo>
                      <a:pt x="442" y="21"/>
                    </a:lnTo>
                    <a:lnTo>
                      <a:pt x="442" y="21"/>
                    </a:lnTo>
                    <a:lnTo>
                      <a:pt x="445" y="19"/>
                    </a:lnTo>
                    <a:lnTo>
                      <a:pt x="440" y="21"/>
                    </a:lnTo>
                    <a:lnTo>
                      <a:pt x="438" y="21"/>
                    </a:lnTo>
                    <a:lnTo>
                      <a:pt x="430" y="23"/>
                    </a:lnTo>
                    <a:lnTo>
                      <a:pt x="414" y="28"/>
                    </a:lnTo>
                    <a:lnTo>
                      <a:pt x="407" y="33"/>
                    </a:lnTo>
                    <a:lnTo>
                      <a:pt x="402" y="35"/>
                    </a:lnTo>
                    <a:lnTo>
                      <a:pt x="400" y="35"/>
                    </a:lnTo>
                    <a:lnTo>
                      <a:pt x="400" y="35"/>
                    </a:lnTo>
                    <a:lnTo>
                      <a:pt x="400" y="35"/>
                    </a:lnTo>
                    <a:lnTo>
                      <a:pt x="397" y="38"/>
                    </a:lnTo>
                    <a:lnTo>
                      <a:pt x="390" y="40"/>
                    </a:lnTo>
                    <a:lnTo>
                      <a:pt x="381" y="42"/>
                    </a:lnTo>
                    <a:lnTo>
                      <a:pt x="376" y="42"/>
                    </a:lnTo>
                    <a:lnTo>
                      <a:pt x="374" y="45"/>
                    </a:lnTo>
                    <a:lnTo>
                      <a:pt x="364" y="45"/>
                    </a:lnTo>
                    <a:lnTo>
                      <a:pt x="362" y="45"/>
                    </a:lnTo>
                    <a:lnTo>
                      <a:pt x="355" y="45"/>
                    </a:lnTo>
                    <a:lnTo>
                      <a:pt x="345" y="45"/>
                    </a:lnTo>
                    <a:lnTo>
                      <a:pt x="343" y="47"/>
                    </a:lnTo>
                    <a:lnTo>
                      <a:pt x="336" y="49"/>
                    </a:lnTo>
                    <a:lnTo>
                      <a:pt x="331" y="54"/>
                    </a:lnTo>
                    <a:lnTo>
                      <a:pt x="329" y="54"/>
                    </a:lnTo>
                    <a:lnTo>
                      <a:pt x="326" y="54"/>
                    </a:lnTo>
                    <a:lnTo>
                      <a:pt x="324" y="54"/>
                    </a:lnTo>
                    <a:lnTo>
                      <a:pt x="329" y="54"/>
                    </a:lnTo>
                    <a:lnTo>
                      <a:pt x="326" y="54"/>
                    </a:lnTo>
                    <a:lnTo>
                      <a:pt x="324" y="54"/>
                    </a:lnTo>
                    <a:lnTo>
                      <a:pt x="324" y="54"/>
                    </a:lnTo>
                    <a:lnTo>
                      <a:pt x="326" y="54"/>
                    </a:lnTo>
                    <a:lnTo>
                      <a:pt x="329" y="57"/>
                    </a:lnTo>
                    <a:lnTo>
                      <a:pt x="329" y="59"/>
                    </a:lnTo>
                    <a:lnTo>
                      <a:pt x="333" y="59"/>
                    </a:lnTo>
                    <a:lnTo>
                      <a:pt x="338" y="68"/>
                    </a:lnTo>
                    <a:lnTo>
                      <a:pt x="338" y="71"/>
                    </a:lnTo>
                    <a:lnTo>
                      <a:pt x="333" y="73"/>
                    </a:lnTo>
                    <a:lnTo>
                      <a:pt x="333" y="75"/>
                    </a:lnTo>
                    <a:lnTo>
                      <a:pt x="333" y="78"/>
                    </a:lnTo>
                    <a:lnTo>
                      <a:pt x="338" y="78"/>
                    </a:lnTo>
                    <a:lnTo>
                      <a:pt x="343" y="78"/>
                    </a:lnTo>
                    <a:lnTo>
                      <a:pt x="345" y="78"/>
                    </a:lnTo>
                    <a:lnTo>
                      <a:pt x="350" y="78"/>
                    </a:lnTo>
                    <a:lnTo>
                      <a:pt x="348" y="78"/>
                    </a:lnTo>
                    <a:lnTo>
                      <a:pt x="348" y="78"/>
                    </a:lnTo>
                    <a:lnTo>
                      <a:pt x="355" y="78"/>
                    </a:lnTo>
                    <a:lnTo>
                      <a:pt x="357" y="78"/>
                    </a:lnTo>
                    <a:lnTo>
                      <a:pt x="357" y="80"/>
                    </a:lnTo>
                    <a:lnTo>
                      <a:pt x="355" y="80"/>
                    </a:lnTo>
                    <a:lnTo>
                      <a:pt x="348" y="83"/>
                    </a:lnTo>
                    <a:lnTo>
                      <a:pt x="345" y="85"/>
                    </a:lnTo>
                    <a:lnTo>
                      <a:pt x="348" y="85"/>
                    </a:lnTo>
                    <a:lnTo>
                      <a:pt x="348" y="87"/>
                    </a:lnTo>
                    <a:lnTo>
                      <a:pt x="348" y="87"/>
                    </a:lnTo>
                    <a:lnTo>
                      <a:pt x="357" y="85"/>
                    </a:lnTo>
                    <a:lnTo>
                      <a:pt x="359" y="85"/>
                    </a:lnTo>
                    <a:lnTo>
                      <a:pt x="362" y="85"/>
                    </a:lnTo>
                    <a:lnTo>
                      <a:pt x="364" y="85"/>
                    </a:lnTo>
                    <a:lnTo>
                      <a:pt x="364" y="87"/>
                    </a:lnTo>
                    <a:lnTo>
                      <a:pt x="364" y="87"/>
                    </a:lnTo>
                    <a:lnTo>
                      <a:pt x="362" y="90"/>
                    </a:lnTo>
                    <a:lnTo>
                      <a:pt x="355" y="90"/>
                    </a:lnTo>
                    <a:lnTo>
                      <a:pt x="352" y="90"/>
                    </a:lnTo>
                    <a:lnTo>
                      <a:pt x="352" y="87"/>
                    </a:lnTo>
                    <a:lnTo>
                      <a:pt x="350" y="87"/>
                    </a:lnTo>
                    <a:lnTo>
                      <a:pt x="348" y="87"/>
                    </a:lnTo>
                    <a:lnTo>
                      <a:pt x="343" y="90"/>
                    </a:lnTo>
                    <a:lnTo>
                      <a:pt x="343" y="87"/>
                    </a:lnTo>
                    <a:lnTo>
                      <a:pt x="343" y="85"/>
                    </a:lnTo>
                    <a:lnTo>
                      <a:pt x="345" y="83"/>
                    </a:lnTo>
                    <a:lnTo>
                      <a:pt x="345" y="83"/>
                    </a:lnTo>
                    <a:lnTo>
                      <a:pt x="348" y="80"/>
                    </a:lnTo>
                    <a:lnTo>
                      <a:pt x="345" y="80"/>
                    </a:lnTo>
                    <a:lnTo>
                      <a:pt x="343" y="80"/>
                    </a:lnTo>
                    <a:lnTo>
                      <a:pt x="341" y="80"/>
                    </a:lnTo>
                    <a:lnTo>
                      <a:pt x="341" y="83"/>
                    </a:lnTo>
                    <a:lnTo>
                      <a:pt x="338" y="83"/>
                    </a:lnTo>
                    <a:lnTo>
                      <a:pt x="341" y="83"/>
                    </a:lnTo>
                    <a:lnTo>
                      <a:pt x="341" y="85"/>
                    </a:lnTo>
                    <a:lnTo>
                      <a:pt x="341" y="87"/>
                    </a:lnTo>
                    <a:lnTo>
                      <a:pt x="338" y="90"/>
                    </a:lnTo>
                    <a:lnTo>
                      <a:pt x="338" y="90"/>
                    </a:lnTo>
                    <a:lnTo>
                      <a:pt x="343" y="90"/>
                    </a:lnTo>
                    <a:lnTo>
                      <a:pt x="348" y="92"/>
                    </a:lnTo>
                    <a:lnTo>
                      <a:pt x="348" y="92"/>
                    </a:lnTo>
                    <a:lnTo>
                      <a:pt x="345" y="94"/>
                    </a:lnTo>
                    <a:lnTo>
                      <a:pt x="345" y="92"/>
                    </a:lnTo>
                    <a:lnTo>
                      <a:pt x="343" y="92"/>
                    </a:lnTo>
                    <a:lnTo>
                      <a:pt x="341" y="92"/>
                    </a:lnTo>
                    <a:lnTo>
                      <a:pt x="341" y="92"/>
                    </a:lnTo>
                    <a:lnTo>
                      <a:pt x="338" y="92"/>
                    </a:lnTo>
                    <a:lnTo>
                      <a:pt x="331" y="97"/>
                    </a:lnTo>
                    <a:lnTo>
                      <a:pt x="329" y="97"/>
                    </a:lnTo>
                    <a:lnTo>
                      <a:pt x="324" y="97"/>
                    </a:lnTo>
                    <a:lnTo>
                      <a:pt x="319" y="97"/>
                    </a:lnTo>
                    <a:lnTo>
                      <a:pt x="317" y="97"/>
                    </a:lnTo>
                    <a:lnTo>
                      <a:pt x="317" y="94"/>
                    </a:lnTo>
                    <a:lnTo>
                      <a:pt x="312" y="97"/>
                    </a:lnTo>
                    <a:lnTo>
                      <a:pt x="305" y="97"/>
                    </a:lnTo>
                    <a:lnTo>
                      <a:pt x="303" y="92"/>
                    </a:lnTo>
                    <a:lnTo>
                      <a:pt x="305" y="92"/>
                    </a:lnTo>
                    <a:lnTo>
                      <a:pt x="307" y="92"/>
                    </a:lnTo>
                    <a:lnTo>
                      <a:pt x="310" y="90"/>
                    </a:lnTo>
                    <a:lnTo>
                      <a:pt x="315" y="87"/>
                    </a:lnTo>
                    <a:lnTo>
                      <a:pt x="315" y="87"/>
                    </a:lnTo>
                    <a:lnTo>
                      <a:pt x="315" y="87"/>
                    </a:lnTo>
                    <a:lnTo>
                      <a:pt x="315" y="87"/>
                    </a:lnTo>
                    <a:lnTo>
                      <a:pt x="317" y="87"/>
                    </a:lnTo>
                    <a:lnTo>
                      <a:pt x="319" y="87"/>
                    </a:lnTo>
                    <a:lnTo>
                      <a:pt x="317" y="85"/>
                    </a:lnTo>
                    <a:lnTo>
                      <a:pt x="312" y="85"/>
                    </a:lnTo>
                    <a:lnTo>
                      <a:pt x="307" y="87"/>
                    </a:lnTo>
                    <a:lnTo>
                      <a:pt x="303" y="87"/>
                    </a:lnTo>
                    <a:lnTo>
                      <a:pt x="296" y="90"/>
                    </a:lnTo>
                    <a:lnTo>
                      <a:pt x="293" y="90"/>
                    </a:lnTo>
                    <a:lnTo>
                      <a:pt x="289" y="90"/>
                    </a:lnTo>
                    <a:lnTo>
                      <a:pt x="281" y="92"/>
                    </a:lnTo>
                    <a:lnTo>
                      <a:pt x="279" y="92"/>
                    </a:lnTo>
                    <a:lnTo>
                      <a:pt x="279" y="92"/>
                    </a:lnTo>
                    <a:lnTo>
                      <a:pt x="281" y="94"/>
                    </a:lnTo>
                    <a:lnTo>
                      <a:pt x="279" y="94"/>
                    </a:lnTo>
                    <a:lnTo>
                      <a:pt x="279" y="94"/>
                    </a:lnTo>
                    <a:lnTo>
                      <a:pt x="277" y="94"/>
                    </a:lnTo>
                    <a:lnTo>
                      <a:pt x="272" y="94"/>
                    </a:lnTo>
                    <a:lnTo>
                      <a:pt x="272" y="94"/>
                    </a:lnTo>
                    <a:lnTo>
                      <a:pt x="272" y="94"/>
                    </a:lnTo>
                    <a:lnTo>
                      <a:pt x="267" y="94"/>
                    </a:lnTo>
                    <a:lnTo>
                      <a:pt x="265" y="94"/>
                    </a:lnTo>
                    <a:lnTo>
                      <a:pt x="260" y="97"/>
                    </a:lnTo>
                    <a:lnTo>
                      <a:pt x="255" y="97"/>
                    </a:lnTo>
                    <a:lnTo>
                      <a:pt x="253" y="99"/>
                    </a:lnTo>
                    <a:lnTo>
                      <a:pt x="251" y="99"/>
                    </a:lnTo>
                    <a:lnTo>
                      <a:pt x="246" y="99"/>
                    </a:lnTo>
                    <a:lnTo>
                      <a:pt x="241" y="102"/>
                    </a:lnTo>
                    <a:lnTo>
                      <a:pt x="234" y="104"/>
                    </a:lnTo>
                    <a:lnTo>
                      <a:pt x="234" y="102"/>
                    </a:lnTo>
                    <a:lnTo>
                      <a:pt x="236" y="102"/>
                    </a:lnTo>
                    <a:lnTo>
                      <a:pt x="234" y="102"/>
                    </a:lnTo>
                    <a:lnTo>
                      <a:pt x="232" y="104"/>
                    </a:lnTo>
                    <a:lnTo>
                      <a:pt x="229" y="104"/>
                    </a:lnTo>
                    <a:lnTo>
                      <a:pt x="229" y="106"/>
                    </a:lnTo>
                    <a:lnTo>
                      <a:pt x="234" y="109"/>
                    </a:lnTo>
                    <a:lnTo>
                      <a:pt x="244" y="109"/>
                    </a:lnTo>
                    <a:lnTo>
                      <a:pt x="244" y="109"/>
                    </a:lnTo>
                    <a:lnTo>
                      <a:pt x="248" y="111"/>
                    </a:lnTo>
                    <a:lnTo>
                      <a:pt x="248" y="111"/>
                    </a:lnTo>
                    <a:lnTo>
                      <a:pt x="248" y="111"/>
                    </a:lnTo>
                    <a:lnTo>
                      <a:pt x="246" y="111"/>
                    </a:lnTo>
                    <a:lnTo>
                      <a:pt x="244" y="111"/>
                    </a:lnTo>
                    <a:lnTo>
                      <a:pt x="239" y="113"/>
                    </a:lnTo>
                    <a:lnTo>
                      <a:pt x="236" y="113"/>
                    </a:lnTo>
                    <a:lnTo>
                      <a:pt x="234" y="113"/>
                    </a:lnTo>
                    <a:lnTo>
                      <a:pt x="234" y="113"/>
                    </a:lnTo>
                    <a:lnTo>
                      <a:pt x="234" y="113"/>
                    </a:lnTo>
                    <a:lnTo>
                      <a:pt x="234" y="113"/>
                    </a:lnTo>
                    <a:lnTo>
                      <a:pt x="234" y="116"/>
                    </a:lnTo>
                    <a:lnTo>
                      <a:pt x="236" y="118"/>
                    </a:lnTo>
                    <a:lnTo>
                      <a:pt x="234" y="118"/>
                    </a:lnTo>
                    <a:lnTo>
                      <a:pt x="232" y="120"/>
                    </a:lnTo>
                    <a:lnTo>
                      <a:pt x="229" y="120"/>
                    </a:lnTo>
                    <a:lnTo>
                      <a:pt x="229" y="123"/>
                    </a:lnTo>
                    <a:lnTo>
                      <a:pt x="229" y="123"/>
                    </a:lnTo>
                    <a:lnTo>
                      <a:pt x="239" y="125"/>
                    </a:lnTo>
                    <a:lnTo>
                      <a:pt x="241" y="125"/>
                    </a:lnTo>
                    <a:lnTo>
                      <a:pt x="244" y="125"/>
                    </a:lnTo>
                    <a:lnTo>
                      <a:pt x="246" y="125"/>
                    </a:lnTo>
                    <a:lnTo>
                      <a:pt x="246" y="125"/>
                    </a:lnTo>
                    <a:lnTo>
                      <a:pt x="248" y="125"/>
                    </a:lnTo>
                    <a:lnTo>
                      <a:pt x="248" y="125"/>
                    </a:lnTo>
                    <a:lnTo>
                      <a:pt x="248" y="125"/>
                    </a:lnTo>
                    <a:lnTo>
                      <a:pt x="248" y="125"/>
                    </a:lnTo>
                    <a:lnTo>
                      <a:pt x="255" y="123"/>
                    </a:lnTo>
                    <a:lnTo>
                      <a:pt x="265" y="123"/>
                    </a:lnTo>
                    <a:lnTo>
                      <a:pt x="267" y="125"/>
                    </a:lnTo>
                    <a:lnTo>
                      <a:pt x="270" y="125"/>
                    </a:lnTo>
                    <a:lnTo>
                      <a:pt x="270" y="128"/>
                    </a:lnTo>
                    <a:lnTo>
                      <a:pt x="272" y="125"/>
                    </a:lnTo>
                    <a:lnTo>
                      <a:pt x="272" y="125"/>
                    </a:lnTo>
                    <a:lnTo>
                      <a:pt x="272" y="125"/>
                    </a:lnTo>
                    <a:lnTo>
                      <a:pt x="272" y="123"/>
                    </a:lnTo>
                    <a:lnTo>
                      <a:pt x="272" y="123"/>
                    </a:lnTo>
                    <a:lnTo>
                      <a:pt x="274" y="123"/>
                    </a:lnTo>
                    <a:lnTo>
                      <a:pt x="274" y="125"/>
                    </a:lnTo>
                    <a:lnTo>
                      <a:pt x="272" y="128"/>
                    </a:lnTo>
                    <a:lnTo>
                      <a:pt x="274" y="128"/>
                    </a:lnTo>
                    <a:lnTo>
                      <a:pt x="277" y="125"/>
                    </a:lnTo>
                    <a:lnTo>
                      <a:pt x="286" y="123"/>
                    </a:lnTo>
                    <a:lnTo>
                      <a:pt x="289" y="123"/>
                    </a:lnTo>
                    <a:lnTo>
                      <a:pt x="296" y="120"/>
                    </a:lnTo>
                    <a:lnTo>
                      <a:pt x="298" y="118"/>
                    </a:lnTo>
                    <a:lnTo>
                      <a:pt x="300" y="120"/>
                    </a:lnTo>
                    <a:lnTo>
                      <a:pt x="303" y="120"/>
                    </a:lnTo>
                    <a:lnTo>
                      <a:pt x="310" y="118"/>
                    </a:lnTo>
                    <a:lnTo>
                      <a:pt x="310" y="118"/>
                    </a:lnTo>
                    <a:lnTo>
                      <a:pt x="310" y="118"/>
                    </a:lnTo>
                    <a:lnTo>
                      <a:pt x="310" y="118"/>
                    </a:lnTo>
                    <a:lnTo>
                      <a:pt x="310" y="120"/>
                    </a:lnTo>
                    <a:lnTo>
                      <a:pt x="310" y="120"/>
                    </a:lnTo>
                    <a:lnTo>
                      <a:pt x="307" y="120"/>
                    </a:lnTo>
                    <a:lnTo>
                      <a:pt x="305" y="123"/>
                    </a:lnTo>
                    <a:lnTo>
                      <a:pt x="305" y="123"/>
                    </a:lnTo>
                    <a:lnTo>
                      <a:pt x="303" y="125"/>
                    </a:lnTo>
                    <a:lnTo>
                      <a:pt x="298" y="125"/>
                    </a:lnTo>
                    <a:lnTo>
                      <a:pt x="296" y="125"/>
                    </a:lnTo>
                    <a:lnTo>
                      <a:pt x="293" y="125"/>
                    </a:lnTo>
                    <a:lnTo>
                      <a:pt x="296" y="125"/>
                    </a:lnTo>
                    <a:lnTo>
                      <a:pt x="296" y="128"/>
                    </a:lnTo>
                    <a:lnTo>
                      <a:pt x="296" y="130"/>
                    </a:lnTo>
                    <a:lnTo>
                      <a:pt x="291" y="135"/>
                    </a:lnTo>
                    <a:lnTo>
                      <a:pt x="289" y="135"/>
                    </a:lnTo>
                    <a:lnTo>
                      <a:pt x="289" y="137"/>
                    </a:lnTo>
                    <a:lnTo>
                      <a:pt x="284" y="139"/>
                    </a:lnTo>
                    <a:lnTo>
                      <a:pt x="281" y="142"/>
                    </a:lnTo>
                    <a:lnTo>
                      <a:pt x="277" y="142"/>
                    </a:lnTo>
                    <a:lnTo>
                      <a:pt x="272" y="144"/>
                    </a:lnTo>
                    <a:lnTo>
                      <a:pt x="267" y="144"/>
                    </a:lnTo>
                    <a:lnTo>
                      <a:pt x="260" y="144"/>
                    </a:lnTo>
                    <a:lnTo>
                      <a:pt x="260" y="144"/>
                    </a:lnTo>
                    <a:lnTo>
                      <a:pt x="260" y="144"/>
                    </a:lnTo>
                    <a:lnTo>
                      <a:pt x="260" y="144"/>
                    </a:lnTo>
                    <a:lnTo>
                      <a:pt x="258" y="144"/>
                    </a:lnTo>
                    <a:lnTo>
                      <a:pt x="255" y="144"/>
                    </a:lnTo>
                    <a:lnTo>
                      <a:pt x="246" y="149"/>
                    </a:lnTo>
                    <a:lnTo>
                      <a:pt x="244" y="149"/>
                    </a:lnTo>
                    <a:lnTo>
                      <a:pt x="239" y="151"/>
                    </a:lnTo>
                    <a:lnTo>
                      <a:pt x="236" y="151"/>
                    </a:lnTo>
                    <a:lnTo>
                      <a:pt x="232" y="151"/>
                    </a:lnTo>
                    <a:lnTo>
                      <a:pt x="229" y="151"/>
                    </a:lnTo>
                    <a:lnTo>
                      <a:pt x="232" y="151"/>
                    </a:lnTo>
                    <a:lnTo>
                      <a:pt x="229" y="151"/>
                    </a:lnTo>
                    <a:lnTo>
                      <a:pt x="227" y="151"/>
                    </a:lnTo>
                    <a:lnTo>
                      <a:pt x="225" y="154"/>
                    </a:lnTo>
                    <a:lnTo>
                      <a:pt x="225" y="154"/>
                    </a:lnTo>
                    <a:lnTo>
                      <a:pt x="225" y="151"/>
                    </a:lnTo>
                    <a:lnTo>
                      <a:pt x="227" y="151"/>
                    </a:lnTo>
                    <a:lnTo>
                      <a:pt x="227" y="151"/>
                    </a:lnTo>
                    <a:lnTo>
                      <a:pt x="229" y="151"/>
                    </a:lnTo>
                    <a:lnTo>
                      <a:pt x="229" y="149"/>
                    </a:lnTo>
                    <a:lnTo>
                      <a:pt x="227" y="149"/>
                    </a:lnTo>
                    <a:lnTo>
                      <a:pt x="225" y="149"/>
                    </a:lnTo>
                    <a:lnTo>
                      <a:pt x="220" y="149"/>
                    </a:lnTo>
                    <a:lnTo>
                      <a:pt x="218" y="149"/>
                    </a:lnTo>
                    <a:lnTo>
                      <a:pt x="215" y="151"/>
                    </a:lnTo>
                    <a:lnTo>
                      <a:pt x="215" y="151"/>
                    </a:lnTo>
                    <a:lnTo>
                      <a:pt x="215" y="154"/>
                    </a:lnTo>
                    <a:lnTo>
                      <a:pt x="215" y="154"/>
                    </a:lnTo>
                    <a:lnTo>
                      <a:pt x="210" y="154"/>
                    </a:lnTo>
                    <a:lnTo>
                      <a:pt x="208" y="154"/>
                    </a:lnTo>
                    <a:lnTo>
                      <a:pt x="206" y="154"/>
                    </a:lnTo>
                    <a:lnTo>
                      <a:pt x="203" y="156"/>
                    </a:lnTo>
                    <a:lnTo>
                      <a:pt x="201" y="158"/>
                    </a:lnTo>
                    <a:lnTo>
                      <a:pt x="199" y="161"/>
                    </a:lnTo>
                    <a:lnTo>
                      <a:pt x="201" y="158"/>
                    </a:lnTo>
                    <a:lnTo>
                      <a:pt x="203" y="158"/>
                    </a:lnTo>
                    <a:lnTo>
                      <a:pt x="203" y="158"/>
                    </a:lnTo>
                    <a:lnTo>
                      <a:pt x="201" y="161"/>
                    </a:lnTo>
                    <a:lnTo>
                      <a:pt x="196" y="161"/>
                    </a:lnTo>
                    <a:lnTo>
                      <a:pt x="196" y="163"/>
                    </a:lnTo>
                    <a:lnTo>
                      <a:pt x="196" y="163"/>
                    </a:lnTo>
                    <a:lnTo>
                      <a:pt x="196" y="163"/>
                    </a:lnTo>
                    <a:lnTo>
                      <a:pt x="194" y="163"/>
                    </a:lnTo>
                    <a:lnTo>
                      <a:pt x="194" y="163"/>
                    </a:lnTo>
                    <a:lnTo>
                      <a:pt x="192" y="163"/>
                    </a:lnTo>
                    <a:lnTo>
                      <a:pt x="189" y="163"/>
                    </a:lnTo>
                    <a:lnTo>
                      <a:pt x="182" y="165"/>
                    </a:lnTo>
                    <a:lnTo>
                      <a:pt x="173" y="170"/>
                    </a:lnTo>
                    <a:lnTo>
                      <a:pt x="170" y="173"/>
                    </a:lnTo>
                    <a:lnTo>
                      <a:pt x="168" y="173"/>
                    </a:lnTo>
                    <a:lnTo>
                      <a:pt x="168" y="173"/>
                    </a:lnTo>
                    <a:lnTo>
                      <a:pt x="168" y="175"/>
                    </a:lnTo>
                    <a:lnTo>
                      <a:pt x="163" y="175"/>
                    </a:lnTo>
                    <a:lnTo>
                      <a:pt x="161" y="175"/>
                    </a:lnTo>
                    <a:lnTo>
                      <a:pt x="158" y="175"/>
                    </a:lnTo>
                    <a:lnTo>
                      <a:pt x="158" y="177"/>
                    </a:lnTo>
                    <a:lnTo>
                      <a:pt x="161" y="177"/>
                    </a:lnTo>
                    <a:lnTo>
                      <a:pt x="161" y="177"/>
                    </a:lnTo>
                    <a:lnTo>
                      <a:pt x="156" y="180"/>
                    </a:lnTo>
                    <a:lnTo>
                      <a:pt x="154" y="180"/>
                    </a:lnTo>
                    <a:lnTo>
                      <a:pt x="154" y="180"/>
                    </a:lnTo>
                    <a:lnTo>
                      <a:pt x="154" y="180"/>
                    </a:lnTo>
                    <a:lnTo>
                      <a:pt x="151" y="182"/>
                    </a:lnTo>
                    <a:lnTo>
                      <a:pt x="151" y="182"/>
                    </a:lnTo>
                    <a:lnTo>
                      <a:pt x="154" y="180"/>
                    </a:lnTo>
                    <a:lnTo>
                      <a:pt x="156" y="182"/>
                    </a:lnTo>
                    <a:lnTo>
                      <a:pt x="156" y="182"/>
                    </a:lnTo>
                    <a:lnTo>
                      <a:pt x="151" y="184"/>
                    </a:lnTo>
                    <a:lnTo>
                      <a:pt x="151" y="184"/>
                    </a:lnTo>
                    <a:lnTo>
                      <a:pt x="151" y="187"/>
                    </a:lnTo>
                    <a:lnTo>
                      <a:pt x="149" y="189"/>
                    </a:lnTo>
                    <a:lnTo>
                      <a:pt x="149" y="189"/>
                    </a:lnTo>
                    <a:lnTo>
                      <a:pt x="149" y="189"/>
                    </a:lnTo>
                    <a:lnTo>
                      <a:pt x="151" y="189"/>
                    </a:lnTo>
                    <a:lnTo>
                      <a:pt x="154" y="189"/>
                    </a:lnTo>
                    <a:lnTo>
                      <a:pt x="154" y="187"/>
                    </a:lnTo>
                    <a:lnTo>
                      <a:pt x="156" y="187"/>
                    </a:lnTo>
                    <a:lnTo>
                      <a:pt x="158" y="187"/>
                    </a:lnTo>
                    <a:lnTo>
                      <a:pt x="158" y="187"/>
                    </a:lnTo>
                    <a:lnTo>
                      <a:pt x="156" y="187"/>
                    </a:lnTo>
                    <a:lnTo>
                      <a:pt x="154" y="187"/>
                    </a:lnTo>
                    <a:lnTo>
                      <a:pt x="156" y="189"/>
                    </a:lnTo>
                    <a:lnTo>
                      <a:pt x="156" y="189"/>
                    </a:lnTo>
                    <a:lnTo>
                      <a:pt x="158" y="187"/>
                    </a:lnTo>
                    <a:lnTo>
                      <a:pt x="158" y="187"/>
                    </a:lnTo>
                    <a:lnTo>
                      <a:pt x="156" y="189"/>
                    </a:lnTo>
                    <a:lnTo>
                      <a:pt x="156" y="189"/>
                    </a:lnTo>
                    <a:lnTo>
                      <a:pt x="158" y="189"/>
                    </a:lnTo>
                    <a:lnTo>
                      <a:pt x="158" y="189"/>
                    </a:lnTo>
                    <a:lnTo>
                      <a:pt x="158" y="189"/>
                    </a:lnTo>
                    <a:lnTo>
                      <a:pt x="156" y="192"/>
                    </a:lnTo>
                    <a:lnTo>
                      <a:pt x="151" y="192"/>
                    </a:lnTo>
                    <a:lnTo>
                      <a:pt x="151" y="192"/>
                    </a:lnTo>
                    <a:lnTo>
                      <a:pt x="151" y="194"/>
                    </a:lnTo>
                    <a:lnTo>
                      <a:pt x="156" y="194"/>
                    </a:lnTo>
                    <a:lnTo>
                      <a:pt x="161" y="194"/>
                    </a:lnTo>
                    <a:lnTo>
                      <a:pt x="166" y="194"/>
                    </a:lnTo>
                    <a:lnTo>
                      <a:pt x="173" y="192"/>
                    </a:lnTo>
                    <a:lnTo>
                      <a:pt x="173" y="192"/>
                    </a:lnTo>
                    <a:lnTo>
                      <a:pt x="173" y="194"/>
                    </a:lnTo>
                    <a:lnTo>
                      <a:pt x="173" y="194"/>
                    </a:lnTo>
                    <a:lnTo>
                      <a:pt x="168" y="194"/>
                    </a:lnTo>
                    <a:lnTo>
                      <a:pt x="168" y="194"/>
                    </a:lnTo>
                    <a:lnTo>
                      <a:pt x="170" y="194"/>
                    </a:lnTo>
                    <a:lnTo>
                      <a:pt x="173" y="196"/>
                    </a:lnTo>
                    <a:lnTo>
                      <a:pt x="173" y="196"/>
                    </a:lnTo>
                    <a:lnTo>
                      <a:pt x="168" y="199"/>
                    </a:lnTo>
                    <a:lnTo>
                      <a:pt x="163" y="199"/>
                    </a:lnTo>
                    <a:lnTo>
                      <a:pt x="163" y="199"/>
                    </a:lnTo>
                    <a:lnTo>
                      <a:pt x="166" y="196"/>
                    </a:lnTo>
                    <a:lnTo>
                      <a:pt x="166" y="196"/>
                    </a:lnTo>
                    <a:lnTo>
                      <a:pt x="163" y="196"/>
                    </a:lnTo>
                    <a:lnTo>
                      <a:pt x="161" y="196"/>
                    </a:lnTo>
                    <a:lnTo>
                      <a:pt x="156" y="199"/>
                    </a:lnTo>
                    <a:lnTo>
                      <a:pt x="154" y="199"/>
                    </a:lnTo>
                    <a:lnTo>
                      <a:pt x="156" y="199"/>
                    </a:lnTo>
                    <a:lnTo>
                      <a:pt x="158" y="196"/>
                    </a:lnTo>
                    <a:lnTo>
                      <a:pt x="158" y="196"/>
                    </a:lnTo>
                    <a:lnTo>
                      <a:pt x="158" y="196"/>
                    </a:lnTo>
                    <a:lnTo>
                      <a:pt x="158" y="194"/>
                    </a:lnTo>
                    <a:lnTo>
                      <a:pt x="156" y="194"/>
                    </a:lnTo>
                    <a:lnTo>
                      <a:pt x="156" y="194"/>
                    </a:lnTo>
                    <a:lnTo>
                      <a:pt x="154" y="194"/>
                    </a:lnTo>
                    <a:lnTo>
                      <a:pt x="149" y="196"/>
                    </a:lnTo>
                    <a:lnTo>
                      <a:pt x="137" y="201"/>
                    </a:lnTo>
                    <a:lnTo>
                      <a:pt x="140" y="201"/>
                    </a:lnTo>
                    <a:lnTo>
                      <a:pt x="142" y="201"/>
                    </a:lnTo>
                    <a:lnTo>
                      <a:pt x="142" y="201"/>
                    </a:lnTo>
                    <a:lnTo>
                      <a:pt x="140" y="201"/>
                    </a:lnTo>
                    <a:lnTo>
                      <a:pt x="140" y="203"/>
                    </a:lnTo>
                    <a:lnTo>
                      <a:pt x="140" y="203"/>
                    </a:lnTo>
                    <a:lnTo>
                      <a:pt x="140" y="206"/>
                    </a:lnTo>
                    <a:lnTo>
                      <a:pt x="142" y="206"/>
                    </a:lnTo>
                    <a:lnTo>
                      <a:pt x="142" y="208"/>
                    </a:lnTo>
                    <a:lnTo>
                      <a:pt x="142" y="210"/>
                    </a:lnTo>
                    <a:lnTo>
                      <a:pt x="142" y="213"/>
                    </a:lnTo>
                    <a:lnTo>
                      <a:pt x="140" y="213"/>
                    </a:lnTo>
                    <a:lnTo>
                      <a:pt x="142" y="215"/>
                    </a:lnTo>
                    <a:lnTo>
                      <a:pt x="144" y="215"/>
                    </a:lnTo>
                    <a:lnTo>
                      <a:pt x="154" y="213"/>
                    </a:lnTo>
                    <a:lnTo>
                      <a:pt x="158" y="213"/>
                    </a:lnTo>
                    <a:lnTo>
                      <a:pt x="163" y="210"/>
                    </a:lnTo>
                    <a:lnTo>
                      <a:pt x="166" y="210"/>
                    </a:lnTo>
                    <a:lnTo>
                      <a:pt x="168" y="210"/>
                    </a:lnTo>
                    <a:lnTo>
                      <a:pt x="170" y="208"/>
                    </a:lnTo>
                    <a:lnTo>
                      <a:pt x="173" y="206"/>
                    </a:lnTo>
                    <a:lnTo>
                      <a:pt x="173" y="206"/>
                    </a:lnTo>
                    <a:lnTo>
                      <a:pt x="170" y="206"/>
                    </a:lnTo>
                    <a:lnTo>
                      <a:pt x="173" y="206"/>
                    </a:lnTo>
                    <a:lnTo>
                      <a:pt x="177" y="203"/>
                    </a:lnTo>
                    <a:lnTo>
                      <a:pt x="184" y="199"/>
                    </a:lnTo>
                    <a:lnTo>
                      <a:pt x="187" y="199"/>
                    </a:lnTo>
                    <a:lnTo>
                      <a:pt x="189" y="199"/>
                    </a:lnTo>
                    <a:lnTo>
                      <a:pt x="192" y="196"/>
                    </a:lnTo>
                    <a:lnTo>
                      <a:pt x="192" y="196"/>
                    </a:lnTo>
                    <a:lnTo>
                      <a:pt x="192" y="199"/>
                    </a:lnTo>
                    <a:lnTo>
                      <a:pt x="187" y="199"/>
                    </a:lnTo>
                    <a:lnTo>
                      <a:pt x="182" y="201"/>
                    </a:lnTo>
                    <a:lnTo>
                      <a:pt x="175" y="206"/>
                    </a:lnTo>
                    <a:lnTo>
                      <a:pt x="175" y="208"/>
                    </a:lnTo>
                    <a:lnTo>
                      <a:pt x="173" y="210"/>
                    </a:lnTo>
                    <a:lnTo>
                      <a:pt x="168" y="215"/>
                    </a:lnTo>
                    <a:lnTo>
                      <a:pt x="168" y="218"/>
                    </a:lnTo>
                    <a:lnTo>
                      <a:pt x="166" y="220"/>
                    </a:lnTo>
                    <a:lnTo>
                      <a:pt x="163" y="222"/>
                    </a:lnTo>
                    <a:lnTo>
                      <a:pt x="161" y="222"/>
                    </a:lnTo>
                    <a:lnTo>
                      <a:pt x="156" y="225"/>
                    </a:lnTo>
                    <a:lnTo>
                      <a:pt x="154" y="227"/>
                    </a:lnTo>
                    <a:lnTo>
                      <a:pt x="154" y="229"/>
                    </a:lnTo>
                    <a:lnTo>
                      <a:pt x="156" y="227"/>
                    </a:lnTo>
                    <a:lnTo>
                      <a:pt x="158" y="227"/>
                    </a:lnTo>
                    <a:lnTo>
                      <a:pt x="154" y="229"/>
                    </a:lnTo>
                    <a:lnTo>
                      <a:pt x="151" y="232"/>
                    </a:lnTo>
                    <a:lnTo>
                      <a:pt x="151" y="232"/>
                    </a:lnTo>
                    <a:lnTo>
                      <a:pt x="149" y="234"/>
                    </a:lnTo>
                    <a:lnTo>
                      <a:pt x="147" y="236"/>
                    </a:lnTo>
                    <a:lnTo>
                      <a:pt x="142" y="236"/>
                    </a:lnTo>
                    <a:lnTo>
                      <a:pt x="140" y="236"/>
                    </a:lnTo>
                    <a:lnTo>
                      <a:pt x="144" y="239"/>
                    </a:lnTo>
                    <a:lnTo>
                      <a:pt x="151" y="236"/>
                    </a:lnTo>
                    <a:lnTo>
                      <a:pt x="154" y="234"/>
                    </a:lnTo>
                    <a:lnTo>
                      <a:pt x="156" y="234"/>
                    </a:lnTo>
                    <a:lnTo>
                      <a:pt x="156" y="234"/>
                    </a:lnTo>
                    <a:lnTo>
                      <a:pt x="158" y="234"/>
                    </a:lnTo>
                    <a:lnTo>
                      <a:pt x="163" y="232"/>
                    </a:lnTo>
                    <a:lnTo>
                      <a:pt x="166" y="232"/>
                    </a:lnTo>
                    <a:lnTo>
                      <a:pt x="170" y="232"/>
                    </a:lnTo>
                    <a:lnTo>
                      <a:pt x="173" y="229"/>
                    </a:lnTo>
                    <a:lnTo>
                      <a:pt x="175" y="229"/>
                    </a:lnTo>
                    <a:lnTo>
                      <a:pt x="175" y="232"/>
                    </a:lnTo>
                    <a:lnTo>
                      <a:pt x="175" y="232"/>
                    </a:lnTo>
                    <a:lnTo>
                      <a:pt x="177" y="234"/>
                    </a:lnTo>
                    <a:lnTo>
                      <a:pt x="180" y="234"/>
                    </a:lnTo>
                    <a:lnTo>
                      <a:pt x="182" y="232"/>
                    </a:lnTo>
                    <a:lnTo>
                      <a:pt x="182" y="232"/>
                    </a:lnTo>
                    <a:lnTo>
                      <a:pt x="184" y="234"/>
                    </a:lnTo>
                    <a:lnTo>
                      <a:pt x="184" y="236"/>
                    </a:lnTo>
                    <a:lnTo>
                      <a:pt x="182" y="241"/>
                    </a:lnTo>
                    <a:lnTo>
                      <a:pt x="182" y="241"/>
                    </a:lnTo>
                    <a:lnTo>
                      <a:pt x="184" y="241"/>
                    </a:lnTo>
                    <a:lnTo>
                      <a:pt x="187" y="239"/>
                    </a:lnTo>
                    <a:lnTo>
                      <a:pt x="192" y="236"/>
                    </a:lnTo>
                    <a:lnTo>
                      <a:pt x="194" y="234"/>
                    </a:lnTo>
                    <a:lnTo>
                      <a:pt x="196" y="232"/>
                    </a:lnTo>
                    <a:lnTo>
                      <a:pt x="199" y="232"/>
                    </a:lnTo>
                    <a:lnTo>
                      <a:pt x="199" y="232"/>
                    </a:lnTo>
                    <a:lnTo>
                      <a:pt x="199" y="232"/>
                    </a:lnTo>
                    <a:lnTo>
                      <a:pt x="201" y="229"/>
                    </a:lnTo>
                    <a:lnTo>
                      <a:pt x="203" y="229"/>
                    </a:lnTo>
                    <a:lnTo>
                      <a:pt x="206" y="229"/>
                    </a:lnTo>
                    <a:lnTo>
                      <a:pt x="208" y="229"/>
                    </a:lnTo>
                    <a:lnTo>
                      <a:pt x="208" y="229"/>
                    </a:lnTo>
                    <a:lnTo>
                      <a:pt x="208" y="229"/>
                    </a:lnTo>
                    <a:lnTo>
                      <a:pt x="206" y="229"/>
                    </a:lnTo>
                    <a:lnTo>
                      <a:pt x="203" y="229"/>
                    </a:lnTo>
                    <a:lnTo>
                      <a:pt x="201" y="232"/>
                    </a:lnTo>
                    <a:lnTo>
                      <a:pt x="199" y="234"/>
                    </a:lnTo>
                    <a:lnTo>
                      <a:pt x="199" y="234"/>
                    </a:lnTo>
                    <a:lnTo>
                      <a:pt x="199" y="234"/>
                    </a:lnTo>
                    <a:lnTo>
                      <a:pt x="199" y="236"/>
                    </a:lnTo>
                    <a:lnTo>
                      <a:pt x="199" y="236"/>
                    </a:lnTo>
                    <a:lnTo>
                      <a:pt x="201" y="236"/>
                    </a:lnTo>
                    <a:lnTo>
                      <a:pt x="210" y="234"/>
                    </a:lnTo>
                    <a:lnTo>
                      <a:pt x="220" y="232"/>
                    </a:lnTo>
                    <a:lnTo>
                      <a:pt x="225" y="229"/>
                    </a:lnTo>
                    <a:lnTo>
                      <a:pt x="232" y="227"/>
                    </a:lnTo>
                    <a:lnTo>
                      <a:pt x="225" y="232"/>
                    </a:lnTo>
                    <a:lnTo>
                      <a:pt x="220" y="234"/>
                    </a:lnTo>
                    <a:lnTo>
                      <a:pt x="220" y="234"/>
                    </a:lnTo>
                    <a:lnTo>
                      <a:pt x="220" y="234"/>
                    </a:lnTo>
                    <a:lnTo>
                      <a:pt x="213" y="236"/>
                    </a:lnTo>
                    <a:lnTo>
                      <a:pt x="208" y="239"/>
                    </a:lnTo>
                    <a:lnTo>
                      <a:pt x="203" y="241"/>
                    </a:lnTo>
                    <a:lnTo>
                      <a:pt x="203" y="244"/>
                    </a:lnTo>
                    <a:lnTo>
                      <a:pt x="201" y="244"/>
                    </a:lnTo>
                    <a:lnTo>
                      <a:pt x="201" y="246"/>
                    </a:lnTo>
                    <a:lnTo>
                      <a:pt x="203" y="246"/>
                    </a:lnTo>
                    <a:lnTo>
                      <a:pt x="203" y="246"/>
                    </a:lnTo>
                    <a:lnTo>
                      <a:pt x="199" y="246"/>
                    </a:lnTo>
                    <a:lnTo>
                      <a:pt x="196" y="246"/>
                    </a:lnTo>
                    <a:lnTo>
                      <a:pt x="194" y="248"/>
                    </a:lnTo>
                    <a:lnTo>
                      <a:pt x="192" y="251"/>
                    </a:lnTo>
                    <a:lnTo>
                      <a:pt x="187" y="255"/>
                    </a:lnTo>
                    <a:lnTo>
                      <a:pt x="184" y="255"/>
                    </a:lnTo>
                    <a:lnTo>
                      <a:pt x="184" y="258"/>
                    </a:lnTo>
                    <a:lnTo>
                      <a:pt x="184" y="258"/>
                    </a:lnTo>
                    <a:lnTo>
                      <a:pt x="182" y="258"/>
                    </a:lnTo>
                    <a:lnTo>
                      <a:pt x="184" y="260"/>
                    </a:lnTo>
                    <a:lnTo>
                      <a:pt x="184" y="260"/>
                    </a:lnTo>
                    <a:lnTo>
                      <a:pt x="184" y="260"/>
                    </a:lnTo>
                    <a:lnTo>
                      <a:pt x="182" y="260"/>
                    </a:lnTo>
                    <a:lnTo>
                      <a:pt x="182" y="260"/>
                    </a:lnTo>
                    <a:lnTo>
                      <a:pt x="180" y="260"/>
                    </a:lnTo>
                    <a:lnTo>
                      <a:pt x="182" y="258"/>
                    </a:lnTo>
                    <a:lnTo>
                      <a:pt x="180" y="258"/>
                    </a:lnTo>
                    <a:lnTo>
                      <a:pt x="180" y="258"/>
                    </a:lnTo>
                    <a:lnTo>
                      <a:pt x="177" y="260"/>
                    </a:lnTo>
                    <a:lnTo>
                      <a:pt x="173" y="260"/>
                    </a:lnTo>
                    <a:lnTo>
                      <a:pt x="170" y="263"/>
                    </a:lnTo>
                    <a:lnTo>
                      <a:pt x="168" y="263"/>
                    </a:lnTo>
                    <a:lnTo>
                      <a:pt x="166" y="263"/>
                    </a:lnTo>
                    <a:lnTo>
                      <a:pt x="161" y="265"/>
                    </a:lnTo>
                    <a:lnTo>
                      <a:pt x="158" y="267"/>
                    </a:lnTo>
                    <a:lnTo>
                      <a:pt x="156" y="270"/>
                    </a:lnTo>
                    <a:lnTo>
                      <a:pt x="154" y="270"/>
                    </a:lnTo>
                    <a:lnTo>
                      <a:pt x="151" y="270"/>
                    </a:lnTo>
                    <a:lnTo>
                      <a:pt x="151" y="272"/>
                    </a:lnTo>
                    <a:lnTo>
                      <a:pt x="149" y="272"/>
                    </a:lnTo>
                    <a:lnTo>
                      <a:pt x="149" y="274"/>
                    </a:lnTo>
                    <a:lnTo>
                      <a:pt x="149" y="274"/>
                    </a:lnTo>
                    <a:lnTo>
                      <a:pt x="147" y="274"/>
                    </a:lnTo>
                    <a:lnTo>
                      <a:pt x="147" y="272"/>
                    </a:lnTo>
                    <a:lnTo>
                      <a:pt x="147" y="272"/>
                    </a:lnTo>
                    <a:lnTo>
                      <a:pt x="147" y="272"/>
                    </a:lnTo>
                    <a:lnTo>
                      <a:pt x="147" y="272"/>
                    </a:lnTo>
                    <a:lnTo>
                      <a:pt x="142" y="274"/>
                    </a:lnTo>
                    <a:lnTo>
                      <a:pt x="137" y="274"/>
                    </a:lnTo>
                    <a:lnTo>
                      <a:pt x="128" y="279"/>
                    </a:lnTo>
                    <a:lnTo>
                      <a:pt x="121" y="281"/>
                    </a:lnTo>
                    <a:lnTo>
                      <a:pt x="118" y="281"/>
                    </a:lnTo>
                    <a:lnTo>
                      <a:pt x="113" y="284"/>
                    </a:lnTo>
                    <a:lnTo>
                      <a:pt x="111" y="284"/>
                    </a:lnTo>
                    <a:lnTo>
                      <a:pt x="106" y="286"/>
                    </a:lnTo>
                    <a:lnTo>
                      <a:pt x="104" y="289"/>
                    </a:lnTo>
                    <a:lnTo>
                      <a:pt x="102" y="289"/>
                    </a:lnTo>
                    <a:lnTo>
                      <a:pt x="102" y="291"/>
                    </a:lnTo>
                    <a:lnTo>
                      <a:pt x="102" y="291"/>
                    </a:lnTo>
                    <a:lnTo>
                      <a:pt x="102" y="291"/>
                    </a:lnTo>
                    <a:lnTo>
                      <a:pt x="102" y="293"/>
                    </a:lnTo>
                    <a:lnTo>
                      <a:pt x="102" y="293"/>
                    </a:lnTo>
                    <a:lnTo>
                      <a:pt x="102" y="293"/>
                    </a:lnTo>
                    <a:lnTo>
                      <a:pt x="99" y="293"/>
                    </a:lnTo>
                    <a:lnTo>
                      <a:pt x="99" y="293"/>
                    </a:lnTo>
                    <a:lnTo>
                      <a:pt x="99" y="291"/>
                    </a:lnTo>
                    <a:lnTo>
                      <a:pt x="99" y="291"/>
                    </a:lnTo>
                    <a:lnTo>
                      <a:pt x="97" y="291"/>
                    </a:lnTo>
                    <a:lnTo>
                      <a:pt x="95" y="291"/>
                    </a:lnTo>
                    <a:lnTo>
                      <a:pt x="95" y="293"/>
                    </a:lnTo>
                    <a:lnTo>
                      <a:pt x="92" y="293"/>
                    </a:lnTo>
                    <a:lnTo>
                      <a:pt x="92" y="293"/>
                    </a:lnTo>
                    <a:lnTo>
                      <a:pt x="92" y="293"/>
                    </a:lnTo>
                    <a:lnTo>
                      <a:pt x="92" y="291"/>
                    </a:lnTo>
                    <a:lnTo>
                      <a:pt x="92" y="291"/>
                    </a:lnTo>
                    <a:lnTo>
                      <a:pt x="95" y="291"/>
                    </a:lnTo>
                    <a:lnTo>
                      <a:pt x="97" y="289"/>
                    </a:lnTo>
                    <a:lnTo>
                      <a:pt x="97" y="289"/>
                    </a:lnTo>
                    <a:lnTo>
                      <a:pt x="95" y="289"/>
                    </a:lnTo>
                    <a:lnTo>
                      <a:pt x="92" y="291"/>
                    </a:lnTo>
                    <a:lnTo>
                      <a:pt x="92" y="291"/>
                    </a:lnTo>
                    <a:lnTo>
                      <a:pt x="92" y="289"/>
                    </a:lnTo>
                    <a:lnTo>
                      <a:pt x="92" y="289"/>
                    </a:lnTo>
                    <a:lnTo>
                      <a:pt x="92" y="289"/>
                    </a:lnTo>
                    <a:lnTo>
                      <a:pt x="83" y="291"/>
                    </a:lnTo>
                    <a:lnTo>
                      <a:pt x="76" y="293"/>
                    </a:lnTo>
                    <a:lnTo>
                      <a:pt x="71" y="296"/>
                    </a:lnTo>
                    <a:lnTo>
                      <a:pt x="66" y="298"/>
                    </a:lnTo>
                    <a:lnTo>
                      <a:pt x="59" y="300"/>
                    </a:lnTo>
                    <a:lnTo>
                      <a:pt x="54" y="303"/>
                    </a:lnTo>
                    <a:lnTo>
                      <a:pt x="52" y="303"/>
                    </a:lnTo>
                    <a:lnTo>
                      <a:pt x="50" y="305"/>
                    </a:lnTo>
                    <a:lnTo>
                      <a:pt x="47" y="305"/>
                    </a:lnTo>
                    <a:lnTo>
                      <a:pt x="47" y="305"/>
                    </a:lnTo>
                    <a:lnTo>
                      <a:pt x="47" y="305"/>
                    </a:lnTo>
                    <a:lnTo>
                      <a:pt x="45" y="305"/>
                    </a:lnTo>
                    <a:lnTo>
                      <a:pt x="45" y="305"/>
                    </a:lnTo>
                    <a:lnTo>
                      <a:pt x="45" y="305"/>
                    </a:lnTo>
                    <a:lnTo>
                      <a:pt x="40" y="308"/>
                    </a:lnTo>
                    <a:lnTo>
                      <a:pt x="38" y="308"/>
                    </a:lnTo>
                    <a:lnTo>
                      <a:pt x="38" y="308"/>
                    </a:lnTo>
                    <a:lnTo>
                      <a:pt x="38" y="310"/>
                    </a:lnTo>
                    <a:lnTo>
                      <a:pt x="35" y="310"/>
                    </a:lnTo>
                    <a:lnTo>
                      <a:pt x="33" y="312"/>
                    </a:lnTo>
                    <a:lnTo>
                      <a:pt x="33" y="312"/>
                    </a:lnTo>
                    <a:lnTo>
                      <a:pt x="33" y="312"/>
                    </a:lnTo>
                    <a:lnTo>
                      <a:pt x="35" y="312"/>
                    </a:lnTo>
                    <a:lnTo>
                      <a:pt x="38" y="310"/>
                    </a:lnTo>
                    <a:lnTo>
                      <a:pt x="40" y="310"/>
                    </a:lnTo>
                    <a:lnTo>
                      <a:pt x="40" y="308"/>
                    </a:lnTo>
                    <a:lnTo>
                      <a:pt x="40" y="308"/>
                    </a:lnTo>
                    <a:lnTo>
                      <a:pt x="43" y="308"/>
                    </a:lnTo>
                    <a:lnTo>
                      <a:pt x="43" y="310"/>
                    </a:lnTo>
                    <a:lnTo>
                      <a:pt x="43" y="310"/>
                    </a:lnTo>
                    <a:lnTo>
                      <a:pt x="47" y="310"/>
                    </a:lnTo>
                    <a:lnTo>
                      <a:pt x="47" y="308"/>
                    </a:lnTo>
                    <a:lnTo>
                      <a:pt x="50" y="308"/>
                    </a:lnTo>
                    <a:lnTo>
                      <a:pt x="52" y="305"/>
                    </a:lnTo>
                    <a:lnTo>
                      <a:pt x="52" y="305"/>
                    </a:lnTo>
                    <a:lnTo>
                      <a:pt x="54" y="305"/>
                    </a:lnTo>
                    <a:lnTo>
                      <a:pt x="54" y="305"/>
                    </a:lnTo>
                    <a:lnTo>
                      <a:pt x="54" y="305"/>
                    </a:lnTo>
                    <a:lnTo>
                      <a:pt x="52" y="308"/>
                    </a:lnTo>
                    <a:lnTo>
                      <a:pt x="52" y="308"/>
                    </a:lnTo>
                    <a:lnTo>
                      <a:pt x="52" y="308"/>
                    </a:lnTo>
                    <a:lnTo>
                      <a:pt x="52" y="308"/>
                    </a:lnTo>
                    <a:lnTo>
                      <a:pt x="52" y="308"/>
                    </a:lnTo>
                    <a:lnTo>
                      <a:pt x="52" y="308"/>
                    </a:lnTo>
                    <a:lnTo>
                      <a:pt x="54" y="308"/>
                    </a:lnTo>
                    <a:lnTo>
                      <a:pt x="57" y="308"/>
                    </a:lnTo>
                    <a:lnTo>
                      <a:pt x="57" y="305"/>
                    </a:lnTo>
                    <a:lnTo>
                      <a:pt x="59" y="305"/>
                    </a:lnTo>
                    <a:lnTo>
                      <a:pt x="61" y="305"/>
                    </a:lnTo>
                    <a:lnTo>
                      <a:pt x="71" y="300"/>
                    </a:lnTo>
                    <a:lnTo>
                      <a:pt x="71" y="300"/>
                    </a:lnTo>
                    <a:lnTo>
                      <a:pt x="73" y="298"/>
                    </a:lnTo>
                    <a:lnTo>
                      <a:pt x="76" y="298"/>
                    </a:lnTo>
                    <a:lnTo>
                      <a:pt x="76" y="298"/>
                    </a:lnTo>
                    <a:lnTo>
                      <a:pt x="78" y="296"/>
                    </a:lnTo>
                    <a:lnTo>
                      <a:pt x="80" y="296"/>
                    </a:lnTo>
                    <a:lnTo>
                      <a:pt x="80" y="296"/>
                    </a:lnTo>
                    <a:lnTo>
                      <a:pt x="83" y="298"/>
                    </a:lnTo>
                    <a:lnTo>
                      <a:pt x="83" y="298"/>
                    </a:lnTo>
                    <a:lnTo>
                      <a:pt x="83" y="298"/>
                    </a:lnTo>
                    <a:lnTo>
                      <a:pt x="80" y="298"/>
                    </a:lnTo>
                    <a:lnTo>
                      <a:pt x="80" y="298"/>
                    </a:lnTo>
                    <a:lnTo>
                      <a:pt x="78" y="298"/>
                    </a:lnTo>
                    <a:lnTo>
                      <a:pt x="78" y="298"/>
                    </a:lnTo>
                    <a:lnTo>
                      <a:pt x="76" y="300"/>
                    </a:lnTo>
                    <a:lnTo>
                      <a:pt x="73" y="300"/>
                    </a:lnTo>
                    <a:lnTo>
                      <a:pt x="73" y="300"/>
                    </a:lnTo>
                    <a:lnTo>
                      <a:pt x="76" y="303"/>
                    </a:lnTo>
                    <a:lnTo>
                      <a:pt x="78" y="300"/>
                    </a:lnTo>
                    <a:lnTo>
                      <a:pt x="80" y="300"/>
                    </a:lnTo>
                    <a:lnTo>
                      <a:pt x="83" y="300"/>
                    </a:lnTo>
                    <a:lnTo>
                      <a:pt x="85" y="298"/>
                    </a:lnTo>
                    <a:lnTo>
                      <a:pt x="85" y="298"/>
                    </a:lnTo>
                    <a:lnTo>
                      <a:pt x="87" y="300"/>
                    </a:lnTo>
                    <a:lnTo>
                      <a:pt x="87" y="298"/>
                    </a:lnTo>
                    <a:lnTo>
                      <a:pt x="90" y="298"/>
                    </a:lnTo>
                    <a:lnTo>
                      <a:pt x="90" y="298"/>
                    </a:lnTo>
                    <a:lnTo>
                      <a:pt x="92" y="298"/>
                    </a:lnTo>
                    <a:lnTo>
                      <a:pt x="92" y="298"/>
                    </a:lnTo>
                    <a:lnTo>
                      <a:pt x="95" y="298"/>
                    </a:lnTo>
                    <a:lnTo>
                      <a:pt x="95" y="296"/>
                    </a:lnTo>
                    <a:lnTo>
                      <a:pt x="97" y="296"/>
                    </a:lnTo>
                    <a:lnTo>
                      <a:pt x="99" y="296"/>
                    </a:lnTo>
                    <a:lnTo>
                      <a:pt x="104" y="293"/>
                    </a:lnTo>
                    <a:lnTo>
                      <a:pt x="106" y="293"/>
                    </a:lnTo>
                    <a:lnTo>
                      <a:pt x="106" y="293"/>
                    </a:lnTo>
                    <a:lnTo>
                      <a:pt x="109" y="293"/>
                    </a:lnTo>
                    <a:lnTo>
                      <a:pt x="109" y="293"/>
                    </a:lnTo>
                    <a:lnTo>
                      <a:pt x="111" y="293"/>
                    </a:lnTo>
                    <a:lnTo>
                      <a:pt x="111" y="293"/>
                    </a:lnTo>
                    <a:lnTo>
                      <a:pt x="111" y="293"/>
                    </a:lnTo>
                    <a:lnTo>
                      <a:pt x="111" y="293"/>
                    </a:lnTo>
                    <a:lnTo>
                      <a:pt x="109" y="296"/>
                    </a:lnTo>
                    <a:lnTo>
                      <a:pt x="106" y="296"/>
                    </a:lnTo>
                    <a:lnTo>
                      <a:pt x="109" y="296"/>
                    </a:lnTo>
                    <a:lnTo>
                      <a:pt x="111" y="296"/>
                    </a:lnTo>
                    <a:lnTo>
                      <a:pt x="111" y="293"/>
                    </a:lnTo>
                    <a:lnTo>
                      <a:pt x="113" y="293"/>
                    </a:lnTo>
                    <a:lnTo>
                      <a:pt x="116" y="293"/>
                    </a:lnTo>
                    <a:lnTo>
                      <a:pt x="130" y="289"/>
                    </a:lnTo>
                    <a:lnTo>
                      <a:pt x="132" y="289"/>
                    </a:lnTo>
                    <a:lnTo>
                      <a:pt x="135" y="286"/>
                    </a:lnTo>
                    <a:lnTo>
                      <a:pt x="137" y="286"/>
                    </a:lnTo>
                    <a:lnTo>
                      <a:pt x="137" y="286"/>
                    </a:lnTo>
                    <a:lnTo>
                      <a:pt x="137" y="286"/>
                    </a:lnTo>
                    <a:lnTo>
                      <a:pt x="135" y="289"/>
                    </a:lnTo>
                    <a:lnTo>
                      <a:pt x="135" y="289"/>
                    </a:lnTo>
                    <a:lnTo>
                      <a:pt x="135" y="289"/>
                    </a:lnTo>
                    <a:lnTo>
                      <a:pt x="137" y="286"/>
                    </a:lnTo>
                    <a:lnTo>
                      <a:pt x="142" y="286"/>
                    </a:lnTo>
                    <a:lnTo>
                      <a:pt x="142" y="286"/>
                    </a:lnTo>
                    <a:lnTo>
                      <a:pt x="142" y="284"/>
                    </a:lnTo>
                    <a:lnTo>
                      <a:pt x="142" y="284"/>
                    </a:lnTo>
                    <a:lnTo>
                      <a:pt x="142" y="284"/>
                    </a:lnTo>
                    <a:lnTo>
                      <a:pt x="142" y="284"/>
                    </a:lnTo>
                    <a:lnTo>
                      <a:pt x="140" y="284"/>
                    </a:lnTo>
                    <a:lnTo>
                      <a:pt x="140" y="284"/>
                    </a:lnTo>
                    <a:lnTo>
                      <a:pt x="142" y="281"/>
                    </a:lnTo>
                    <a:lnTo>
                      <a:pt x="144" y="281"/>
                    </a:lnTo>
                    <a:lnTo>
                      <a:pt x="147" y="279"/>
                    </a:lnTo>
                    <a:lnTo>
                      <a:pt x="149" y="279"/>
                    </a:lnTo>
                    <a:lnTo>
                      <a:pt x="151" y="279"/>
                    </a:lnTo>
                    <a:lnTo>
                      <a:pt x="151" y="279"/>
                    </a:lnTo>
                    <a:lnTo>
                      <a:pt x="154" y="279"/>
                    </a:lnTo>
                    <a:lnTo>
                      <a:pt x="154" y="279"/>
                    </a:lnTo>
                    <a:lnTo>
                      <a:pt x="154" y="279"/>
                    </a:lnTo>
                    <a:lnTo>
                      <a:pt x="154" y="279"/>
                    </a:lnTo>
                    <a:lnTo>
                      <a:pt x="154" y="279"/>
                    </a:lnTo>
                    <a:lnTo>
                      <a:pt x="154" y="277"/>
                    </a:lnTo>
                    <a:lnTo>
                      <a:pt x="158" y="277"/>
                    </a:lnTo>
                    <a:lnTo>
                      <a:pt x="161" y="277"/>
                    </a:lnTo>
                    <a:lnTo>
                      <a:pt x="161" y="277"/>
                    </a:lnTo>
                    <a:lnTo>
                      <a:pt x="161" y="277"/>
                    </a:lnTo>
                    <a:lnTo>
                      <a:pt x="163" y="277"/>
                    </a:lnTo>
                    <a:lnTo>
                      <a:pt x="163" y="277"/>
                    </a:lnTo>
                    <a:lnTo>
                      <a:pt x="166" y="274"/>
                    </a:lnTo>
                    <a:lnTo>
                      <a:pt x="168" y="274"/>
                    </a:lnTo>
                    <a:lnTo>
                      <a:pt x="170" y="272"/>
                    </a:lnTo>
                    <a:lnTo>
                      <a:pt x="170" y="272"/>
                    </a:lnTo>
                    <a:lnTo>
                      <a:pt x="170" y="272"/>
                    </a:lnTo>
                    <a:lnTo>
                      <a:pt x="173" y="272"/>
                    </a:lnTo>
                    <a:lnTo>
                      <a:pt x="173" y="272"/>
                    </a:lnTo>
                    <a:lnTo>
                      <a:pt x="175" y="272"/>
                    </a:lnTo>
                    <a:lnTo>
                      <a:pt x="177" y="272"/>
                    </a:lnTo>
                    <a:lnTo>
                      <a:pt x="180" y="270"/>
                    </a:lnTo>
                    <a:lnTo>
                      <a:pt x="180" y="270"/>
                    </a:lnTo>
                    <a:lnTo>
                      <a:pt x="182" y="270"/>
                    </a:lnTo>
                    <a:lnTo>
                      <a:pt x="182" y="270"/>
                    </a:lnTo>
                    <a:lnTo>
                      <a:pt x="184" y="270"/>
                    </a:lnTo>
                    <a:lnTo>
                      <a:pt x="184" y="270"/>
                    </a:lnTo>
                    <a:lnTo>
                      <a:pt x="187" y="267"/>
                    </a:lnTo>
                    <a:lnTo>
                      <a:pt x="189" y="267"/>
                    </a:lnTo>
                    <a:lnTo>
                      <a:pt x="189" y="267"/>
                    </a:lnTo>
                    <a:lnTo>
                      <a:pt x="194" y="265"/>
                    </a:lnTo>
                    <a:lnTo>
                      <a:pt x="194" y="265"/>
                    </a:lnTo>
                    <a:lnTo>
                      <a:pt x="194" y="263"/>
                    </a:lnTo>
                    <a:lnTo>
                      <a:pt x="194" y="263"/>
                    </a:lnTo>
                    <a:lnTo>
                      <a:pt x="194" y="263"/>
                    </a:lnTo>
                    <a:lnTo>
                      <a:pt x="196" y="263"/>
                    </a:lnTo>
                    <a:lnTo>
                      <a:pt x="201" y="260"/>
                    </a:lnTo>
                    <a:lnTo>
                      <a:pt x="203" y="260"/>
                    </a:lnTo>
                    <a:lnTo>
                      <a:pt x="203" y="260"/>
                    </a:lnTo>
                    <a:lnTo>
                      <a:pt x="203" y="260"/>
                    </a:lnTo>
                    <a:lnTo>
                      <a:pt x="206" y="258"/>
                    </a:lnTo>
                    <a:lnTo>
                      <a:pt x="208" y="258"/>
                    </a:lnTo>
                    <a:lnTo>
                      <a:pt x="210" y="258"/>
                    </a:lnTo>
                    <a:lnTo>
                      <a:pt x="210" y="258"/>
                    </a:lnTo>
                    <a:lnTo>
                      <a:pt x="213" y="258"/>
                    </a:lnTo>
                    <a:lnTo>
                      <a:pt x="215" y="255"/>
                    </a:lnTo>
                    <a:lnTo>
                      <a:pt x="218" y="255"/>
                    </a:lnTo>
                    <a:lnTo>
                      <a:pt x="218" y="255"/>
                    </a:lnTo>
                    <a:lnTo>
                      <a:pt x="220" y="255"/>
                    </a:lnTo>
                    <a:lnTo>
                      <a:pt x="222" y="253"/>
                    </a:lnTo>
                    <a:lnTo>
                      <a:pt x="225" y="253"/>
                    </a:lnTo>
                    <a:lnTo>
                      <a:pt x="227" y="253"/>
                    </a:lnTo>
                    <a:lnTo>
                      <a:pt x="229" y="251"/>
                    </a:lnTo>
                    <a:lnTo>
                      <a:pt x="232" y="248"/>
                    </a:lnTo>
                    <a:lnTo>
                      <a:pt x="241" y="248"/>
                    </a:lnTo>
                    <a:lnTo>
                      <a:pt x="241" y="248"/>
                    </a:lnTo>
                    <a:lnTo>
                      <a:pt x="241" y="248"/>
                    </a:lnTo>
                    <a:lnTo>
                      <a:pt x="246" y="246"/>
                    </a:lnTo>
                    <a:lnTo>
                      <a:pt x="246" y="246"/>
                    </a:lnTo>
                    <a:lnTo>
                      <a:pt x="248" y="246"/>
                    </a:lnTo>
                    <a:lnTo>
                      <a:pt x="251" y="246"/>
                    </a:lnTo>
                    <a:lnTo>
                      <a:pt x="251" y="244"/>
                    </a:lnTo>
                    <a:lnTo>
                      <a:pt x="251" y="244"/>
                    </a:lnTo>
                    <a:lnTo>
                      <a:pt x="251" y="244"/>
                    </a:lnTo>
                    <a:lnTo>
                      <a:pt x="255" y="244"/>
                    </a:lnTo>
                    <a:lnTo>
                      <a:pt x="255" y="241"/>
                    </a:lnTo>
                    <a:lnTo>
                      <a:pt x="258" y="241"/>
                    </a:lnTo>
                    <a:lnTo>
                      <a:pt x="258" y="239"/>
                    </a:lnTo>
                    <a:lnTo>
                      <a:pt x="263" y="239"/>
                    </a:lnTo>
                    <a:lnTo>
                      <a:pt x="265" y="239"/>
                    </a:lnTo>
                    <a:lnTo>
                      <a:pt x="267" y="236"/>
                    </a:lnTo>
                    <a:lnTo>
                      <a:pt x="270" y="236"/>
                    </a:lnTo>
                    <a:lnTo>
                      <a:pt x="274" y="234"/>
                    </a:lnTo>
                    <a:lnTo>
                      <a:pt x="277" y="234"/>
                    </a:lnTo>
                    <a:lnTo>
                      <a:pt x="277" y="232"/>
                    </a:lnTo>
                    <a:lnTo>
                      <a:pt x="279" y="232"/>
                    </a:lnTo>
                    <a:lnTo>
                      <a:pt x="279" y="232"/>
                    </a:lnTo>
                    <a:lnTo>
                      <a:pt x="279" y="232"/>
                    </a:lnTo>
                    <a:lnTo>
                      <a:pt x="277" y="229"/>
                    </a:lnTo>
                    <a:lnTo>
                      <a:pt x="274" y="229"/>
                    </a:lnTo>
                    <a:lnTo>
                      <a:pt x="274" y="229"/>
                    </a:lnTo>
                    <a:lnTo>
                      <a:pt x="272" y="227"/>
                    </a:lnTo>
                    <a:lnTo>
                      <a:pt x="272" y="227"/>
                    </a:lnTo>
                    <a:lnTo>
                      <a:pt x="274" y="225"/>
                    </a:lnTo>
                    <a:lnTo>
                      <a:pt x="277" y="225"/>
                    </a:lnTo>
                    <a:lnTo>
                      <a:pt x="277" y="222"/>
                    </a:lnTo>
                    <a:lnTo>
                      <a:pt x="284" y="220"/>
                    </a:lnTo>
                    <a:lnTo>
                      <a:pt x="286" y="220"/>
                    </a:lnTo>
                    <a:lnTo>
                      <a:pt x="289" y="220"/>
                    </a:lnTo>
                    <a:lnTo>
                      <a:pt x="291" y="218"/>
                    </a:lnTo>
                    <a:lnTo>
                      <a:pt x="291" y="218"/>
                    </a:lnTo>
                    <a:lnTo>
                      <a:pt x="291" y="218"/>
                    </a:lnTo>
                    <a:lnTo>
                      <a:pt x="291" y="218"/>
                    </a:lnTo>
                    <a:lnTo>
                      <a:pt x="296" y="215"/>
                    </a:lnTo>
                    <a:lnTo>
                      <a:pt x="296" y="215"/>
                    </a:lnTo>
                    <a:lnTo>
                      <a:pt x="298" y="215"/>
                    </a:lnTo>
                    <a:lnTo>
                      <a:pt x="296" y="215"/>
                    </a:lnTo>
                    <a:lnTo>
                      <a:pt x="296" y="218"/>
                    </a:lnTo>
                    <a:lnTo>
                      <a:pt x="296" y="218"/>
                    </a:lnTo>
                    <a:lnTo>
                      <a:pt x="298" y="218"/>
                    </a:lnTo>
                    <a:lnTo>
                      <a:pt x="300" y="215"/>
                    </a:lnTo>
                    <a:lnTo>
                      <a:pt x="303" y="215"/>
                    </a:lnTo>
                    <a:lnTo>
                      <a:pt x="303" y="215"/>
                    </a:lnTo>
                    <a:lnTo>
                      <a:pt x="303" y="215"/>
                    </a:lnTo>
                    <a:lnTo>
                      <a:pt x="303" y="213"/>
                    </a:lnTo>
                    <a:lnTo>
                      <a:pt x="303" y="213"/>
                    </a:lnTo>
                    <a:lnTo>
                      <a:pt x="305" y="213"/>
                    </a:lnTo>
                    <a:lnTo>
                      <a:pt x="307" y="213"/>
                    </a:lnTo>
                    <a:lnTo>
                      <a:pt x="310" y="213"/>
                    </a:lnTo>
                    <a:lnTo>
                      <a:pt x="315" y="210"/>
                    </a:lnTo>
                    <a:lnTo>
                      <a:pt x="315" y="210"/>
                    </a:lnTo>
                    <a:lnTo>
                      <a:pt x="317" y="208"/>
                    </a:lnTo>
                    <a:lnTo>
                      <a:pt x="317" y="208"/>
                    </a:lnTo>
                    <a:lnTo>
                      <a:pt x="317" y="208"/>
                    </a:lnTo>
                    <a:lnTo>
                      <a:pt x="317" y="206"/>
                    </a:lnTo>
                    <a:lnTo>
                      <a:pt x="315" y="206"/>
                    </a:lnTo>
                    <a:lnTo>
                      <a:pt x="315" y="206"/>
                    </a:lnTo>
                    <a:lnTo>
                      <a:pt x="317" y="206"/>
                    </a:lnTo>
                    <a:lnTo>
                      <a:pt x="317" y="206"/>
                    </a:lnTo>
                    <a:lnTo>
                      <a:pt x="319" y="206"/>
                    </a:lnTo>
                    <a:lnTo>
                      <a:pt x="319" y="206"/>
                    </a:lnTo>
                    <a:lnTo>
                      <a:pt x="322" y="206"/>
                    </a:lnTo>
                    <a:lnTo>
                      <a:pt x="326" y="203"/>
                    </a:lnTo>
                    <a:lnTo>
                      <a:pt x="329" y="203"/>
                    </a:lnTo>
                    <a:lnTo>
                      <a:pt x="329" y="203"/>
                    </a:lnTo>
                    <a:lnTo>
                      <a:pt x="329" y="201"/>
                    </a:lnTo>
                    <a:lnTo>
                      <a:pt x="329" y="201"/>
                    </a:lnTo>
                    <a:lnTo>
                      <a:pt x="331" y="201"/>
                    </a:lnTo>
                    <a:lnTo>
                      <a:pt x="338" y="199"/>
                    </a:lnTo>
                    <a:lnTo>
                      <a:pt x="343" y="196"/>
                    </a:lnTo>
                    <a:lnTo>
                      <a:pt x="343" y="196"/>
                    </a:lnTo>
                    <a:lnTo>
                      <a:pt x="345" y="196"/>
                    </a:lnTo>
                    <a:lnTo>
                      <a:pt x="345" y="194"/>
                    </a:lnTo>
                    <a:lnTo>
                      <a:pt x="348" y="194"/>
                    </a:lnTo>
                    <a:lnTo>
                      <a:pt x="348" y="194"/>
                    </a:lnTo>
                    <a:lnTo>
                      <a:pt x="352" y="192"/>
                    </a:lnTo>
                    <a:lnTo>
                      <a:pt x="355" y="192"/>
                    </a:lnTo>
                    <a:lnTo>
                      <a:pt x="357" y="192"/>
                    </a:lnTo>
                    <a:lnTo>
                      <a:pt x="362" y="189"/>
                    </a:lnTo>
                    <a:lnTo>
                      <a:pt x="364" y="189"/>
                    </a:lnTo>
                    <a:lnTo>
                      <a:pt x="367" y="187"/>
                    </a:lnTo>
                    <a:lnTo>
                      <a:pt x="374" y="187"/>
                    </a:lnTo>
                    <a:lnTo>
                      <a:pt x="376" y="184"/>
                    </a:lnTo>
                    <a:lnTo>
                      <a:pt x="376" y="187"/>
                    </a:lnTo>
                    <a:lnTo>
                      <a:pt x="376" y="187"/>
                    </a:lnTo>
                    <a:lnTo>
                      <a:pt x="381" y="187"/>
                    </a:lnTo>
                    <a:lnTo>
                      <a:pt x="383" y="187"/>
                    </a:lnTo>
                    <a:lnTo>
                      <a:pt x="383" y="187"/>
                    </a:lnTo>
                    <a:lnTo>
                      <a:pt x="386" y="184"/>
                    </a:lnTo>
                    <a:lnTo>
                      <a:pt x="388" y="184"/>
                    </a:lnTo>
                    <a:lnTo>
                      <a:pt x="393" y="182"/>
                    </a:lnTo>
                    <a:lnTo>
                      <a:pt x="393" y="182"/>
                    </a:lnTo>
                    <a:lnTo>
                      <a:pt x="395" y="182"/>
                    </a:lnTo>
                    <a:lnTo>
                      <a:pt x="397" y="182"/>
                    </a:lnTo>
                    <a:lnTo>
                      <a:pt x="393" y="184"/>
                    </a:lnTo>
                    <a:lnTo>
                      <a:pt x="388" y="184"/>
                    </a:lnTo>
                    <a:lnTo>
                      <a:pt x="386" y="184"/>
                    </a:lnTo>
                    <a:lnTo>
                      <a:pt x="383" y="187"/>
                    </a:lnTo>
                    <a:lnTo>
                      <a:pt x="383" y="187"/>
                    </a:lnTo>
                    <a:lnTo>
                      <a:pt x="383" y="187"/>
                    </a:lnTo>
                    <a:lnTo>
                      <a:pt x="381" y="187"/>
                    </a:lnTo>
                    <a:lnTo>
                      <a:pt x="378" y="189"/>
                    </a:lnTo>
                    <a:lnTo>
                      <a:pt x="378" y="189"/>
                    </a:lnTo>
                    <a:lnTo>
                      <a:pt x="383" y="192"/>
                    </a:lnTo>
                    <a:lnTo>
                      <a:pt x="383" y="192"/>
                    </a:lnTo>
                    <a:lnTo>
                      <a:pt x="388" y="192"/>
                    </a:lnTo>
                    <a:lnTo>
                      <a:pt x="388" y="194"/>
                    </a:lnTo>
                    <a:lnTo>
                      <a:pt x="388" y="194"/>
                    </a:lnTo>
                    <a:lnTo>
                      <a:pt x="386" y="194"/>
                    </a:lnTo>
                    <a:lnTo>
                      <a:pt x="381" y="192"/>
                    </a:lnTo>
                    <a:lnTo>
                      <a:pt x="378" y="192"/>
                    </a:lnTo>
                    <a:lnTo>
                      <a:pt x="374" y="192"/>
                    </a:lnTo>
                    <a:lnTo>
                      <a:pt x="374" y="192"/>
                    </a:lnTo>
                    <a:lnTo>
                      <a:pt x="371" y="192"/>
                    </a:lnTo>
                    <a:lnTo>
                      <a:pt x="371" y="192"/>
                    </a:lnTo>
                    <a:lnTo>
                      <a:pt x="371" y="192"/>
                    </a:lnTo>
                    <a:lnTo>
                      <a:pt x="371" y="192"/>
                    </a:lnTo>
                    <a:lnTo>
                      <a:pt x="362" y="194"/>
                    </a:lnTo>
                    <a:lnTo>
                      <a:pt x="359" y="194"/>
                    </a:lnTo>
                    <a:lnTo>
                      <a:pt x="350" y="196"/>
                    </a:lnTo>
                    <a:lnTo>
                      <a:pt x="350" y="196"/>
                    </a:lnTo>
                    <a:lnTo>
                      <a:pt x="348" y="199"/>
                    </a:lnTo>
                    <a:lnTo>
                      <a:pt x="345" y="201"/>
                    </a:lnTo>
                    <a:lnTo>
                      <a:pt x="345" y="201"/>
                    </a:lnTo>
                    <a:lnTo>
                      <a:pt x="338" y="206"/>
                    </a:lnTo>
                    <a:lnTo>
                      <a:pt x="336" y="206"/>
                    </a:lnTo>
                    <a:lnTo>
                      <a:pt x="331" y="208"/>
                    </a:lnTo>
                    <a:lnTo>
                      <a:pt x="326" y="210"/>
                    </a:lnTo>
                    <a:lnTo>
                      <a:pt x="324" y="213"/>
                    </a:lnTo>
                    <a:lnTo>
                      <a:pt x="322" y="215"/>
                    </a:lnTo>
                    <a:lnTo>
                      <a:pt x="319" y="215"/>
                    </a:lnTo>
                    <a:lnTo>
                      <a:pt x="319" y="218"/>
                    </a:lnTo>
                    <a:lnTo>
                      <a:pt x="324" y="218"/>
                    </a:lnTo>
                    <a:lnTo>
                      <a:pt x="324" y="218"/>
                    </a:lnTo>
                    <a:lnTo>
                      <a:pt x="324" y="218"/>
                    </a:lnTo>
                    <a:lnTo>
                      <a:pt x="333" y="215"/>
                    </a:lnTo>
                    <a:lnTo>
                      <a:pt x="333" y="215"/>
                    </a:lnTo>
                    <a:lnTo>
                      <a:pt x="333" y="215"/>
                    </a:lnTo>
                    <a:lnTo>
                      <a:pt x="326" y="218"/>
                    </a:lnTo>
                    <a:lnTo>
                      <a:pt x="324" y="218"/>
                    </a:lnTo>
                    <a:lnTo>
                      <a:pt x="322" y="220"/>
                    </a:lnTo>
                    <a:lnTo>
                      <a:pt x="319" y="220"/>
                    </a:lnTo>
                    <a:lnTo>
                      <a:pt x="317" y="222"/>
                    </a:lnTo>
                    <a:lnTo>
                      <a:pt x="312" y="222"/>
                    </a:lnTo>
                    <a:lnTo>
                      <a:pt x="312" y="222"/>
                    </a:lnTo>
                    <a:lnTo>
                      <a:pt x="310" y="222"/>
                    </a:lnTo>
                    <a:lnTo>
                      <a:pt x="307" y="225"/>
                    </a:lnTo>
                    <a:lnTo>
                      <a:pt x="307" y="225"/>
                    </a:lnTo>
                    <a:lnTo>
                      <a:pt x="307" y="225"/>
                    </a:lnTo>
                    <a:lnTo>
                      <a:pt x="310" y="227"/>
                    </a:lnTo>
                    <a:lnTo>
                      <a:pt x="310" y="227"/>
                    </a:lnTo>
                    <a:lnTo>
                      <a:pt x="315" y="225"/>
                    </a:lnTo>
                    <a:lnTo>
                      <a:pt x="317" y="225"/>
                    </a:lnTo>
                    <a:lnTo>
                      <a:pt x="317" y="225"/>
                    </a:lnTo>
                    <a:lnTo>
                      <a:pt x="317" y="225"/>
                    </a:lnTo>
                    <a:lnTo>
                      <a:pt x="319" y="225"/>
                    </a:lnTo>
                    <a:lnTo>
                      <a:pt x="319" y="225"/>
                    </a:lnTo>
                    <a:lnTo>
                      <a:pt x="319" y="225"/>
                    </a:lnTo>
                    <a:lnTo>
                      <a:pt x="319" y="225"/>
                    </a:lnTo>
                    <a:lnTo>
                      <a:pt x="322" y="225"/>
                    </a:lnTo>
                    <a:lnTo>
                      <a:pt x="322" y="225"/>
                    </a:lnTo>
                    <a:lnTo>
                      <a:pt x="322" y="225"/>
                    </a:lnTo>
                    <a:lnTo>
                      <a:pt x="324" y="225"/>
                    </a:lnTo>
                    <a:lnTo>
                      <a:pt x="326" y="222"/>
                    </a:lnTo>
                    <a:lnTo>
                      <a:pt x="331" y="222"/>
                    </a:lnTo>
                    <a:lnTo>
                      <a:pt x="331" y="220"/>
                    </a:lnTo>
                    <a:lnTo>
                      <a:pt x="333" y="220"/>
                    </a:lnTo>
                    <a:lnTo>
                      <a:pt x="333" y="220"/>
                    </a:lnTo>
                    <a:lnTo>
                      <a:pt x="336" y="220"/>
                    </a:lnTo>
                    <a:lnTo>
                      <a:pt x="336" y="220"/>
                    </a:lnTo>
                    <a:lnTo>
                      <a:pt x="336" y="220"/>
                    </a:lnTo>
                    <a:lnTo>
                      <a:pt x="338" y="220"/>
                    </a:lnTo>
                    <a:lnTo>
                      <a:pt x="341" y="220"/>
                    </a:lnTo>
                    <a:lnTo>
                      <a:pt x="341" y="220"/>
                    </a:lnTo>
                    <a:lnTo>
                      <a:pt x="341" y="220"/>
                    </a:lnTo>
                    <a:lnTo>
                      <a:pt x="348" y="218"/>
                    </a:lnTo>
                    <a:lnTo>
                      <a:pt x="348" y="215"/>
                    </a:lnTo>
                    <a:lnTo>
                      <a:pt x="348" y="215"/>
                    </a:lnTo>
                    <a:lnTo>
                      <a:pt x="348" y="215"/>
                    </a:lnTo>
                    <a:lnTo>
                      <a:pt x="350" y="215"/>
                    </a:lnTo>
                    <a:lnTo>
                      <a:pt x="350" y="215"/>
                    </a:lnTo>
                    <a:lnTo>
                      <a:pt x="350" y="215"/>
                    </a:lnTo>
                    <a:lnTo>
                      <a:pt x="352" y="213"/>
                    </a:lnTo>
                    <a:lnTo>
                      <a:pt x="352" y="213"/>
                    </a:lnTo>
                    <a:lnTo>
                      <a:pt x="355" y="213"/>
                    </a:lnTo>
                    <a:lnTo>
                      <a:pt x="355" y="213"/>
                    </a:lnTo>
                    <a:lnTo>
                      <a:pt x="355" y="215"/>
                    </a:lnTo>
                    <a:lnTo>
                      <a:pt x="355" y="215"/>
                    </a:lnTo>
                    <a:lnTo>
                      <a:pt x="355" y="215"/>
                    </a:lnTo>
                    <a:lnTo>
                      <a:pt x="357" y="213"/>
                    </a:lnTo>
                    <a:lnTo>
                      <a:pt x="359" y="210"/>
                    </a:lnTo>
                    <a:lnTo>
                      <a:pt x="362" y="210"/>
                    </a:lnTo>
                    <a:lnTo>
                      <a:pt x="364" y="208"/>
                    </a:lnTo>
                    <a:lnTo>
                      <a:pt x="364" y="208"/>
                    </a:lnTo>
                    <a:lnTo>
                      <a:pt x="364" y="210"/>
                    </a:lnTo>
                    <a:lnTo>
                      <a:pt x="364" y="210"/>
                    </a:lnTo>
                    <a:lnTo>
                      <a:pt x="367" y="210"/>
                    </a:lnTo>
                    <a:lnTo>
                      <a:pt x="367" y="210"/>
                    </a:lnTo>
                    <a:lnTo>
                      <a:pt x="367" y="210"/>
                    </a:lnTo>
                    <a:lnTo>
                      <a:pt x="369" y="210"/>
                    </a:lnTo>
                    <a:lnTo>
                      <a:pt x="371" y="213"/>
                    </a:lnTo>
                    <a:lnTo>
                      <a:pt x="374" y="210"/>
                    </a:lnTo>
                    <a:lnTo>
                      <a:pt x="374" y="210"/>
                    </a:lnTo>
                    <a:lnTo>
                      <a:pt x="374" y="210"/>
                    </a:lnTo>
                    <a:lnTo>
                      <a:pt x="376" y="210"/>
                    </a:lnTo>
                    <a:lnTo>
                      <a:pt x="376" y="210"/>
                    </a:lnTo>
                    <a:lnTo>
                      <a:pt x="376" y="210"/>
                    </a:lnTo>
                    <a:lnTo>
                      <a:pt x="381" y="208"/>
                    </a:lnTo>
                    <a:lnTo>
                      <a:pt x="383" y="208"/>
                    </a:lnTo>
                    <a:lnTo>
                      <a:pt x="383" y="208"/>
                    </a:lnTo>
                    <a:lnTo>
                      <a:pt x="383" y="208"/>
                    </a:lnTo>
                    <a:lnTo>
                      <a:pt x="383" y="208"/>
                    </a:lnTo>
                    <a:lnTo>
                      <a:pt x="386" y="206"/>
                    </a:lnTo>
                    <a:lnTo>
                      <a:pt x="388" y="203"/>
                    </a:lnTo>
                    <a:lnTo>
                      <a:pt x="388" y="203"/>
                    </a:lnTo>
                    <a:lnTo>
                      <a:pt x="390" y="203"/>
                    </a:lnTo>
                    <a:lnTo>
                      <a:pt x="390" y="203"/>
                    </a:lnTo>
                    <a:lnTo>
                      <a:pt x="393" y="203"/>
                    </a:lnTo>
                    <a:lnTo>
                      <a:pt x="393" y="201"/>
                    </a:lnTo>
                    <a:lnTo>
                      <a:pt x="395" y="201"/>
                    </a:lnTo>
                    <a:lnTo>
                      <a:pt x="395" y="201"/>
                    </a:lnTo>
                    <a:lnTo>
                      <a:pt x="395" y="199"/>
                    </a:lnTo>
                    <a:lnTo>
                      <a:pt x="395" y="199"/>
                    </a:lnTo>
                    <a:lnTo>
                      <a:pt x="393" y="201"/>
                    </a:lnTo>
                    <a:lnTo>
                      <a:pt x="390" y="201"/>
                    </a:lnTo>
                    <a:lnTo>
                      <a:pt x="388" y="201"/>
                    </a:lnTo>
                    <a:lnTo>
                      <a:pt x="386" y="201"/>
                    </a:lnTo>
                    <a:lnTo>
                      <a:pt x="386" y="201"/>
                    </a:lnTo>
                    <a:lnTo>
                      <a:pt x="386" y="201"/>
                    </a:lnTo>
                    <a:lnTo>
                      <a:pt x="386" y="201"/>
                    </a:lnTo>
                    <a:lnTo>
                      <a:pt x="388" y="199"/>
                    </a:lnTo>
                    <a:lnTo>
                      <a:pt x="390" y="199"/>
                    </a:lnTo>
                    <a:lnTo>
                      <a:pt x="390" y="199"/>
                    </a:lnTo>
                    <a:lnTo>
                      <a:pt x="393" y="199"/>
                    </a:lnTo>
                    <a:lnTo>
                      <a:pt x="393" y="199"/>
                    </a:lnTo>
                    <a:lnTo>
                      <a:pt x="395" y="199"/>
                    </a:lnTo>
                    <a:lnTo>
                      <a:pt x="395" y="196"/>
                    </a:lnTo>
                    <a:lnTo>
                      <a:pt x="395" y="196"/>
                    </a:lnTo>
                    <a:lnTo>
                      <a:pt x="393" y="196"/>
                    </a:lnTo>
                    <a:lnTo>
                      <a:pt x="393" y="196"/>
                    </a:lnTo>
                    <a:lnTo>
                      <a:pt x="393" y="194"/>
                    </a:lnTo>
                    <a:lnTo>
                      <a:pt x="395" y="194"/>
                    </a:lnTo>
                    <a:lnTo>
                      <a:pt x="395" y="194"/>
                    </a:lnTo>
                    <a:lnTo>
                      <a:pt x="397" y="194"/>
                    </a:lnTo>
                    <a:lnTo>
                      <a:pt x="400" y="192"/>
                    </a:lnTo>
                    <a:lnTo>
                      <a:pt x="404" y="192"/>
                    </a:lnTo>
                    <a:lnTo>
                      <a:pt x="404" y="192"/>
                    </a:lnTo>
                    <a:lnTo>
                      <a:pt x="402" y="192"/>
                    </a:lnTo>
                    <a:lnTo>
                      <a:pt x="400" y="192"/>
                    </a:lnTo>
                    <a:lnTo>
                      <a:pt x="400" y="192"/>
                    </a:lnTo>
                    <a:lnTo>
                      <a:pt x="400" y="192"/>
                    </a:lnTo>
                    <a:lnTo>
                      <a:pt x="402" y="189"/>
                    </a:lnTo>
                    <a:lnTo>
                      <a:pt x="404" y="189"/>
                    </a:lnTo>
                    <a:lnTo>
                      <a:pt x="404" y="189"/>
                    </a:lnTo>
                    <a:lnTo>
                      <a:pt x="404" y="189"/>
                    </a:lnTo>
                    <a:lnTo>
                      <a:pt x="407" y="189"/>
                    </a:lnTo>
                    <a:lnTo>
                      <a:pt x="409" y="189"/>
                    </a:lnTo>
                    <a:lnTo>
                      <a:pt x="412" y="187"/>
                    </a:lnTo>
                    <a:lnTo>
                      <a:pt x="414" y="187"/>
                    </a:lnTo>
                    <a:lnTo>
                      <a:pt x="414" y="187"/>
                    </a:lnTo>
                    <a:lnTo>
                      <a:pt x="407" y="192"/>
                    </a:lnTo>
                    <a:lnTo>
                      <a:pt x="404" y="192"/>
                    </a:lnTo>
                    <a:lnTo>
                      <a:pt x="404" y="192"/>
                    </a:lnTo>
                    <a:lnTo>
                      <a:pt x="404" y="194"/>
                    </a:lnTo>
                    <a:lnTo>
                      <a:pt x="407" y="194"/>
                    </a:lnTo>
                    <a:lnTo>
                      <a:pt x="409" y="194"/>
                    </a:lnTo>
                    <a:lnTo>
                      <a:pt x="409" y="192"/>
                    </a:lnTo>
                    <a:lnTo>
                      <a:pt x="412" y="192"/>
                    </a:lnTo>
                    <a:lnTo>
                      <a:pt x="412" y="192"/>
                    </a:lnTo>
                    <a:lnTo>
                      <a:pt x="412" y="192"/>
                    </a:lnTo>
                    <a:lnTo>
                      <a:pt x="414" y="192"/>
                    </a:lnTo>
                    <a:lnTo>
                      <a:pt x="414" y="194"/>
                    </a:lnTo>
                    <a:lnTo>
                      <a:pt x="414" y="194"/>
                    </a:lnTo>
                    <a:lnTo>
                      <a:pt x="414" y="194"/>
                    </a:lnTo>
                    <a:lnTo>
                      <a:pt x="414" y="192"/>
                    </a:lnTo>
                    <a:lnTo>
                      <a:pt x="416" y="192"/>
                    </a:lnTo>
                    <a:lnTo>
                      <a:pt x="419" y="192"/>
                    </a:lnTo>
                    <a:lnTo>
                      <a:pt x="419" y="192"/>
                    </a:lnTo>
                    <a:lnTo>
                      <a:pt x="421" y="192"/>
                    </a:lnTo>
                    <a:lnTo>
                      <a:pt x="421" y="192"/>
                    </a:lnTo>
                    <a:lnTo>
                      <a:pt x="423" y="192"/>
                    </a:lnTo>
                    <a:lnTo>
                      <a:pt x="426" y="189"/>
                    </a:lnTo>
                    <a:lnTo>
                      <a:pt x="430" y="189"/>
                    </a:lnTo>
                    <a:lnTo>
                      <a:pt x="433" y="189"/>
                    </a:lnTo>
                    <a:lnTo>
                      <a:pt x="433" y="189"/>
                    </a:lnTo>
                    <a:lnTo>
                      <a:pt x="428" y="192"/>
                    </a:lnTo>
                    <a:lnTo>
                      <a:pt x="426" y="192"/>
                    </a:lnTo>
                    <a:lnTo>
                      <a:pt x="423" y="194"/>
                    </a:lnTo>
                    <a:lnTo>
                      <a:pt x="423" y="194"/>
                    </a:lnTo>
                    <a:lnTo>
                      <a:pt x="423" y="194"/>
                    </a:lnTo>
                    <a:lnTo>
                      <a:pt x="426" y="194"/>
                    </a:lnTo>
                    <a:lnTo>
                      <a:pt x="423" y="196"/>
                    </a:lnTo>
                    <a:lnTo>
                      <a:pt x="421" y="196"/>
                    </a:lnTo>
                    <a:lnTo>
                      <a:pt x="421" y="196"/>
                    </a:lnTo>
                    <a:lnTo>
                      <a:pt x="421" y="196"/>
                    </a:lnTo>
                    <a:lnTo>
                      <a:pt x="423" y="196"/>
                    </a:lnTo>
                    <a:lnTo>
                      <a:pt x="426" y="196"/>
                    </a:lnTo>
                    <a:close/>
                    <a:moveTo>
                      <a:pt x="565" y="438"/>
                    </a:moveTo>
                    <a:lnTo>
                      <a:pt x="565" y="438"/>
                    </a:lnTo>
                    <a:lnTo>
                      <a:pt x="565" y="438"/>
                    </a:lnTo>
                    <a:lnTo>
                      <a:pt x="565" y="438"/>
                    </a:lnTo>
                    <a:lnTo>
                      <a:pt x="563" y="438"/>
                    </a:lnTo>
                    <a:lnTo>
                      <a:pt x="563" y="438"/>
                    </a:lnTo>
                    <a:lnTo>
                      <a:pt x="563" y="438"/>
                    </a:lnTo>
                    <a:lnTo>
                      <a:pt x="563" y="440"/>
                    </a:lnTo>
                    <a:lnTo>
                      <a:pt x="563" y="438"/>
                    </a:lnTo>
                    <a:lnTo>
                      <a:pt x="565" y="438"/>
                    </a:lnTo>
                    <a:lnTo>
                      <a:pt x="565" y="438"/>
                    </a:lnTo>
                    <a:lnTo>
                      <a:pt x="565" y="438"/>
                    </a:lnTo>
                    <a:lnTo>
                      <a:pt x="565" y="438"/>
                    </a:lnTo>
                    <a:lnTo>
                      <a:pt x="565" y="438"/>
                    </a:lnTo>
                    <a:close/>
                    <a:moveTo>
                      <a:pt x="561" y="438"/>
                    </a:moveTo>
                    <a:lnTo>
                      <a:pt x="558" y="438"/>
                    </a:lnTo>
                    <a:lnTo>
                      <a:pt x="558" y="440"/>
                    </a:lnTo>
                    <a:lnTo>
                      <a:pt x="558" y="440"/>
                    </a:lnTo>
                    <a:lnTo>
                      <a:pt x="558" y="440"/>
                    </a:lnTo>
                    <a:lnTo>
                      <a:pt x="558" y="440"/>
                    </a:lnTo>
                    <a:lnTo>
                      <a:pt x="561" y="442"/>
                    </a:lnTo>
                    <a:lnTo>
                      <a:pt x="561" y="440"/>
                    </a:lnTo>
                    <a:lnTo>
                      <a:pt x="561" y="440"/>
                    </a:lnTo>
                    <a:lnTo>
                      <a:pt x="561" y="438"/>
                    </a:lnTo>
                    <a:close/>
                    <a:moveTo>
                      <a:pt x="539" y="303"/>
                    </a:moveTo>
                    <a:lnTo>
                      <a:pt x="539" y="303"/>
                    </a:lnTo>
                    <a:lnTo>
                      <a:pt x="539" y="303"/>
                    </a:lnTo>
                    <a:lnTo>
                      <a:pt x="539" y="303"/>
                    </a:lnTo>
                    <a:lnTo>
                      <a:pt x="539" y="305"/>
                    </a:lnTo>
                    <a:lnTo>
                      <a:pt x="542" y="305"/>
                    </a:lnTo>
                    <a:lnTo>
                      <a:pt x="544" y="303"/>
                    </a:lnTo>
                    <a:lnTo>
                      <a:pt x="546" y="300"/>
                    </a:lnTo>
                    <a:lnTo>
                      <a:pt x="549" y="300"/>
                    </a:lnTo>
                    <a:lnTo>
                      <a:pt x="551" y="298"/>
                    </a:lnTo>
                    <a:lnTo>
                      <a:pt x="553" y="296"/>
                    </a:lnTo>
                    <a:lnTo>
                      <a:pt x="553" y="296"/>
                    </a:lnTo>
                    <a:lnTo>
                      <a:pt x="553" y="291"/>
                    </a:lnTo>
                    <a:lnTo>
                      <a:pt x="553" y="291"/>
                    </a:lnTo>
                    <a:lnTo>
                      <a:pt x="553" y="291"/>
                    </a:lnTo>
                    <a:lnTo>
                      <a:pt x="546" y="293"/>
                    </a:lnTo>
                    <a:lnTo>
                      <a:pt x="542" y="298"/>
                    </a:lnTo>
                    <a:lnTo>
                      <a:pt x="537" y="298"/>
                    </a:lnTo>
                    <a:lnTo>
                      <a:pt x="535" y="300"/>
                    </a:lnTo>
                    <a:lnTo>
                      <a:pt x="535" y="303"/>
                    </a:lnTo>
                    <a:lnTo>
                      <a:pt x="532" y="305"/>
                    </a:lnTo>
                    <a:lnTo>
                      <a:pt x="532" y="305"/>
                    </a:lnTo>
                    <a:lnTo>
                      <a:pt x="532" y="305"/>
                    </a:lnTo>
                    <a:lnTo>
                      <a:pt x="535" y="303"/>
                    </a:lnTo>
                    <a:lnTo>
                      <a:pt x="539" y="303"/>
                    </a:lnTo>
                    <a:lnTo>
                      <a:pt x="539" y="300"/>
                    </a:lnTo>
                    <a:lnTo>
                      <a:pt x="542" y="300"/>
                    </a:lnTo>
                    <a:lnTo>
                      <a:pt x="539" y="303"/>
                    </a:lnTo>
                    <a:lnTo>
                      <a:pt x="539" y="303"/>
                    </a:lnTo>
                    <a:close/>
                    <a:moveTo>
                      <a:pt x="563" y="440"/>
                    </a:moveTo>
                    <a:lnTo>
                      <a:pt x="563" y="440"/>
                    </a:lnTo>
                    <a:lnTo>
                      <a:pt x="561" y="442"/>
                    </a:lnTo>
                    <a:lnTo>
                      <a:pt x="561" y="442"/>
                    </a:lnTo>
                    <a:lnTo>
                      <a:pt x="561" y="442"/>
                    </a:lnTo>
                    <a:lnTo>
                      <a:pt x="561" y="442"/>
                    </a:lnTo>
                    <a:lnTo>
                      <a:pt x="563" y="442"/>
                    </a:lnTo>
                    <a:lnTo>
                      <a:pt x="563" y="442"/>
                    </a:lnTo>
                    <a:lnTo>
                      <a:pt x="563" y="440"/>
                    </a:lnTo>
                    <a:lnTo>
                      <a:pt x="563" y="440"/>
                    </a:lnTo>
                    <a:lnTo>
                      <a:pt x="563" y="440"/>
                    </a:lnTo>
                    <a:close/>
                    <a:moveTo>
                      <a:pt x="286" y="236"/>
                    </a:moveTo>
                    <a:lnTo>
                      <a:pt x="281" y="239"/>
                    </a:lnTo>
                    <a:lnTo>
                      <a:pt x="281" y="239"/>
                    </a:lnTo>
                    <a:lnTo>
                      <a:pt x="281" y="239"/>
                    </a:lnTo>
                    <a:lnTo>
                      <a:pt x="281" y="241"/>
                    </a:lnTo>
                    <a:lnTo>
                      <a:pt x="281" y="241"/>
                    </a:lnTo>
                    <a:lnTo>
                      <a:pt x="284" y="239"/>
                    </a:lnTo>
                    <a:lnTo>
                      <a:pt x="286" y="239"/>
                    </a:lnTo>
                    <a:lnTo>
                      <a:pt x="286" y="239"/>
                    </a:lnTo>
                    <a:lnTo>
                      <a:pt x="286" y="239"/>
                    </a:lnTo>
                    <a:lnTo>
                      <a:pt x="286" y="236"/>
                    </a:lnTo>
                    <a:lnTo>
                      <a:pt x="286" y="236"/>
                    </a:lnTo>
                    <a:close/>
                    <a:moveTo>
                      <a:pt x="404" y="203"/>
                    </a:moveTo>
                    <a:lnTo>
                      <a:pt x="402" y="206"/>
                    </a:lnTo>
                    <a:lnTo>
                      <a:pt x="397" y="208"/>
                    </a:lnTo>
                    <a:lnTo>
                      <a:pt x="393" y="208"/>
                    </a:lnTo>
                    <a:lnTo>
                      <a:pt x="390" y="210"/>
                    </a:lnTo>
                    <a:lnTo>
                      <a:pt x="386" y="210"/>
                    </a:lnTo>
                    <a:lnTo>
                      <a:pt x="386" y="213"/>
                    </a:lnTo>
                    <a:lnTo>
                      <a:pt x="383" y="213"/>
                    </a:lnTo>
                    <a:lnTo>
                      <a:pt x="381" y="215"/>
                    </a:lnTo>
                    <a:lnTo>
                      <a:pt x="381" y="215"/>
                    </a:lnTo>
                    <a:lnTo>
                      <a:pt x="383" y="215"/>
                    </a:lnTo>
                    <a:lnTo>
                      <a:pt x="383" y="213"/>
                    </a:lnTo>
                    <a:lnTo>
                      <a:pt x="386" y="213"/>
                    </a:lnTo>
                    <a:lnTo>
                      <a:pt x="386" y="213"/>
                    </a:lnTo>
                    <a:lnTo>
                      <a:pt x="388" y="213"/>
                    </a:lnTo>
                    <a:lnTo>
                      <a:pt x="388" y="213"/>
                    </a:lnTo>
                    <a:lnTo>
                      <a:pt x="390" y="213"/>
                    </a:lnTo>
                    <a:lnTo>
                      <a:pt x="390" y="210"/>
                    </a:lnTo>
                    <a:lnTo>
                      <a:pt x="390" y="210"/>
                    </a:lnTo>
                    <a:lnTo>
                      <a:pt x="393" y="210"/>
                    </a:lnTo>
                    <a:lnTo>
                      <a:pt x="395" y="210"/>
                    </a:lnTo>
                    <a:lnTo>
                      <a:pt x="395" y="208"/>
                    </a:lnTo>
                    <a:lnTo>
                      <a:pt x="404" y="206"/>
                    </a:lnTo>
                    <a:lnTo>
                      <a:pt x="404" y="206"/>
                    </a:lnTo>
                    <a:lnTo>
                      <a:pt x="404" y="203"/>
                    </a:lnTo>
                    <a:lnTo>
                      <a:pt x="404" y="203"/>
                    </a:lnTo>
                    <a:lnTo>
                      <a:pt x="404" y="203"/>
                    </a:lnTo>
                    <a:close/>
                    <a:moveTo>
                      <a:pt x="284" y="244"/>
                    </a:moveTo>
                    <a:lnTo>
                      <a:pt x="284" y="244"/>
                    </a:lnTo>
                    <a:lnTo>
                      <a:pt x="284" y="241"/>
                    </a:lnTo>
                    <a:lnTo>
                      <a:pt x="284" y="244"/>
                    </a:lnTo>
                    <a:lnTo>
                      <a:pt x="284" y="241"/>
                    </a:lnTo>
                    <a:lnTo>
                      <a:pt x="281" y="241"/>
                    </a:lnTo>
                    <a:lnTo>
                      <a:pt x="281" y="244"/>
                    </a:lnTo>
                    <a:lnTo>
                      <a:pt x="279" y="244"/>
                    </a:lnTo>
                    <a:lnTo>
                      <a:pt x="279" y="241"/>
                    </a:lnTo>
                    <a:lnTo>
                      <a:pt x="279" y="241"/>
                    </a:lnTo>
                    <a:lnTo>
                      <a:pt x="279" y="241"/>
                    </a:lnTo>
                    <a:lnTo>
                      <a:pt x="279" y="241"/>
                    </a:lnTo>
                    <a:lnTo>
                      <a:pt x="274" y="241"/>
                    </a:lnTo>
                    <a:lnTo>
                      <a:pt x="274" y="241"/>
                    </a:lnTo>
                    <a:lnTo>
                      <a:pt x="274" y="244"/>
                    </a:lnTo>
                    <a:lnTo>
                      <a:pt x="272" y="244"/>
                    </a:lnTo>
                    <a:lnTo>
                      <a:pt x="272" y="244"/>
                    </a:lnTo>
                    <a:lnTo>
                      <a:pt x="272" y="244"/>
                    </a:lnTo>
                    <a:lnTo>
                      <a:pt x="270" y="244"/>
                    </a:lnTo>
                    <a:lnTo>
                      <a:pt x="267" y="246"/>
                    </a:lnTo>
                    <a:lnTo>
                      <a:pt x="260" y="248"/>
                    </a:lnTo>
                    <a:lnTo>
                      <a:pt x="260" y="248"/>
                    </a:lnTo>
                    <a:lnTo>
                      <a:pt x="263" y="251"/>
                    </a:lnTo>
                    <a:lnTo>
                      <a:pt x="265" y="251"/>
                    </a:lnTo>
                    <a:lnTo>
                      <a:pt x="265" y="248"/>
                    </a:lnTo>
                    <a:lnTo>
                      <a:pt x="267" y="248"/>
                    </a:lnTo>
                    <a:lnTo>
                      <a:pt x="267" y="248"/>
                    </a:lnTo>
                    <a:lnTo>
                      <a:pt x="270" y="248"/>
                    </a:lnTo>
                    <a:lnTo>
                      <a:pt x="272" y="248"/>
                    </a:lnTo>
                    <a:lnTo>
                      <a:pt x="272" y="246"/>
                    </a:lnTo>
                    <a:lnTo>
                      <a:pt x="274" y="246"/>
                    </a:lnTo>
                    <a:lnTo>
                      <a:pt x="272" y="248"/>
                    </a:lnTo>
                    <a:lnTo>
                      <a:pt x="272" y="248"/>
                    </a:lnTo>
                    <a:lnTo>
                      <a:pt x="274" y="246"/>
                    </a:lnTo>
                    <a:lnTo>
                      <a:pt x="274" y="248"/>
                    </a:lnTo>
                    <a:lnTo>
                      <a:pt x="277" y="246"/>
                    </a:lnTo>
                    <a:lnTo>
                      <a:pt x="277" y="246"/>
                    </a:lnTo>
                    <a:lnTo>
                      <a:pt x="277" y="246"/>
                    </a:lnTo>
                    <a:lnTo>
                      <a:pt x="277" y="246"/>
                    </a:lnTo>
                    <a:lnTo>
                      <a:pt x="279" y="244"/>
                    </a:lnTo>
                    <a:lnTo>
                      <a:pt x="279" y="244"/>
                    </a:lnTo>
                    <a:lnTo>
                      <a:pt x="279" y="246"/>
                    </a:lnTo>
                    <a:lnTo>
                      <a:pt x="279" y="246"/>
                    </a:lnTo>
                    <a:lnTo>
                      <a:pt x="279" y="246"/>
                    </a:lnTo>
                    <a:lnTo>
                      <a:pt x="279" y="246"/>
                    </a:lnTo>
                    <a:lnTo>
                      <a:pt x="281" y="246"/>
                    </a:lnTo>
                    <a:lnTo>
                      <a:pt x="284" y="246"/>
                    </a:lnTo>
                    <a:lnTo>
                      <a:pt x="286" y="244"/>
                    </a:lnTo>
                    <a:lnTo>
                      <a:pt x="286" y="244"/>
                    </a:lnTo>
                    <a:lnTo>
                      <a:pt x="284" y="244"/>
                    </a:lnTo>
                    <a:close/>
                    <a:moveTo>
                      <a:pt x="404" y="194"/>
                    </a:moveTo>
                    <a:lnTo>
                      <a:pt x="404" y="194"/>
                    </a:lnTo>
                    <a:lnTo>
                      <a:pt x="404" y="194"/>
                    </a:lnTo>
                    <a:lnTo>
                      <a:pt x="402" y="194"/>
                    </a:lnTo>
                    <a:lnTo>
                      <a:pt x="402" y="194"/>
                    </a:lnTo>
                    <a:lnTo>
                      <a:pt x="400" y="194"/>
                    </a:lnTo>
                    <a:lnTo>
                      <a:pt x="400" y="194"/>
                    </a:lnTo>
                    <a:lnTo>
                      <a:pt x="400" y="194"/>
                    </a:lnTo>
                    <a:lnTo>
                      <a:pt x="402" y="194"/>
                    </a:lnTo>
                    <a:lnTo>
                      <a:pt x="404" y="194"/>
                    </a:lnTo>
                    <a:close/>
                    <a:moveTo>
                      <a:pt x="383" y="210"/>
                    </a:moveTo>
                    <a:lnTo>
                      <a:pt x="386" y="208"/>
                    </a:lnTo>
                    <a:lnTo>
                      <a:pt x="386" y="208"/>
                    </a:lnTo>
                    <a:lnTo>
                      <a:pt x="383" y="208"/>
                    </a:lnTo>
                    <a:lnTo>
                      <a:pt x="381" y="210"/>
                    </a:lnTo>
                    <a:lnTo>
                      <a:pt x="383" y="210"/>
                    </a:lnTo>
                    <a:lnTo>
                      <a:pt x="383" y="210"/>
                    </a:lnTo>
                    <a:close/>
                    <a:moveTo>
                      <a:pt x="419" y="203"/>
                    </a:moveTo>
                    <a:lnTo>
                      <a:pt x="416" y="203"/>
                    </a:lnTo>
                    <a:lnTo>
                      <a:pt x="416" y="201"/>
                    </a:lnTo>
                    <a:lnTo>
                      <a:pt x="416" y="201"/>
                    </a:lnTo>
                    <a:lnTo>
                      <a:pt x="414" y="201"/>
                    </a:lnTo>
                    <a:lnTo>
                      <a:pt x="412" y="203"/>
                    </a:lnTo>
                    <a:lnTo>
                      <a:pt x="412" y="203"/>
                    </a:lnTo>
                    <a:lnTo>
                      <a:pt x="412" y="203"/>
                    </a:lnTo>
                    <a:lnTo>
                      <a:pt x="412" y="203"/>
                    </a:lnTo>
                    <a:lnTo>
                      <a:pt x="412" y="203"/>
                    </a:lnTo>
                    <a:lnTo>
                      <a:pt x="409" y="206"/>
                    </a:lnTo>
                    <a:lnTo>
                      <a:pt x="409" y="206"/>
                    </a:lnTo>
                    <a:lnTo>
                      <a:pt x="414" y="203"/>
                    </a:lnTo>
                    <a:lnTo>
                      <a:pt x="419" y="203"/>
                    </a:lnTo>
                    <a:lnTo>
                      <a:pt x="419" y="203"/>
                    </a:lnTo>
                    <a:lnTo>
                      <a:pt x="421" y="203"/>
                    </a:lnTo>
                    <a:lnTo>
                      <a:pt x="421" y="203"/>
                    </a:lnTo>
                    <a:lnTo>
                      <a:pt x="419" y="203"/>
                    </a:lnTo>
                    <a:close/>
                    <a:moveTo>
                      <a:pt x="390" y="208"/>
                    </a:moveTo>
                    <a:lnTo>
                      <a:pt x="390" y="208"/>
                    </a:lnTo>
                    <a:lnTo>
                      <a:pt x="390" y="208"/>
                    </a:lnTo>
                    <a:lnTo>
                      <a:pt x="393" y="206"/>
                    </a:lnTo>
                    <a:lnTo>
                      <a:pt x="393" y="206"/>
                    </a:lnTo>
                    <a:lnTo>
                      <a:pt x="395" y="203"/>
                    </a:lnTo>
                    <a:lnTo>
                      <a:pt x="397" y="203"/>
                    </a:lnTo>
                    <a:lnTo>
                      <a:pt x="397" y="203"/>
                    </a:lnTo>
                    <a:lnTo>
                      <a:pt x="397" y="201"/>
                    </a:lnTo>
                    <a:lnTo>
                      <a:pt x="400" y="201"/>
                    </a:lnTo>
                    <a:lnTo>
                      <a:pt x="397" y="201"/>
                    </a:lnTo>
                    <a:lnTo>
                      <a:pt x="397" y="201"/>
                    </a:lnTo>
                    <a:lnTo>
                      <a:pt x="397" y="203"/>
                    </a:lnTo>
                    <a:lnTo>
                      <a:pt x="397" y="201"/>
                    </a:lnTo>
                    <a:lnTo>
                      <a:pt x="397" y="201"/>
                    </a:lnTo>
                    <a:lnTo>
                      <a:pt x="397" y="201"/>
                    </a:lnTo>
                    <a:lnTo>
                      <a:pt x="395" y="203"/>
                    </a:lnTo>
                    <a:lnTo>
                      <a:pt x="393" y="203"/>
                    </a:lnTo>
                    <a:lnTo>
                      <a:pt x="393" y="203"/>
                    </a:lnTo>
                    <a:lnTo>
                      <a:pt x="393" y="206"/>
                    </a:lnTo>
                    <a:lnTo>
                      <a:pt x="390" y="206"/>
                    </a:lnTo>
                    <a:lnTo>
                      <a:pt x="390" y="206"/>
                    </a:lnTo>
                    <a:lnTo>
                      <a:pt x="390" y="206"/>
                    </a:lnTo>
                    <a:lnTo>
                      <a:pt x="390" y="208"/>
                    </a:lnTo>
                    <a:close/>
                    <a:moveTo>
                      <a:pt x="537" y="284"/>
                    </a:moveTo>
                    <a:lnTo>
                      <a:pt x="539" y="284"/>
                    </a:lnTo>
                    <a:lnTo>
                      <a:pt x="539" y="284"/>
                    </a:lnTo>
                    <a:lnTo>
                      <a:pt x="539" y="281"/>
                    </a:lnTo>
                    <a:lnTo>
                      <a:pt x="539" y="281"/>
                    </a:lnTo>
                    <a:lnTo>
                      <a:pt x="542" y="281"/>
                    </a:lnTo>
                    <a:lnTo>
                      <a:pt x="542" y="281"/>
                    </a:lnTo>
                    <a:lnTo>
                      <a:pt x="542" y="281"/>
                    </a:lnTo>
                    <a:lnTo>
                      <a:pt x="542" y="279"/>
                    </a:lnTo>
                    <a:lnTo>
                      <a:pt x="537" y="279"/>
                    </a:lnTo>
                    <a:lnTo>
                      <a:pt x="537" y="281"/>
                    </a:lnTo>
                    <a:lnTo>
                      <a:pt x="535" y="281"/>
                    </a:lnTo>
                    <a:lnTo>
                      <a:pt x="535" y="281"/>
                    </a:lnTo>
                    <a:lnTo>
                      <a:pt x="535" y="281"/>
                    </a:lnTo>
                    <a:lnTo>
                      <a:pt x="535" y="284"/>
                    </a:lnTo>
                    <a:lnTo>
                      <a:pt x="535" y="284"/>
                    </a:lnTo>
                    <a:lnTo>
                      <a:pt x="537" y="284"/>
                    </a:lnTo>
                    <a:close/>
                    <a:moveTo>
                      <a:pt x="544" y="270"/>
                    </a:moveTo>
                    <a:lnTo>
                      <a:pt x="544" y="270"/>
                    </a:lnTo>
                    <a:lnTo>
                      <a:pt x="542" y="270"/>
                    </a:lnTo>
                    <a:lnTo>
                      <a:pt x="542" y="270"/>
                    </a:lnTo>
                    <a:lnTo>
                      <a:pt x="537" y="267"/>
                    </a:lnTo>
                    <a:lnTo>
                      <a:pt x="535" y="267"/>
                    </a:lnTo>
                    <a:lnTo>
                      <a:pt x="532" y="270"/>
                    </a:lnTo>
                    <a:lnTo>
                      <a:pt x="532" y="270"/>
                    </a:lnTo>
                    <a:lnTo>
                      <a:pt x="532" y="270"/>
                    </a:lnTo>
                    <a:lnTo>
                      <a:pt x="532" y="272"/>
                    </a:lnTo>
                    <a:lnTo>
                      <a:pt x="532" y="272"/>
                    </a:lnTo>
                    <a:lnTo>
                      <a:pt x="532" y="274"/>
                    </a:lnTo>
                    <a:lnTo>
                      <a:pt x="530" y="274"/>
                    </a:lnTo>
                    <a:lnTo>
                      <a:pt x="530" y="277"/>
                    </a:lnTo>
                    <a:lnTo>
                      <a:pt x="527" y="279"/>
                    </a:lnTo>
                    <a:lnTo>
                      <a:pt x="527" y="279"/>
                    </a:lnTo>
                    <a:lnTo>
                      <a:pt x="527" y="279"/>
                    </a:lnTo>
                    <a:lnTo>
                      <a:pt x="530" y="279"/>
                    </a:lnTo>
                    <a:lnTo>
                      <a:pt x="532" y="279"/>
                    </a:lnTo>
                    <a:lnTo>
                      <a:pt x="535" y="279"/>
                    </a:lnTo>
                    <a:lnTo>
                      <a:pt x="535" y="279"/>
                    </a:lnTo>
                    <a:lnTo>
                      <a:pt x="535" y="279"/>
                    </a:lnTo>
                    <a:lnTo>
                      <a:pt x="535" y="279"/>
                    </a:lnTo>
                    <a:lnTo>
                      <a:pt x="537" y="277"/>
                    </a:lnTo>
                    <a:lnTo>
                      <a:pt x="537" y="277"/>
                    </a:lnTo>
                    <a:lnTo>
                      <a:pt x="537" y="277"/>
                    </a:lnTo>
                    <a:lnTo>
                      <a:pt x="537" y="274"/>
                    </a:lnTo>
                    <a:lnTo>
                      <a:pt x="537" y="274"/>
                    </a:lnTo>
                    <a:lnTo>
                      <a:pt x="539" y="274"/>
                    </a:lnTo>
                    <a:lnTo>
                      <a:pt x="539" y="272"/>
                    </a:lnTo>
                    <a:lnTo>
                      <a:pt x="539" y="272"/>
                    </a:lnTo>
                    <a:lnTo>
                      <a:pt x="539" y="274"/>
                    </a:lnTo>
                    <a:lnTo>
                      <a:pt x="539" y="277"/>
                    </a:lnTo>
                    <a:lnTo>
                      <a:pt x="539" y="277"/>
                    </a:lnTo>
                    <a:lnTo>
                      <a:pt x="539" y="277"/>
                    </a:lnTo>
                    <a:lnTo>
                      <a:pt x="542" y="277"/>
                    </a:lnTo>
                    <a:lnTo>
                      <a:pt x="542" y="277"/>
                    </a:lnTo>
                    <a:lnTo>
                      <a:pt x="542" y="274"/>
                    </a:lnTo>
                    <a:lnTo>
                      <a:pt x="544" y="274"/>
                    </a:lnTo>
                    <a:lnTo>
                      <a:pt x="544" y="272"/>
                    </a:lnTo>
                    <a:lnTo>
                      <a:pt x="546" y="272"/>
                    </a:lnTo>
                    <a:lnTo>
                      <a:pt x="546" y="270"/>
                    </a:lnTo>
                    <a:lnTo>
                      <a:pt x="546" y="270"/>
                    </a:lnTo>
                    <a:lnTo>
                      <a:pt x="544" y="270"/>
                    </a:lnTo>
                    <a:close/>
                    <a:moveTo>
                      <a:pt x="532" y="310"/>
                    </a:moveTo>
                    <a:lnTo>
                      <a:pt x="532" y="312"/>
                    </a:lnTo>
                    <a:lnTo>
                      <a:pt x="532" y="312"/>
                    </a:lnTo>
                    <a:lnTo>
                      <a:pt x="535" y="310"/>
                    </a:lnTo>
                    <a:lnTo>
                      <a:pt x="535" y="310"/>
                    </a:lnTo>
                    <a:lnTo>
                      <a:pt x="537" y="308"/>
                    </a:lnTo>
                    <a:lnTo>
                      <a:pt x="537" y="305"/>
                    </a:lnTo>
                    <a:lnTo>
                      <a:pt x="537" y="303"/>
                    </a:lnTo>
                    <a:lnTo>
                      <a:pt x="537" y="303"/>
                    </a:lnTo>
                    <a:lnTo>
                      <a:pt x="535" y="305"/>
                    </a:lnTo>
                    <a:lnTo>
                      <a:pt x="535" y="305"/>
                    </a:lnTo>
                    <a:lnTo>
                      <a:pt x="535" y="305"/>
                    </a:lnTo>
                    <a:lnTo>
                      <a:pt x="532" y="308"/>
                    </a:lnTo>
                    <a:lnTo>
                      <a:pt x="532" y="308"/>
                    </a:lnTo>
                    <a:lnTo>
                      <a:pt x="532" y="308"/>
                    </a:lnTo>
                    <a:lnTo>
                      <a:pt x="532" y="308"/>
                    </a:lnTo>
                    <a:lnTo>
                      <a:pt x="532" y="310"/>
                    </a:lnTo>
                    <a:lnTo>
                      <a:pt x="532" y="310"/>
                    </a:lnTo>
                    <a:lnTo>
                      <a:pt x="532" y="310"/>
                    </a:lnTo>
                    <a:close/>
                    <a:moveTo>
                      <a:pt x="518" y="281"/>
                    </a:moveTo>
                    <a:lnTo>
                      <a:pt x="513" y="286"/>
                    </a:lnTo>
                    <a:lnTo>
                      <a:pt x="511" y="289"/>
                    </a:lnTo>
                    <a:lnTo>
                      <a:pt x="511" y="289"/>
                    </a:lnTo>
                    <a:lnTo>
                      <a:pt x="513" y="286"/>
                    </a:lnTo>
                    <a:lnTo>
                      <a:pt x="513" y="286"/>
                    </a:lnTo>
                    <a:lnTo>
                      <a:pt x="513" y="286"/>
                    </a:lnTo>
                    <a:lnTo>
                      <a:pt x="516" y="286"/>
                    </a:lnTo>
                    <a:lnTo>
                      <a:pt x="516" y="286"/>
                    </a:lnTo>
                    <a:lnTo>
                      <a:pt x="518" y="286"/>
                    </a:lnTo>
                    <a:lnTo>
                      <a:pt x="520" y="284"/>
                    </a:lnTo>
                    <a:lnTo>
                      <a:pt x="523" y="281"/>
                    </a:lnTo>
                    <a:lnTo>
                      <a:pt x="523" y="279"/>
                    </a:lnTo>
                    <a:lnTo>
                      <a:pt x="525" y="277"/>
                    </a:lnTo>
                    <a:lnTo>
                      <a:pt x="527" y="277"/>
                    </a:lnTo>
                    <a:lnTo>
                      <a:pt x="527" y="277"/>
                    </a:lnTo>
                    <a:lnTo>
                      <a:pt x="530" y="277"/>
                    </a:lnTo>
                    <a:lnTo>
                      <a:pt x="530" y="274"/>
                    </a:lnTo>
                    <a:lnTo>
                      <a:pt x="530" y="274"/>
                    </a:lnTo>
                    <a:lnTo>
                      <a:pt x="527" y="274"/>
                    </a:lnTo>
                    <a:lnTo>
                      <a:pt x="530" y="272"/>
                    </a:lnTo>
                    <a:lnTo>
                      <a:pt x="530" y="272"/>
                    </a:lnTo>
                    <a:lnTo>
                      <a:pt x="530" y="272"/>
                    </a:lnTo>
                    <a:lnTo>
                      <a:pt x="527" y="270"/>
                    </a:lnTo>
                    <a:lnTo>
                      <a:pt x="525" y="272"/>
                    </a:lnTo>
                    <a:lnTo>
                      <a:pt x="523" y="272"/>
                    </a:lnTo>
                    <a:lnTo>
                      <a:pt x="520" y="274"/>
                    </a:lnTo>
                    <a:lnTo>
                      <a:pt x="520" y="274"/>
                    </a:lnTo>
                    <a:lnTo>
                      <a:pt x="520" y="277"/>
                    </a:lnTo>
                    <a:lnTo>
                      <a:pt x="518" y="277"/>
                    </a:lnTo>
                    <a:lnTo>
                      <a:pt x="520" y="279"/>
                    </a:lnTo>
                    <a:lnTo>
                      <a:pt x="520" y="279"/>
                    </a:lnTo>
                    <a:lnTo>
                      <a:pt x="518" y="281"/>
                    </a:lnTo>
                    <a:close/>
                    <a:moveTo>
                      <a:pt x="433" y="203"/>
                    </a:moveTo>
                    <a:lnTo>
                      <a:pt x="435" y="203"/>
                    </a:lnTo>
                    <a:lnTo>
                      <a:pt x="435" y="203"/>
                    </a:lnTo>
                    <a:lnTo>
                      <a:pt x="430" y="203"/>
                    </a:lnTo>
                    <a:lnTo>
                      <a:pt x="430" y="203"/>
                    </a:lnTo>
                    <a:lnTo>
                      <a:pt x="433" y="206"/>
                    </a:lnTo>
                    <a:lnTo>
                      <a:pt x="433" y="203"/>
                    </a:lnTo>
                    <a:close/>
                    <a:moveTo>
                      <a:pt x="255" y="253"/>
                    </a:moveTo>
                    <a:lnTo>
                      <a:pt x="255" y="253"/>
                    </a:lnTo>
                    <a:lnTo>
                      <a:pt x="255" y="253"/>
                    </a:lnTo>
                    <a:lnTo>
                      <a:pt x="255" y="251"/>
                    </a:lnTo>
                    <a:lnTo>
                      <a:pt x="255" y="251"/>
                    </a:lnTo>
                    <a:lnTo>
                      <a:pt x="255" y="251"/>
                    </a:lnTo>
                    <a:lnTo>
                      <a:pt x="253" y="251"/>
                    </a:lnTo>
                    <a:lnTo>
                      <a:pt x="253" y="251"/>
                    </a:lnTo>
                    <a:lnTo>
                      <a:pt x="253" y="251"/>
                    </a:lnTo>
                    <a:lnTo>
                      <a:pt x="255" y="253"/>
                    </a:lnTo>
                    <a:lnTo>
                      <a:pt x="255" y="253"/>
                    </a:lnTo>
                    <a:close/>
                    <a:moveTo>
                      <a:pt x="430" y="215"/>
                    </a:moveTo>
                    <a:lnTo>
                      <a:pt x="435" y="213"/>
                    </a:lnTo>
                    <a:lnTo>
                      <a:pt x="438" y="210"/>
                    </a:lnTo>
                    <a:lnTo>
                      <a:pt x="440" y="210"/>
                    </a:lnTo>
                    <a:lnTo>
                      <a:pt x="438" y="210"/>
                    </a:lnTo>
                    <a:lnTo>
                      <a:pt x="435" y="213"/>
                    </a:lnTo>
                    <a:lnTo>
                      <a:pt x="433" y="213"/>
                    </a:lnTo>
                    <a:lnTo>
                      <a:pt x="430" y="215"/>
                    </a:lnTo>
                    <a:lnTo>
                      <a:pt x="430" y="215"/>
                    </a:lnTo>
                    <a:close/>
                    <a:moveTo>
                      <a:pt x="509" y="265"/>
                    </a:moveTo>
                    <a:lnTo>
                      <a:pt x="509" y="265"/>
                    </a:lnTo>
                    <a:lnTo>
                      <a:pt x="506" y="267"/>
                    </a:lnTo>
                    <a:lnTo>
                      <a:pt x="506" y="267"/>
                    </a:lnTo>
                    <a:lnTo>
                      <a:pt x="504" y="270"/>
                    </a:lnTo>
                    <a:lnTo>
                      <a:pt x="506" y="270"/>
                    </a:lnTo>
                    <a:lnTo>
                      <a:pt x="509" y="267"/>
                    </a:lnTo>
                    <a:lnTo>
                      <a:pt x="513" y="265"/>
                    </a:lnTo>
                    <a:lnTo>
                      <a:pt x="513" y="265"/>
                    </a:lnTo>
                    <a:lnTo>
                      <a:pt x="513" y="265"/>
                    </a:lnTo>
                    <a:lnTo>
                      <a:pt x="513" y="267"/>
                    </a:lnTo>
                    <a:lnTo>
                      <a:pt x="513" y="267"/>
                    </a:lnTo>
                    <a:lnTo>
                      <a:pt x="513" y="270"/>
                    </a:lnTo>
                    <a:lnTo>
                      <a:pt x="513" y="270"/>
                    </a:lnTo>
                    <a:lnTo>
                      <a:pt x="511" y="270"/>
                    </a:lnTo>
                    <a:lnTo>
                      <a:pt x="509" y="272"/>
                    </a:lnTo>
                    <a:lnTo>
                      <a:pt x="509" y="272"/>
                    </a:lnTo>
                    <a:lnTo>
                      <a:pt x="509" y="272"/>
                    </a:lnTo>
                    <a:lnTo>
                      <a:pt x="509" y="274"/>
                    </a:lnTo>
                    <a:lnTo>
                      <a:pt x="511" y="272"/>
                    </a:lnTo>
                    <a:lnTo>
                      <a:pt x="511" y="274"/>
                    </a:lnTo>
                    <a:lnTo>
                      <a:pt x="509" y="274"/>
                    </a:lnTo>
                    <a:lnTo>
                      <a:pt x="509" y="274"/>
                    </a:lnTo>
                    <a:lnTo>
                      <a:pt x="509" y="277"/>
                    </a:lnTo>
                    <a:lnTo>
                      <a:pt x="511" y="277"/>
                    </a:lnTo>
                    <a:lnTo>
                      <a:pt x="511" y="277"/>
                    </a:lnTo>
                    <a:lnTo>
                      <a:pt x="511" y="277"/>
                    </a:lnTo>
                    <a:lnTo>
                      <a:pt x="511" y="277"/>
                    </a:lnTo>
                    <a:lnTo>
                      <a:pt x="509" y="277"/>
                    </a:lnTo>
                    <a:lnTo>
                      <a:pt x="509" y="279"/>
                    </a:lnTo>
                    <a:lnTo>
                      <a:pt x="506" y="279"/>
                    </a:lnTo>
                    <a:lnTo>
                      <a:pt x="506" y="279"/>
                    </a:lnTo>
                    <a:lnTo>
                      <a:pt x="506" y="284"/>
                    </a:lnTo>
                    <a:lnTo>
                      <a:pt x="506" y="284"/>
                    </a:lnTo>
                    <a:lnTo>
                      <a:pt x="506" y="284"/>
                    </a:lnTo>
                    <a:lnTo>
                      <a:pt x="506" y="284"/>
                    </a:lnTo>
                    <a:lnTo>
                      <a:pt x="506" y="284"/>
                    </a:lnTo>
                    <a:lnTo>
                      <a:pt x="509" y="284"/>
                    </a:lnTo>
                    <a:lnTo>
                      <a:pt x="511" y="281"/>
                    </a:lnTo>
                    <a:lnTo>
                      <a:pt x="513" y="279"/>
                    </a:lnTo>
                    <a:lnTo>
                      <a:pt x="513" y="279"/>
                    </a:lnTo>
                    <a:lnTo>
                      <a:pt x="513" y="277"/>
                    </a:lnTo>
                    <a:lnTo>
                      <a:pt x="516" y="277"/>
                    </a:lnTo>
                    <a:lnTo>
                      <a:pt x="516" y="274"/>
                    </a:lnTo>
                    <a:lnTo>
                      <a:pt x="518" y="274"/>
                    </a:lnTo>
                    <a:lnTo>
                      <a:pt x="518" y="272"/>
                    </a:lnTo>
                    <a:lnTo>
                      <a:pt x="520" y="267"/>
                    </a:lnTo>
                    <a:lnTo>
                      <a:pt x="523" y="267"/>
                    </a:lnTo>
                    <a:lnTo>
                      <a:pt x="523" y="265"/>
                    </a:lnTo>
                    <a:lnTo>
                      <a:pt x="523" y="263"/>
                    </a:lnTo>
                    <a:lnTo>
                      <a:pt x="523" y="260"/>
                    </a:lnTo>
                    <a:lnTo>
                      <a:pt x="523" y="260"/>
                    </a:lnTo>
                    <a:lnTo>
                      <a:pt x="523" y="258"/>
                    </a:lnTo>
                    <a:lnTo>
                      <a:pt x="520" y="258"/>
                    </a:lnTo>
                    <a:lnTo>
                      <a:pt x="520" y="260"/>
                    </a:lnTo>
                    <a:lnTo>
                      <a:pt x="516" y="260"/>
                    </a:lnTo>
                    <a:lnTo>
                      <a:pt x="516" y="263"/>
                    </a:lnTo>
                    <a:lnTo>
                      <a:pt x="513" y="263"/>
                    </a:lnTo>
                    <a:lnTo>
                      <a:pt x="513" y="263"/>
                    </a:lnTo>
                    <a:lnTo>
                      <a:pt x="511" y="263"/>
                    </a:lnTo>
                    <a:lnTo>
                      <a:pt x="509" y="265"/>
                    </a:lnTo>
                    <a:close/>
                    <a:moveTo>
                      <a:pt x="544" y="274"/>
                    </a:moveTo>
                    <a:lnTo>
                      <a:pt x="542" y="277"/>
                    </a:lnTo>
                    <a:lnTo>
                      <a:pt x="539" y="277"/>
                    </a:lnTo>
                    <a:lnTo>
                      <a:pt x="539" y="277"/>
                    </a:lnTo>
                    <a:lnTo>
                      <a:pt x="539" y="279"/>
                    </a:lnTo>
                    <a:lnTo>
                      <a:pt x="539" y="279"/>
                    </a:lnTo>
                    <a:lnTo>
                      <a:pt x="542" y="279"/>
                    </a:lnTo>
                    <a:lnTo>
                      <a:pt x="542" y="279"/>
                    </a:lnTo>
                    <a:lnTo>
                      <a:pt x="542" y="279"/>
                    </a:lnTo>
                    <a:lnTo>
                      <a:pt x="544" y="279"/>
                    </a:lnTo>
                    <a:lnTo>
                      <a:pt x="546" y="277"/>
                    </a:lnTo>
                    <a:lnTo>
                      <a:pt x="546" y="277"/>
                    </a:lnTo>
                    <a:lnTo>
                      <a:pt x="546" y="277"/>
                    </a:lnTo>
                    <a:lnTo>
                      <a:pt x="546" y="274"/>
                    </a:lnTo>
                    <a:lnTo>
                      <a:pt x="544" y="274"/>
                    </a:lnTo>
                    <a:close/>
                    <a:moveTo>
                      <a:pt x="506" y="312"/>
                    </a:moveTo>
                    <a:lnTo>
                      <a:pt x="506" y="315"/>
                    </a:lnTo>
                    <a:lnTo>
                      <a:pt x="506" y="315"/>
                    </a:lnTo>
                    <a:lnTo>
                      <a:pt x="509" y="315"/>
                    </a:lnTo>
                    <a:lnTo>
                      <a:pt x="509" y="315"/>
                    </a:lnTo>
                    <a:lnTo>
                      <a:pt x="511" y="315"/>
                    </a:lnTo>
                    <a:lnTo>
                      <a:pt x="511" y="312"/>
                    </a:lnTo>
                    <a:lnTo>
                      <a:pt x="513" y="312"/>
                    </a:lnTo>
                    <a:lnTo>
                      <a:pt x="513" y="310"/>
                    </a:lnTo>
                    <a:lnTo>
                      <a:pt x="511" y="310"/>
                    </a:lnTo>
                    <a:lnTo>
                      <a:pt x="511" y="310"/>
                    </a:lnTo>
                    <a:lnTo>
                      <a:pt x="511" y="312"/>
                    </a:lnTo>
                    <a:lnTo>
                      <a:pt x="509" y="312"/>
                    </a:lnTo>
                    <a:lnTo>
                      <a:pt x="509" y="312"/>
                    </a:lnTo>
                    <a:lnTo>
                      <a:pt x="511" y="310"/>
                    </a:lnTo>
                    <a:lnTo>
                      <a:pt x="511" y="308"/>
                    </a:lnTo>
                    <a:lnTo>
                      <a:pt x="511" y="308"/>
                    </a:lnTo>
                    <a:lnTo>
                      <a:pt x="511" y="305"/>
                    </a:lnTo>
                    <a:lnTo>
                      <a:pt x="511" y="305"/>
                    </a:lnTo>
                    <a:lnTo>
                      <a:pt x="511" y="303"/>
                    </a:lnTo>
                    <a:lnTo>
                      <a:pt x="509" y="303"/>
                    </a:lnTo>
                    <a:lnTo>
                      <a:pt x="506" y="303"/>
                    </a:lnTo>
                    <a:lnTo>
                      <a:pt x="506" y="305"/>
                    </a:lnTo>
                    <a:lnTo>
                      <a:pt x="506" y="305"/>
                    </a:lnTo>
                    <a:lnTo>
                      <a:pt x="509" y="305"/>
                    </a:lnTo>
                    <a:lnTo>
                      <a:pt x="506" y="308"/>
                    </a:lnTo>
                    <a:lnTo>
                      <a:pt x="506" y="310"/>
                    </a:lnTo>
                    <a:lnTo>
                      <a:pt x="506" y="310"/>
                    </a:lnTo>
                    <a:lnTo>
                      <a:pt x="506" y="310"/>
                    </a:lnTo>
                    <a:lnTo>
                      <a:pt x="506" y="312"/>
                    </a:lnTo>
                    <a:close/>
                    <a:moveTo>
                      <a:pt x="537" y="291"/>
                    </a:moveTo>
                    <a:lnTo>
                      <a:pt x="537" y="291"/>
                    </a:lnTo>
                    <a:lnTo>
                      <a:pt x="537" y="291"/>
                    </a:lnTo>
                    <a:lnTo>
                      <a:pt x="539" y="291"/>
                    </a:lnTo>
                    <a:lnTo>
                      <a:pt x="539" y="291"/>
                    </a:lnTo>
                    <a:lnTo>
                      <a:pt x="539" y="291"/>
                    </a:lnTo>
                    <a:lnTo>
                      <a:pt x="544" y="286"/>
                    </a:lnTo>
                    <a:lnTo>
                      <a:pt x="546" y="284"/>
                    </a:lnTo>
                    <a:lnTo>
                      <a:pt x="546" y="281"/>
                    </a:lnTo>
                    <a:lnTo>
                      <a:pt x="549" y="279"/>
                    </a:lnTo>
                    <a:lnTo>
                      <a:pt x="546" y="279"/>
                    </a:lnTo>
                    <a:lnTo>
                      <a:pt x="542" y="281"/>
                    </a:lnTo>
                    <a:lnTo>
                      <a:pt x="542" y="284"/>
                    </a:lnTo>
                    <a:lnTo>
                      <a:pt x="539" y="284"/>
                    </a:lnTo>
                    <a:lnTo>
                      <a:pt x="537" y="284"/>
                    </a:lnTo>
                    <a:lnTo>
                      <a:pt x="537" y="286"/>
                    </a:lnTo>
                    <a:lnTo>
                      <a:pt x="535" y="286"/>
                    </a:lnTo>
                    <a:lnTo>
                      <a:pt x="535" y="289"/>
                    </a:lnTo>
                    <a:lnTo>
                      <a:pt x="535" y="289"/>
                    </a:lnTo>
                    <a:lnTo>
                      <a:pt x="537" y="289"/>
                    </a:lnTo>
                    <a:lnTo>
                      <a:pt x="537" y="289"/>
                    </a:lnTo>
                    <a:lnTo>
                      <a:pt x="537" y="289"/>
                    </a:lnTo>
                    <a:lnTo>
                      <a:pt x="537" y="291"/>
                    </a:lnTo>
                    <a:close/>
                    <a:moveTo>
                      <a:pt x="532" y="293"/>
                    </a:moveTo>
                    <a:lnTo>
                      <a:pt x="532" y="293"/>
                    </a:lnTo>
                    <a:lnTo>
                      <a:pt x="532" y="291"/>
                    </a:lnTo>
                    <a:lnTo>
                      <a:pt x="532" y="289"/>
                    </a:lnTo>
                    <a:lnTo>
                      <a:pt x="527" y="286"/>
                    </a:lnTo>
                    <a:lnTo>
                      <a:pt x="527" y="286"/>
                    </a:lnTo>
                    <a:lnTo>
                      <a:pt x="530" y="286"/>
                    </a:lnTo>
                    <a:lnTo>
                      <a:pt x="530" y="286"/>
                    </a:lnTo>
                    <a:lnTo>
                      <a:pt x="530" y="286"/>
                    </a:lnTo>
                    <a:lnTo>
                      <a:pt x="530" y="284"/>
                    </a:lnTo>
                    <a:lnTo>
                      <a:pt x="530" y="284"/>
                    </a:lnTo>
                    <a:lnTo>
                      <a:pt x="530" y="284"/>
                    </a:lnTo>
                    <a:lnTo>
                      <a:pt x="527" y="284"/>
                    </a:lnTo>
                    <a:lnTo>
                      <a:pt x="525" y="281"/>
                    </a:lnTo>
                    <a:lnTo>
                      <a:pt x="525" y="284"/>
                    </a:lnTo>
                    <a:lnTo>
                      <a:pt x="523" y="284"/>
                    </a:lnTo>
                    <a:lnTo>
                      <a:pt x="523" y="286"/>
                    </a:lnTo>
                    <a:lnTo>
                      <a:pt x="523" y="286"/>
                    </a:lnTo>
                    <a:lnTo>
                      <a:pt x="520" y="286"/>
                    </a:lnTo>
                    <a:lnTo>
                      <a:pt x="516" y="289"/>
                    </a:lnTo>
                    <a:lnTo>
                      <a:pt x="516" y="291"/>
                    </a:lnTo>
                    <a:lnTo>
                      <a:pt x="516" y="291"/>
                    </a:lnTo>
                    <a:lnTo>
                      <a:pt x="520" y="289"/>
                    </a:lnTo>
                    <a:lnTo>
                      <a:pt x="523" y="289"/>
                    </a:lnTo>
                    <a:lnTo>
                      <a:pt x="523" y="289"/>
                    </a:lnTo>
                    <a:lnTo>
                      <a:pt x="523" y="291"/>
                    </a:lnTo>
                    <a:lnTo>
                      <a:pt x="523" y="291"/>
                    </a:lnTo>
                    <a:lnTo>
                      <a:pt x="520" y="291"/>
                    </a:lnTo>
                    <a:lnTo>
                      <a:pt x="520" y="293"/>
                    </a:lnTo>
                    <a:lnTo>
                      <a:pt x="518" y="293"/>
                    </a:lnTo>
                    <a:lnTo>
                      <a:pt x="518" y="293"/>
                    </a:lnTo>
                    <a:lnTo>
                      <a:pt x="516" y="293"/>
                    </a:lnTo>
                    <a:lnTo>
                      <a:pt x="516" y="293"/>
                    </a:lnTo>
                    <a:lnTo>
                      <a:pt x="513" y="293"/>
                    </a:lnTo>
                    <a:lnTo>
                      <a:pt x="513" y="293"/>
                    </a:lnTo>
                    <a:lnTo>
                      <a:pt x="513" y="293"/>
                    </a:lnTo>
                    <a:lnTo>
                      <a:pt x="513" y="296"/>
                    </a:lnTo>
                    <a:lnTo>
                      <a:pt x="513" y="296"/>
                    </a:lnTo>
                    <a:lnTo>
                      <a:pt x="516" y="296"/>
                    </a:lnTo>
                    <a:lnTo>
                      <a:pt x="516" y="296"/>
                    </a:lnTo>
                    <a:lnTo>
                      <a:pt x="516" y="298"/>
                    </a:lnTo>
                    <a:lnTo>
                      <a:pt x="516" y="298"/>
                    </a:lnTo>
                    <a:lnTo>
                      <a:pt x="518" y="296"/>
                    </a:lnTo>
                    <a:lnTo>
                      <a:pt x="520" y="298"/>
                    </a:lnTo>
                    <a:lnTo>
                      <a:pt x="518" y="298"/>
                    </a:lnTo>
                    <a:lnTo>
                      <a:pt x="518" y="298"/>
                    </a:lnTo>
                    <a:lnTo>
                      <a:pt x="518" y="300"/>
                    </a:lnTo>
                    <a:lnTo>
                      <a:pt x="516" y="300"/>
                    </a:lnTo>
                    <a:lnTo>
                      <a:pt x="516" y="300"/>
                    </a:lnTo>
                    <a:lnTo>
                      <a:pt x="513" y="303"/>
                    </a:lnTo>
                    <a:lnTo>
                      <a:pt x="513" y="303"/>
                    </a:lnTo>
                    <a:lnTo>
                      <a:pt x="513" y="303"/>
                    </a:lnTo>
                    <a:lnTo>
                      <a:pt x="513" y="305"/>
                    </a:lnTo>
                    <a:lnTo>
                      <a:pt x="513" y="308"/>
                    </a:lnTo>
                    <a:lnTo>
                      <a:pt x="513" y="308"/>
                    </a:lnTo>
                    <a:lnTo>
                      <a:pt x="516" y="308"/>
                    </a:lnTo>
                    <a:lnTo>
                      <a:pt x="516" y="308"/>
                    </a:lnTo>
                    <a:lnTo>
                      <a:pt x="518" y="305"/>
                    </a:lnTo>
                    <a:lnTo>
                      <a:pt x="518" y="305"/>
                    </a:lnTo>
                    <a:lnTo>
                      <a:pt x="516" y="308"/>
                    </a:lnTo>
                    <a:lnTo>
                      <a:pt x="516" y="308"/>
                    </a:lnTo>
                    <a:lnTo>
                      <a:pt x="516" y="310"/>
                    </a:lnTo>
                    <a:lnTo>
                      <a:pt x="516" y="310"/>
                    </a:lnTo>
                    <a:lnTo>
                      <a:pt x="516" y="310"/>
                    </a:lnTo>
                    <a:lnTo>
                      <a:pt x="516" y="310"/>
                    </a:lnTo>
                    <a:lnTo>
                      <a:pt x="518" y="310"/>
                    </a:lnTo>
                    <a:lnTo>
                      <a:pt x="518" y="310"/>
                    </a:lnTo>
                    <a:lnTo>
                      <a:pt x="516" y="312"/>
                    </a:lnTo>
                    <a:lnTo>
                      <a:pt x="516" y="315"/>
                    </a:lnTo>
                    <a:lnTo>
                      <a:pt x="518" y="315"/>
                    </a:lnTo>
                    <a:lnTo>
                      <a:pt x="518" y="315"/>
                    </a:lnTo>
                    <a:lnTo>
                      <a:pt x="518" y="315"/>
                    </a:lnTo>
                    <a:lnTo>
                      <a:pt x="520" y="312"/>
                    </a:lnTo>
                    <a:lnTo>
                      <a:pt x="523" y="312"/>
                    </a:lnTo>
                    <a:lnTo>
                      <a:pt x="523" y="312"/>
                    </a:lnTo>
                    <a:lnTo>
                      <a:pt x="523" y="310"/>
                    </a:lnTo>
                    <a:lnTo>
                      <a:pt x="523" y="310"/>
                    </a:lnTo>
                    <a:lnTo>
                      <a:pt x="525" y="310"/>
                    </a:lnTo>
                    <a:lnTo>
                      <a:pt x="525" y="308"/>
                    </a:lnTo>
                    <a:lnTo>
                      <a:pt x="530" y="305"/>
                    </a:lnTo>
                    <a:lnTo>
                      <a:pt x="530" y="305"/>
                    </a:lnTo>
                    <a:lnTo>
                      <a:pt x="525" y="305"/>
                    </a:lnTo>
                    <a:lnTo>
                      <a:pt x="525" y="305"/>
                    </a:lnTo>
                    <a:lnTo>
                      <a:pt x="525" y="305"/>
                    </a:lnTo>
                    <a:lnTo>
                      <a:pt x="525" y="303"/>
                    </a:lnTo>
                    <a:lnTo>
                      <a:pt x="527" y="303"/>
                    </a:lnTo>
                    <a:lnTo>
                      <a:pt x="527" y="303"/>
                    </a:lnTo>
                    <a:lnTo>
                      <a:pt x="527" y="300"/>
                    </a:lnTo>
                    <a:lnTo>
                      <a:pt x="527" y="300"/>
                    </a:lnTo>
                    <a:lnTo>
                      <a:pt x="527" y="300"/>
                    </a:lnTo>
                    <a:lnTo>
                      <a:pt x="525" y="300"/>
                    </a:lnTo>
                    <a:lnTo>
                      <a:pt x="523" y="300"/>
                    </a:lnTo>
                    <a:lnTo>
                      <a:pt x="525" y="298"/>
                    </a:lnTo>
                    <a:lnTo>
                      <a:pt x="525" y="298"/>
                    </a:lnTo>
                    <a:lnTo>
                      <a:pt x="527" y="298"/>
                    </a:lnTo>
                    <a:lnTo>
                      <a:pt x="527" y="298"/>
                    </a:lnTo>
                    <a:lnTo>
                      <a:pt x="530" y="298"/>
                    </a:lnTo>
                    <a:lnTo>
                      <a:pt x="530" y="300"/>
                    </a:lnTo>
                    <a:lnTo>
                      <a:pt x="530" y="300"/>
                    </a:lnTo>
                    <a:lnTo>
                      <a:pt x="530" y="298"/>
                    </a:lnTo>
                    <a:lnTo>
                      <a:pt x="530" y="298"/>
                    </a:lnTo>
                    <a:lnTo>
                      <a:pt x="530" y="296"/>
                    </a:lnTo>
                    <a:lnTo>
                      <a:pt x="532" y="293"/>
                    </a:lnTo>
                    <a:close/>
                    <a:moveTo>
                      <a:pt x="513" y="298"/>
                    </a:moveTo>
                    <a:lnTo>
                      <a:pt x="513" y="298"/>
                    </a:lnTo>
                    <a:lnTo>
                      <a:pt x="513" y="298"/>
                    </a:lnTo>
                    <a:lnTo>
                      <a:pt x="511" y="298"/>
                    </a:lnTo>
                    <a:lnTo>
                      <a:pt x="511" y="298"/>
                    </a:lnTo>
                    <a:lnTo>
                      <a:pt x="509" y="298"/>
                    </a:lnTo>
                    <a:lnTo>
                      <a:pt x="506" y="298"/>
                    </a:lnTo>
                    <a:lnTo>
                      <a:pt x="506" y="300"/>
                    </a:lnTo>
                    <a:lnTo>
                      <a:pt x="504" y="303"/>
                    </a:lnTo>
                    <a:lnTo>
                      <a:pt x="506" y="303"/>
                    </a:lnTo>
                    <a:lnTo>
                      <a:pt x="509" y="303"/>
                    </a:lnTo>
                    <a:lnTo>
                      <a:pt x="509" y="300"/>
                    </a:lnTo>
                    <a:lnTo>
                      <a:pt x="511" y="300"/>
                    </a:lnTo>
                    <a:lnTo>
                      <a:pt x="511" y="300"/>
                    </a:lnTo>
                    <a:lnTo>
                      <a:pt x="513" y="298"/>
                    </a:lnTo>
                    <a:lnTo>
                      <a:pt x="513" y="298"/>
                    </a:lnTo>
                    <a:close/>
                    <a:moveTo>
                      <a:pt x="551" y="246"/>
                    </a:moveTo>
                    <a:lnTo>
                      <a:pt x="551" y="246"/>
                    </a:lnTo>
                    <a:lnTo>
                      <a:pt x="551" y="244"/>
                    </a:lnTo>
                    <a:lnTo>
                      <a:pt x="551" y="244"/>
                    </a:lnTo>
                    <a:lnTo>
                      <a:pt x="549" y="244"/>
                    </a:lnTo>
                    <a:lnTo>
                      <a:pt x="546" y="244"/>
                    </a:lnTo>
                    <a:lnTo>
                      <a:pt x="546" y="246"/>
                    </a:lnTo>
                    <a:lnTo>
                      <a:pt x="549" y="246"/>
                    </a:lnTo>
                    <a:lnTo>
                      <a:pt x="551" y="246"/>
                    </a:lnTo>
                    <a:close/>
                    <a:moveTo>
                      <a:pt x="544" y="244"/>
                    </a:moveTo>
                    <a:lnTo>
                      <a:pt x="544" y="244"/>
                    </a:lnTo>
                    <a:lnTo>
                      <a:pt x="544" y="244"/>
                    </a:lnTo>
                    <a:lnTo>
                      <a:pt x="544" y="244"/>
                    </a:lnTo>
                    <a:lnTo>
                      <a:pt x="542" y="246"/>
                    </a:lnTo>
                    <a:lnTo>
                      <a:pt x="542" y="246"/>
                    </a:lnTo>
                    <a:lnTo>
                      <a:pt x="542" y="248"/>
                    </a:lnTo>
                    <a:lnTo>
                      <a:pt x="539" y="251"/>
                    </a:lnTo>
                    <a:lnTo>
                      <a:pt x="535" y="255"/>
                    </a:lnTo>
                    <a:lnTo>
                      <a:pt x="535" y="258"/>
                    </a:lnTo>
                    <a:lnTo>
                      <a:pt x="535" y="258"/>
                    </a:lnTo>
                    <a:lnTo>
                      <a:pt x="535" y="260"/>
                    </a:lnTo>
                    <a:lnTo>
                      <a:pt x="532" y="260"/>
                    </a:lnTo>
                    <a:lnTo>
                      <a:pt x="527" y="265"/>
                    </a:lnTo>
                    <a:lnTo>
                      <a:pt x="525" y="265"/>
                    </a:lnTo>
                    <a:lnTo>
                      <a:pt x="525" y="267"/>
                    </a:lnTo>
                    <a:lnTo>
                      <a:pt x="525" y="267"/>
                    </a:lnTo>
                    <a:lnTo>
                      <a:pt x="525" y="267"/>
                    </a:lnTo>
                    <a:lnTo>
                      <a:pt x="525" y="270"/>
                    </a:lnTo>
                    <a:lnTo>
                      <a:pt x="525" y="267"/>
                    </a:lnTo>
                    <a:lnTo>
                      <a:pt x="530" y="267"/>
                    </a:lnTo>
                    <a:lnTo>
                      <a:pt x="537" y="263"/>
                    </a:lnTo>
                    <a:lnTo>
                      <a:pt x="539" y="263"/>
                    </a:lnTo>
                    <a:lnTo>
                      <a:pt x="539" y="263"/>
                    </a:lnTo>
                    <a:lnTo>
                      <a:pt x="539" y="263"/>
                    </a:lnTo>
                    <a:lnTo>
                      <a:pt x="542" y="260"/>
                    </a:lnTo>
                    <a:lnTo>
                      <a:pt x="542" y="260"/>
                    </a:lnTo>
                    <a:lnTo>
                      <a:pt x="544" y="258"/>
                    </a:lnTo>
                    <a:lnTo>
                      <a:pt x="544" y="258"/>
                    </a:lnTo>
                    <a:lnTo>
                      <a:pt x="544" y="255"/>
                    </a:lnTo>
                    <a:lnTo>
                      <a:pt x="544" y="253"/>
                    </a:lnTo>
                    <a:lnTo>
                      <a:pt x="546" y="251"/>
                    </a:lnTo>
                    <a:lnTo>
                      <a:pt x="546" y="248"/>
                    </a:lnTo>
                    <a:lnTo>
                      <a:pt x="549" y="248"/>
                    </a:lnTo>
                    <a:lnTo>
                      <a:pt x="549" y="248"/>
                    </a:lnTo>
                    <a:lnTo>
                      <a:pt x="549" y="248"/>
                    </a:lnTo>
                    <a:lnTo>
                      <a:pt x="549" y="248"/>
                    </a:lnTo>
                    <a:lnTo>
                      <a:pt x="549" y="251"/>
                    </a:lnTo>
                    <a:lnTo>
                      <a:pt x="546" y="253"/>
                    </a:lnTo>
                    <a:lnTo>
                      <a:pt x="546" y="253"/>
                    </a:lnTo>
                    <a:lnTo>
                      <a:pt x="546" y="253"/>
                    </a:lnTo>
                    <a:lnTo>
                      <a:pt x="546" y="253"/>
                    </a:lnTo>
                    <a:lnTo>
                      <a:pt x="546" y="255"/>
                    </a:lnTo>
                    <a:lnTo>
                      <a:pt x="546" y="258"/>
                    </a:lnTo>
                    <a:lnTo>
                      <a:pt x="546" y="258"/>
                    </a:lnTo>
                    <a:lnTo>
                      <a:pt x="549" y="255"/>
                    </a:lnTo>
                    <a:lnTo>
                      <a:pt x="549" y="253"/>
                    </a:lnTo>
                    <a:lnTo>
                      <a:pt x="549" y="253"/>
                    </a:lnTo>
                    <a:lnTo>
                      <a:pt x="551" y="251"/>
                    </a:lnTo>
                    <a:lnTo>
                      <a:pt x="551" y="246"/>
                    </a:lnTo>
                    <a:lnTo>
                      <a:pt x="549" y="246"/>
                    </a:lnTo>
                    <a:lnTo>
                      <a:pt x="544" y="246"/>
                    </a:lnTo>
                    <a:lnTo>
                      <a:pt x="544" y="246"/>
                    </a:lnTo>
                    <a:lnTo>
                      <a:pt x="544" y="244"/>
                    </a:lnTo>
                    <a:close/>
                    <a:moveTo>
                      <a:pt x="511" y="260"/>
                    </a:moveTo>
                    <a:lnTo>
                      <a:pt x="513" y="260"/>
                    </a:lnTo>
                    <a:lnTo>
                      <a:pt x="516" y="260"/>
                    </a:lnTo>
                    <a:lnTo>
                      <a:pt x="518" y="258"/>
                    </a:lnTo>
                    <a:lnTo>
                      <a:pt x="520" y="255"/>
                    </a:lnTo>
                    <a:lnTo>
                      <a:pt x="520" y="255"/>
                    </a:lnTo>
                    <a:lnTo>
                      <a:pt x="523" y="255"/>
                    </a:lnTo>
                    <a:lnTo>
                      <a:pt x="525" y="258"/>
                    </a:lnTo>
                    <a:lnTo>
                      <a:pt x="525" y="260"/>
                    </a:lnTo>
                    <a:lnTo>
                      <a:pt x="527" y="260"/>
                    </a:lnTo>
                    <a:lnTo>
                      <a:pt x="530" y="258"/>
                    </a:lnTo>
                    <a:lnTo>
                      <a:pt x="530" y="255"/>
                    </a:lnTo>
                    <a:lnTo>
                      <a:pt x="532" y="255"/>
                    </a:lnTo>
                    <a:lnTo>
                      <a:pt x="527" y="255"/>
                    </a:lnTo>
                    <a:lnTo>
                      <a:pt x="527" y="253"/>
                    </a:lnTo>
                    <a:lnTo>
                      <a:pt x="530" y="253"/>
                    </a:lnTo>
                    <a:lnTo>
                      <a:pt x="530" y="253"/>
                    </a:lnTo>
                    <a:lnTo>
                      <a:pt x="530" y="253"/>
                    </a:lnTo>
                    <a:lnTo>
                      <a:pt x="532" y="253"/>
                    </a:lnTo>
                    <a:lnTo>
                      <a:pt x="537" y="251"/>
                    </a:lnTo>
                    <a:lnTo>
                      <a:pt x="537" y="248"/>
                    </a:lnTo>
                    <a:lnTo>
                      <a:pt x="537" y="248"/>
                    </a:lnTo>
                    <a:lnTo>
                      <a:pt x="537" y="248"/>
                    </a:lnTo>
                    <a:lnTo>
                      <a:pt x="535" y="248"/>
                    </a:lnTo>
                    <a:lnTo>
                      <a:pt x="532" y="248"/>
                    </a:lnTo>
                    <a:lnTo>
                      <a:pt x="532" y="248"/>
                    </a:lnTo>
                    <a:lnTo>
                      <a:pt x="527" y="248"/>
                    </a:lnTo>
                    <a:lnTo>
                      <a:pt x="527" y="251"/>
                    </a:lnTo>
                    <a:lnTo>
                      <a:pt x="527" y="248"/>
                    </a:lnTo>
                    <a:lnTo>
                      <a:pt x="527" y="248"/>
                    </a:lnTo>
                    <a:lnTo>
                      <a:pt x="527" y="248"/>
                    </a:lnTo>
                    <a:lnTo>
                      <a:pt x="530" y="248"/>
                    </a:lnTo>
                    <a:lnTo>
                      <a:pt x="530" y="246"/>
                    </a:lnTo>
                    <a:lnTo>
                      <a:pt x="530" y="246"/>
                    </a:lnTo>
                    <a:lnTo>
                      <a:pt x="530" y="244"/>
                    </a:lnTo>
                    <a:lnTo>
                      <a:pt x="527" y="246"/>
                    </a:lnTo>
                    <a:lnTo>
                      <a:pt x="525" y="246"/>
                    </a:lnTo>
                    <a:lnTo>
                      <a:pt x="525" y="246"/>
                    </a:lnTo>
                    <a:lnTo>
                      <a:pt x="523" y="246"/>
                    </a:lnTo>
                    <a:lnTo>
                      <a:pt x="523" y="246"/>
                    </a:lnTo>
                    <a:lnTo>
                      <a:pt x="520" y="248"/>
                    </a:lnTo>
                    <a:lnTo>
                      <a:pt x="520" y="246"/>
                    </a:lnTo>
                    <a:lnTo>
                      <a:pt x="520" y="246"/>
                    </a:lnTo>
                    <a:lnTo>
                      <a:pt x="518" y="246"/>
                    </a:lnTo>
                    <a:lnTo>
                      <a:pt x="516" y="248"/>
                    </a:lnTo>
                    <a:lnTo>
                      <a:pt x="516" y="248"/>
                    </a:lnTo>
                    <a:lnTo>
                      <a:pt x="513" y="248"/>
                    </a:lnTo>
                    <a:lnTo>
                      <a:pt x="511" y="251"/>
                    </a:lnTo>
                    <a:lnTo>
                      <a:pt x="511" y="253"/>
                    </a:lnTo>
                    <a:lnTo>
                      <a:pt x="513" y="253"/>
                    </a:lnTo>
                    <a:lnTo>
                      <a:pt x="513" y="255"/>
                    </a:lnTo>
                    <a:lnTo>
                      <a:pt x="511" y="258"/>
                    </a:lnTo>
                    <a:lnTo>
                      <a:pt x="511" y="260"/>
                    </a:lnTo>
                    <a:close/>
                    <a:moveTo>
                      <a:pt x="279" y="92"/>
                    </a:moveTo>
                    <a:lnTo>
                      <a:pt x="281" y="92"/>
                    </a:lnTo>
                    <a:lnTo>
                      <a:pt x="281" y="92"/>
                    </a:lnTo>
                    <a:lnTo>
                      <a:pt x="277" y="92"/>
                    </a:lnTo>
                    <a:lnTo>
                      <a:pt x="274" y="92"/>
                    </a:lnTo>
                    <a:lnTo>
                      <a:pt x="274" y="92"/>
                    </a:lnTo>
                    <a:lnTo>
                      <a:pt x="274" y="92"/>
                    </a:lnTo>
                    <a:lnTo>
                      <a:pt x="279" y="92"/>
                    </a:lnTo>
                    <a:close/>
                    <a:moveTo>
                      <a:pt x="265" y="253"/>
                    </a:moveTo>
                    <a:lnTo>
                      <a:pt x="265" y="253"/>
                    </a:lnTo>
                    <a:lnTo>
                      <a:pt x="260" y="253"/>
                    </a:lnTo>
                    <a:lnTo>
                      <a:pt x="260" y="253"/>
                    </a:lnTo>
                    <a:lnTo>
                      <a:pt x="260" y="253"/>
                    </a:lnTo>
                    <a:lnTo>
                      <a:pt x="263" y="251"/>
                    </a:lnTo>
                    <a:lnTo>
                      <a:pt x="263" y="251"/>
                    </a:lnTo>
                    <a:lnTo>
                      <a:pt x="260" y="251"/>
                    </a:lnTo>
                    <a:lnTo>
                      <a:pt x="258" y="251"/>
                    </a:lnTo>
                    <a:lnTo>
                      <a:pt x="258" y="251"/>
                    </a:lnTo>
                    <a:lnTo>
                      <a:pt x="258" y="253"/>
                    </a:lnTo>
                    <a:lnTo>
                      <a:pt x="258" y="253"/>
                    </a:lnTo>
                    <a:lnTo>
                      <a:pt x="255" y="253"/>
                    </a:lnTo>
                    <a:lnTo>
                      <a:pt x="255" y="253"/>
                    </a:lnTo>
                    <a:lnTo>
                      <a:pt x="255" y="253"/>
                    </a:lnTo>
                    <a:lnTo>
                      <a:pt x="253" y="253"/>
                    </a:lnTo>
                    <a:lnTo>
                      <a:pt x="253" y="253"/>
                    </a:lnTo>
                    <a:lnTo>
                      <a:pt x="251" y="253"/>
                    </a:lnTo>
                    <a:lnTo>
                      <a:pt x="251" y="255"/>
                    </a:lnTo>
                    <a:lnTo>
                      <a:pt x="251" y="255"/>
                    </a:lnTo>
                    <a:lnTo>
                      <a:pt x="248" y="255"/>
                    </a:lnTo>
                    <a:lnTo>
                      <a:pt x="248" y="255"/>
                    </a:lnTo>
                    <a:lnTo>
                      <a:pt x="251" y="253"/>
                    </a:lnTo>
                    <a:lnTo>
                      <a:pt x="251" y="253"/>
                    </a:lnTo>
                    <a:lnTo>
                      <a:pt x="248" y="253"/>
                    </a:lnTo>
                    <a:lnTo>
                      <a:pt x="248" y="253"/>
                    </a:lnTo>
                    <a:lnTo>
                      <a:pt x="248" y="253"/>
                    </a:lnTo>
                    <a:lnTo>
                      <a:pt x="246" y="253"/>
                    </a:lnTo>
                    <a:lnTo>
                      <a:pt x="244" y="253"/>
                    </a:lnTo>
                    <a:lnTo>
                      <a:pt x="244" y="255"/>
                    </a:lnTo>
                    <a:lnTo>
                      <a:pt x="244" y="255"/>
                    </a:lnTo>
                    <a:lnTo>
                      <a:pt x="246" y="255"/>
                    </a:lnTo>
                    <a:lnTo>
                      <a:pt x="244" y="258"/>
                    </a:lnTo>
                    <a:lnTo>
                      <a:pt x="244" y="255"/>
                    </a:lnTo>
                    <a:lnTo>
                      <a:pt x="241" y="258"/>
                    </a:lnTo>
                    <a:lnTo>
                      <a:pt x="241" y="258"/>
                    </a:lnTo>
                    <a:lnTo>
                      <a:pt x="239" y="260"/>
                    </a:lnTo>
                    <a:lnTo>
                      <a:pt x="236" y="263"/>
                    </a:lnTo>
                    <a:lnTo>
                      <a:pt x="236" y="263"/>
                    </a:lnTo>
                    <a:lnTo>
                      <a:pt x="236" y="263"/>
                    </a:lnTo>
                    <a:lnTo>
                      <a:pt x="236" y="263"/>
                    </a:lnTo>
                    <a:lnTo>
                      <a:pt x="236" y="260"/>
                    </a:lnTo>
                    <a:lnTo>
                      <a:pt x="239" y="258"/>
                    </a:lnTo>
                    <a:lnTo>
                      <a:pt x="239" y="258"/>
                    </a:lnTo>
                    <a:lnTo>
                      <a:pt x="239" y="258"/>
                    </a:lnTo>
                    <a:lnTo>
                      <a:pt x="239" y="258"/>
                    </a:lnTo>
                    <a:lnTo>
                      <a:pt x="239" y="258"/>
                    </a:lnTo>
                    <a:lnTo>
                      <a:pt x="239" y="255"/>
                    </a:lnTo>
                    <a:lnTo>
                      <a:pt x="236" y="255"/>
                    </a:lnTo>
                    <a:lnTo>
                      <a:pt x="236" y="258"/>
                    </a:lnTo>
                    <a:lnTo>
                      <a:pt x="232" y="258"/>
                    </a:lnTo>
                    <a:lnTo>
                      <a:pt x="229" y="258"/>
                    </a:lnTo>
                    <a:lnTo>
                      <a:pt x="225" y="260"/>
                    </a:lnTo>
                    <a:lnTo>
                      <a:pt x="222" y="263"/>
                    </a:lnTo>
                    <a:lnTo>
                      <a:pt x="222" y="263"/>
                    </a:lnTo>
                    <a:lnTo>
                      <a:pt x="222" y="265"/>
                    </a:lnTo>
                    <a:lnTo>
                      <a:pt x="218" y="270"/>
                    </a:lnTo>
                    <a:lnTo>
                      <a:pt x="218" y="272"/>
                    </a:lnTo>
                    <a:lnTo>
                      <a:pt x="220" y="272"/>
                    </a:lnTo>
                    <a:lnTo>
                      <a:pt x="222" y="270"/>
                    </a:lnTo>
                    <a:lnTo>
                      <a:pt x="222" y="270"/>
                    </a:lnTo>
                    <a:lnTo>
                      <a:pt x="222" y="270"/>
                    </a:lnTo>
                    <a:lnTo>
                      <a:pt x="225" y="267"/>
                    </a:lnTo>
                    <a:lnTo>
                      <a:pt x="225" y="267"/>
                    </a:lnTo>
                    <a:lnTo>
                      <a:pt x="225" y="267"/>
                    </a:lnTo>
                    <a:lnTo>
                      <a:pt x="222" y="267"/>
                    </a:lnTo>
                    <a:lnTo>
                      <a:pt x="222" y="267"/>
                    </a:lnTo>
                    <a:lnTo>
                      <a:pt x="222" y="267"/>
                    </a:lnTo>
                    <a:lnTo>
                      <a:pt x="225" y="267"/>
                    </a:lnTo>
                    <a:lnTo>
                      <a:pt x="227" y="267"/>
                    </a:lnTo>
                    <a:lnTo>
                      <a:pt x="227" y="267"/>
                    </a:lnTo>
                    <a:lnTo>
                      <a:pt x="227" y="267"/>
                    </a:lnTo>
                    <a:lnTo>
                      <a:pt x="227" y="267"/>
                    </a:lnTo>
                    <a:lnTo>
                      <a:pt x="225" y="267"/>
                    </a:lnTo>
                    <a:lnTo>
                      <a:pt x="225" y="270"/>
                    </a:lnTo>
                    <a:lnTo>
                      <a:pt x="225" y="270"/>
                    </a:lnTo>
                    <a:lnTo>
                      <a:pt x="227" y="267"/>
                    </a:lnTo>
                    <a:lnTo>
                      <a:pt x="227" y="270"/>
                    </a:lnTo>
                    <a:lnTo>
                      <a:pt x="229" y="270"/>
                    </a:lnTo>
                    <a:lnTo>
                      <a:pt x="229" y="270"/>
                    </a:lnTo>
                    <a:lnTo>
                      <a:pt x="220" y="272"/>
                    </a:lnTo>
                    <a:lnTo>
                      <a:pt x="220" y="274"/>
                    </a:lnTo>
                    <a:lnTo>
                      <a:pt x="220" y="274"/>
                    </a:lnTo>
                    <a:lnTo>
                      <a:pt x="220" y="274"/>
                    </a:lnTo>
                    <a:lnTo>
                      <a:pt x="220" y="274"/>
                    </a:lnTo>
                    <a:lnTo>
                      <a:pt x="227" y="272"/>
                    </a:lnTo>
                    <a:lnTo>
                      <a:pt x="229" y="270"/>
                    </a:lnTo>
                    <a:lnTo>
                      <a:pt x="232" y="270"/>
                    </a:lnTo>
                    <a:lnTo>
                      <a:pt x="232" y="270"/>
                    </a:lnTo>
                    <a:lnTo>
                      <a:pt x="232" y="270"/>
                    </a:lnTo>
                    <a:lnTo>
                      <a:pt x="232" y="267"/>
                    </a:lnTo>
                    <a:lnTo>
                      <a:pt x="234" y="267"/>
                    </a:lnTo>
                    <a:lnTo>
                      <a:pt x="234" y="267"/>
                    </a:lnTo>
                    <a:lnTo>
                      <a:pt x="236" y="267"/>
                    </a:lnTo>
                    <a:lnTo>
                      <a:pt x="236" y="265"/>
                    </a:lnTo>
                    <a:lnTo>
                      <a:pt x="241" y="265"/>
                    </a:lnTo>
                    <a:lnTo>
                      <a:pt x="246" y="265"/>
                    </a:lnTo>
                    <a:lnTo>
                      <a:pt x="248" y="265"/>
                    </a:lnTo>
                    <a:lnTo>
                      <a:pt x="251" y="263"/>
                    </a:lnTo>
                    <a:lnTo>
                      <a:pt x="251" y="263"/>
                    </a:lnTo>
                    <a:lnTo>
                      <a:pt x="253" y="263"/>
                    </a:lnTo>
                    <a:lnTo>
                      <a:pt x="253" y="263"/>
                    </a:lnTo>
                    <a:lnTo>
                      <a:pt x="253" y="263"/>
                    </a:lnTo>
                    <a:lnTo>
                      <a:pt x="253" y="260"/>
                    </a:lnTo>
                    <a:lnTo>
                      <a:pt x="253" y="260"/>
                    </a:lnTo>
                    <a:lnTo>
                      <a:pt x="251" y="260"/>
                    </a:lnTo>
                    <a:lnTo>
                      <a:pt x="251" y="260"/>
                    </a:lnTo>
                    <a:lnTo>
                      <a:pt x="253" y="260"/>
                    </a:lnTo>
                    <a:lnTo>
                      <a:pt x="253" y="260"/>
                    </a:lnTo>
                    <a:lnTo>
                      <a:pt x="255" y="260"/>
                    </a:lnTo>
                    <a:lnTo>
                      <a:pt x="258" y="260"/>
                    </a:lnTo>
                    <a:lnTo>
                      <a:pt x="260" y="260"/>
                    </a:lnTo>
                    <a:lnTo>
                      <a:pt x="260" y="260"/>
                    </a:lnTo>
                    <a:lnTo>
                      <a:pt x="263" y="260"/>
                    </a:lnTo>
                    <a:lnTo>
                      <a:pt x="265" y="258"/>
                    </a:lnTo>
                    <a:lnTo>
                      <a:pt x="265" y="258"/>
                    </a:lnTo>
                    <a:lnTo>
                      <a:pt x="265" y="258"/>
                    </a:lnTo>
                    <a:lnTo>
                      <a:pt x="265" y="258"/>
                    </a:lnTo>
                    <a:lnTo>
                      <a:pt x="265" y="255"/>
                    </a:lnTo>
                    <a:lnTo>
                      <a:pt x="265" y="255"/>
                    </a:lnTo>
                    <a:lnTo>
                      <a:pt x="267" y="253"/>
                    </a:lnTo>
                    <a:lnTo>
                      <a:pt x="267" y="253"/>
                    </a:lnTo>
                    <a:lnTo>
                      <a:pt x="267" y="253"/>
                    </a:lnTo>
                    <a:lnTo>
                      <a:pt x="267" y="253"/>
                    </a:lnTo>
                    <a:lnTo>
                      <a:pt x="265" y="253"/>
                    </a:lnTo>
                    <a:close/>
                    <a:moveTo>
                      <a:pt x="99" y="210"/>
                    </a:moveTo>
                    <a:lnTo>
                      <a:pt x="102" y="213"/>
                    </a:lnTo>
                    <a:lnTo>
                      <a:pt x="106" y="213"/>
                    </a:lnTo>
                    <a:lnTo>
                      <a:pt x="106" y="215"/>
                    </a:lnTo>
                    <a:lnTo>
                      <a:pt x="106" y="215"/>
                    </a:lnTo>
                    <a:lnTo>
                      <a:pt x="106" y="215"/>
                    </a:lnTo>
                    <a:lnTo>
                      <a:pt x="109" y="215"/>
                    </a:lnTo>
                    <a:lnTo>
                      <a:pt x="109" y="215"/>
                    </a:lnTo>
                    <a:lnTo>
                      <a:pt x="109" y="213"/>
                    </a:lnTo>
                    <a:lnTo>
                      <a:pt x="113" y="213"/>
                    </a:lnTo>
                    <a:lnTo>
                      <a:pt x="116" y="213"/>
                    </a:lnTo>
                    <a:lnTo>
                      <a:pt x="118" y="213"/>
                    </a:lnTo>
                    <a:lnTo>
                      <a:pt x="121" y="210"/>
                    </a:lnTo>
                    <a:lnTo>
                      <a:pt x="121" y="210"/>
                    </a:lnTo>
                    <a:lnTo>
                      <a:pt x="121" y="210"/>
                    </a:lnTo>
                    <a:lnTo>
                      <a:pt x="123" y="208"/>
                    </a:lnTo>
                    <a:lnTo>
                      <a:pt x="123" y="208"/>
                    </a:lnTo>
                    <a:lnTo>
                      <a:pt x="125" y="206"/>
                    </a:lnTo>
                    <a:lnTo>
                      <a:pt x="125" y="206"/>
                    </a:lnTo>
                    <a:lnTo>
                      <a:pt x="128" y="206"/>
                    </a:lnTo>
                    <a:lnTo>
                      <a:pt x="125" y="203"/>
                    </a:lnTo>
                    <a:lnTo>
                      <a:pt x="125" y="203"/>
                    </a:lnTo>
                    <a:lnTo>
                      <a:pt x="123" y="203"/>
                    </a:lnTo>
                    <a:lnTo>
                      <a:pt x="123" y="203"/>
                    </a:lnTo>
                    <a:lnTo>
                      <a:pt x="123" y="203"/>
                    </a:lnTo>
                    <a:lnTo>
                      <a:pt x="123" y="203"/>
                    </a:lnTo>
                    <a:lnTo>
                      <a:pt x="121" y="203"/>
                    </a:lnTo>
                    <a:lnTo>
                      <a:pt x="118" y="203"/>
                    </a:lnTo>
                    <a:lnTo>
                      <a:pt x="118" y="203"/>
                    </a:lnTo>
                    <a:lnTo>
                      <a:pt x="118" y="203"/>
                    </a:lnTo>
                    <a:lnTo>
                      <a:pt x="113" y="203"/>
                    </a:lnTo>
                    <a:lnTo>
                      <a:pt x="111" y="206"/>
                    </a:lnTo>
                    <a:lnTo>
                      <a:pt x="111" y="206"/>
                    </a:lnTo>
                    <a:lnTo>
                      <a:pt x="109" y="206"/>
                    </a:lnTo>
                    <a:lnTo>
                      <a:pt x="102" y="206"/>
                    </a:lnTo>
                    <a:lnTo>
                      <a:pt x="102" y="206"/>
                    </a:lnTo>
                    <a:lnTo>
                      <a:pt x="99" y="206"/>
                    </a:lnTo>
                    <a:lnTo>
                      <a:pt x="97" y="208"/>
                    </a:lnTo>
                    <a:lnTo>
                      <a:pt x="99" y="210"/>
                    </a:lnTo>
                    <a:lnTo>
                      <a:pt x="99" y="210"/>
                    </a:lnTo>
                    <a:close/>
                    <a:moveTo>
                      <a:pt x="433" y="743"/>
                    </a:moveTo>
                    <a:lnTo>
                      <a:pt x="433" y="743"/>
                    </a:lnTo>
                    <a:lnTo>
                      <a:pt x="430" y="743"/>
                    </a:lnTo>
                    <a:lnTo>
                      <a:pt x="433" y="743"/>
                    </a:lnTo>
                    <a:lnTo>
                      <a:pt x="433" y="743"/>
                    </a:lnTo>
                    <a:lnTo>
                      <a:pt x="433" y="743"/>
                    </a:lnTo>
                    <a:lnTo>
                      <a:pt x="433" y="743"/>
                    </a:lnTo>
                    <a:close/>
                    <a:moveTo>
                      <a:pt x="177" y="291"/>
                    </a:moveTo>
                    <a:lnTo>
                      <a:pt x="173" y="293"/>
                    </a:lnTo>
                    <a:lnTo>
                      <a:pt x="173" y="293"/>
                    </a:lnTo>
                    <a:lnTo>
                      <a:pt x="173" y="293"/>
                    </a:lnTo>
                    <a:lnTo>
                      <a:pt x="175" y="293"/>
                    </a:lnTo>
                    <a:lnTo>
                      <a:pt x="175" y="293"/>
                    </a:lnTo>
                    <a:lnTo>
                      <a:pt x="177" y="291"/>
                    </a:lnTo>
                    <a:lnTo>
                      <a:pt x="177" y="291"/>
                    </a:lnTo>
                    <a:lnTo>
                      <a:pt x="177" y="291"/>
                    </a:lnTo>
                    <a:lnTo>
                      <a:pt x="177" y="291"/>
                    </a:lnTo>
                    <a:close/>
                    <a:moveTo>
                      <a:pt x="99" y="305"/>
                    </a:moveTo>
                    <a:lnTo>
                      <a:pt x="99" y="305"/>
                    </a:lnTo>
                    <a:lnTo>
                      <a:pt x="97" y="308"/>
                    </a:lnTo>
                    <a:lnTo>
                      <a:pt x="97" y="308"/>
                    </a:lnTo>
                    <a:lnTo>
                      <a:pt x="97" y="308"/>
                    </a:lnTo>
                    <a:lnTo>
                      <a:pt x="95" y="308"/>
                    </a:lnTo>
                    <a:lnTo>
                      <a:pt x="95" y="308"/>
                    </a:lnTo>
                    <a:lnTo>
                      <a:pt x="97" y="308"/>
                    </a:lnTo>
                    <a:lnTo>
                      <a:pt x="97" y="308"/>
                    </a:lnTo>
                    <a:lnTo>
                      <a:pt x="97" y="308"/>
                    </a:lnTo>
                    <a:lnTo>
                      <a:pt x="99" y="305"/>
                    </a:lnTo>
                    <a:lnTo>
                      <a:pt x="99" y="305"/>
                    </a:lnTo>
                    <a:lnTo>
                      <a:pt x="99" y="305"/>
                    </a:lnTo>
                    <a:lnTo>
                      <a:pt x="99" y="305"/>
                    </a:lnTo>
                    <a:close/>
                    <a:moveTo>
                      <a:pt x="97" y="308"/>
                    </a:moveTo>
                    <a:lnTo>
                      <a:pt x="97" y="310"/>
                    </a:lnTo>
                    <a:lnTo>
                      <a:pt x="97" y="310"/>
                    </a:lnTo>
                    <a:lnTo>
                      <a:pt x="97" y="310"/>
                    </a:lnTo>
                    <a:lnTo>
                      <a:pt x="97" y="310"/>
                    </a:lnTo>
                    <a:lnTo>
                      <a:pt x="99" y="308"/>
                    </a:lnTo>
                    <a:lnTo>
                      <a:pt x="97" y="308"/>
                    </a:lnTo>
                    <a:lnTo>
                      <a:pt x="97" y="308"/>
                    </a:lnTo>
                    <a:close/>
                    <a:moveTo>
                      <a:pt x="241" y="265"/>
                    </a:moveTo>
                    <a:lnTo>
                      <a:pt x="239" y="267"/>
                    </a:lnTo>
                    <a:lnTo>
                      <a:pt x="236" y="267"/>
                    </a:lnTo>
                    <a:lnTo>
                      <a:pt x="236" y="270"/>
                    </a:lnTo>
                    <a:lnTo>
                      <a:pt x="239" y="270"/>
                    </a:lnTo>
                    <a:lnTo>
                      <a:pt x="241" y="267"/>
                    </a:lnTo>
                    <a:lnTo>
                      <a:pt x="241" y="267"/>
                    </a:lnTo>
                    <a:lnTo>
                      <a:pt x="244" y="267"/>
                    </a:lnTo>
                    <a:lnTo>
                      <a:pt x="244" y="267"/>
                    </a:lnTo>
                    <a:lnTo>
                      <a:pt x="246" y="267"/>
                    </a:lnTo>
                    <a:lnTo>
                      <a:pt x="246" y="267"/>
                    </a:lnTo>
                    <a:lnTo>
                      <a:pt x="246" y="265"/>
                    </a:lnTo>
                    <a:lnTo>
                      <a:pt x="241" y="265"/>
                    </a:lnTo>
                    <a:close/>
                    <a:moveTo>
                      <a:pt x="97" y="303"/>
                    </a:moveTo>
                    <a:lnTo>
                      <a:pt x="97" y="303"/>
                    </a:lnTo>
                    <a:lnTo>
                      <a:pt x="95" y="303"/>
                    </a:lnTo>
                    <a:lnTo>
                      <a:pt x="92" y="305"/>
                    </a:lnTo>
                    <a:lnTo>
                      <a:pt x="92" y="305"/>
                    </a:lnTo>
                    <a:lnTo>
                      <a:pt x="90" y="308"/>
                    </a:lnTo>
                    <a:lnTo>
                      <a:pt x="90" y="308"/>
                    </a:lnTo>
                    <a:lnTo>
                      <a:pt x="87" y="308"/>
                    </a:lnTo>
                    <a:lnTo>
                      <a:pt x="87" y="308"/>
                    </a:lnTo>
                    <a:lnTo>
                      <a:pt x="87" y="308"/>
                    </a:lnTo>
                    <a:lnTo>
                      <a:pt x="85" y="310"/>
                    </a:lnTo>
                    <a:lnTo>
                      <a:pt x="83" y="310"/>
                    </a:lnTo>
                    <a:lnTo>
                      <a:pt x="85" y="310"/>
                    </a:lnTo>
                    <a:lnTo>
                      <a:pt x="87" y="308"/>
                    </a:lnTo>
                    <a:lnTo>
                      <a:pt x="90" y="308"/>
                    </a:lnTo>
                    <a:lnTo>
                      <a:pt x="90" y="308"/>
                    </a:lnTo>
                    <a:lnTo>
                      <a:pt x="92" y="308"/>
                    </a:lnTo>
                    <a:lnTo>
                      <a:pt x="92" y="308"/>
                    </a:lnTo>
                    <a:lnTo>
                      <a:pt x="95" y="305"/>
                    </a:lnTo>
                    <a:lnTo>
                      <a:pt x="95" y="305"/>
                    </a:lnTo>
                    <a:lnTo>
                      <a:pt x="95" y="305"/>
                    </a:lnTo>
                    <a:lnTo>
                      <a:pt x="97" y="303"/>
                    </a:lnTo>
                    <a:close/>
                    <a:moveTo>
                      <a:pt x="206" y="279"/>
                    </a:moveTo>
                    <a:lnTo>
                      <a:pt x="203" y="279"/>
                    </a:lnTo>
                    <a:lnTo>
                      <a:pt x="201" y="279"/>
                    </a:lnTo>
                    <a:lnTo>
                      <a:pt x="201" y="281"/>
                    </a:lnTo>
                    <a:lnTo>
                      <a:pt x="201" y="281"/>
                    </a:lnTo>
                    <a:lnTo>
                      <a:pt x="201" y="281"/>
                    </a:lnTo>
                    <a:lnTo>
                      <a:pt x="203" y="281"/>
                    </a:lnTo>
                    <a:lnTo>
                      <a:pt x="208" y="279"/>
                    </a:lnTo>
                    <a:lnTo>
                      <a:pt x="208" y="277"/>
                    </a:lnTo>
                    <a:lnTo>
                      <a:pt x="210" y="277"/>
                    </a:lnTo>
                    <a:lnTo>
                      <a:pt x="208" y="277"/>
                    </a:lnTo>
                    <a:lnTo>
                      <a:pt x="206" y="279"/>
                    </a:lnTo>
                    <a:close/>
                    <a:moveTo>
                      <a:pt x="210" y="277"/>
                    </a:moveTo>
                    <a:lnTo>
                      <a:pt x="210" y="279"/>
                    </a:lnTo>
                    <a:lnTo>
                      <a:pt x="210" y="279"/>
                    </a:lnTo>
                    <a:lnTo>
                      <a:pt x="210" y="279"/>
                    </a:lnTo>
                    <a:lnTo>
                      <a:pt x="213" y="279"/>
                    </a:lnTo>
                    <a:lnTo>
                      <a:pt x="213" y="279"/>
                    </a:lnTo>
                    <a:lnTo>
                      <a:pt x="213" y="279"/>
                    </a:lnTo>
                    <a:lnTo>
                      <a:pt x="215" y="277"/>
                    </a:lnTo>
                    <a:lnTo>
                      <a:pt x="215" y="277"/>
                    </a:lnTo>
                    <a:lnTo>
                      <a:pt x="213" y="277"/>
                    </a:lnTo>
                    <a:lnTo>
                      <a:pt x="210" y="277"/>
                    </a:lnTo>
                    <a:close/>
                    <a:moveTo>
                      <a:pt x="87" y="303"/>
                    </a:moveTo>
                    <a:lnTo>
                      <a:pt x="87" y="303"/>
                    </a:lnTo>
                    <a:lnTo>
                      <a:pt x="90" y="303"/>
                    </a:lnTo>
                    <a:lnTo>
                      <a:pt x="90" y="303"/>
                    </a:lnTo>
                    <a:lnTo>
                      <a:pt x="87" y="303"/>
                    </a:lnTo>
                    <a:lnTo>
                      <a:pt x="87" y="303"/>
                    </a:lnTo>
                    <a:lnTo>
                      <a:pt x="87" y="303"/>
                    </a:lnTo>
                    <a:close/>
                    <a:moveTo>
                      <a:pt x="33" y="315"/>
                    </a:moveTo>
                    <a:lnTo>
                      <a:pt x="33" y="315"/>
                    </a:lnTo>
                    <a:lnTo>
                      <a:pt x="33" y="315"/>
                    </a:lnTo>
                    <a:lnTo>
                      <a:pt x="31" y="315"/>
                    </a:lnTo>
                    <a:lnTo>
                      <a:pt x="31" y="312"/>
                    </a:lnTo>
                    <a:lnTo>
                      <a:pt x="31" y="312"/>
                    </a:lnTo>
                    <a:lnTo>
                      <a:pt x="33" y="310"/>
                    </a:lnTo>
                    <a:lnTo>
                      <a:pt x="33" y="310"/>
                    </a:lnTo>
                    <a:lnTo>
                      <a:pt x="33" y="308"/>
                    </a:lnTo>
                    <a:lnTo>
                      <a:pt x="33" y="308"/>
                    </a:lnTo>
                    <a:lnTo>
                      <a:pt x="31" y="308"/>
                    </a:lnTo>
                    <a:lnTo>
                      <a:pt x="28" y="308"/>
                    </a:lnTo>
                    <a:lnTo>
                      <a:pt x="24" y="310"/>
                    </a:lnTo>
                    <a:lnTo>
                      <a:pt x="19" y="310"/>
                    </a:lnTo>
                    <a:lnTo>
                      <a:pt x="16" y="310"/>
                    </a:lnTo>
                    <a:lnTo>
                      <a:pt x="16" y="310"/>
                    </a:lnTo>
                    <a:lnTo>
                      <a:pt x="14" y="312"/>
                    </a:lnTo>
                    <a:lnTo>
                      <a:pt x="7" y="315"/>
                    </a:lnTo>
                    <a:lnTo>
                      <a:pt x="7" y="315"/>
                    </a:lnTo>
                    <a:lnTo>
                      <a:pt x="2" y="317"/>
                    </a:lnTo>
                    <a:lnTo>
                      <a:pt x="2" y="317"/>
                    </a:lnTo>
                    <a:lnTo>
                      <a:pt x="2" y="317"/>
                    </a:lnTo>
                    <a:lnTo>
                      <a:pt x="0" y="319"/>
                    </a:lnTo>
                    <a:lnTo>
                      <a:pt x="0" y="322"/>
                    </a:lnTo>
                    <a:lnTo>
                      <a:pt x="0" y="322"/>
                    </a:lnTo>
                    <a:lnTo>
                      <a:pt x="2" y="322"/>
                    </a:lnTo>
                    <a:lnTo>
                      <a:pt x="5" y="319"/>
                    </a:lnTo>
                    <a:lnTo>
                      <a:pt x="7" y="319"/>
                    </a:lnTo>
                    <a:lnTo>
                      <a:pt x="9" y="319"/>
                    </a:lnTo>
                    <a:lnTo>
                      <a:pt x="12" y="317"/>
                    </a:lnTo>
                    <a:lnTo>
                      <a:pt x="14" y="317"/>
                    </a:lnTo>
                    <a:lnTo>
                      <a:pt x="16" y="317"/>
                    </a:lnTo>
                    <a:lnTo>
                      <a:pt x="24" y="317"/>
                    </a:lnTo>
                    <a:lnTo>
                      <a:pt x="26" y="317"/>
                    </a:lnTo>
                    <a:lnTo>
                      <a:pt x="31" y="315"/>
                    </a:lnTo>
                    <a:lnTo>
                      <a:pt x="33" y="315"/>
                    </a:lnTo>
                    <a:lnTo>
                      <a:pt x="33" y="315"/>
                    </a:lnTo>
                    <a:close/>
                    <a:moveTo>
                      <a:pt x="85" y="305"/>
                    </a:moveTo>
                    <a:lnTo>
                      <a:pt x="85" y="305"/>
                    </a:lnTo>
                    <a:lnTo>
                      <a:pt x="85" y="303"/>
                    </a:lnTo>
                    <a:lnTo>
                      <a:pt x="87" y="303"/>
                    </a:lnTo>
                    <a:lnTo>
                      <a:pt x="87" y="300"/>
                    </a:lnTo>
                    <a:lnTo>
                      <a:pt x="87" y="300"/>
                    </a:lnTo>
                    <a:lnTo>
                      <a:pt x="85" y="303"/>
                    </a:lnTo>
                    <a:lnTo>
                      <a:pt x="85" y="303"/>
                    </a:lnTo>
                    <a:lnTo>
                      <a:pt x="85" y="303"/>
                    </a:lnTo>
                    <a:lnTo>
                      <a:pt x="85" y="303"/>
                    </a:lnTo>
                    <a:lnTo>
                      <a:pt x="85" y="300"/>
                    </a:lnTo>
                    <a:lnTo>
                      <a:pt x="85" y="300"/>
                    </a:lnTo>
                    <a:lnTo>
                      <a:pt x="85" y="300"/>
                    </a:lnTo>
                    <a:lnTo>
                      <a:pt x="85" y="300"/>
                    </a:lnTo>
                    <a:lnTo>
                      <a:pt x="83" y="303"/>
                    </a:lnTo>
                    <a:lnTo>
                      <a:pt x="83" y="303"/>
                    </a:lnTo>
                    <a:lnTo>
                      <a:pt x="80" y="305"/>
                    </a:lnTo>
                    <a:lnTo>
                      <a:pt x="78" y="305"/>
                    </a:lnTo>
                    <a:lnTo>
                      <a:pt x="80" y="305"/>
                    </a:lnTo>
                    <a:lnTo>
                      <a:pt x="80" y="305"/>
                    </a:lnTo>
                    <a:lnTo>
                      <a:pt x="83" y="305"/>
                    </a:lnTo>
                    <a:lnTo>
                      <a:pt x="85" y="305"/>
                    </a:lnTo>
                    <a:lnTo>
                      <a:pt x="85" y="305"/>
                    </a:lnTo>
                    <a:close/>
                    <a:moveTo>
                      <a:pt x="33" y="319"/>
                    </a:moveTo>
                    <a:lnTo>
                      <a:pt x="31" y="319"/>
                    </a:lnTo>
                    <a:lnTo>
                      <a:pt x="33" y="322"/>
                    </a:lnTo>
                    <a:lnTo>
                      <a:pt x="33" y="322"/>
                    </a:lnTo>
                    <a:lnTo>
                      <a:pt x="35" y="322"/>
                    </a:lnTo>
                    <a:lnTo>
                      <a:pt x="35" y="319"/>
                    </a:lnTo>
                    <a:lnTo>
                      <a:pt x="35" y="319"/>
                    </a:lnTo>
                    <a:lnTo>
                      <a:pt x="33" y="319"/>
                    </a:lnTo>
                    <a:close/>
                    <a:moveTo>
                      <a:pt x="50" y="310"/>
                    </a:moveTo>
                    <a:lnTo>
                      <a:pt x="47" y="312"/>
                    </a:lnTo>
                    <a:lnTo>
                      <a:pt x="47" y="312"/>
                    </a:lnTo>
                    <a:lnTo>
                      <a:pt x="47" y="312"/>
                    </a:lnTo>
                    <a:lnTo>
                      <a:pt x="50" y="312"/>
                    </a:lnTo>
                    <a:lnTo>
                      <a:pt x="50" y="312"/>
                    </a:lnTo>
                    <a:lnTo>
                      <a:pt x="52" y="310"/>
                    </a:lnTo>
                    <a:lnTo>
                      <a:pt x="52" y="310"/>
                    </a:lnTo>
                    <a:lnTo>
                      <a:pt x="52" y="310"/>
                    </a:lnTo>
                    <a:lnTo>
                      <a:pt x="52" y="310"/>
                    </a:lnTo>
                    <a:lnTo>
                      <a:pt x="50" y="310"/>
                    </a:lnTo>
                    <a:close/>
                    <a:moveTo>
                      <a:pt x="1348" y="585"/>
                    </a:moveTo>
                    <a:lnTo>
                      <a:pt x="1348" y="585"/>
                    </a:lnTo>
                    <a:lnTo>
                      <a:pt x="1346" y="587"/>
                    </a:lnTo>
                    <a:lnTo>
                      <a:pt x="1346" y="587"/>
                    </a:lnTo>
                    <a:lnTo>
                      <a:pt x="1348" y="587"/>
                    </a:lnTo>
                    <a:lnTo>
                      <a:pt x="1348" y="587"/>
                    </a:lnTo>
                    <a:lnTo>
                      <a:pt x="1348" y="585"/>
                    </a:lnTo>
                    <a:close/>
                    <a:moveTo>
                      <a:pt x="556" y="457"/>
                    </a:moveTo>
                    <a:lnTo>
                      <a:pt x="556" y="459"/>
                    </a:lnTo>
                    <a:lnTo>
                      <a:pt x="553" y="459"/>
                    </a:lnTo>
                    <a:lnTo>
                      <a:pt x="553" y="459"/>
                    </a:lnTo>
                    <a:lnTo>
                      <a:pt x="556" y="459"/>
                    </a:lnTo>
                    <a:lnTo>
                      <a:pt x="556" y="459"/>
                    </a:lnTo>
                    <a:lnTo>
                      <a:pt x="556" y="459"/>
                    </a:lnTo>
                    <a:lnTo>
                      <a:pt x="556" y="457"/>
                    </a:lnTo>
                    <a:lnTo>
                      <a:pt x="556" y="457"/>
                    </a:lnTo>
                    <a:lnTo>
                      <a:pt x="556" y="457"/>
                    </a:lnTo>
                    <a:close/>
                    <a:moveTo>
                      <a:pt x="1105" y="876"/>
                    </a:moveTo>
                    <a:lnTo>
                      <a:pt x="1105" y="873"/>
                    </a:lnTo>
                    <a:lnTo>
                      <a:pt x="1105" y="878"/>
                    </a:lnTo>
                    <a:lnTo>
                      <a:pt x="1105" y="885"/>
                    </a:lnTo>
                    <a:lnTo>
                      <a:pt x="1107" y="888"/>
                    </a:lnTo>
                    <a:lnTo>
                      <a:pt x="1107" y="885"/>
                    </a:lnTo>
                    <a:lnTo>
                      <a:pt x="1105" y="878"/>
                    </a:lnTo>
                    <a:lnTo>
                      <a:pt x="1105" y="876"/>
                    </a:lnTo>
                    <a:close/>
                    <a:moveTo>
                      <a:pt x="438" y="743"/>
                    </a:moveTo>
                    <a:lnTo>
                      <a:pt x="435" y="743"/>
                    </a:lnTo>
                    <a:lnTo>
                      <a:pt x="435" y="746"/>
                    </a:lnTo>
                    <a:lnTo>
                      <a:pt x="435" y="746"/>
                    </a:lnTo>
                    <a:lnTo>
                      <a:pt x="438" y="746"/>
                    </a:lnTo>
                    <a:lnTo>
                      <a:pt x="440" y="746"/>
                    </a:lnTo>
                    <a:lnTo>
                      <a:pt x="440" y="746"/>
                    </a:lnTo>
                    <a:lnTo>
                      <a:pt x="438" y="743"/>
                    </a:lnTo>
                    <a:close/>
                    <a:moveTo>
                      <a:pt x="1292" y="606"/>
                    </a:moveTo>
                    <a:lnTo>
                      <a:pt x="1292" y="606"/>
                    </a:lnTo>
                    <a:lnTo>
                      <a:pt x="1292" y="606"/>
                    </a:lnTo>
                    <a:lnTo>
                      <a:pt x="1294" y="606"/>
                    </a:lnTo>
                    <a:lnTo>
                      <a:pt x="1294" y="606"/>
                    </a:lnTo>
                    <a:lnTo>
                      <a:pt x="1294" y="604"/>
                    </a:lnTo>
                    <a:lnTo>
                      <a:pt x="1294" y="604"/>
                    </a:lnTo>
                    <a:lnTo>
                      <a:pt x="1292" y="606"/>
                    </a:lnTo>
                    <a:lnTo>
                      <a:pt x="1292" y="606"/>
                    </a:lnTo>
                    <a:close/>
                    <a:moveTo>
                      <a:pt x="553" y="461"/>
                    </a:moveTo>
                    <a:lnTo>
                      <a:pt x="553" y="464"/>
                    </a:lnTo>
                    <a:lnTo>
                      <a:pt x="551" y="464"/>
                    </a:lnTo>
                    <a:lnTo>
                      <a:pt x="553" y="464"/>
                    </a:lnTo>
                    <a:lnTo>
                      <a:pt x="553" y="464"/>
                    </a:lnTo>
                    <a:lnTo>
                      <a:pt x="553" y="464"/>
                    </a:lnTo>
                    <a:lnTo>
                      <a:pt x="553" y="464"/>
                    </a:lnTo>
                    <a:lnTo>
                      <a:pt x="553" y="464"/>
                    </a:lnTo>
                    <a:lnTo>
                      <a:pt x="553" y="464"/>
                    </a:lnTo>
                    <a:lnTo>
                      <a:pt x="553" y="464"/>
                    </a:lnTo>
                    <a:lnTo>
                      <a:pt x="553" y="461"/>
                    </a:lnTo>
                    <a:lnTo>
                      <a:pt x="553" y="461"/>
                    </a:lnTo>
                    <a:close/>
                    <a:moveTo>
                      <a:pt x="544" y="469"/>
                    </a:moveTo>
                    <a:lnTo>
                      <a:pt x="544" y="469"/>
                    </a:lnTo>
                    <a:lnTo>
                      <a:pt x="544" y="469"/>
                    </a:lnTo>
                    <a:lnTo>
                      <a:pt x="544" y="469"/>
                    </a:lnTo>
                    <a:lnTo>
                      <a:pt x="544" y="469"/>
                    </a:lnTo>
                    <a:lnTo>
                      <a:pt x="544" y="466"/>
                    </a:lnTo>
                    <a:lnTo>
                      <a:pt x="544" y="466"/>
                    </a:lnTo>
                    <a:lnTo>
                      <a:pt x="544" y="469"/>
                    </a:lnTo>
                    <a:close/>
                    <a:moveTo>
                      <a:pt x="1332" y="596"/>
                    </a:moveTo>
                    <a:lnTo>
                      <a:pt x="1329" y="596"/>
                    </a:lnTo>
                    <a:lnTo>
                      <a:pt x="1329" y="596"/>
                    </a:lnTo>
                    <a:lnTo>
                      <a:pt x="1327" y="596"/>
                    </a:lnTo>
                    <a:lnTo>
                      <a:pt x="1325" y="596"/>
                    </a:lnTo>
                    <a:lnTo>
                      <a:pt x="1325" y="599"/>
                    </a:lnTo>
                    <a:lnTo>
                      <a:pt x="1322" y="599"/>
                    </a:lnTo>
                    <a:lnTo>
                      <a:pt x="1322" y="599"/>
                    </a:lnTo>
                    <a:lnTo>
                      <a:pt x="1325" y="596"/>
                    </a:lnTo>
                    <a:lnTo>
                      <a:pt x="1325" y="596"/>
                    </a:lnTo>
                    <a:lnTo>
                      <a:pt x="1329" y="594"/>
                    </a:lnTo>
                    <a:lnTo>
                      <a:pt x="1327" y="594"/>
                    </a:lnTo>
                    <a:lnTo>
                      <a:pt x="1325" y="596"/>
                    </a:lnTo>
                    <a:lnTo>
                      <a:pt x="1322" y="596"/>
                    </a:lnTo>
                    <a:lnTo>
                      <a:pt x="1318" y="596"/>
                    </a:lnTo>
                    <a:lnTo>
                      <a:pt x="1315" y="599"/>
                    </a:lnTo>
                    <a:lnTo>
                      <a:pt x="1313" y="599"/>
                    </a:lnTo>
                    <a:lnTo>
                      <a:pt x="1313" y="599"/>
                    </a:lnTo>
                    <a:lnTo>
                      <a:pt x="1310" y="599"/>
                    </a:lnTo>
                    <a:lnTo>
                      <a:pt x="1308" y="599"/>
                    </a:lnTo>
                    <a:lnTo>
                      <a:pt x="1308" y="599"/>
                    </a:lnTo>
                    <a:lnTo>
                      <a:pt x="1308" y="599"/>
                    </a:lnTo>
                    <a:lnTo>
                      <a:pt x="1306" y="599"/>
                    </a:lnTo>
                    <a:lnTo>
                      <a:pt x="1306" y="599"/>
                    </a:lnTo>
                    <a:lnTo>
                      <a:pt x="1303" y="599"/>
                    </a:lnTo>
                    <a:lnTo>
                      <a:pt x="1303" y="599"/>
                    </a:lnTo>
                    <a:lnTo>
                      <a:pt x="1303" y="601"/>
                    </a:lnTo>
                    <a:lnTo>
                      <a:pt x="1303" y="599"/>
                    </a:lnTo>
                    <a:lnTo>
                      <a:pt x="1301" y="601"/>
                    </a:lnTo>
                    <a:lnTo>
                      <a:pt x="1299" y="601"/>
                    </a:lnTo>
                    <a:lnTo>
                      <a:pt x="1296" y="604"/>
                    </a:lnTo>
                    <a:lnTo>
                      <a:pt x="1296" y="604"/>
                    </a:lnTo>
                    <a:lnTo>
                      <a:pt x="1296" y="604"/>
                    </a:lnTo>
                    <a:lnTo>
                      <a:pt x="1294" y="606"/>
                    </a:lnTo>
                    <a:lnTo>
                      <a:pt x="1296" y="606"/>
                    </a:lnTo>
                    <a:lnTo>
                      <a:pt x="1299" y="604"/>
                    </a:lnTo>
                    <a:lnTo>
                      <a:pt x="1299" y="604"/>
                    </a:lnTo>
                    <a:lnTo>
                      <a:pt x="1299" y="604"/>
                    </a:lnTo>
                    <a:lnTo>
                      <a:pt x="1299" y="606"/>
                    </a:lnTo>
                    <a:lnTo>
                      <a:pt x="1296" y="606"/>
                    </a:lnTo>
                    <a:lnTo>
                      <a:pt x="1299" y="606"/>
                    </a:lnTo>
                    <a:lnTo>
                      <a:pt x="1301" y="606"/>
                    </a:lnTo>
                    <a:lnTo>
                      <a:pt x="1308" y="604"/>
                    </a:lnTo>
                    <a:lnTo>
                      <a:pt x="1308" y="604"/>
                    </a:lnTo>
                    <a:lnTo>
                      <a:pt x="1310" y="604"/>
                    </a:lnTo>
                    <a:lnTo>
                      <a:pt x="1318" y="601"/>
                    </a:lnTo>
                    <a:lnTo>
                      <a:pt x="1320" y="601"/>
                    </a:lnTo>
                    <a:lnTo>
                      <a:pt x="1322" y="601"/>
                    </a:lnTo>
                    <a:lnTo>
                      <a:pt x="1325" y="599"/>
                    </a:lnTo>
                    <a:lnTo>
                      <a:pt x="1327" y="599"/>
                    </a:lnTo>
                    <a:lnTo>
                      <a:pt x="1334" y="596"/>
                    </a:lnTo>
                    <a:lnTo>
                      <a:pt x="1334" y="596"/>
                    </a:lnTo>
                    <a:lnTo>
                      <a:pt x="1332" y="596"/>
                    </a:lnTo>
                    <a:close/>
                    <a:moveTo>
                      <a:pt x="1358" y="587"/>
                    </a:moveTo>
                    <a:lnTo>
                      <a:pt x="1358" y="589"/>
                    </a:lnTo>
                    <a:lnTo>
                      <a:pt x="1355" y="589"/>
                    </a:lnTo>
                    <a:lnTo>
                      <a:pt x="1355" y="589"/>
                    </a:lnTo>
                    <a:lnTo>
                      <a:pt x="1360" y="589"/>
                    </a:lnTo>
                    <a:lnTo>
                      <a:pt x="1360" y="589"/>
                    </a:lnTo>
                    <a:lnTo>
                      <a:pt x="1360" y="587"/>
                    </a:lnTo>
                    <a:lnTo>
                      <a:pt x="1358" y="587"/>
                    </a:lnTo>
                    <a:close/>
                    <a:moveTo>
                      <a:pt x="1282" y="627"/>
                    </a:moveTo>
                    <a:lnTo>
                      <a:pt x="1287" y="622"/>
                    </a:lnTo>
                    <a:lnTo>
                      <a:pt x="1287" y="622"/>
                    </a:lnTo>
                    <a:lnTo>
                      <a:pt x="1284" y="625"/>
                    </a:lnTo>
                    <a:lnTo>
                      <a:pt x="1282" y="627"/>
                    </a:lnTo>
                    <a:close/>
                    <a:moveTo>
                      <a:pt x="1370" y="589"/>
                    </a:moveTo>
                    <a:lnTo>
                      <a:pt x="1367" y="589"/>
                    </a:lnTo>
                    <a:lnTo>
                      <a:pt x="1367" y="589"/>
                    </a:lnTo>
                    <a:lnTo>
                      <a:pt x="1365" y="592"/>
                    </a:lnTo>
                    <a:lnTo>
                      <a:pt x="1367" y="592"/>
                    </a:lnTo>
                    <a:lnTo>
                      <a:pt x="1370" y="592"/>
                    </a:lnTo>
                    <a:lnTo>
                      <a:pt x="1370" y="592"/>
                    </a:lnTo>
                    <a:lnTo>
                      <a:pt x="1370" y="589"/>
                    </a:lnTo>
                    <a:lnTo>
                      <a:pt x="1370" y="589"/>
                    </a:lnTo>
                    <a:close/>
                    <a:moveTo>
                      <a:pt x="1422" y="525"/>
                    </a:moveTo>
                    <a:lnTo>
                      <a:pt x="1422" y="528"/>
                    </a:lnTo>
                    <a:lnTo>
                      <a:pt x="1419" y="528"/>
                    </a:lnTo>
                    <a:lnTo>
                      <a:pt x="1419" y="530"/>
                    </a:lnTo>
                    <a:lnTo>
                      <a:pt x="1419" y="530"/>
                    </a:lnTo>
                    <a:lnTo>
                      <a:pt x="1419" y="530"/>
                    </a:lnTo>
                    <a:lnTo>
                      <a:pt x="1422" y="530"/>
                    </a:lnTo>
                    <a:lnTo>
                      <a:pt x="1422" y="528"/>
                    </a:lnTo>
                    <a:lnTo>
                      <a:pt x="1422" y="530"/>
                    </a:lnTo>
                    <a:lnTo>
                      <a:pt x="1424" y="528"/>
                    </a:lnTo>
                    <a:lnTo>
                      <a:pt x="1424" y="528"/>
                    </a:lnTo>
                    <a:lnTo>
                      <a:pt x="1424" y="525"/>
                    </a:lnTo>
                    <a:lnTo>
                      <a:pt x="1422" y="525"/>
                    </a:lnTo>
                    <a:close/>
                    <a:moveTo>
                      <a:pt x="1448" y="466"/>
                    </a:moveTo>
                    <a:lnTo>
                      <a:pt x="1448" y="464"/>
                    </a:lnTo>
                    <a:lnTo>
                      <a:pt x="1445" y="464"/>
                    </a:lnTo>
                    <a:lnTo>
                      <a:pt x="1445" y="464"/>
                    </a:lnTo>
                    <a:lnTo>
                      <a:pt x="1443" y="466"/>
                    </a:lnTo>
                    <a:lnTo>
                      <a:pt x="1443" y="466"/>
                    </a:lnTo>
                    <a:lnTo>
                      <a:pt x="1438" y="466"/>
                    </a:lnTo>
                    <a:lnTo>
                      <a:pt x="1436" y="469"/>
                    </a:lnTo>
                    <a:lnTo>
                      <a:pt x="1433" y="469"/>
                    </a:lnTo>
                    <a:lnTo>
                      <a:pt x="1433" y="469"/>
                    </a:lnTo>
                    <a:lnTo>
                      <a:pt x="1433" y="466"/>
                    </a:lnTo>
                    <a:lnTo>
                      <a:pt x="1433" y="466"/>
                    </a:lnTo>
                    <a:lnTo>
                      <a:pt x="1433" y="466"/>
                    </a:lnTo>
                    <a:lnTo>
                      <a:pt x="1433" y="464"/>
                    </a:lnTo>
                    <a:lnTo>
                      <a:pt x="1433" y="464"/>
                    </a:lnTo>
                    <a:lnTo>
                      <a:pt x="1431" y="461"/>
                    </a:lnTo>
                    <a:lnTo>
                      <a:pt x="1429" y="464"/>
                    </a:lnTo>
                    <a:lnTo>
                      <a:pt x="1429" y="464"/>
                    </a:lnTo>
                    <a:lnTo>
                      <a:pt x="1426" y="466"/>
                    </a:lnTo>
                    <a:lnTo>
                      <a:pt x="1422" y="471"/>
                    </a:lnTo>
                    <a:lnTo>
                      <a:pt x="1419" y="473"/>
                    </a:lnTo>
                    <a:lnTo>
                      <a:pt x="1415" y="476"/>
                    </a:lnTo>
                    <a:lnTo>
                      <a:pt x="1412" y="478"/>
                    </a:lnTo>
                    <a:lnTo>
                      <a:pt x="1410" y="480"/>
                    </a:lnTo>
                    <a:lnTo>
                      <a:pt x="1410" y="483"/>
                    </a:lnTo>
                    <a:lnTo>
                      <a:pt x="1405" y="485"/>
                    </a:lnTo>
                    <a:lnTo>
                      <a:pt x="1405" y="487"/>
                    </a:lnTo>
                    <a:lnTo>
                      <a:pt x="1403" y="490"/>
                    </a:lnTo>
                    <a:lnTo>
                      <a:pt x="1403" y="492"/>
                    </a:lnTo>
                    <a:lnTo>
                      <a:pt x="1400" y="492"/>
                    </a:lnTo>
                    <a:lnTo>
                      <a:pt x="1400" y="495"/>
                    </a:lnTo>
                    <a:lnTo>
                      <a:pt x="1400" y="495"/>
                    </a:lnTo>
                    <a:lnTo>
                      <a:pt x="1400" y="495"/>
                    </a:lnTo>
                    <a:lnTo>
                      <a:pt x="1398" y="497"/>
                    </a:lnTo>
                    <a:lnTo>
                      <a:pt x="1398" y="497"/>
                    </a:lnTo>
                    <a:lnTo>
                      <a:pt x="1396" y="499"/>
                    </a:lnTo>
                    <a:lnTo>
                      <a:pt x="1393" y="499"/>
                    </a:lnTo>
                    <a:lnTo>
                      <a:pt x="1391" y="502"/>
                    </a:lnTo>
                    <a:lnTo>
                      <a:pt x="1391" y="504"/>
                    </a:lnTo>
                    <a:lnTo>
                      <a:pt x="1391" y="504"/>
                    </a:lnTo>
                    <a:lnTo>
                      <a:pt x="1391" y="504"/>
                    </a:lnTo>
                    <a:lnTo>
                      <a:pt x="1389" y="504"/>
                    </a:lnTo>
                    <a:lnTo>
                      <a:pt x="1389" y="504"/>
                    </a:lnTo>
                    <a:lnTo>
                      <a:pt x="1389" y="504"/>
                    </a:lnTo>
                    <a:lnTo>
                      <a:pt x="1386" y="506"/>
                    </a:lnTo>
                    <a:lnTo>
                      <a:pt x="1386" y="506"/>
                    </a:lnTo>
                    <a:lnTo>
                      <a:pt x="1386" y="509"/>
                    </a:lnTo>
                    <a:lnTo>
                      <a:pt x="1386" y="509"/>
                    </a:lnTo>
                    <a:lnTo>
                      <a:pt x="1386" y="506"/>
                    </a:lnTo>
                    <a:lnTo>
                      <a:pt x="1384" y="506"/>
                    </a:lnTo>
                    <a:lnTo>
                      <a:pt x="1384" y="506"/>
                    </a:lnTo>
                    <a:lnTo>
                      <a:pt x="1384" y="506"/>
                    </a:lnTo>
                    <a:lnTo>
                      <a:pt x="1381" y="509"/>
                    </a:lnTo>
                    <a:lnTo>
                      <a:pt x="1379" y="509"/>
                    </a:lnTo>
                    <a:lnTo>
                      <a:pt x="1379" y="506"/>
                    </a:lnTo>
                    <a:lnTo>
                      <a:pt x="1377" y="509"/>
                    </a:lnTo>
                    <a:lnTo>
                      <a:pt x="1372" y="514"/>
                    </a:lnTo>
                    <a:lnTo>
                      <a:pt x="1365" y="514"/>
                    </a:lnTo>
                    <a:lnTo>
                      <a:pt x="1358" y="514"/>
                    </a:lnTo>
                    <a:lnTo>
                      <a:pt x="1353" y="514"/>
                    </a:lnTo>
                    <a:lnTo>
                      <a:pt x="1346" y="514"/>
                    </a:lnTo>
                    <a:lnTo>
                      <a:pt x="1339" y="514"/>
                    </a:lnTo>
                    <a:lnTo>
                      <a:pt x="1325" y="514"/>
                    </a:lnTo>
                    <a:lnTo>
                      <a:pt x="1320" y="514"/>
                    </a:lnTo>
                    <a:lnTo>
                      <a:pt x="1320" y="514"/>
                    </a:lnTo>
                    <a:lnTo>
                      <a:pt x="1318" y="516"/>
                    </a:lnTo>
                    <a:lnTo>
                      <a:pt x="1318" y="514"/>
                    </a:lnTo>
                    <a:lnTo>
                      <a:pt x="1315" y="516"/>
                    </a:lnTo>
                    <a:lnTo>
                      <a:pt x="1310" y="516"/>
                    </a:lnTo>
                    <a:lnTo>
                      <a:pt x="1306" y="521"/>
                    </a:lnTo>
                    <a:lnTo>
                      <a:pt x="1296" y="525"/>
                    </a:lnTo>
                    <a:lnTo>
                      <a:pt x="1296" y="525"/>
                    </a:lnTo>
                    <a:lnTo>
                      <a:pt x="1296" y="525"/>
                    </a:lnTo>
                    <a:lnTo>
                      <a:pt x="1296" y="525"/>
                    </a:lnTo>
                    <a:lnTo>
                      <a:pt x="1296" y="528"/>
                    </a:lnTo>
                    <a:lnTo>
                      <a:pt x="1296" y="528"/>
                    </a:lnTo>
                    <a:lnTo>
                      <a:pt x="1287" y="532"/>
                    </a:lnTo>
                    <a:lnTo>
                      <a:pt x="1284" y="532"/>
                    </a:lnTo>
                    <a:lnTo>
                      <a:pt x="1284" y="535"/>
                    </a:lnTo>
                    <a:lnTo>
                      <a:pt x="1284" y="535"/>
                    </a:lnTo>
                    <a:lnTo>
                      <a:pt x="1284" y="535"/>
                    </a:lnTo>
                    <a:lnTo>
                      <a:pt x="1287" y="535"/>
                    </a:lnTo>
                    <a:lnTo>
                      <a:pt x="1287" y="535"/>
                    </a:lnTo>
                    <a:lnTo>
                      <a:pt x="1287" y="535"/>
                    </a:lnTo>
                    <a:lnTo>
                      <a:pt x="1287" y="535"/>
                    </a:lnTo>
                    <a:lnTo>
                      <a:pt x="1287" y="535"/>
                    </a:lnTo>
                    <a:lnTo>
                      <a:pt x="1287" y="535"/>
                    </a:lnTo>
                    <a:lnTo>
                      <a:pt x="1287" y="535"/>
                    </a:lnTo>
                    <a:lnTo>
                      <a:pt x="1287" y="535"/>
                    </a:lnTo>
                    <a:lnTo>
                      <a:pt x="1287" y="537"/>
                    </a:lnTo>
                    <a:lnTo>
                      <a:pt x="1287" y="537"/>
                    </a:lnTo>
                    <a:lnTo>
                      <a:pt x="1287" y="537"/>
                    </a:lnTo>
                    <a:lnTo>
                      <a:pt x="1284" y="537"/>
                    </a:lnTo>
                    <a:lnTo>
                      <a:pt x="1284" y="537"/>
                    </a:lnTo>
                    <a:lnTo>
                      <a:pt x="1284" y="537"/>
                    </a:lnTo>
                    <a:lnTo>
                      <a:pt x="1284" y="537"/>
                    </a:lnTo>
                    <a:lnTo>
                      <a:pt x="1282" y="537"/>
                    </a:lnTo>
                    <a:lnTo>
                      <a:pt x="1282" y="540"/>
                    </a:lnTo>
                    <a:lnTo>
                      <a:pt x="1284" y="540"/>
                    </a:lnTo>
                    <a:lnTo>
                      <a:pt x="1284" y="540"/>
                    </a:lnTo>
                    <a:lnTo>
                      <a:pt x="1284" y="540"/>
                    </a:lnTo>
                    <a:lnTo>
                      <a:pt x="1282" y="542"/>
                    </a:lnTo>
                    <a:lnTo>
                      <a:pt x="1282" y="542"/>
                    </a:lnTo>
                    <a:lnTo>
                      <a:pt x="1282" y="542"/>
                    </a:lnTo>
                    <a:lnTo>
                      <a:pt x="1282" y="542"/>
                    </a:lnTo>
                    <a:lnTo>
                      <a:pt x="1282" y="544"/>
                    </a:lnTo>
                    <a:lnTo>
                      <a:pt x="1282" y="544"/>
                    </a:lnTo>
                    <a:lnTo>
                      <a:pt x="1282" y="544"/>
                    </a:lnTo>
                    <a:lnTo>
                      <a:pt x="1282" y="544"/>
                    </a:lnTo>
                    <a:lnTo>
                      <a:pt x="1280" y="544"/>
                    </a:lnTo>
                    <a:lnTo>
                      <a:pt x="1280" y="544"/>
                    </a:lnTo>
                    <a:lnTo>
                      <a:pt x="1277" y="547"/>
                    </a:lnTo>
                    <a:lnTo>
                      <a:pt x="1275" y="547"/>
                    </a:lnTo>
                    <a:lnTo>
                      <a:pt x="1273" y="547"/>
                    </a:lnTo>
                    <a:lnTo>
                      <a:pt x="1273" y="549"/>
                    </a:lnTo>
                    <a:lnTo>
                      <a:pt x="1270" y="549"/>
                    </a:lnTo>
                    <a:lnTo>
                      <a:pt x="1270" y="549"/>
                    </a:lnTo>
                    <a:lnTo>
                      <a:pt x="1268" y="549"/>
                    </a:lnTo>
                    <a:lnTo>
                      <a:pt x="1268" y="549"/>
                    </a:lnTo>
                    <a:lnTo>
                      <a:pt x="1268" y="551"/>
                    </a:lnTo>
                    <a:lnTo>
                      <a:pt x="1266" y="551"/>
                    </a:lnTo>
                    <a:lnTo>
                      <a:pt x="1266" y="549"/>
                    </a:lnTo>
                    <a:lnTo>
                      <a:pt x="1266" y="549"/>
                    </a:lnTo>
                    <a:lnTo>
                      <a:pt x="1261" y="549"/>
                    </a:lnTo>
                    <a:lnTo>
                      <a:pt x="1258" y="549"/>
                    </a:lnTo>
                    <a:lnTo>
                      <a:pt x="1256" y="551"/>
                    </a:lnTo>
                    <a:lnTo>
                      <a:pt x="1256" y="549"/>
                    </a:lnTo>
                    <a:lnTo>
                      <a:pt x="1254" y="549"/>
                    </a:lnTo>
                    <a:lnTo>
                      <a:pt x="1254" y="549"/>
                    </a:lnTo>
                    <a:lnTo>
                      <a:pt x="1247" y="547"/>
                    </a:lnTo>
                    <a:lnTo>
                      <a:pt x="1242" y="549"/>
                    </a:lnTo>
                    <a:lnTo>
                      <a:pt x="1237" y="549"/>
                    </a:lnTo>
                    <a:lnTo>
                      <a:pt x="1232" y="549"/>
                    </a:lnTo>
                    <a:lnTo>
                      <a:pt x="1232" y="549"/>
                    </a:lnTo>
                    <a:lnTo>
                      <a:pt x="1232" y="549"/>
                    </a:lnTo>
                    <a:lnTo>
                      <a:pt x="1230" y="554"/>
                    </a:lnTo>
                    <a:lnTo>
                      <a:pt x="1232" y="554"/>
                    </a:lnTo>
                    <a:lnTo>
                      <a:pt x="1232" y="554"/>
                    </a:lnTo>
                    <a:lnTo>
                      <a:pt x="1232" y="556"/>
                    </a:lnTo>
                    <a:lnTo>
                      <a:pt x="1230" y="556"/>
                    </a:lnTo>
                    <a:lnTo>
                      <a:pt x="1230" y="556"/>
                    </a:lnTo>
                    <a:lnTo>
                      <a:pt x="1230" y="559"/>
                    </a:lnTo>
                    <a:lnTo>
                      <a:pt x="1230" y="559"/>
                    </a:lnTo>
                    <a:lnTo>
                      <a:pt x="1230" y="561"/>
                    </a:lnTo>
                    <a:lnTo>
                      <a:pt x="1230" y="561"/>
                    </a:lnTo>
                    <a:lnTo>
                      <a:pt x="1228" y="561"/>
                    </a:lnTo>
                    <a:lnTo>
                      <a:pt x="1225" y="563"/>
                    </a:lnTo>
                    <a:lnTo>
                      <a:pt x="1225" y="563"/>
                    </a:lnTo>
                    <a:lnTo>
                      <a:pt x="1223" y="566"/>
                    </a:lnTo>
                    <a:lnTo>
                      <a:pt x="1221" y="566"/>
                    </a:lnTo>
                    <a:lnTo>
                      <a:pt x="1218" y="568"/>
                    </a:lnTo>
                    <a:lnTo>
                      <a:pt x="1216" y="568"/>
                    </a:lnTo>
                    <a:lnTo>
                      <a:pt x="1211" y="570"/>
                    </a:lnTo>
                    <a:lnTo>
                      <a:pt x="1204" y="573"/>
                    </a:lnTo>
                    <a:lnTo>
                      <a:pt x="1204" y="573"/>
                    </a:lnTo>
                    <a:lnTo>
                      <a:pt x="1202" y="575"/>
                    </a:lnTo>
                    <a:lnTo>
                      <a:pt x="1202" y="575"/>
                    </a:lnTo>
                    <a:lnTo>
                      <a:pt x="1199" y="575"/>
                    </a:lnTo>
                    <a:lnTo>
                      <a:pt x="1187" y="577"/>
                    </a:lnTo>
                    <a:lnTo>
                      <a:pt x="1180" y="582"/>
                    </a:lnTo>
                    <a:lnTo>
                      <a:pt x="1176" y="582"/>
                    </a:lnTo>
                    <a:lnTo>
                      <a:pt x="1173" y="585"/>
                    </a:lnTo>
                    <a:lnTo>
                      <a:pt x="1171" y="587"/>
                    </a:lnTo>
                    <a:lnTo>
                      <a:pt x="1169" y="587"/>
                    </a:lnTo>
                    <a:lnTo>
                      <a:pt x="1166" y="587"/>
                    </a:lnTo>
                    <a:lnTo>
                      <a:pt x="1164" y="587"/>
                    </a:lnTo>
                    <a:lnTo>
                      <a:pt x="1161" y="587"/>
                    </a:lnTo>
                    <a:lnTo>
                      <a:pt x="1159" y="589"/>
                    </a:lnTo>
                    <a:lnTo>
                      <a:pt x="1157" y="589"/>
                    </a:lnTo>
                    <a:lnTo>
                      <a:pt x="1157" y="589"/>
                    </a:lnTo>
                    <a:lnTo>
                      <a:pt x="1157" y="589"/>
                    </a:lnTo>
                    <a:lnTo>
                      <a:pt x="1154" y="587"/>
                    </a:lnTo>
                    <a:lnTo>
                      <a:pt x="1154" y="587"/>
                    </a:lnTo>
                    <a:lnTo>
                      <a:pt x="1154" y="587"/>
                    </a:lnTo>
                    <a:lnTo>
                      <a:pt x="1152" y="587"/>
                    </a:lnTo>
                    <a:lnTo>
                      <a:pt x="1152" y="587"/>
                    </a:lnTo>
                    <a:lnTo>
                      <a:pt x="1150" y="587"/>
                    </a:lnTo>
                    <a:lnTo>
                      <a:pt x="1150" y="587"/>
                    </a:lnTo>
                    <a:lnTo>
                      <a:pt x="1147" y="587"/>
                    </a:lnTo>
                    <a:lnTo>
                      <a:pt x="1150" y="587"/>
                    </a:lnTo>
                    <a:lnTo>
                      <a:pt x="1154" y="587"/>
                    </a:lnTo>
                    <a:lnTo>
                      <a:pt x="1154" y="587"/>
                    </a:lnTo>
                    <a:lnTo>
                      <a:pt x="1152" y="585"/>
                    </a:lnTo>
                    <a:lnTo>
                      <a:pt x="1152" y="585"/>
                    </a:lnTo>
                    <a:lnTo>
                      <a:pt x="1152" y="585"/>
                    </a:lnTo>
                    <a:lnTo>
                      <a:pt x="1152" y="585"/>
                    </a:lnTo>
                    <a:lnTo>
                      <a:pt x="1150" y="587"/>
                    </a:lnTo>
                    <a:lnTo>
                      <a:pt x="1150" y="587"/>
                    </a:lnTo>
                    <a:lnTo>
                      <a:pt x="1150" y="585"/>
                    </a:lnTo>
                    <a:lnTo>
                      <a:pt x="1150" y="585"/>
                    </a:lnTo>
                    <a:lnTo>
                      <a:pt x="1147" y="582"/>
                    </a:lnTo>
                    <a:lnTo>
                      <a:pt x="1145" y="582"/>
                    </a:lnTo>
                    <a:lnTo>
                      <a:pt x="1145" y="582"/>
                    </a:lnTo>
                    <a:lnTo>
                      <a:pt x="1142" y="582"/>
                    </a:lnTo>
                    <a:lnTo>
                      <a:pt x="1142" y="582"/>
                    </a:lnTo>
                    <a:lnTo>
                      <a:pt x="1142" y="582"/>
                    </a:lnTo>
                    <a:lnTo>
                      <a:pt x="1145" y="580"/>
                    </a:lnTo>
                    <a:lnTo>
                      <a:pt x="1147" y="577"/>
                    </a:lnTo>
                    <a:lnTo>
                      <a:pt x="1147" y="577"/>
                    </a:lnTo>
                    <a:lnTo>
                      <a:pt x="1147" y="577"/>
                    </a:lnTo>
                    <a:lnTo>
                      <a:pt x="1147" y="577"/>
                    </a:lnTo>
                    <a:lnTo>
                      <a:pt x="1147" y="577"/>
                    </a:lnTo>
                    <a:lnTo>
                      <a:pt x="1150" y="577"/>
                    </a:lnTo>
                    <a:lnTo>
                      <a:pt x="1150" y="575"/>
                    </a:lnTo>
                    <a:lnTo>
                      <a:pt x="1150" y="575"/>
                    </a:lnTo>
                    <a:lnTo>
                      <a:pt x="1150" y="575"/>
                    </a:lnTo>
                    <a:lnTo>
                      <a:pt x="1152" y="573"/>
                    </a:lnTo>
                    <a:lnTo>
                      <a:pt x="1152" y="573"/>
                    </a:lnTo>
                    <a:lnTo>
                      <a:pt x="1154" y="570"/>
                    </a:lnTo>
                    <a:lnTo>
                      <a:pt x="1154" y="570"/>
                    </a:lnTo>
                    <a:lnTo>
                      <a:pt x="1157" y="570"/>
                    </a:lnTo>
                    <a:lnTo>
                      <a:pt x="1157" y="568"/>
                    </a:lnTo>
                    <a:lnTo>
                      <a:pt x="1159" y="568"/>
                    </a:lnTo>
                    <a:lnTo>
                      <a:pt x="1159" y="568"/>
                    </a:lnTo>
                    <a:lnTo>
                      <a:pt x="1159" y="566"/>
                    </a:lnTo>
                    <a:lnTo>
                      <a:pt x="1161" y="566"/>
                    </a:lnTo>
                    <a:lnTo>
                      <a:pt x="1161" y="563"/>
                    </a:lnTo>
                    <a:lnTo>
                      <a:pt x="1161" y="563"/>
                    </a:lnTo>
                    <a:lnTo>
                      <a:pt x="1161" y="563"/>
                    </a:lnTo>
                    <a:lnTo>
                      <a:pt x="1164" y="563"/>
                    </a:lnTo>
                    <a:lnTo>
                      <a:pt x="1164" y="563"/>
                    </a:lnTo>
                    <a:lnTo>
                      <a:pt x="1164" y="563"/>
                    </a:lnTo>
                    <a:lnTo>
                      <a:pt x="1166" y="563"/>
                    </a:lnTo>
                    <a:lnTo>
                      <a:pt x="1166" y="563"/>
                    </a:lnTo>
                    <a:lnTo>
                      <a:pt x="1164" y="563"/>
                    </a:lnTo>
                    <a:lnTo>
                      <a:pt x="1164" y="566"/>
                    </a:lnTo>
                    <a:lnTo>
                      <a:pt x="1164" y="566"/>
                    </a:lnTo>
                    <a:lnTo>
                      <a:pt x="1166" y="563"/>
                    </a:lnTo>
                    <a:lnTo>
                      <a:pt x="1169" y="561"/>
                    </a:lnTo>
                    <a:lnTo>
                      <a:pt x="1173" y="556"/>
                    </a:lnTo>
                    <a:lnTo>
                      <a:pt x="1173" y="556"/>
                    </a:lnTo>
                    <a:lnTo>
                      <a:pt x="1171" y="554"/>
                    </a:lnTo>
                    <a:lnTo>
                      <a:pt x="1173" y="549"/>
                    </a:lnTo>
                    <a:lnTo>
                      <a:pt x="1176" y="542"/>
                    </a:lnTo>
                    <a:lnTo>
                      <a:pt x="1176" y="540"/>
                    </a:lnTo>
                    <a:lnTo>
                      <a:pt x="1176" y="537"/>
                    </a:lnTo>
                    <a:lnTo>
                      <a:pt x="1176" y="535"/>
                    </a:lnTo>
                    <a:lnTo>
                      <a:pt x="1173" y="535"/>
                    </a:lnTo>
                    <a:lnTo>
                      <a:pt x="1173" y="535"/>
                    </a:lnTo>
                    <a:lnTo>
                      <a:pt x="1171" y="535"/>
                    </a:lnTo>
                    <a:lnTo>
                      <a:pt x="1171" y="535"/>
                    </a:lnTo>
                    <a:lnTo>
                      <a:pt x="1169" y="535"/>
                    </a:lnTo>
                    <a:lnTo>
                      <a:pt x="1166" y="535"/>
                    </a:lnTo>
                    <a:lnTo>
                      <a:pt x="1166" y="537"/>
                    </a:lnTo>
                    <a:lnTo>
                      <a:pt x="1164" y="537"/>
                    </a:lnTo>
                    <a:lnTo>
                      <a:pt x="1164" y="537"/>
                    </a:lnTo>
                    <a:lnTo>
                      <a:pt x="1164" y="537"/>
                    </a:lnTo>
                    <a:lnTo>
                      <a:pt x="1164" y="537"/>
                    </a:lnTo>
                    <a:lnTo>
                      <a:pt x="1164" y="537"/>
                    </a:lnTo>
                    <a:lnTo>
                      <a:pt x="1161" y="540"/>
                    </a:lnTo>
                    <a:lnTo>
                      <a:pt x="1161" y="542"/>
                    </a:lnTo>
                    <a:lnTo>
                      <a:pt x="1159" y="542"/>
                    </a:lnTo>
                    <a:lnTo>
                      <a:pt x="1159" y="542"/>
                    </a:lnTo>
                    <a:lnTo>
                      <a:pt x="1157" y="542"/>
                    </a:lnTo>
                    <a:lnTo>
                      <a:pt x="1157" y="544"/>
                    </a:lnTo>
                    <a:lnTo>
                      <a:pt x="1154" y="542"/>
                    </a:lnTo>
                    <a:lnTo>
                      <a:pt x="1154" y="542"/>
                    </a:lnTo>
                    <a:lnTo>
                      <a:pt x="1152" y="542"/>
                    </a:lnTo>
                    <a:lnTo>
                      <a:pt x="1152" y="542"/>
                    </a:lnTo>
                    <a:lnTo>
                      <a:pt x="1154" y="540"/>
                    </a:lnTo>
                    <a:lnTo>
                      <a:pt x="1154" y="540"/>
                    </a:lnTo>
                    <a:lnTo>
                      <a:pt x="1154" y="537"/>
                    </a:lnTo>
                    <a:lnTo>
                      <a:pt x="1157" y="537"/>
                    </a:lnTo>
                    <a:lnTo>
                      <a:pt x="1157" y="535"/>
                    </a:lnTo>
                    <a:lnTo>
                      <a:pt x="1159" y="535"/>
                    </a:lnTo>
                    <a:lnTo>
                      <a:pt x="1159" y="535"/>
                    </a:lnTo>
                    <a:lnTo>
                      <a:pt x="1159" y="535"/>
                    </a:lnTo>
                    <a:lnTo>
                      <a:pt x="1161" y="535"/>
                    </a:lnTo>
                    <a:lnTo>
                      <a:pt x="1161" y="535"/>
                    </a:lnTo>
                    <a:lnTo>
                      <a:pt x="1164" y="532"/>
                    </a:lnTo>
                    <a:lnTo>
                      <a:pt x="1164" y="530"/>
                    </a:lnTo>
                    <a:lnTo>
                      <a:pt x="1166" y="530"/>
                    </a:lnTo>
                    <a:lnTo>
                      <a:pt x="1166" y="530"/>
                    </a:lnTo>
                    <a:lnTo>
                      <a:pt x="1166" y="530"/>
                    </a:lnTo>
                    <a:lnTo>
                      <a:pt x="1166" y="530"/>
                    </a:lnTo>
                    <a:lnTo>
                      <a:pt x="1169" y="528"/>
                    </a:lnTo>
                    <a:lnTo>
                      <a:pt x="1169" y="528"/>
                    </a:lnTo>
                    <a:lnTo>
                      <a:pt x="1171" y="528"/>
                    </a:lnTo>
                    <a:lnTo>
                      <a:pt x="1171" y="523"/>
                    </a:lnTo>
                    <a:lnTo>
                      <a:pt x="1173" y="523"/>
                    </a:lnTo>
                    <a:lnTo>
                      <a:pt x="1173" y="521"/>
                    </a:lnTo>
                    <a:lnTo>
                      <a:pt x="1173" y="518"/>
                    </a:lnTo>
                    <a:lnTo>
                      <a:pt x="1173" y="518"/>
                    </a:lnTo>
                    <a:lnTo>
                      <a:pt x="1173" y="516"/>
                    </a:lnTo>
                    <a:lnTo>
                      <a:pt x="1173" y="516"/>
                    </a:lnTo>
                    <a:lnTo>
                      <a:pt x="1173" y="514"/>
                    </a:lnTo>
                    <a:lnTo>
                      <a:pt x="1173" y="511"/>
                    </a:lnTo>
                    <a:lnTo>
                      <a:pt x="1176" y="511"/>
                    </a:lnTo>
                    <a:lnTo>
                      <a:pt x="1176" y="514"/>
                    </a:lnTo>
                    <a:lnTo>
                      <a:pt x="1176" y="511"/>
                    </a:lnTo>
                    <a:lnTo>
                      <a:pt x="1176" y="511"/>
                    </a:lnTo>
                    <a:lnTo>
                      <a:pt x="1176" y="511"/>
                    </a:lnTo>
                    <a:lnTo>
                      <a:pt x="1176" y="511"/>
                    </a:lnTo>
                    <a:lnTo>
                      <a:pt x="1176" y="509"/>
                    </a:lnTo>
                    <a:lnTo>
                      <a:pt x="1176" y="509"/>
                    </a:lnTo>
                    <a:lnTo>
                      <a:pt x="1176" y="509"/>
                    </a:lnTo>
                    <a:lnTo>
                      <a:pt x="1176" y="509"/>
                    </a:lnTo>
                    <a:lnTo>
                      <a:pt x="1176" y="509"/>
                    </a:lnTo>
                    <a:lnTo>
                      <a:pt x="1176" y="506"/>
                    </a:lnTo>
                    <a:lnTo>
                      <a:pt x="1176" y="506"/>
                    </a:lnTo>
                    <a:lnTo>
                      <a:pt x="1173" y="506"/>
                    </a:lnTo>
                    <a:lnTo>
                      <a:pt x="1171" y="504"/>
                    </a:lnTo>
                    <a:lnTo>
                      <a:pt x="1171" y="504"/>
                    </a:lnTo>
                    <a:lnTo>
                      <a:pt x="1169" y="504"/>
                    </a:lnTo>
                    <a:lnTo>
                      <a:pt x="1169" y="502"/>
                    </a:lnTo>
                    <a:lnTo>
                      <a:pt x="1166" y="502"/>
                    </a:lnTo>
                    <a:lnTo>
                      <a:pt x="1166" y="502"/>
                    </a:lnTo>
                    <a:lnTo>
                      <a:pt x="1166" y="502"/>
                    </a:lnTo>
                    <a:lnTo>
                      <a:pt x="1166" y="499"/>
                    </a:lnTo>
                    <a:lnTo>
                      <a:pt x="1164" y="499"/>
                    </a:lnTo>
                    <a:lnTo>
                      <a:pt x="1164" y="499"/>
                    </a:lnTo>
                    <a:lnTo>
                      <a:pt x="1161" y="499"/>
                    </a:lnTo>
                    <a:lnTo>
                      <a:pt x="1159" y="497"/>
                    </a:lnTo>
                    <a:lnTo>
                      <a:pt x="1159" y="497"/>
                    </a:lnTo>
                    <a:lnTo>
                      <a:pt x="1159" y="497"/>
                    </a:lnTo>
                    <a:lnTo>
                      <a:pt x="1157" y="497"/>
                    </a:lnTo>
                    <a:lnTo>
                      <a:pt x="1154" y="497"/>
                    </a:lnTo>
                    <a:lnTo>
                      <a:pt x="1154" y="497"/>
                    </a:lnTo>
                    <a:lnTo>
                      <a:pt x="1154" y="497"/>
                    </a:lnTo>
                    <a:lnTo>
                      <a:pt x="1154" y="499"/>
                    </a:lnTo>
                    <a:lnTo>
                      <a:pt x="1152" y="499"/>
                    </a:lnTo>
                    <a:lnTo>
                      <a:pt x="1152" y="502"/>
                    </a:lnTo>
                    <a:lnTo>
                      <a:pt x="1152" y="502"/>
                    </a:lnTo>
                    <a:lnTo>
                      <a:pt x="1150" y="504"/>
                    </a:lnTo>
                    <a:lnTo>
                      <a:pt x="1152" y="504"/>
                    </a:lnTo>
                    <a:lnTo>
                      <a:pt x="1152" y="504"/>
                    </a:lnTo>
                    <a:lnTo>
                      <a:pt x="1152" y="504"/>
                    </a:lnTo>
                    <a:lnTo>
                      <a:pt x="1152" y="504"/>
                    </a:lnTo>
                    <a:lnTo>
                      <a:pt x="1152" y="504"/>
                    </a:lnTo>
                    <a:lnTo>
                      <a:pt x="1150" y="506"/>
                    </a:lnTo>
                    <a:lnTo>
                      <a:pt x="1150" y="506"/>
                    </a:lnTo>
                    <a:lnTo>
                      <a:pt x="1147" y="506"/>
                    </a:lnTo>
                    <a:lnTo>
                      <a:pt x="1145" y="506"/>
                    </a:lnTo>
                    <a:lnTo>
                      <a:pt x="1142" y="509"/>
                    </a:lnTo>
                    <a:lnTo>
                      <a:pt x="1142" y="509"/>
                    </a:lnTo>
                    <a:lnTo>
                      <a:pt x="1142" y="509"/>
                    </a:lnTo>
                    <a:lnTo>
                      <a:pt x="1142" y="511"/>
                    </a:lnTo>
                    <a:lnTo>
                      <a:pt x="1140" y="514"/>
                    </a:lnTo>
                    <a:lnTo>
                      <a:pt x="1140" y="516"/>
                    </a:lnTo>
                    <a:lnTo>
                      <a:pt x="1138" y="518"/>
                    </a:lnTo>
                    <a:lnTo>
                      <a:pt x="1135" y="521"/>
                    </a:lnTo>
                    <a:lnTo>
                      <a:pt x="1135" y="521"/>
                    </a:lnTo>
                    <a:lnTo>
                      <a:pt x="1135" y="518"/>
                    </a:lnTo>
                    <a:lnTo>
                      <a:pt x="1138" y="516"/>
                    </a:lnTo>
                    <a:lnTo>
                      <a:pt x="1138" y="516"/>
                    </a:lnTo>
                    <a:lnTo>
                      <a:pt x="1138" y="516"/>
                    </a:lnTo>
                    <a:lnTo>
                      <a:pt x="1138" y="516"/>
                    </a:lnTo>
                    <a:lnTo>
                      <a:pt x="1138" y="516"/>
                    </a:lnTo>
                    <a:lnTo>
                      <a:pt x="1138" y="516"/>
                    </a:lnTo>
                    <a:lnTo>
                      <a:pt x="1138" y="516"/>
                    </a:lnTo>
                    <a:lnTo>
                      <a:pt x="1138" y="516"/>
                    </a:lnTo>
                    <a:lnTo>
                      <a:pt x="1138" y="518"/>
                    </a:lnTo>
                    <a:lnTo>
                      <a:pt x="1135" y="518"/>
                    </a:lnTo>
                    <a:lnTo>
                      <a:pt x="1135" y="518"/>
                    </a:lnTo>
                    <a:lnTo>
                      <a:pt x="1135" y="518"/>
                    </a:lnTo>
                    <a:lnTo>
                      <a:pt x="1135" y="518"/>
                    </a:lnTo>
                    <a:lnTo>
                      <a:pt x="1138" y="516"/>
                    </a:lnTo>
                    <a:lnTo>
                      <a:pt x="1138" y="516"/>
                    </a:lnTo>
                    <a:lnTo>
                      <a:pt x="1138" y="514"/>
                    </a:lnTo>
                    <a:lnTo>
                      <a:pt x="1138" y="511"/>
                    </a:lnTo>
                    <a:lnTo>
                      <a:pt x="1138" y="511"/>
                    </a:lnTo>
                    <a:lnTo>
                      <a:pt x="1138" y="511"/>
                    </a:lnTo>
                    <a:lnTo>
                      <a:pt x="1140" y="509"/>
                    </a:lnTo>
                    <a:lnTo>
                      <a:pt x="1140" y="509"/>
                    </a:lnTo>
                    <a:lnTo>
                      <a:pt x="1138" y="509"/>
                    </a:lnTo>
                    <a:lnTo>
                      <a:pt x="1138" y="511"/>
                    </a:lnTo>
                    <a:lnTo>
                      <a:pt x="1133" y="514"/>
                    </a:lnTo>
                    <a:lnTo>
                      <a:pt x="1133" y="516"/>
                    </a:lnTo>
                    <a:lnTo>
                      <a:pt x="1131" y="516"/>
                    </a:lnTo>
                    <a:lnTo>
                      <a:pt x="1131" y="516"/>
                    </a:lnTo>
                    <a:lnTo>
                      <a:pt x="1131" y="516"/>
                    </a:lnTo>
                    <a:lnTo>
                      <a:pt x="1128" y="516"/>
                    </a:lnTo>
                    <a:lnTo>
                      <a:pt x="1128" y="516"/>
                    </a:lnTo>
                    <a:lnTo>
                      <a:pt x="1128" y="518"/>
                    </a:lnTo>
                    <a:lnTo>
                      <a:pt x="1126" y="518"/>
                    </a:lnTo>
                    <a:lnTo>
                      <a:pt x="1126" y="521"/>
                    </a:lnTo>
                    <a:lnTo>
                      <a:pt x="1124" y="521"/>
                    </a:lnTo>
                    <a:lnTo>
                      <a:pt x="1124" y="521"/>
                    </a:lnTo>
                    <a:lnTo>
                      <a:pt x="1124" y="521"/>
                    </a:lnTo>
                    <a:lnTo>
                      <a:pt x="1124" y="523"/>
                    </a:lnTo>
                    <a:lnTo>
                      <a:pt x="1121" y="525"/>
                    </a:lnTo>
                    <a:lnTo>
                      <a:pt x="1121" y="528"/>
                    </a:lnTo>
                    <a:lnTo>
                      <a:pt x="1119" y="528"/>
                    </a:lnTo>
                    <a:lnTo>
                      <a:pt x="1116" y="530"/>
                    </a:lnTo>
                    <a:lnTo>
                      <a:pt x="1116" y="532"/>
                    </a:lnTo>
                    <a:lnTo>
                      <a:pt x="1112" y="535"/>
                    </a:lnTo>
                    <a:lnTo>
                      <a:pt x="1112" y="535"/>
                    </a:lnTo>
                    <a:lnTo>
                      <a:pt x="1112" y="535"/>
                    </a:lnTo>
                    <a:lnTo>
                      <a:pt x="1112" y="537"/>
                    </a:lnTo>
                    <a:lnTo>
                      <a:pt x="1112" y="540"/>
                    </a:lnTo>
                    <a:lnTo>
                      <a:pt x="1112" y="540"/>
                    </a:lnTo>
                    <a:lnTo>
                      <a:pt x="1109" y="542"/>
                    </a:lnTo>
                    <a:lnTo>
                      <a:pt x="1109" y="542"/>
                    </a:lnTo>
                    <a:lnTo>
                      <a:pt x="1107" y="547"/>
                    </a:lnTo>
                    <a:lnTo>
                      <a:pt x="1107" y="551"/>
                    </a:lnTo>
                    <a:lnTo>
                      <a:pt x="1107" y="551"/>
                    </a:lnTo>
                    <a:lnTo>
                      <a:pt x="1107" y="554"/>
                    </a:lnTo>
                    <a:lnTo>
                      <a:pt x="1107" y="556"/>
                    </a:lnTo>
                    <a:lnTo>
                      <a:pt x="1107" y="559"/>
                    </a:lnTo>
                    <a:lnTo>
                      <a:pt x="1105" y="561"/>
                    </a:lnTo>
                    <a:lnTo>
                      <a:pt x="1105" y="563"/>
                    </a:lnTo>
                    <a:lnTo>
                      <a:pt x="1102" y="566"/>
                    </a:lnTo>
                    <a:lnTo>
                      <a:pt x="1100" y="568"/>
                    </a:lnTo>
                    <a:lnTo>
                      <a:pt x="1100" y="570"/>
                    </a:lnTo>
                    <a:lnTo>
                      <a:pt x="1098" y="573"/>
                    </a:lnTo>
                    <a:lnTo>
                      <a:pt x="1095" y="575"/>
                    </a:lnTo>
                    <a:lnTo>
                      <a:pt x="1093" y="577"/>
                    </a:lnTo>
                    <a:lnTo>
                      <a:pt x="1090" y="577"/>
                    </a:lnTo>
                    <a:lnTo>
                      <a:pt x="1088" y="580"/>
                    </a:lnTo>
                    <a:lnTo>
                      <a:pt x="1086" y="580"/>
                    </a:lnTo>
                    <a:lnTo>
                      <a:pt x="1081" y="582"/>
                    </a:lnTo>
                    <a:lnTo>
                      <a:pt x="1079" y="585"/>
                    </a:lnTo>
                    <a:lnTo>
                      <a:pt x="1079" y="585"/>
                    </a:lnTo>
                    <a:lnTo>
                      <a:pt x="1076" y="585"/>
                    </a:lnTo>
                    <a:lnTo>
                      <a:pt x="1074" y="585"/>
                    </a:lnTo>
                    <a:lnTo>
                      <a:pt x="1074" y="582"/>
                    </a:lnTo>
                    <a:lnTo>
                      <a:pt x="1074" y="582"/>
                    </a:lnTo>
                    <a:lnTo>
                      <a:pt x="1074" y="582"/>
                    </a:lnTo>
                    <a:lnTo>
                      <a:pt x="1074" y="582"/>
                    </a:lnTo>
                    <a:lnTo>
                      <a:pt x="1074" y="582"/>
                    </a:lnTo>
                    <a:lnTo>
                      <a:pt x="1074" y="580"/>
                    </a:lnTo>
                    <a:lnTo>
                      <a:pt x="1074" y="577"/>
                    </a:lnTo>
                    <a:lnTo>
                      <a:pt x="1074" y="575"/>
                    </a:lnTo>
                    <a:lnTo>
                      <a:pt x="1074" y="575"/>
                    </a:lnTo>
                    <a:lnTo>
                      <a:pt x="1074" y="573"/>
                    </a:lnTo>
                    <a:lnTo>
                      <a:pt x="1074" y="573"/>
                    </a:lnTo>
                    <a:lnTo>
                      <a:pt x="1074" y="570"/>
                    </a:lnTo>
                    <a:lnTo>
                      <a:pt x="1076" y="566"/>
                    </a:lnTo>
                    <a:lnTo>
                      <a:pt x="1079" y="563"/>
                    </a:lnTo>
                    <a:lnTo>
                      <a:pt x="1079" y="561"/>
                    </a:lnTo>
                    <a:lnTo>
                      <a:pt x="1079" y="561"/>
                    </a:lnTo>
                    <a:lnTo>
                      <a:pt x="1079" y="559"/>
                    </a:lnTo>
                    <a:lnTo>
                      <a:pt x="1079" y="559"/>
                    </a:lnTo>
                    <a:lnTo>
                      <a:pt x="1079" y="556"/>
                    </a:lnTo>
                    <a:lnTo>
                      <a:pt x="1079" y="556"/>
                    </a:lnTo>
                    <a:lnTo>
                      <a:pt x="1079" y="556"/>
                    </a:lnTo>
                    <a:lnTo>
                      <a:pt x="1079" y="556"/>
                    </a:lnTo>
                    <a:lnTo>
                      <a:pt x="1081" y="554"/>
                    </a:lnTo>
                    <a:lnTo>
                      <a:pt x="1081" y="554"/>
                    </a:lnTo>
                    <a:lnTo>
                      <a:pt x="1081" y="554"/>
                    </a:lnTo>
                    <a:lnTo>
                      <a:pt x="1081" y="554"/>
                    </a:lnTo>
                    <a:lnTo>
                      <a:pt x="1081" y="551"/>
                    </a:lnTo>
                    <a:lnTo>
                      <a:pt x="1081" y="551"/>
                    </a:lnTo>
                    <a:lnTo>
                      <a:pt x="1081" y="549"/>
                    </a:lnTo>
                    <a:lnTo>
                      <a:pt x="1083" y="549"/>
                    </a:lnTo>
                    <a:lnTo>
                      <a:pt x="1086" y="547"/>
                    </a:lnTo>
                    <a:lnTo>
                      <a:pt x="1086" y="547"/>
                    </a:lnTo>
                    <a:lnTo>
                      <a:pt x="1086" y="544"/>
                    </a:lnTo>
                    <a:lnTo>
                      <a:pt x="1088" y="544"/>
                    </a:lnTo>
                    <a:lnTo>
                      <a:pt x="1090" y="542"/>
                    </a:lnTo>
                    <a:lnTo>
                      <a:pt x="1090" y="540"/>
                    </a:lnTo>
                    <a:lnTo>
                      <a:pt x="1090" y="540"/>
                    </a:lnTo>
                    <a:lnTo>
                      <a:pt x="1090" y="540"/>
                    </a:lnTo>
                    <a:lnTo>
                      <a:pt x="1090" y="537"/>
                    </a:lnTo>
                    <a:lnTo>
                      <a:pt x="1093" y="535"/>
                    </a:lnTo>
                    <a:lnTo>
                      <a:pt x="1093" y="535"/>
                    </a:lnTo>
                    <a:lnTo>
                      <a:pt x="1095" y="532"/>
                    </a:lnTo>
                    <a:lnTo>
                      <a:pt x="1098" y="532"/>
                    </a:lnTo>
                    <a:lnTo>
                      <a:pt x="1098" y="530"/>
                    </a:lnTo>
                    <a:lnTo>
                      <a:pt x="1098" y="530"/>
                    </a:lnTo>
                    <a:lnTo>
                      <a:pt x="1100" y="528"/>
                    </a:lnTo>
                    <a:lnTo>
                      <a:pt x="1100" y="525"/>
                    </a:lnTo>
                    <a:lnTo>
                      <a:pt x="1102" y="523"/>
                    </a:lnTo>
                    <a:lnTo>
                      <a:pt x="1105" y="523"/>
                    </a:lnTo>
                    <a:lnTo>
                      <a:pt x="1105" y="521"/>
                    </a:lnTo>
                    <a:lnTo>
                      <a:pt x="1107" y="521"/>
                    </a:lnTo>
                    <a:lnTo>
                      <a:pt x="1107" y="518"/>
                    </a:lnTo>
                    <a:lnTo>
                      <a:pt x="1105" y="518"/>
                    </a:lnTo>
                    <a:lnTo>
                      <a:pt x="1105" y="518"/>
                    </a:lnTo>
                    <a:lnTo>
                      <a:pt x="1105" y="518"/>
                    </a:lnTo>
                    <a:lnTo>
                      <a:pt x="1102" y="518"/>
                    </a:lnTo>
                    <a:lnTo>
                      <a:pt x="1102" y="518"/>
                    </a:lnTo>
                    <a:lnTo>
                      <a:pt x="1102" y="518"/>
                    </a:lnTo>
                    <a:lnTo>
                      <a:pt x="1100" y="518"/>
                    </a:lnTo>
                    <a:lnTo>
                      <a:pt x="1098" y="521"/>
                    </a:lnTo>
                    <a:lnTo>
                      <a:pt x="1098" y="523"/>
                    </a:lnTo>
                    <a:lnTo>
                      <a:pt x="1095" y="523"/>
                    </a:lnTo>
                    <a:lnTo>
                      <a:pt x="1095" y="523"/>
                    </a:lnTo>
                    <a:lnTo>
                      <a:pt x="1093" y="523"/>
                    </a:lnTo>
                    <a:lnTo>
                      <a:pt x="1093" y="523"/>
                    </a:lnTo>
                    <a:lnTo>
                      <a:pt x="1093" y="523"/>
                    </a:lnTo>
                    <a:lnTo>
                      <a:pt x="1093" y="523"/>
                    </a:lnTo>
                    <a:lnTo>
                      <a:pt x="1095" y="521"/>
                    </a:lnTo>
                    <a:lnTo>
                      <a:pt x="1095" y="521"/>
                    </a:lnTo>
                    <a:lnTo>
                      <a:pt x="1098" y="518"/>
                    </a:lnTo>
                    <a:lnTo>
                      <a:pt x="1098" y="516"/>
                    </a:lnTo>
                    <a:lnTo>
                      <a:pt x="1100" y="516"/>
                    </a:lnTo>
                    <a:lnTo>
                      <a:pt x="1102" y="516"/>
                    </a:lnTo>
                    <a:lnTo>
                      <a:pt x="1105" y="514"/>
                    </a:lnTo>
                    <a:lnTo>
                      <a:pt x="1105" y="511"/>
                    </a:lnTo>
                    <a:lnTo>
                      <a:pt x="1105" y="511"/>
                    </a:lnTo>
                    <a:lnTo>
                      <a:pt x="1105" y="509"/>
                    </a:lnTo>
                    <a:lnTo>
                      <a:pt x="1107" y="509"/>
                    </a:lnTo>
                    <a:lnTo>
                      <a:pt x="1107" y="509"/>
                    </a:lnTo>
                    <a:lnTo>
                      <a:pt x="1112" y="506"/>
                    </a:lnTo>
                    <a:lnTo>
                      <a:pt x="1114" y="504"/>
                    </a:lnTo>
                    <a:lnTo>
                      <a:pt x="1116" y="502"/>
                    </a:lnTo>
                    <a:lnTo>
                      <a:pt x="1119" y="499"/>
                    </a:lnTo>
                    <a:lnTo>
                      <a:pt x="1119" y="499"/>
                    </a:lnTo>
                    <a:lnTo>
                      <a:pt x="1119" y="499"/>
                    </a:lnTo>
                    <a:lnTo>
                      <a:pt x="1121" y="497"/>
                    </a:lnTo>
                    <a:lnTo>
                      <a:pt x="1124" y="495"/>
                    </a:lnTo>
                    <a:lnTo>
                      <a:pt x="1124" y="495"/>
                    </a:lnTo>
                    <a:lnTo>
                      <a:pt x="1124" y="495"/>
                    </a:lnTo>
                    <a:lnTo>
                      <a:pt x="1121" y="497"/>
                    </a:lnTo>
                    <a:lnTo>
                      <a:pt x="1121" y="497"/>
                    </a:lnTo>
                    <a:lnTo>
                      <a:pt x="1121" y="499"/>
                    </a:lnTo>
                    <a:lnTo>
                      <a:pt x="1121" y="499"/>
                    </a:lnTo>
                    <a:lnTo>
                      <a:pt x="1124" y="499"/>
                    </a:lnTo>
                    <a:lnTo>
                      <a:pt x="1124" y="497"/>
                    </a:lnTo>
                    <a:lnTo>
                      <a:pt x="1126" y="497"/>
                    </a:lnTo>
                    <a:lnTo>
                      <a:pt x="1126" y="495"/>
                    </a:lnTo>
                    <a:lnTo>
                      <a:pt x="1126" y="497"/>
                    </a:lnTo>
                    <a:lnTo>
                      <a:pt x="1128" y="497"/>
                    </a:lnTo>
                    <a:lnTo>
                      <a:pt x="1128" y="495"/>
                    </a:lnTo>
                    <a:lnTo>
                      <a:pt x="1131" y="495"/>
                    </a:lnTo>
                    <a:lnTo>
                      <a:pt x="1131" y="495"/>
                    </a:lnTo>
                    <a:lnTo>
                      <a:pt x="1128" y="497"/>
                    </a:lnTo>
                    <a:lnTo>
                      <a:pt x="1128" y="497"/>
                    </a:lnTo>
                    <a:lnTo>
                      <a:pt x="1128" y="497"/>
                    </a:lnTo>
                    <a:lnTo>
                      <a:pt x="1126" y="497"/>
                    </a:lnTo>
                    <a:lnTo>
                      <a:pt x="1126" y="499"/>
                    </a:lnTo>
                    <a:lnTo>
                      <a:pt x="1126" y="499"/>
                    </a:lnTo>
                    <a:lnTo>
                      <a:pt x="1126" y="499"/>
                    </a:lnTo>
                    <a:lnTo>
                      <a:pt x="1126" y="499"/>
                    </a:lnTo>
                    <a:lnTo>
                      <a:pt x="1126" y="499"/>
                    </a:lnTo>
                    <a:lnTo>
                      <a:pt x="1126" y="499"/>
                    </a:lnTo>
                    <a:lnTo>
                      <a:pt x="1128" y="499"/>
                    </a:lnTo>
                    <a:lnTo>
                      <a:pt x="1128" y="497"/>
                    </a:lnTo>
                    <a:lnTo>
                      <a:pt x="1131" y="497"/>
                    </a:lnTo>
                    <a:lnTo>
                      <a:pt x="1133" y="497"/>
                    </a:lnTo>
                    <a:lnTo>
                      <a:pt x="1133" y="495"/>
                    </a:lnTo>
                    <a:lnTo>
                      <a:pt x="1135" y="495"/>
                    </a:lnTo>
                    <a:lnTo>
                      <a:pt x="1135" y="495"/>
                    </a:lnTo>
                    <a:lnTo>
                      <a:pt x="1138" y="492"/>
                    </a:lnTo>
                    <a:lnTo>
                      <a:pt x="1140" y="495"/>
                    </a:lnTo>
                    <a:lnTo>
                      <a:pt x="1140" y="495"/>
                    </a:lnTo>
                    <a:lnTo>
                      <a:pt x="1140" y="495"/>
                    </a:lnTo>
                    <a:lnTo>
                      <a:pt x="1142" y="495"/>
                    </a:lnTo>
                    <a:lnTo>
                      <a:pt x="1142" y="492"/>
                    </a:lnTo>
                    <a:lnTo>
                      <a:pt x="1145" y="492"/>
                    </a:lnTo>
                    <a:lnTo>
                      <a:pt x="1147" y="492"/>
                    </a:lnTo>
                    <a:lnTo>
                      <a:pt x="1150" y="492"/>
                    </a:lnTo>
                    <a:lnTo>
                      <a:pt x="1150" y="490"/>
                    </a:lnTo>
                    <a:lnTo>
                      <a:pt x="1152" y="490"/>
                    </a:lnTo>
                    <a:lnTo>
                      <a:pt x="1154" y="490"/>
                    </a:lnTo>
                    <a:lnTo>
                      <a:pt x="1157" y="492"/>
                    </a:lnTo>
                    <a:lnTo>
                      <a:pt x="1157" y="492"/>
                    </a:lnTo>
                    <a:lnTo>
                      <a:pt x="1159" y="495"/>
                    </a:lnTo>
                    <a:lnTo>
                      <a:pt x="1159" y="495"/>
                    </a:lnTo>
                    <a:lnTo>
                      <a:pt x="1159" y="495"/>
                    </a:lnTo>
                    <a:lnTo>
                      <a:pt x="1161" y="495"/>
                    </a:lnTo>
                    <a:lnTo>
                      <a:pt x="1161" y="495"/>
                    </a:lnTo>
                    <a:lnTo>
                      <a:pt x="1161" y="495"/>
                    </a:lnTo>
                    <a:lnTo>
                      <a:pt x="1161" y="495"/>
                    </a:lnTo>
                    <a:lnTo>
                      <a:pt x="1161" y="495"/>
                    </a:lnTo>
                    <a:lnTo>
                      <a:pt x="1164" y="492"/>
                    </a:lnTo>
                    <a:lnTo>
                      <a:pt x="1164" y="492"/>
                    </a:lnTo>
                    <a:lnTo>
                      <a:pt x="1164" y="492"/>
                    </a:lnTo>
                    <a:lnTo>
                      <a:pt x="1164" y="492"/>
                    </a:lnTo>
                    <a:lnTo>
                      <a:pt x="1164" y="492"/>
                    </a:lnTo>
                    <a:lnTo>
                      <a:pt x="1164" y="492"/>
                    </a:lnTo>
                    <a:lnTo>
                      <a:pt x="1166" y="492"/>
                    </a:lnTo>
                    <a:lnTo>
                      <a:pt x="1166" y="492"/>
                    </a:lnTo>
                    <a:lnTo>
                      <a:pt x="1166" y="492"/>
                    </a:lnTo>
                    <a:lnTo>
                      <a:pt x="1166" y="492"/>
                    </a:lnTo>
                    <a:lnTo>
                      <a:pt x="1169" y="492"/>
                    </a:lnTo>
                    <a:lnTo>
                      <a:pt x="1173" y="495"/>
                    </a:lnTo>
                    <a:lnTo>
                      <a:pt x="1173" y="492"/>
                    </a:lnTo>
                    <a:lnTo>
                      <a:pt x="1176" y="492"/>
                    </a:lnTo>
                    <a:lnTo>
                      <a:pt x="1176" y="492"/>
                    </a:lnTo>
                    <a:lnTo>
                      <a:pt x="1176" y="492"/>
                    </a:lnTo>
                    <a:lnTo>
                      <a:pt x="1173" y="492"/>
                    </a:lnTo>
                    <a:lnTo>
                      <a:pt x="1173" y="490"/>
                    </a:lnTo>
                    <a:lnTo>
                      <a:pt x="1173" y="490"/>
                    </a:lnTo>
                    <a:lnTo>
                      <a:pt x="1173" y="490"/>
                    </a:lnTo>
                    <a:lnTo>
                      <a:pt x="1173" y="490"/>
                    </a:lnTo>
                    <a:lnTo>
                      <a:pt x="1173" y="490"/>
                    </a:lnTo>
                    <a:lnTo>
                      <a:pt x="1171" y="490"/>
                    </a:lnTo>
                    <a:lnTo>
                      <a:pt x="1171" y="487"/>
                    </a:lnTo>
                    <a:lnTo>
                      <a:pt x="1171" y="487"/>
                    </a:lnTo>
                    <a:lnTo>
                      <a:pt x="1173" y="487"/>
                    </a:lnTo>
                    <a:lnTo>
                      <a:pt x="1173" y="487"/>
                    </a:lnTo>
                    <a:lnTo>
                      <a:pt x="1173" y="487"/>
                    </a:lnTo>
                    <a:lnTo>
                      <a:pt x="1173" y="485"/>
                    </a:lnTo>
                    <a:lnTo>
                      <a:pt x="1173" y="485"/>
                    </a:lnTo>
                    <a:lnTo>
                      <a:pt x="1173" y="483"/>
                    </a:lnTo>
                    <a:lnTo>
                      <a:pt x="1173" y="483"/>
                    </a:lnTo>
                    <a:lnTo>
                      <a:pt x="1173" y="483"/>
                    </a:lnTo>
                    <a:lnTo>
                      <a:pt x="1171" y="483"/>
                    </a:lnTo>
                    <a:lnTo>
                      <a:pt x="1171" y="483"/>
                    </a:lnTo>
                    <a:lnTo>
                      <a:pt x="1171" y="483"/>
                    </a:lnTo>
                    <a:lnTo>
                      <a:pt x="1169" y="483"/>
                    </a:lnTo>
                    <a:lnTo>
                      <a:pt x="1169" y="483"/>
                    </a:lnTo>
                    <a:lnTo>
                      <a:pt x="1169" y="483"/>
                    </a:lnTo>
                    <a:lnTo>
                      <a:pt x="1166" y="483"/>
                    </a:lnTo>
                    <a:lnTo>
                      <a:pt x="1166" y="483"/>
                    </a:lnTo>
                    <a:lnTo>
                      <a:pt x="1164" y="483"/>
                    </a:lnTo>
                    <a:lnTo>
                      <a:pt x="1164" y="483"/>
                    </a:lnTo>
                    <a:lnTo>
                      <a:pt x="1161" y="483"/>
                    </a:lnTo>
                    <a:lnTo>
                      <a:pt x="1161" y="483"/>
                    </a:lnTo>
                    <a:lnTo>
                      <a:pt x="1161" y="480"/>
                    </a:lnTo>
                    <a:lnTo>
                      <a:pt x="1161" y="480"/>
                    </a:lnTo>
                    <a:lnTo>
                      <a:pt x="1161" y="480"/>
                    </a:lnTo>
                    <a:lnTo>
                      <a:pt x="1164" y="478"/>
                    </a:lnTo>
                    <a:lnTo>
                      <a:pt x="1164" y="478"/>
                    </a:lnTo>
                    <a:lnTo>
                      <a:pt x="1166" y="476"/>
                    </a:lnTo>
                    <a:lnTo>
                      <a:pt x="1164" y="476"/>
                    </a:lnTo>
                    <a:lnTo>
                      <a:pt x="1161" y="476"/>
                    </a:lnTo>
                    <a:lnTo>
                      <a:pt x="1159" y="478"/>
                    </a:lnTo>
                    <a:lnTo>
                      <a:pt x="1157" y="478"/>
                    </a:lnTo>
                    <a:lnTo>
                      <a:pt x="1154" y="478"/>
                    </a:lnTo>
                    <a:lnTo>
                      <a:pt x="1150" y="478"/>
                    </a:lnTo>
                    <a:lnTo>
                      <a:pt x="1147" y="478"/>
                    </a:lnTo>
                    <a:lnTo>
                      <a:pt x="1145" y="478"/>
                    </a:lnTo>
                    <a:lnTo>
                      <a:pt x="1145" y="478"/>
                    </a:lnTo>
                    <a:lnTo>
                      <a:pt x="1142" y="478"/>
                    </a:lnTo>
                    <a:lnTo>
                      <a:pt x="1140" y="480"/>
                    </a:lnTo>
                    <a:lnTo>
                      <a:pt x="1138" y="483"/>
                    </a:lnTo>
                    <a:lnTo>
                      <a:pt x="1133" y="483"/>
                    </a:lnTo>
                    <a:lnTo>
                      <a:pt x="1133" y="483"/>
                    </a:lnTo>
                    <a:lnTo>
                      <a:pt x="1133" y="483"/>
                    </a:lnTo>
                    <a:lnTo>
                      <a:pt x="1133" y="483"/>
                    </a:lnTo>
                    <a:lnTo>
                      <a:pt x="1133" y="483"/>
                    </a:lnTo>
                    <a:lnTo>
                      <a:pt x="1131" y="483"/>
                    </a:lnTo>
                    <a:lnTo>
                      <a:pt x="1131" y="483"/>
                    </a:lnTo>
                    <a:lnTo>
                      <a:pt x="1128" y="483"/>
                    </a:lnTo>
                    <a:lnTo>
                      <a:pt x="1128" y="480"/>
                    </a:lnTo>
                    <a:lnTo>
                      <a:pt x="1128" y="483"/>
                    </a:lnTo>
                    <a:lnTo>
                      <a:pt x="1126" y="483"/>
                    </a:lnTo>
                    <a:lnTo>
                      <a:pt x="1124" y="483"/>
                    </a:lnTo>
                    <a:lnTo>
                      <a:pt x="1124" y="483"/>
                    </a:lnTo>
                    <a:lnTo>
                      <a:pt x="1124" y="480"/>
                    </a:lnTo>
                    <a:lnTo>
                      <a:pt x="1124" y="480"/>
                    </a:lnTo>
                    <a:lnTo>
                      <a:pt x="1124" y="480"/>
                    </a:lnTo>
                    <a:lnTo>
                      <a:pt x="1121" y="478"/>
                    </a:lnTo>
                    <a:lnTo>
                      <a:pt x="1121" y="476"/>
                    </a:lnTo>
                    <a:lnTo>
                      <a:pt x="1121" y="476"/>
                    </a:lnTo>
                    <a:lnTo>
                      <a:pt x="1119" y="473"/>
                    </a:lnTo>
                    <a:lnTo>
                      <a:pt x="1119" y="473"/>
                    </a:lnTo>
                    <a:lnTo>
                      <a:pt x="1114" y="473"/>
                    </a:lnTo>
                    <a:lnTo>
                      <a:pt x="1114" y="473"/>
                    </a:lnTo>
                    <a:lnTo>
                      <a:pt x="1114" y="473"/>
                    </a:lnTo>
                    <a:lnTo>
                      <a:pt x="1109" y="476"/>
                    </a:lnTo>
                    <a:lnTo>
                      <a:pt x="1109" y="476"/>
                    </a:lnTo>
                    <a:lnTo>
                      <a:pt x="1109" y="476"/>
                    </a:lnTo>
                    <a:lnTo>
                      <a:pt x="1107" y="476"/>
                    </a:lnTo>
                    <a:lnTo>
                      <a:pt x="1107" y="476"/>
                    </a:lnTo>
                    <a:lnTo>
                      <a:pt x="1107" y="476"/>
                    </a:lnTo>
                    <a:lnTo>
                      <a:pt x="1107" y="476"/>
                    </a:lnTo>
                    <a:lnTo>
                      <a:pt x="1107" y="473"/>
                    </a:lnTo>
                    <a:lnTo>
                      <a:pt x="1109" y="473"/>
                    </a:lnTo>
                    <a:lnTo>
                      <a:pt x="1109" y="471"/>
                    </a:lnTo>
                    <a:lnTo>
                      <a:pt x="1109" y="471"/>
                    </a:lnTo>
                    <a:lnTo>
                      <a:pt x="1109" y="471"/>
                    </a:lnTo>
                    <a:lnTo>
                      <a:pt x="1109" y="471"/>
                    </a:lnTo>
                    <a:lnTo>
                      <a:pt x="1109" y="469"/>
                    </a:lnTo>
                    <a:lnTo>
                      <a:pt x="1109" y="469"/>
                    </a:lnTo>
                    <a:lnTo>
                      <a:pt x="1109" y="469"/>
                    </a:lnTo>
                    <a:lnTo>
                      <a:pt x="1109" y="469"/>
                    </a:lnTo>
                    <a:lnTo>
                      <a:pt x="1109" y="469"/>
                    </a:lnTo>
                    <a:lnTo>
                      <a:pt x="1109" y="466"/>
                    </a:lnTo>
                    <a:lnTo>
                      <a:pt x="1107" y="469"/>
                    </a:lnTo>
                    <a:lnTo>
                      <a:pt x="1105" y="469"/>
                    </a:lnTo>
                    <a:lnTo>
                      <a:pt x="1102" y="471"/>
                    </a:lnTo>
                    <a:lnTo>
                      <a:pt x="1102" y="471"/>
                    </a:lnTo>
                    <a:lnTo>
                      <a:pt x="1100" y="471"/>
                    </a:lnTo>
                    <a:lnTo>
                      <a:pt x="1100" y="471"/>
                    </a:lnTo>
                    <a:lnTo>
                      <a:pt x="1098" y="473"/>
                    </a:lnTo>
                    <a:lnTo>
                      <a:pt x="1095" y="473"/>
                    </a:lnTo>
                    <a:lnTo>
                      <a:pt x="1093" y="476"/>
                    </a:lnTo>
                    <a:lnTo>
                      <a:pt x="1090" y="476"/>
                    </a:lnTo>
                    <a:lnTo>
                      <a:pt x="1088" y="476"/>
                    </a:lnTo>
                    <a:lnTo>
                      <a:pt x="1083" y="476"/>
                    </a:lnTo>
                    <a:lnTo>
                      <a:pt x="1081" y="478"/>
                    </a:lnTo>
                    <a:lnTo>
                      <a:pt x="1079" y="480"/>
                    </a:lnTo>
                    <a:lnTo>
                      <a:pt x="1074" y="480"/>
                    </a:lnTo>
                    <a:lnTo>
                      <a:pt x="1072" y="480"/>
                    </a:lnTo>
                    <a:lnTo>
                      <a:pt x="1072" y="480"/>
                    </a:lnTo>
                    <a:lnTo>
                      <a:pt x="1069" y="480"/>
                    </a:lnTo>
                    <a:lnTo>
                      <a:pt x="1069" y="478"/>
                    </a:lnTo>
                    <a:lnTo>
                      <a:pt x="1069" y="478"/>
                    </a:lnTo>
                    <a:lnTo>
                      <a:pt x="1069" y="478"/>
                    </a:lnTo>
                    <a:lnTo>
                      <a:pt x="1069" y="478"/>
                    </a:lnTo>
                    <a:lnTo>
                      <a:pt x="1067" y="480"/>
                    </a:lnTo>
                    <a:lnTo>
                      <a:pt x="1064" y="480"/>
                    </a:lnTo>
                    <a:lnTo>
                      <a:pt x="1064" y="480"/>
                    </a:lnTo>
                    <a:lnTo>
                      <a:pt x="1067" y="478"/>
                    </a:lnTo>
                    <a:lnTo>
                      <a:pt x="1067" y="478"/>
                    </a:lnTo>
                    <a:lnTo>
                      <a:pt x="1067" y="478"/>
                    </a:lnTo>
                    <a:lnTo>
                      <a:pt x="1069" y="476"/>
                    </a:lnTo>
                    <a:lnTo>
                      <a:pt x="1069" y="476"/>
                    </a:lnTo>
                    <a:lnTo>
                      <a:pt x="1072" y="473"/>
                    </a:lnTo>
                    <a:lnTo>
                      <a:pt x="1072" y="473"/>
                    </a:lnTo>
                    <a:lnTo>
                      <a:pt x="1069" y="473"/>
                    </a:lnTo>
                    <a:lnTo>
                      <a:pt x="1069" y="473"/>
                    </a:lnTo>
                    <a:lnTo>
                      <a:pt x="1069" y="473"/>
                    </a:lnTo>
                    <a:lnTo>
                      <a:pt x="1064" y="476"/>
                    </a:lnTo>
                    <a:lnTo>
                      <a:pt x="1064" y="476"/>
                    </a:lnTo>
                    <a:lnTo>
                      <a:pt x="1062" y="473"/>
                    </a:lnTo>
                    <a:lnTo>
                      <a:pt x="1062" y="473"/>
                    </a:lnTo>
                    <a:lnTo>
                      <a:pt x="1060" y="476"/>
                    </a:lnTo>
                    <a:lnTo>
                      <a:pt x="1057" y="478"/>
                    </a:lnTo>
                    <a:lnTo>
                      <a:pt x="1050" y="478"/>
                    </a:lnTo>
                    <a:lnTo>
                      <a:pt x="1050" y="478"/>
                    </a:lnTo>
                    <a:lnTo>
                      <a:pt x="1048" y="478"/>
                    </a:lnTo>
                    <a:lnTo>
                      <a:pt x="1048" y="478"/>
                    </a:lnTo>
                    <a:lnTo>
                      <a:pt x="1048" y="478"/>
                    </a:lnTo>
                    <a:lnTo>
                      <a:pt x="1048" y="476"/>
                    </a:lnTo>
                    <a:lnTo>
                      <a:pt x="1048" y="476"/>
                    </a:lnTo>
                    <a:lnTo>
                      <a:pt x="1057" y="471"/>
                    </a:lnTo>
                    <a:lnTo>
                      <a:pt x="1064" y="469"/>
                    </a:lnTo>
                    <a:lnTo>
                      <a:pt x="1074" y="461"/>
                    </a:lnTo>
                    <a:lnTo>
                      <a:pt x="1076" y="459"/>
                    </a:lnTo>
                    <a:lnTo>
                      <a:pt x="1081" y="457"/>
                    </a:lnTo>
                    <a:lnTo>
                      <a:pt x="1088" y="457"/>
                    </a:lnTo>
                    <a:lnTo>
                      <a:pt x="1093" y="454"/>
                    </a:lnTo>
                    <a:lnTo>
                      <a:pt x="1098" y="454"/>
                    </a:lnTo>
                    <a:lnTo>
                      <a:pt x="1100" y="452"/>
                    </a:lnTo>
                    <a:lnTo>
                      <a:pt x="1100" y="452"/>
                    </a:lnTo>
                    <a:lnTo>
                      <a:pt x="1100" y="452"/>
                    </a:lnTo>
                    <a:lnTo>
                      <a:pt x="1102" y="452"/>
                    </a:lnTo>
                    <a:lnTo>
                      <a:pt x="1102" y="452"/>
                    </a:lnTo>
                    <a:lnTo>
                      <a:pt x="1098" y="452"/>
                    </a:lnTo>
                    <a:lnTo>
                      <a:pt x="1095" y="452"/>
                    </a:lnTo>
                    <a:lnTo>
                      <a:pt x="1095" y="452"/>
                    </a:lnTo>
                    <a:lnTo>
                      <a:pt x="1095" y="450"/>
                    </a:lnTo>
                    <a:lnTo>
                      <a:pt x="1095" y="450"/>
                    </a:lnTo>
                    <a:lnTo>
                      <a:pt x="1090" y="450"/>
                    </a:lnTo>
                    <a:lnTo>
                      <a:pt x="1086" y="450"/>
                    </a:lnTo>
                    <a:lnTo>
                      <a:pt x="1083" y="450"/>
                    </a:lnTo>
                    <a:lnTo>
                      <a:pt x="1083" y="450"/>
                    </a:lnTo>
                    <a:lnTo>
                      <a:pt x="1083" y="447"/>
                    </a:lnTo>
                    <a:lnTo>
                      <a:pt x="1081" y="447"/>
                    </a:lnTo>
                    <a:lnTo>
                      <a:pt x="1079" y="447"/>
                    </a:lnTo>
                    <a:lnTo>
                      <a:pt x="1076" y="450"/>
                    </a:lnTo>
                    <a:lnTo>
                      <a:pt x="1072" y="450"/>
                    </a:lnTo>
                    <a:lnTo>
                      <a:pt x="1072" y="450"/>
                    </a:lnTo>
                    <a:lnTo>
                      <a:pt x="1069" y="450"/>
                    </a:lnTo>
                    <a:lnTo>
                      <a:pt x="1067" y="447"/>
                    </a:lnTo>
                    <a:lnTo>
                      <a:pt x="1064" y="445"/>
                    </a:lnTo>
                    <a:lnTo>
                      <a:pt x="1062" y="445"/>
                    </a:lnTo>
                    <a:lnTo>
                      <a:pt x="1060" y="445"/>
                    </a:lnTo>
                    <a:lnTo>
                      <a:pt x="1060" y="445"/>
                    </a:lnTo>
                    <a:lnTo>
                      <a:pt x="1057" y="445"/>
                    </a:lnTo>
                    <a:lnTo>
                      <a:pt x="1057" y="445"/>
                    </a:lnTo>
                    <a:lnTo>
                      <a:pt x="1057" y="442"/>
                    </a:lnTo>
                    <a:lnTo>
                      <a:pt x="1057" y="442"/>
                    </a:lnTo>
                    <a:lnTo>
                      <a:pt x="1055" y="440"/>
                    </a:lnTo>
                    <a:lnTo>
                      <a:pt x="1055" y="440"/>
                    </a:lnTo>
                    <a:lnTo>
                      <a:pt x="1053" y="438"/>
                    </a:lnTo>
                    <a:lnTo>
                      <a:pt x="1053" y="438"/>
                    </a:lnTo>
                    <a:lnTo>
                      <a:pt x="1050" y="438"/>
                    </a:lnTo>
                    <a:lnTo>
                      <a:pt x="1048" y="438"/>
                    </a:lnTo>
                    <a:lnTo>
                      <a:pt x="1046" y="438"/>
                    </a:lnTo>
                    <a:lnTo>
                      <a:pt x="1043" y="440"/>
                    </a:lnTo>
                    <a:lnTo>
                      <a:pt x="1043" y="440"/>
                    </a:lnTo>
                    <a:lnTo>
                      <a:pt x="1041" y="440"/>
                    </a:lnTo>
                    <a:lnTo>
                      <a:pt x="1038" y="440"/>
                    </a:lnTo>
                    <a:lnTo>
                      <a:pt x="1038" y="438"/>
                    </a:lnTo>
                    <a:lnTo>
                      <a:pt x="1036" y="438"/>
                    </a:lnTo>
                    <a:lnTo>
                      <a:pt x="1031" y="438"/>
                    </a:lnTo>
                    <a:lnTo>
                      <a:pt x="1027" y="435"/>
                    </a:lnTo>
                    <a:lnTo>
                      <a:pt x="1027" y="435"/>
                    </a:lnTo>
                    <a:lnTo>
                      <a:pt x="1027" y="435"/>
                    </a:lnTo>
                    <a:lnTo>
                      <a:pt x="1027" y="433"/>
                    </a:lnTo>
                    <a:lnTo>
                      <a:pt x="1027" y="433"/>
                    </a:lnTo>
                    <a:lnTo>
                      <a:pt x="1027" y="431"/>
                    </a:lnTo>
                    <a:lnTo>
                      <a:pt x="1029" y="428"/>
                    </a:lnTo>
                    <a:lnTo>
                      <a:pt x="1029" y="426"/>
                    </a:lnTo>
                    <a:lnTo>
                      <a:pt x="1029" y="424"/>
                    </a:lnTo>
                    <a:lnTo>
                      <a:pt x="1029" y="424"/>
                    </a:lnTo>
                    <a:lnTo>
                      <a:pt x="1029" y="424"/>
                    </a:lnTo>
                    <a:lnTo>
                      <a:pt x="1027" y="424"/>
                    </a:lnTo>
                    <a:lnTo>
                      <a:pt x="1024" y="426"/>
                    </a:lnTo>
                    <a:lnTo>
                      <a:pt x="1022" y="431"/>
                    </a:lnTo>
                    <a:lnTo>
                      <a:pt x="1017" y="431"/>
                    </a:lnTo>
                    <a:lnTo>
                      <a:pt x="963" y="431"/>
                    </a:lnTo>
                    <a:lnTo>
                      <a:pt x="956" y="431"/>
                    </a:lnTo>
                    <a:lnTo>
                      <a:pt x="795" y="431"/>
                    </a:lnTo>
                    <a:lnTo>
                      <a:pt x="788" y="431"/>
                    </a:lnTo>
                    <a:lnTo>
                      <a:pt x="629" y="431"/>
                    </a:lnTo>
                    <a:lnTo>
                      <a:pt x="622" y="431"/>
                    </a:lnTo>
                    <a:lnTo>
                      <a:pt x="570" y="431"/>
                    </a:lnTo>
                    <a:lnTo>
                      <a:pt x="570" y="433"/>
                    </a:lnTo>
                    <a:lnTo>
                      <a:pt x="570" y="435"/>
                    </a:lnTo>
                    <a:lnTo>
                      <a:pt x="570" y="435"/>
                    </a:lnTo>
                    <a:lnTo>
                      <a:pt x="570" y="435"/>
                    </a:lnTo>
                    <a:lnTo>
                      <a:pt x="570" y="435"/>
                    </a:lnTo>
                    <a:lnTo>
                      <a:pt x="572" y="435"/>
                    </a:lnTo>
                    <a:lnTo>
                      <a:pt x="572" y="435"/>
                    </a:lnTo>
                    <a:lnTo>
                      <a:pt x="570" y="438"/>
                    </a:lnTo>
                    <a:lnTo>
                      <a:pt x="570" y="440"/>
                    </a:lnTo>
                    <a:lnTo>
                      <a:pt x="570" y="440"/>
                    </a:lnTo>
                    <a:lnTo>
                      <a:pt x="568" y="440"/>
                    </a:lnTo>
                    <a:lnTo>
                      <a:pt x="568" y="440"/>
                    </a:lnTo>
                    <a:lnTo>
                      <a:pt x="565" y="440"/>
                    </a:lnTo>
                    <a:lnTo>
                      <a:pt x="565" y="440"/>
                    </a:lnTo>
                    <a:lnTo>
                      <a:pt x="565" y="442"/>
                    </a:lnTo>
                    <a:lnTo>
                      <a:pt x="565" y="442"/>
                    </a:lnTo>
                    <a:lnTo>
                      <a:pt x="565" y="442"/>
                    </a:lnTo>
                    <a:lnTo>
                      <a:pt x="565" y="442"/>
                    </a:lnTo>
                    <a:lnTo>
                      <a:pt x="565" y="442"/>
                    </a:lnTo>
                    <a:lnTo>
                      <a:pt x="568" y="442"/>
                    </a:lnTo>
                    <a:lnTo>
                      <a:pt x="568" y="445"/>
                    </a:lnTo>
                    <a:lnTo>
                      <a:pt x="568" y="445"/>
                    </a:lnTo>
                    <a:lnTo>
                      <a:pt x="565" y="447"/>
                    </a:lnTo>
                    <a:lnTo>
                      <a:pt x="565" y="447"/>
                    </a:lnTo>
                    <a:lnTo>
                      <a:pt x="563" y="447"/>
                    </a:lnTo>
                    <a:lnTo>
                      <a:pt x="563" y="447"/>
                    </a:lnTo>
                    <a:lnTo>
                      <a:pt x="563" y="450"/>
                    </a:lnTo>
                    <a:lnTo>
                      <a:pt x="565" y="450"/>
                    </a:lnTo>
                    <a:lnTo>
                      <a:pt x="565" y="450"/>
                    </a:lnTo>
                    <a:lnTo>
                      <a:pt x="565" y="447"/>
                    </a:lnTo>
                    <a:lnTo>
                      <a:pt x="565" y="447"/>
                    </a:lnTo>
                    <a:lnTo>
                      <a:pt x="565" y="447"/>
                    </a:lnTo>
                    <a:lnTo>
                      <a:pt x="565" y="450"/>
                    </a:lnTo>
                    <a:lnTo>
                      <a:pt x="565" y="450"/>
                    </a:lnTo>
                    <a:lnTo>
                      <a:pt x="565" y="450"/>
                    </a:lnTo>
                    <a:lnTo>
                      <a:pt x="565" y="452"/>
                    </a:lnTo>
                    <a:lnTo>
                      <a:pt x="563" y="452"/>
                    </a:lnTo>
                    <a:lnTo>
                      <a:pt x="563" y="454"/>
                    </a:lnTo>
                    <a:lnTo>
                      <a:pt x="561" y="454"/>
                    </a:lnTo>
                    <a:lnTo>
                      <a:pt x="561" y="457"/>
                    </a:lnTo>
                    <a:lnTo>
                      <a:pt x="561" y="457"/>
                    </a:lnTo>
                    <a:lnTo>
                      <a:pt x="558" y="457"/>
                    </a:lnTo>
                    <a:lnTo>
                      <a:pt x="558" y="459"/>
                    </a:lnTo>
                    <a:lnTo>
                      <a:pt x="558" y="459"/>
                    </a:lnTo>
                    <a:lnTo>
                      <a:pt x="558" y="459"/>
                    </a:lnTo>
                    <a:lnTo>
                      <a:pt x="558" y="459"/>
                    </a:lnTo>
                    <a:lnTo>
                      <a:pt x="556" y="461"/>
                    </a:lnTo>
                    <a:lnTo>
                      <a:pt x="556" y="464"/>
                    </a:lnTo>
                    <a:lnTo>
                      <a:pt x="556" y="464"/>
                    </a:lnTo>
                    <a:lnTo>
                      <a:pt x="553" y="466"/>
                    </a:lnTo>
                    <a:lnTo>
                      <a:pt x="551" y="466"/>
                    </a:lnTo>
                    <a:lnTo>
                      <a:pt x="551" y="466"/>
                    </a:lnTo>
                    <a:lnTo>
                      <a:pt x="551" y="466"/>
                    </a:lnTo>
                    <a:lnTo>
                      <a:pt x="549" y="469"/>
                    </a:lnTo>
                    <a:lnTo>
                      <a:pt x="546" y="469"/>
                    </a:lnTo>
                    <a:lnTo>
                      <a:pt x="546" y="471"/>
                    </a:lnTo>
                    <a:lnTo>
                      <a:pt x="544" y="471"/>
                    </a:lnTo>
                    <a:lnTo>
                      <a:pt x="544" y="469"/>
                    </a:lnTo>
                    <a:lnTo>
                      <a:pt x="542" y="469"/>
                    </a:lnTo>
                    <a:lnTo>
                      <a:pt x="539" y="469"/>
                    </a:lnTo>
                    <a:lnTo>
                      <a:pt x="542" y="469"/>
                    </a:lnTo>
                    <a:lnTo>
                      <a:pt x="544" y="466"/>
                    </a:lnTo>
                    <a:lnTo>
                      <a:pt x="544" y="466"/>
                    </a:lnTo>
                    <a:lnTo>
                      <a:pt x="546" y="466"/>
                    </a:lnTo>
                    <a:lnTo>
                      <a:pt x="546" y="466"/>
                    </a:lnTo>
                    <a:lnTo>
                      <a:pt x="546" y="469"/>
                    </a:lnTo>
                    <a:lnTo>
                      <a:pt x="546" y="469"/>
                    </a:lnTo>
                    <a:lnTo>
                      <a:pt x="549" y="466"/>
                    </a:lnTo>
                    <a:lnTo>
                      <a:pt x="549" y="466"/>
                    </a:lnTo>
                    <a:lnTo>
                      <a:pt x="549" y="466"/>
                    </a:lnTo>
                    <a:lnTo>
                      <a:pt x="549" y="466"/>
                    </a:lnTo>
                    <a:lnTo>
                      <a:pt x="551" y="466"/>
                    </a:lnTo>
                    <a:lnTo>
                      <a:pt x="551" y="464"/>
                    </a:lnTo>
                    <a:lnTo>
                      <a:pt x="553" y="461"/>
                    </a:lnTo>
                    <a:lnTo>
                      <a:pt x="553" y="461"/>
                    </a:lnTo>
                    <a:lnTo>
                      <a:pt x="553" y="459"/>
                    </a:lnTo>
                    <a:lnTo>
                      <a:pt x="553" y="459"/>
                    </a:lnTo>
                    <a:lnTo>
                      <a:pt x="553" y="459"/>
                    </a:lnTo>
                    <a:lnTo>
                      <a:pt x="553" y="459"/>
                    </a:lnTo>
                    <a:lnTo>
                      <a:pt x="556" y="457"/>
                    </a:lnTo>
                    <a:lnTo>
                      <a:pt x="556" y="457"/>
                    </a:lnTo>
                    <a:lnTo>
                      <a:pt x="558" y="457"/>
                    </a:lnTo>
                    <a:lnTo>
                      <a:pt x="558" y="454"/>
                    </a:lnTo>
                    <a:lnTo>
                      <a:pt x="561" y="452"/>
                    </a:lnTo>
                    <a:lnTo>
                      <a:pt x="558" y="452"/>
                    </a:lnTo>
                    <a:lnTo>
                      <a:pt x="558" y="452"/>
                    </a:lnTo>
                    <a:lnTo>
                      <a:pt x="558" y="454"/>
                    </a:lnTo>
                    <a:lnTo>
                      <a:pt x="558" y="454"/>
                    </a:lnTo>
                    <a:lnTo>
                      <a:pt x="553" y="457"/>
                    </a:lnTo>
                    <a:lnTo>
                      <a:pt x="553" y="457"/>
                    </a:lnTo>
                    <a:lnTo>
                      <a:pt x="551" y="459"/>
                    </a:lnTo>
                    <a:lnTo>
                      <a:pt x="549" y="459"/>
                    </a:lnTo>
                    <a:lnTo>
                      <a:pt x="546" y="461"/>
                    </a:lnTo>
                    <a:lnTo>
                      <a:pt x="544" y="461"/>
                    </a:lnTo>
                    <a:lnTo>
                      <a:pt x="544" y="464"/>
                    </a:lnTo>
                    <a:lnTo>
                      <a:pt x="544" y="464"/>
                    </a:lnTo>
                    <a:lnTo>
                      <a:pt x="544" y="464"/>
                    </a:lnTo>
                    <a:lnTo>
                      <a:pt x="546" y="464"/>
                    </a:lnTo>
                    <a:lnTo>
                      <a:pt x="546" y="464"/>
                    </a:lnTo>
                    <a:lnTo>
                      <a:pt x="544" y="464"/>
                    </a:lnTo>
                    <a:lnTo>
                      <a:pt x="542" y="464"/>
                    </a:lnTo>
                    <a:lnTo>
                      <a:pt x="542" y="464"/>
                    </a:lnTo>
                    <a:lnTo>
                      <a:pt x="542" y="464"/>
                    </a:lnTo>
                    <a:lnTo>
                      <a:pt x="544" y="464"/>
                    </a:lnTo>
                    <a:lnTo>
                      <a:pt x="546" y="461"/>
                    </a:lnTo>
                    <a:lnTo>
                      <a:pt x="553" y="457"/>
                    </a:lnTo>
                    <a:lnTo>
                      <a:pt x="553" y="457"/>
                    </a:lnTo>
                    <a:lnTo>
                      <a:pt x="553" y="457"/>
                    </a:lnTo>
                    <a:lnTo>
                      <a:pt x="553" y="457"/>
                    </a:lnTo>
                    <a:lnTo>
                      <a:pt x="556" y="454"/>
                    </a:lnTo>
                    <a:lnTo>
                      <a:pt x="558" y="452"/>
                    </a:lnTo>
                    <a:lnTo>
                      <a:pt x="558" y="452"/>
                    </a:lnTo>
                    <a:lnTo>
                      <a:pt x="558" y="450"/>
                    </a:lnTo>
                    <a:lnTo>
                      <a:pt x="558" y="450"/>
                    </a:lnTo>
                    <a:lnTo>
                      <a:pt x="558" y="450"/>
                    </a:lnTo>
                    <a:lnTo>
                      <a:pt x="556" y="450"/>
                    </a:lnTo>
                    <a:lnTo>
                      <a:pt x="556" y="450"/>
                    </a:lnTo>
                    <a:lnTo>
                      <a:pt x="553" y="450"/>
                    </a:lnTo>
                    <a:lnTo>
                      <a:pt x="553" y="450"/>
                    </a:lnTo>
                    <a:lnTo>
                      <a:pt x="553" y="447"/>
                    </a:lnTo>
                    <a:lnTo>
                      <a:pt x="553" y="447"/>
                    </a:lnTo>
                    <a:lnTo>
                      <a:pt x="551" y="450"/>
                    </a:lnTo>
                    <a:lnTo>
                      <a:pt x="549" y="450"/>
                    </a:lnTo>
                    <a:lnTo>
                      <a:pt x="539" y="447"/>
                    </a:lnTo>
                    <a:lnTo>
                      <a:pt x="537" y="447"/>
                    </a:lnTo>
                    <a:lnTo>
                      <a:pt x="537" y="447"/>
                    </a:lnTo>
                    <a:lnTo>
                      <a:pt x="535" y="445"/>
                    </a:lnTo>
                    <a:lnTo>
                      <a:pt x="532" y="442"/>
                    </a:lnTo>
                    <a:lnTo>
                      <a:pt x="530" y="442"/>
                    </a:lnTo>
                    <a:lnTo>
                      <a:pt x="530" y="445"/>
                    </a:lnTo>
                    <a:lnTo>
                      <a:pt x="527" y="447"/>
                    </a:lnTo>
                    <a:lnTo>
                      <a:pt x="525" y="452"/>
                    </a:lnTo>
                    <a:lnTo>
                      <a:pt x="525" y="454"/>
                    </a:lnTo>
                    <a:lnTo>
                      <a:pt x="525" y="457"/>
                    </a:lnTo>
                    <a:lnTo>
                      <a:pt x="525" y="459"/>
                    </a:lnTo>
                    <a:lnTo>
                      <a:pt x="523" y="464"/>
                    </a:lnTo>
                    <a:lnTo>
                      <a:pt x="523" y="469"/>
                    </a:lnTo>
                    <a:lnTo>
                      <a:pt x="520" y="471"/>
                    </a:lnTo>
                    <a:lnTo>
                      <a:pt x="520" y="471"/>
                    </a:lnTo>
                    <a:lnTo>
                      <a:pt x="520" y="473"/>
                    </a:lnTo>
                    <a:lnTo>
                      <a:pt x="520" y="471"/>
                    </a:lnTo>
                    <a:lnTo>
                      <a:pt x="520" y="471"/>
                    </a:lnTo>
                    <a:lnTo>
                      <a:pt x="523" y="471"/>
                    </a:lnTo>
                    <a:lnTo>
                      <a:pt x="523" y="473"/>
                    </a:lnTo>
                    <a:lnTo>
                      <a:pt x="525" y="473"/>
                    </a:lnTo>
                    <a:lnTo>
                      <a:pt x="518" y="476"/>
                    </a:lnTo>
                    <a:lnTo>
                      <a:pt x="518" y="478"/>
                    </a:lnTo>
                    <a:lnTo>
                      <a:pt x="518" y="478"/>
                    </a:lnTo>
                    <a:lnTo>
                      <a:pt x="520" y="478"/>
                    </a:lnTo>
                    <a:lnTo>
                      <a:pt x="518" y="483"/>
                    </a:lnTo>
                    <a:lnTo>
                      <a:pt x="516" y="483"/>
                    </a:lnTo>
                    <a:lnTo>
                      <a:pt x="516" y="483"/>
                    </a:lnTo>
                    <a:lnTo>
                      <a:pt x="516" y="480"/>
                    </a:lnTo>
                    <a:lnTo>
                      <a:pt x="516" y="483"/>
                    </a:lnTo>
                    <a:lnTo>
                      <a:pt x="513" y="485"/>
                    </a:lnTo>
                    <a:lnTo>
                      <a:pt x="511" y="487"/>
                    </a:lnTo>
                    <a:lnTo>
                      <a:pt x="513" y="487"/>
                    </a:lnTo>
                    <a:lnTo>
                      <a:pt x="513" y="487"/>
                    </a:lnTo>
                    <a:lnTo>
                      <a:pt x="518" y="487"/>
                    </a:lnTo>
                    <a:lnTo>
                      <a:pt x="518" y="487"/>
                    </a:lnTo>
                    <a:lnTo>
                      <a:pt x="520" y="487"/>
                    </a:lnTo>
                    <a:lnTo>
                      <a:pt x="520" y="487"/>
                    </a:lnTo>
                    <a:lnTo>
                      <a:pt x="523" y="490"/>
                    </a:lnTo>
                    <a:lnTo>
                      <a:pt x="523" y="490"/>
                    </a:lnTo>
                    <a:lnTo>
                      <a:pt x="523" y="490"/>
                    </a:lnTo>
                    <a:lnTo>
                      <a:pt x="523" y="490"/>
                    </a:lnTo>
                    <a:lnTo>
                      <a:pt x="520" y="490"/>
                    </a:lnTo>
                    <a:lnTo>
                      <a:pt x="520" y="487"/>
                    </a:lnTo>
                    <a:lnTo>
                      <a:pt x="520" y="487"/>
                    </a:lnTo>
                    <a:lnTo>
                      <a:pt x="516" y="490"/>
                    </a:lnTo>
                    <a:lnTo>
                      <a:pt x="513" y="490"/>
                    </a:lnTo>
                    <a:lnTo>
                      <a:pt x="513" y="487"/>
                    </a:lnTo>
                    <a:lnTo>
                      <a:pt x="511" y="487"/>
                    </a:lnTo>
                    <a:lnTo>
                      <a:pt x="511" y="490"/>
                    </a:lnTo>
                    <a:lnTo>
                      <a:pt x="511" y="490"/>
                    </a:lnTo>
                    <a:lnTo>
                      <a:pt x="506" y="497"/>
                    </a:lnTo>
                    <a:lnTo>
                      <a:pt x="504" y="502"/>
                    </a:lnTo>
                    <a:lnTo>
                      <a:pt x="501" y="504"/>
                    </a:lnTo>
                    <a:lnTo>
                      <a:pt x="501" y="504"/>
                    </a:lnTo>
                    <a:lnTo>
                      <a:pt x="492" y="521"/>
                    </a:lnTo>
                    <a:lnTo>
                      <a:pt x="490" y="523"/>
                    </a:lnTo>
                    <a:lnTo>
                      <a:pt x="487" y="525"/>
                    </a:lnTo>
                    <a:lnTo>
                      <a:pt x="487" y="528"/>
                    </a:lnTo>
                    <a:lnTo>
                      <a:pt x="485" y="528"/>
                    </a:lnTo>
                    <a:lnTo>
                      <a:pt x="480" y="535"/>
                    </a:lnTo>
                    <a:lnTo>
                      <a:pt x="475" y="542"/>
                    </a:lnTo>
                    <a:lnTo>
                      <a:pt x="473" y="542"/>
                    </a:lnTo>
                    <a:lnTo>
                      <a:pt x="471" y="544"/>
                    </a:lnTo>
                    <a:lnTo>
                      <a:pt x="468" y="547"/>
                    </a:lnTo>
                    <a:lnTo>
                      <a:pt x="471" y="547"/>
                    </a:lnTo>
                    <a:lnTo>
                      <a:pt x="471" y="547"/>
                    </a:lnTo>
                    <a:lnTo>
                      <a:pt x="468" y="549"/>
                    </a:lnTo>
                    <a:lnTo>
                      <a:pt x="468" y="549"/>
                    </a:lnTo>
                    <a:lnTo>
                      <a:pt x="466" y="549"/>
                    </a:lnTo>
                    <a:lnTo>
                      <a:pt x="461" y="556"/>
                    </a:lnTo>
                    <a:lnTo>
                      <a:pt x="459" y="556"/>
                    </a:lnTo>
                    <a:lnTo>
                      <a:pt x="456" y="559"/>
                    </a:lnTo>
                    <a:lnTo>
                      <a:pt x="456" y="563"/>
                    </a:lnTo>
                    <a:lnTo>
                      <a:pt x="456" y="563"/>
                    </a:lnTo>
                    <a:lnTo>
                      <a:pt x="454" y="568"/>
                    </a:lnTo>
                    <a:lnTo>
                      <a:pt x="452" y="570"/>
                    </a:lnTo>
                    <a:lnTo>
                      <a:pt x="452" y="573"/>
                    </a:lnTo>
                    <a:lnTo>
                      <a:pt x="452" y="577"/>
                    </a:lnTo>
                    <a:lnTo>
                      <a:pt x="449" y="577"/>
                    </a:lnTo>
                    <a:lnTo>
                      <a:pt x="449" y="580"/>
                    </a:lnTo>
                    <a:lnTo>
                      <a:pt x="449" y="582"/>
                    </a:lnTo>
                    <a:lnTo>
                      <a:pt x="449" y="585"/>
                    </a:lnTo>
                    <a:lnTo>
                      <a:pt x="447" y="587"/>
                    </a:lnTo>
                    <a:lnTo>
                      <a:pt x="447" y="589"/>
                    </a:lnTo>
                    <a:lnTo>
                      <a:pt x="442" y="594"/>
                    </a:lnTo>
                    <a:lnTo>
                      <a:pt x="440" y="596"/>
                    </a:lnTo>
                    <a:lnTo>
                      <a:pt x="438" y="601"/>
                    </a:lnTo>
                    <a:lnTo>
                      <a:pt x="438" y="601"/>
                    </a:lnTo>
                    <a:lnTo>
                      <a:pt x="438" y="601"/>
                    </a:lnTo>
                    <a:lnTo>
                      <a:pt x="438" y="601"/>
                    </a:lnTo>
                    <a:lnTo>
                      <a:pt x="435" y="601"/>
                    </a:lnTo>
                    <a:lnTo>
                      <a:pt x="435" y="604"/>
                    </a:lnTo>
                    <a:lnTo>
                      <a:pt x="435" y="604"/>
                    </a:lnTo>
                    <a:lnTo>
                      <a:pt x="435" y="604"/>
                    </a:lnTo>
                    <a:lnTo>
                      <a:pt x="435" y="604"/>
                    </a:lnTo>
                    <a:lnTo>
                      <a:pt x="435" y="604"/>
                    </a:lnTo>
                    <a:lnTo>
                      <a:pt x="433" y="606"/>
                    </a:lnTo>
                    <a:lnTo>
                      <a:pt x="430" y="608"/>
                    </a:lnTo>
                    <a:lnTo>
                      <a:pt x="428" y="611"/>
                    </a:lnTo>
                    <a:lnTo>
                      <a:pt x="428" y="613"/>
                    </a:lnTo>
                    <a:lnTo>
                      <a:pt x="430" y="615"/>
                    </a:lnTo>
                    <a:lnTo>
                      <a:pt x="430" y="620"/>
                    </a:lnTo>
                    <a:lnTo>
                      <a:pt x="430" y="620"/>
                    </a:lnTo>
                    <a:lnTo>
                      <a:pt x="430" y="625"/>
                    </a:lnTo>
                    <a:lnTo>
                      <a:pt x="428" y="627"/>
                    </a:lnTo>
                    <a:lnTo>
                      <a:pt x="426" y="630"/>
                    </a:lnTo>
                    <a:lnTo>
                      <a:pt x="426" y="634"/>
                    </a:lnTo>
                    <a:lnTo>
                      <a:pt x="423" y="639"/>
                    </a:lnTo>
                    <a:lnTo>
                      <a:pt x="426" y="644"/>
                    </a:lnTo>
                    <a:lnTo>
                      <a:pt x="426" y="646"/>
                    </a:lnTo>
                    <a:lnTo>
                      <a:pt x="428" y="648"/>
                    </a:lnTo>
                    <a:lnTo>
                      <a:pt x="428" y="653"/>
                    </a:lnTo>
                    <a:lnTo>
                      <a:pt x="428" y="653"/>
                    </a:lnTo>
                    <a:lnTo>
                      <a:pt x="430" y="656"/>
                    </a:lnTo>
                    <a:lnTo>
                      <a:pt x="428" y="656"/>
                    </a:lnTo>
                    <a:lnTo>
                      <a:pt x="428" y="653"/>
                    </a:lnTo>
                    <a:lnTo>
                      <a:pt x="428" y="656"/>
                    </a:lnTo>
                    <a:lnTo>
                      <a:pt x="426" y="658"/>
                    </a:lnTo>
                    <a:lnTo>
                      <a:pt x="426" y="658"/>
                    </a:lnTo>
                    <a:lnTo>
                      <a:pt x="428" y="658"/>
                    </a:lnTo>
                    <a:lnTo>
                      <a:pt x="428" y="658"/>
                    </a:lnTo>
                    <a:lnTo>
                      <a:pt x="430" y="660"/>
                    </a:lnTo>
                    <a:lnTo>
                      <a:pt x="430" y="660"/>
                    </a:lnTo>
                    <a:lnTo>
                      <a:pt x="430" y="660"/>
                    </a:lnTo>
                    <a:lnTo>
                      <a:pt x="433" y="663"/>
                    </a:lnTo>
                    <a:lnTo>
                      <a:pt x="433" y="663"/>
                    </a:lnTo>
                    <a:lnTo>
                      <a:pt x="435" y="660"/>
                    </a:lnTo>
                    <a:lnTo>
                      <a:pt x="435" y="656"/>
                    </a:lnTo>
                    <a:lnTo>
                      <a:pt x="438" y="656"/>
                    </a:lnTo>
                    <a:lnTo>
                      <a:pt x="438" y="656"/>
                    </a:lnTo>
                    <a:lnTo>
                      <a:pt x="440" y="658"/>
                    </a:lnTo>
                    <a:lnTo>
                      <a:pt x="442" y="658"/>
                    </a:lnTo>
                    <a:lnTo>
                      <a:pt x="445" y="656"/>
                    </a:lnTo>
                    <a:lnTo>
                      <a:pt x="445" y="656"/>
                    </a:lnTo>
                    <a:lnTo>
                      <a:pt x="445" y="656"/>
                    </a:lnTo>
                    <a:lnTo>
                      <a:pt x="447" y="658"/>
                    </a:lnTo>
                    <a:lnTo>
                      <a:pt x="449" y="658"/>
                    </a:lnTo>
                    <a:lnTo>
                      <a:pt x="449" y="658"/>
                    </a:lnTo>
                    <a:lnTo>
                      <a:pt x="449" y="658"/>
                    </a:lnTo>
                    <a:lnTo>
                      <a:pt x="452" y="658"/>
                    </a:lnTo>
                    <a:lnTo>
                      <a:pt x="452" y="658"/>
                    </a:lnTo>
                    <a:lnTo>
                      <a:pt x="449" y="658"/>
                    </a:lnTo>
                    <a:lnTo>
                      <a:pt x="449" y="658"/>
                    </a:lnTo>
                    <a:lnTo>
                      <a:pt x="442" y="658"/>
                    </a:lnTo>
                    <a:lnTo>
                      <a:pt x="440" y="658"/>
                    </a:lnTo>
                    <a:lnTo>
                      <a:pt x="438" y="658"/>
                    </a:lnTo>
                    <a:lnTo>
                      <a:pt x="435" y="660"/>
                    </a:lnTo>
                    <a:lnTo>
                      <a:pt x="435" y="660"/>
                    </a:lnTo>
                    <a:lnTo>
                      <a:pt x="435" y="660"/>
                    </a:lnTo>
                    <a:lnTo>
                      <a:pt x="435" y="663"/>
                    </a:lnTo>
                    <a:lnTo>
                      <a:pt x="438" y="665"/>
                    </a:lnTo>
                    <a:lnTo>
                      <a:pt x="438" y="667"/>
                    </a:lnTo>
                    <a:lnTo>
                      <a:pt x="435" y="667"/>
                    </a:lnTo>
                    <a:lnTo>
                      <a:pt x="435" y="670"/>
                    </a:lnTo>
                    <a:lnTo>
                      <a:pt x="438" y="670"/>
                    </a:lnTo>
                    <a:lnTo>
                      <a:pt x="435" y="670"/>
                    </a:lnTo>
                    <a:lnTo>
                      <a:pt x="435" y="670"/>
                    </a:lnTo>
                    <a:lnTo>
                      <a:pt x="435" y="667"/>
                    </a:lnTo>
                    <a:lnTo>
                      <a:pt x="433" y="667"/>
                    </a:lnTo>
                    <a:lnTo>
                      <a:pt x="433" y="665"/>
                    </a:lnTo>
                    <a:lnTo>
                      <a:pt x="433" y="665"/>
                    </a:lnTo>
                    <a:lnTo>
                      <a:pt x="435" y="663"/>
                    </a:lnTo>
                    <a:lnTo>
                      <a:pt x="433" y="663"/>
                    </a:lnTo>
                    <a:lnTo>
                      <a:pt x="433" y="663"/>
                    </a:lnTo>
                    <a:lnTo>
                      <a:pt x="430" y="665"/>
                    </a:lnTo>
                    <a:lnTo>
                      <a:pt x="430" y="667"/>
                    </a:lnTo>
                    <a:lnTo>
                      <a:pt x="430" y="672"/>
                    </a:lnTo>
                    <a:lnTo>
                      <a:pt x="428" y="675"/>
                    </a:lnTo>
                    <a:lnTo>
                      <a:pt x="430" y="679"/>
                    </a:lnTo>
                    <a:lnTo>
                      <a:pt x="435" y="682"/>
                    </a:lnTo>
                    <a:lnTo>
                      <a:pt x="435" y="684"/>
                    </a:lnTo>
                    <a:lnTo>
                      <a:pt x="435" y="684"/>
                    </a:lnTo>
                    <a:lnTo>
                      <a:pt x="433" y="686"/>
                    </a:lnTo>
                    <a:lnTo>
                      <a:pt x="433" y="686"/>
                    </a:lnTo>
                    <a:lnTo>
                      <a:pt x="430" y="689"/>
                    </a:lnTo>
                    <a:lnTo>
                      <a:pt x="428" y="693"/>
                    </a:lnTo>
                    <a:lnTo>
                      <a:pt x="428" y="693"/>
                    </a:lnTo>
                    <a:lnTo>
                      <a:pt x="430" y="698"/>
                    </a:lnTo>
                    <a:lnTo>
                      <a:pt x="430" y="703"/>
                    </a:lnTo>
                    <a:lnTo>
                      <a:pt x="430" y="705"/>
                    </a:lnTo>
                    <a:lnTo>
                      <a:pt x="433" y="705"/>
                    </a:lnTo>
                    <a:lnTo>
                      <a:pt x="433" y="708"/>
                    </a:lnTo>
                    <a:lnTo>
                      <a:pt x="433" y="710"/>
                    </a:lnTo>
                    <a:lnTo>
                      <a:pt x="435" y="712"/>
                    </a:lnTo>
                    <a:lnTo>
                      <a:pt x="435" y="715"/>
                    </a:lnTo>
                    <a:lnTo>
                      <a:pt x="438" y="715"/>
                    </a:lnTo>
                    <a:lnTo>
                      <a:pt x="435" y="717"/>
                    </a:lnTo>
                    <a:lnTo>
                      <a:pt x="435" y="720"/>
                    </a:lnTo>
                    <a:lnTo>
                      <a:pt x="438" y="720"/>
                    </a:lnTo>
                    <a:lnTo>
                      <a:pt x="438" y="720"/>
                    </a:lnTo>
                    <a:lnTo>
                      <a:pt x="438" y="722"/>
                    </a:lnTo>
                    <a:lnTo>
                      <a:pt x="435" y="724"/>
                    </a:lnTo>
                    <a:lnTo>
                      <a:pt x="435" y="727"/>
                    </a:lnTo>
                    <a:lnTo>
                      <a:pt x="435" y="729"/>
                    </a:lnTo>
                    <a:lnTo>
                      <a:pt x="435" y="731"/>
                    </a:lnTo>
                    <a:lnTo>
                      <a:pt x="433" y="731"/>
                    </a:lnTo>
                    <a:lnTo>
                      <a:pt x="435" y="734"/>
                    </a:lnTo>
                    <a:lnTo>
                      <a:pt x="435" y="734"/>
                    </a:lnTo>
                    <a:lnTo>
                      <a:pt x="435" y="734"/>
                    </a:lnTo>
                    <a:lnTo>
                      <a:pt x="440" y="734"/>
                    </a:lnTo>
                    <a:lnTo>
                      <a:pt x="442" y="734"/>
                    </a:lnTo>
                    <a:lnTo>
                      <a:pt x="445" y="736"/>
                    </a:lnTo>
                    <a:lnTo>
                      <a:pt x="447" y="736"/>
                    </a:lnTo>
                    <a:lnTo>
                      <a:pt x="449" y="736"/>
                    </a:lnTo>
                    <a:lnTo>
                      <a:pt x="452" y="736"/>
                    </a:lnTo>
                    <a:lnTo>
                      <a:pt x="454" y="738"/>
                    </a:lnTo>
                    <a:lnTo>
                      <a:pt x="454" y="741"/>
                    </a:lnTo>
                    <a:lnTo>
                      <a:pt x="454" y="743"/>
                    </a:lnTo>
                    <a:lnTo>
                      <a:pt x="459" y="743"/>
                    </a:lnTo>
                    <a:lnTo>
                      <a:pt x="464" y="743"/>
                    </a:lnTo>
                    <a:lnTo>
                      <a:pt x="466" y="743"/>
                    </a:lnTo>
                    <a:lnTo>
                      <a:pt x="466" y="748"/>
                    </a:lnTo>
                    <a:lnTo>
                      <a:pt x="466" y="750"/>
                    </a:lnTo>
                    <a:lnTo>
                      <a:pt x="466" y="750"/>
                    </a:lnTo>
                    <a:lnTo>
                      <a:pt x="468" y="750"/>
                    </a:lnTo>
                    <a:lnTo>
                      <a:pt x="468" y="750"/>
                    </a:lnTo>
                    <a:lnTo>
                      <a:pt x="471" y="750"/>
                    </a:lnTo>
                    <a:lnTo>
                      <a:pt x="471" y="753"/>
                    </a:lnTo>
                    <a:lnTo>
                      <a:pt x="473" y="755"/>
                    </a:lnTo>
                    <a:lnTo>
                      <a:pt x="478" y="760"/>
                    </a:lnTo>
                    <a:lnTo>
                      <a:pt x="478" y="765"/>
                    </a:lnTo>
                    <a:lnTo>
                      <a:pt x="478" y="767"/>
                    </a:lnTo>
                    <a:lnTo>
                      <a:pt x="478" y="769"/>
                    </a:lnTo>
                    <a:lnTo>
                      <a:pt x="478" y="769"/>
                    </a:lnTo>
                    <a:lnTo>
                      <a:pt x="475" y="772"/>
                    </a:lnTo>
                    <a:lnTo>
                      <a:pt x="478" y="772"/>
                    </a:lnTo>
                    <a:lnTo>
                      <a:pt x="478" y="774"/>
                    </a:lnTo>
                    <a:lnTo>
                      <a:pt x="478" y="776"/>
                    </a:lnTo>
                    <a:lnTo>
                      <a:pt x="478" y="776"/>
                    </a:lnTo>
                    <a:lnTo>
                      <a:pt x="483" y="774"/>
                    </a:lnTo>
                    <a:lnTo>
                      <a:pt x="487" y="774"/>
                    </a:lnTo>
                    <a:lnTo>
                      <a:pt x="492" y="774"/>
                    </a:lnTo>
                    <a:lnTo>
                      <a:pt x="499" y="774"/>
                    </a:lnTo>
                    <a:lnTo>
                      <a:pt x="504" y="774"/>
                    </a:lnTo>
                    <a:lnTo>
                      <a:pt x="509" y="774"/>
                    </a:lnTo>
                    <a:lnTo>
                      <a:pt x="513" y="772"/>
                    </a:lnTo>
                    <a:lnTo>
                      <a:pt x="520" y="772"/>
                    </a:lnTo>
                    <a:lnTo>
                      <a:pt x="520" y="772"/>
                    </a:lnTo>
                    <a:lnTo>
                      <a:pt x="518" y="774"/>
                    </a:lnTo>
                    <a:lnTo>
                      <a:pt x="518" y="776"/>
                    </a:lnTo>
                    <a:lnTo>
                      <a:pt x="525" y="779"/>
                    </a:lnTo>
                    <a:lnTo>
                      <a:pt x="532" y="783"/>
                    </a:lnTo>
                    <a:lnTo>
                      <a:pt x="539" y="786"/>
                    </a:lnTo>
                    <a:lnTo>
                      <a:pt x="546" y="788"/>
                    </a:lnTo>
                    <a:lnTo>
                      <a:pt x="553" y="791"/>
                    </a:lnTo>
                    <a:lnTo>
                      <a:pt x="561" y="795"/>
                    </a:lnTo>
                    <a:lnTo>
                      <a:pt x="568" y="798"/>
                    </a:lnTo>
                    <a:lnTo>
                      <a:pt x="575" y="800"/>
                    </a:lnTo>
                    <a:lnTo>
                      <a:pt x="582" y="800"/>
                    </a:lnTo>
                    <a:lnTo>
                      <a:pt x="589" y="800"/>
                    </a:lnTo>
                    <a:lnTo>
                      <a:pt x="594" y="800"/>
                    </a:lnTo>
                    <a:lnTo>
                      <a:pt x="601" y="800"/>
                    </a:lnTo>
                    <a:lnTo>
                      <a:pt x="608" y="800"/>
                    </a:lnTo>
                    <a:lnTo>
                      <a:pt x="613" y="800"/>
                    </a:lnTo>
                    <a:lnTo>
                      <a:pt x="620" y="800"/>
                    </a:lnTo>
                    <a:lnTo>
                      <a:pt x="627" y="800"/>
                    </a:lnTo>
                    <a:lnTo>
                      <a:pt x="627" y="798"/>
                    </a:lnTo>
                    <a:lnTo>
                      <a:pt x="629" y="795"/>
                    </a:lnTo>
                    <a:lnTo>
                      <a:pt x="629" y="793"/>
                    </a:lnTo>
                    <a:lnTo>
                      <a:pt x="629" y="791"/>
                    </a:lnTo>
                    <a:lnTo>
                      <a:pt x="634" y="791"/>
                    </a:lnTo>
                    <a:lnTo>
                      <a:pt x="639" y="791"/>
                    </a:lnTo>
                    <a:lnTo>
                      <a:pt x="641" y="791"/>
                    </a:lnTo>
                    <a:lnTo>
                      <a:pt x="646" y="791"/>
                    </a:lnTo>
                    <a:lnTo>
                      <a:pt x="650" y="791"/>
                    </a:lnTo>
                    <a:lnTo>
                      <a:pt x="653" y="791"/>
                    </a:lnTo>
                    <a:lnTo>
                      <a:pt x="658" y="791"/>
                    </a:lnTo>
                    <a:lnTo>
                      <a:pt x="660" y="791"/>
                    </a:lnTo>
                    <a:lnTo>
                      <a:pt x="662" y="791"/>
                    </a:lnTo>
                    <a:lnTo>
                      <a:pt x="662" y="791"/>
                    </a:lnTo>
                    <a:lnTo>
                      <a:pt x="662" y="793"/>
                    </a:lnTo>
                    <a:lnTo>
                      <a:pt x="662" y="795"/>
                    </a:lnTo>
                    <a:lnTo>
                      <a:pt x="665" y="798"/>
                    </a:lnTo>
                    <a:lnTo>
                      <a:pt x="667" y="800"/>
                    </a:lnTo>
                    <a:lnTo>
                      <a:pt x="669" y="802"/>
                    </a:lnTo>
                    <a:lnTo>
                      <a:pt x="672" y="807"/>
                    </a:lnTo>
                    <a:lnTo>
                      <a:pt x="674" y="812"/>
                    </a:lnTo>
                    <a:lnTo>
                      <a:pt x="679" y="814"/>
                    </a:lnTo>
                    <a:lnTo>
                      <a:pt x="679" y="814"/>
                    </a:lnTo>
                    <a:lnTo>
                      <a:pt x="679" y="817"/>
                    </a:lnTo>
                    <a:lnTo>
                      <a:pt x="681" y="819"/>
                    </a:lnTo>
                    <a:lnTo>
                      <a:pt x="681" y="826"/>
                    </a:lnTo>
                    <a:lnTo>
                      <a:pt x="681" y="828"/>
                    </a:lnTo>
                    <a:lnTo>
                      <a:pt x="681" y="831"/>
                    </a:lnTo>
                    <a:lnTo>
                      <a:pt x="681" y="836"/>
                    </a:lnTo>
                    <a:lnTo>
                      <a:pt x="684" y="838"/>
                    </a:lnTo>
                    <a:lnTo>
                      <a:pt x="684" y="838"/>
                    </a:lnTo>
                    <a:lnTo>
                      <a:pt x="686" y="840"/>
                    </a:lnTo>
                    <a:lnTo>
                      <a:pt x="686" y="843"/>
                    </a:lnTo>
                    <a:lnTo>
                      <a:pt x="688" y="843"/>
                    </a:lnTo>
                    <a:lnTo>
                      <a:pt x="691" y="843"/>
                    </a:lnTo>
                    <a:lnTo>
                      <a:pt x="693" y="845"/>
                    </a:lnTo>
                    <a:lnTo>
                      <a:pt x="698" y="847"/>
                    </a:lnTo>
                    <a:lnTo>
                      <a:pt x="700" y="850"/>
                    </a:lnTo>
                    <a:lnTo>
                      <a:pt x="700" y="850"/>
                    </a:lnTo>
                    <a:lnTo>
                      <a:pt x="703" y="850"/>
                    </a:lnTo>
                    <a:lnTo>
                      <a:pt x="705" y="847"/>
                    </a:lnTo>
                    <a:lnTo>
                      <a:pt x="707" y="845"/>
                    </a:lnTo>
                    <a:lnTo>
                      <a:pt x="707" y="845"/>
                    </a:lnTo>
                    <a:lnTo>
                      <a:pt x="707" y="845"/>
                    </a:lnTo>
                    <a:lnTo>
                      <a:pt x="707" y="843"/>
                    </a:lnTo>
                    <a:lnTo>
                      <a:pt x="710" y="840"/>
                    </a:lnTo>
                    <a:lnTo>
                      <a:pt x="712" y="836"/>
                    </a:lnTo>
                    <a:lnTo>
                      <a:pt x="717" y="833"/>
                    </a:lnTo>
                    <a:lnTo>
                      <a:pt x="719" y="833"/>
                    </a:lnTo>
                    <a:lnTo>
                      <a:pt x="719" y="833"/>
                    </a:lnTo>
                    <a:lnTo>
                      <a:pt x="721" y="831"/>
                    </a:lnTo>
                    <a:lnTo>
                      <a:pt x="724" y="831"/>
                    </a:lnTo>
                    <a:lnTo>
                      <a:pt x="724" y="833"/>
                    </a:lnTo>
                    <a:lnTo>
                      <a:pt x="726" y="833"/>
                    </a:lnTo>
                    <a:lnTo>
                      <a:pt x="731" y="833"/>
                    </a:lnTo>
                    <a:lnTo>
                      <a:pt x="733" y="833"/>
                    </a:lnTo>
                    <a:lnTo>
                      <a:pt x="736" y="833"/>
                    </a:lnTo>
                    <a:lnTo>
                      <a:pt x="736" y="833"/>
                    </a:lnTo>
                    <a:lnTo>
                      <a:pt x="736" y="833"/>
                    </a:lnTo>
                    <a:lnTo>
                      <a:pt x="736" y="833"/>
                    </a:lnTo>
                    <a:lnTo>
                      <a:pt x="738" y="833"/>
                    </a:lnTo>
                    <a:lnTo>
                      <a:pt x="738" y="833"/>
                    </a:lnTo>
                    <a:lnTo>
                      <a:pt x="738" y="836"/>
                    </a:lnTo>
                    <a:lnTo>
                      <a:pt x="743" y="840"/>
                    </a:lnTo>
                    <a:lnTo>
                      <a:pt x="743" y="840"/>
                    </a:lnTo>
                    <a:lnTo>
                      <a:pt x="743" y="843"/>
                    </a:lnTo>
                    <a:lnTo>
                      <a:pt x="743" y="843"/>
                    </a:lnTo>
                    <a:lnTo>
                      <a:pt x="745" y="845"/>
                    </a:lnTo>
                    <a:lnTo>
                      <a:pt x="747" y="847"/>
                    </a:lnTo>
                    <a:lnTo>
                      <a:pt x="747" y="850"/>
                    </a:lnTo>
                    <a:lnTo>
                      <a:pt x="747" y="854"/>
                    </a:lnTo>
                    <a:lnTo>
                      <a:pt x="747" y="859"/>
                    </a:lnTo>
                    <a:lnTo>
                      <a:pt x="750" y="862"/>
                    </a:lnTo>
                    <a:lnTo>
                      <a:pt x="750" y="862"/>
                    </a:lnTo>
                    <a:lnTo>
                      <a:pt x="750" y="862"/>
                    </a:lnTo>
                    <a:lnTo>
                      <a:pt x="750" y="864"/>
                    </a:lnTo>
                    <a:lnTo>
                      <a:pt x="750" y="866"/>
                    </a:lnTo>
                    <a:lnTo>
                      <a:pt x="752" y="866"/>
                    </a:lnTo>
                    <a:lnTo>
                      <a:pt x="752" y="871"/>
                    </a:lnTo>
                    <a:lnTo>
                      <a:pt x="755" y="873"/>
                    </a:lnTo>
                    <a:lnTo>
                      <a:pt x="755" y="876"/>
                    </a:lnTo>
                    <a:lnTo>
                      <a:pt x="757" y="878"/>
                    </a:lnTo>
                    <a:lnTo>
                      <a:pt x="759" y="881"/>
                    </a:lnTo>
                    <a:lnTo>
                      <a:pt x="759" y="883"/>
                    </a:lnTo>
                    <a:lnTo>
                      <a:pt x="759" y="883"/>
                    </a:lnTo>
                    <a:lnTo>
                      <a:pt x="757" y="885"/>
                    </a:lnTo>
                    <a:lnTo>
                      <a:pt x="757" y="885"/>
                    </a:lnTo>
                    <a:lnTo>
                      <a:pt x="757" y="888"/>
                    </a:lnTo>
                    <a:lnTo>
                      <a:pt x="757" y="888"/>
                    </a:lnTo>
                    <a:lnTo>
                      <a:pt x="757" y="890"/>
                    </a:lnTo>
                    <a:lnTo>
                      <a:pt x="757" y="890"/>
                    </a:lnTo>
                    <a:lnTo>
                      <a:pt x="757" y="890"/>
                    </a:lnTo>
                    <a:lnTo>
                      <a:pt x="757" y="892"/>
                    </a:lnTo>
                    <a:lnTo>
                      <a:pt x="759" y="895"/>
                    </a:lnTo>
                    <a:lnTo>
                      <a:pt x="759" y="897"/>
                    </a:lnTo>
                    <a:lnTo>
                      <a:pt x="759" y="902"/>
                    </a:lnTo>
                    <a:lnTo>
                      <a:pt x="759" y="902"/>
                    </a:lnTo>
                    <a:lnTo>
                      <a:pt x="759" y="904"/>
                    </a:lnTo>
                    <a:lnTo>
                      <a:pt x="762" y="904"/>
                    </a:lnTo>
                    <a:lnTo>
                      <a:pt x="764" y="904"/>
                    </a:lnTo>
                    <a:lnTo>
                      <a:pt x="766" y="907"/>
                    </a:lnTo>
                    <a:lnTo>
                      <a:pt x="766" y="907"/>
                    </a:lnTo>
                    <a:lnTo>
                      <a:pt x="769" y="909"/>
                    </a:lnTo>
                    <a:lnTo>
                      <a:pt x="771" y="909"/>
                    </a:lnTo>
                    <a:lnTo>
                      <a:pt x="771" y="909"/>
                    </a:lnTo>
                    <a:lnTo>
                      <a:pt x="773" y="911"/>
                    </a:lnTo>
                    <a:lnTo>
                      <a:pt x="776" y="911"/>
                    </a:lnTo>
                    <a:lnTo>
                      <a:pt x="783" y="914"/>
                    </a:lnTo>
                    <a:lnTo>
                      <a:pt x="785" y="914"/>
                    </a:lnTo>
                    <a:lnTo>
                      <a:pt x="788" y="916"/>
                    </a:lnTo>
                    <a:lnTo>
                      <a:pt x="788" y="916"/>
                    </a:lnTo>
                    <a:lnTo>
                      <a:pt x="790" y="916"/>
                    </a:lnTo>
                    <a:lnTo>
                      <a:pt x="790" y="916"/>
                    </a:lnTo>
                    <a:lnTo>
                      <a:pt x="790" y="916"/>
                    </a:lnTo>
                    <a:lnTo>
                      <a:pt x="790" y="914"/>
                    </a:lnTo>
                    <a:lnTo>
                      <a:pt x="792" y="914"/>
                    </a:lnTo>
                    <a:lnTo>
                      <a:pt x="795" y="914"/>
                    </a:lnTo>
                    <a:lnTo>
                      <a:pt x="795" y="911"/>
                    </a:lnTo>
                    <a:lnTo>
                      <a:pt x="792" y="911"/>
                    </a:lnTo>
                    <a:lnTo>
                      <a:pt x="790" y="904"/>
                    </a:lnTo>
                    <a:lnTo>
                      <a:pt x="790" y="904"/>
                    </a:lnTo>
                    <a:lnTo>
                      <a:pt x="790" y="899"/>
                    </a:lnTo>
                    <a:lnTo>
                      <a:pt x="790" y="897"/>
                    </a:lnTo>
                    <a:lnTo>
                      <a:pt x="790" y="895"/>
                    </a:lnTo>
                    <a:lnTo>
                      <a:pt x="790" y="892"/>
                    </a:lnTo>
                    <a:lnTo>
                      <a:pt x="792" y="890"/>
                    </a:lnTo>
                    <a:lnTo>
                      <a:pt x="792" y="890"/>
                    </a:lnTo>
                    <a:lnTo>
                      <a:pt x="792" y="888"/>
                    </a:lnTo>
                    <a:lnTo>
                      <a:pt x="792" y="888"/>
                    </a:lnTo>
                    <a:lnTo>
                      <a:pt x="790" y="885"/>
                    </a:lnTo>
                    <a:lnTo>
                      <a:pt x="790" y="883"/>
                    </a:lnTo>
                    <a:lnTo>
                      <a:pt x="790" y="883"/>
                    </a:lnTo>
                    <a:lnTo>
                      <a:pt x="792" y="885"/>
                    </a:lnTo>
                    <a:lnTo>
                      <a:pt x="795" y="885"/>
                    </a:lnTo>
                    <a:lnTo>
                      <a:pt x="795" y="885"/>
                    </a:lnTo>
                    <a:lnTo>
                      <a:pt x="797" y="883"/>
                    </a:lnTo>
                    <a:lnTo>
                      <a:pt x="799" y="878"/>
                    </a:lnTo>
                    <a:lnTo>
                      <a:pt x="797" y="873"/>
                    </a:lnTo>
                    <a:lnTo>
                      <a:pt x="797" y="873"/>
                    </a:lnTo>
                    <a:lnTo>
                      <a:pt x="799" y="873"/>
                    </a:lnTo>
                    <a:lnTo>
                      <a:pt x="802" y="873"/>
                    </a:lnTo>
                    <a:lnTo>
                      <a:pt x="802" y="873"/>
                    </a:lnTo>
                    <a:lnTo>
                      <a:pt x="804" y="871"/>
                    </a:lnTo>
                    <a:lnTo>
                      <a:pt x="807" y="869"/>
                    </a:lnTo>
                    <a:lnTo>
                      <a:pt x="804" y="869"/>
                    </a:lnTo>
                    <a:lnTo>
                      <a:pt x="804" y="869"/>
                    </a:lnTo>
                    <a:lnTo>
                      <a:pt x="804" y="869"/>
                    </a:lnTo>
                    <a:lnTo>
                      <a:pt x="807" y="869"/>
                    </a:lnTo>
                    <a:lnTo>
                      <a:pt x="807" y="869"/>
                    </a:lnTo>
                    <a:lnTo>
                      <a:pt x="809" y="866"/>
                    </a:lnTo>
                    <a:lnTo>
                      <a:pt x="809" y="866"/>
                    </a:lnTo>
                    <a:lnTo>
                      <a:pt x="809" y="866"/>
                    </a:lnTo>
                    <a:lnTo>
                      <a:pt x="809" y="869"/>
                    </a:lnTo>
                    <a:lnTo>
                      <a:pt x="811" y="866"/>
                    </a:lnTo>
                    <a:lnTo>
                      <a:pt x="811" y="866"/>
                    </a:lnTo>
                    <a:lnTo>
                      <a:pt x="811" y="864"/>
                    </a:lnTo>
                    <a:lnTo>
                      <a:pt x="814" y="862"/>
                    </a:lnTo>
                    <a:lnTo>
                      <a:pt x="814" y="864"/>
                    </a:lnTo>
                    <a:lnTo>
                      <a:pt x="816" y="864"/>
                    </a:lnTo>
                    <a:lnTo>
                      <a:pt x="818" y="862"/>
                    </a:lnTo>
                    <a:lnTo>
                      <a:pt x="818" y="862"/>
                    </a:lnTo>
                    <a:lnTo>
                      <a:pt x="818" y="862"/>
                    </a:lnTo>
                    <a:lnTo>
                      <a:pt x="818" y="862"/>
                    </a:lnTo>
                    <a:lnTo>
                      <a:pt x="816" y="857"/>
                    </a:lnTo>
                    <a:lnTo>
                      <a:pt x="818" y="857"/>
                    </a:lnTo>
                    <a:lnTo>
                      <a:pt x="818" y="857"/>
                    </a:lnTo>
                    <a:lnTo>
                      <a:pt x="818" y="857"/>
                    </a:lnTo>
                    <a:lnTo>
                      <a:pt x="818" y="857"/>
                    </a:lnTo>
                    <a:lnTo>
                      <a:pt x="818" y="859"/>
                    </a:lnTo>
                    <a:lnTo>
                      <a:pt x="821" y="857"/>
                    </a:lnTo>
                    <a:lnTo>
                      <a:pt x="821" y="857"/>
                    </a:lnTo>
                    <a:lnTo>
                      <a:pt x="823" y="857"/>
                    </a:lnTo>
                    <a:lnTo>
                      <a:pt x="826" y="857"/>
                    </a:lnTo>
                    <a:lnTo>
                      <a:pt x="828" y="857"/>
                    </a:lnTo>
                    <a:lnTo>
                      <a:pt x="826" y="859"/>
                    </a:lnTo>
                    <a:lnTo>
                      <a:pt x="823" y="862"/>
                    </a:lnTo>
                    <a:lnTo>
                      <a:pt x="823" y="862"/>
                    </a:lnTo>
                    <a:lnTo>
                      <a:pt x="828" y="859"/>
                    </a:lnTo>
                    <a:lnTo>
                      <a:pt x="830" y="857"/>
                    </a:lnTo>
                    <a:lnTo>
                      <a:pt x="833" y="857"/>
                    </a:lnTo>
                    <a:lnTo>
                      <a:pt x="835" y="854"/>
                    </a:lnTo>
                    <a:lnTo>
                      <a:pt x="840" y="852"/>
                    </a:lnTo>
                    <a:lnTo>
                      <a:pt x="842" y="850"/>
                    </a:lnTo>
                    <a:lnTo>
                      <a:pt x="844" y="847"/>
                    </a:lnTo>
                    <a:lnTo>
                      <a:pt x="847" y="847"/>
                    </a:lnTo>
                    <a:lnTo>
                      <a:pt x="849" y="845"/>
                    </a:lnTo>
                    <a:lnTo>
                      <a:pt x="852" y="843"/>
                    </a:lnTo>
                    <a:lnTo>
                      <a:pt x="852" y="840"/>
                    </a:lnTo>
                    <a:lnTo>
                      <a:pt x="852" y="838"/>
                    </a:lnTo>
                    <a:lnTo>
                      <a:pt x="852" y="836"/>
                    </a:lnTo>
                    <a:lnTo>
                      <a:pt x="852" y="836"/>
                    </a:lnTo>
                    <a:lnTo>
                      <a:pt x="854" y="836"/>
                    </a:lnTo>
                    <a:lnTo>
                      <a:pt x="854" y="836"/>
                    </a:lnTo>
                    <a:lnTo>
                      <a:pt x="856" y="833"/>
                    </a:lnTo>
                    <a:lnTo>
                      <a:pt x="856" y="833"/>
                    </a:lnTo>
                    <a:lnTo>
                      <a:pt x="856" y="836"/>
                    </a:lnTo>
                    <a:lnTo>
                      <a:pt x="854" y="838"/>
                    </a:lnTo>
                    <a:lnTo>
                      <a:pt x="856" y="838"/>
                    </a:lnTo>
                    <a:lnTo>
                      <a:pt x="859" y="838"/>
                    </a:lnTo>
                    <a:lnTo>
                      <a:pt x="859" y="838"/>
                    </a:lnTo>
                    <a:lnTo>
                      <a:pt x="854" y="840"/>
                    </a:lnTo>
                    <a:lnTo>
                      <a:pt x="854" y="843"/>
                    </a:lnTo>
                    <a:lnTo>
                      <a:pt x="859" y="840"/>
                    </a:lnTo>
                    <a:lnTo>
                      <a:pt x="868" y="836"/>
                    </a:lnTo>
                    <a:lnTo>
                      <a:pt x="873" y="836"/>
                    </a:lnTo>
                    <a:lnTo>
                      <a:pt x="873" y="836"/>
                    </a:lnTo>
                    <a:lnTo>
                      <a:pt x="870" y="833"/>
                    </a:lnTo>
                    <a:lnTo>
                      <a:pt x="875" y="828"/>
                    </a:lnTo>
                    <a:lnTo>
                      <a:pt x="875" y="828"/>
                    </a:lnTo>
                    <a:lnTo>
                      <a:pt x="875" y="831"/>
                    </a:lnTo>
                    <a:lnTo>
                      <a:pt x="875" y="831"/>
                    </a:lnTo>
                    <a:lnTo>
                      <a:pt x="875" y="833"/>
                    </a:lnTo>
                    <a:lnTo>
                      <a:pt x="873" y="833"/>
                    </a:lnTo>
                    <a:lnTo>
                      <a:pt x="873" y="833"/>
                    </a:lnTo>
                    <a:lnTo>
                      <a:pt x="873" y="833"/>
                    </a:lnTo>
                    <a:lnTo>
                      <a:pt x="873" y="836"/>
                    </a:lnTo>
                    <a:lnTo>
                      <a:pt x="875" y="833"/>
                    </a:lnTo>
                    <a:lnTo>
                      <a:pt x="875" y="833"/>
                    </a:lnTo>
                    <a:lnTo>
                      <a:pt x="882" y="833"/>
                    </a:lnTo>
                    <a:lnTo>
                      <a:pt x="882" y="833"/>
                    </a:lnTo>
                    <a:lnTo>
                      <a:pt x="885" y="833"/>
                    </a:lnTo>
                    <a:lnTo>
                      <a:pt x="889" y="836"/>
                    </a:lnTo>
                    <a:lnTo>
                      <a:pt x="892" y="836"/>
                    </a:lnTo>
                    <a:lnTo>
                      <a:pt x="894" y="838"/>
                    </a:lnTo>
                    <a:lnTo>
                      <a:pt x="901" y="838"/>
                    </a:lnTo>
                    <a:lnTo>
                      <a:pt x="904" y="838"/>
                    </a:lnTo>
                    <a:lnTo>
                      <a:pt x="904" y="838"/>
                    </a:lnTo>
                    <a:lnTo>
                      <a:pt x="904" y="836"/>
                    </a:lnTo>
                    <a:lnTo>
                      <a:pt x="904" y="836"/>
                    </a:lnTo>
                    <a:lnTo>
                      <a:pt x="904" y="833"/>
                    </a:lnTo>
                    <a:lnTo>
                      <a:pt x="906" y="833"/>
                    </a:lnTo>
                    <a:lnTo>
                      <a:pt x="908" y="833"/>
                    </a:lnTo>
                    <a:lnTo>
                      <a:pt x="908" y="833"/>
                    </a:lnTo>
                    <a:lnTo>
                      <a:pt x="913" y="833"/>
                    </a:lnTo>
                    <a:lnTo>
                      <a:pt x="913" y="838"/>
                    </a:lnTo>
                    <a:lnTo>
                      <a:pt x="913" y="838"/>
                    </a:lnTo>
                    <a:lnTo>
                      <a:pt x="918" y="840"/>
                    </a:lnTo>
                    <a:lnTo>
                      <a:pt x="918" y="838"/>
                    </a:lnTo>
                    <a:lnTo>
                      <a:pt x="918" y="838"/>
                    </a:lnTo>
                    <a:lnTo>
                      <a:pt x="918" y="840"/>
                    </a:lnTo>
                    <a:lnTo>
                      <a:pt x="918" y="840"/>
                    </a:lnTo>
                    <a:lnTo>
                      <a:pt x="918" y="843"/>
                    </a:lnTo>
                    <a:lnTo>
                      <a:pt x="918" y="843"/>
                    </a:lnTo>
                    <a:lnTo>
                      <a:pt x="918" y="843"/>
                    </a:lnTo>
                    <a:lnTo>
                      <a:pt x="915" y="843"/>
                    </a:lnTo>
                    <a:lnTo>
                      <a:pt x="915" y="845"/>
                    </a:lnTo>
                    <a:lnTo>
                      <a:pt x="920" y="845"/>
                    </a:lnTo>
                    <a:lnTo>
                      <a:pt x="925" y="847"/>
                    </a:lnTo>
                    <a:lnTo>
                      <a:pt x="927" y="847"/>
                    </a:lnTo>
                    <a:lnTo>
                      <a:pt x="930" y="845"/>
                    </a:lnTo>
                    <a:lnTo>
                      <a:pt x="930" y="843"/>
                    </a:lnTo>
                    <a:lnTo>
                      <a:pt x="932" y="843"/>
                    </a:lnTo>
                    <a:lnTo>
                      <a:pt x="934" y="845"/>
                    </a:lnTo>
                    <a:lnTo>
                      <a:pt x="934" y="847"/>
                    </a:lnTo>
                    <a:lnTo>
                      <a:pt x="934" y="847"/>
                    </a:lnTo>
                    <a:lnTo>
                      <a:pt x="937" y="847"/>
                    </a:lnTo>
                    <a:lnTo>
                      <a:pt x="937" y="845"/>
                    </a:lnTo>
                    <a:lnTo>
                      <a:pt x="937" y="845"/>
                    </a:lnTo>
                    <a:lnTo>
                      <a:pt x="939" y="843"/>
                    </a:lnTo>
                    <a:lnTo>
                      <a:pt x="939" y="843"/>
                    </a:lnTo>
                    <a:lnTo>
                      <a:pt x="939" y="840"/>
                    </a:lnTo>
                    <a:lnTo>
                      <a:pt x="939" y="840"/>
                    </a:lnTo>
                    <a:lnTo>
                      <a:pt x="937" y="840"/>
                    </a:lnTo>
                    <a:lnTo>
                      <a:pt x="937" y="840"/>
                    </a:lnTo>
                    <a:lnTo>
                      <a:pt x="937" y="838"/>
                    </a:lnTo>
                    <a:lnTo>
                      <a:pt x="941" y="840"/>
                    </a:lnTo>
                    <a:lnTo>
                      <a:pt x="944" y="840"/>
                    </a:lnTo>
                    <a:lnTo>
                      <a:pt x="944" y="843"/>
                    </a:lnTo>
                    <a:lnTo>
                      <a:pt x="944" y="843"/>
                    </a:lnTo>
                    <a:lnTo>
                      <a:pt x="944" y="843"/>
                    </a:lnTo>
                    <a:lnTo>
                      <a:pt x="946" y="843"/>
                    </a:lnTo>
                    <a:lnTo>
                      <a:pt x="946" y="843"/>
                    </a:lnTo>
                    <a:lnTo>
                      <a:pt x="946" y="845"/>
                    </a:lnTo>
                    <a:lnTo>
                      <a:pt x="949" y="845"/>
                    </a:lnTo>
                    <a:lnTo>
                      <a:pt x="949" y="845"/>
                    </a:lnTo>
                    <a:lnTo>
                      <a:pt x="949" y="847"/>
                    </a:lnTo>
                    <a:lnTo>
                      <a:pt x="951" y="847"/>
                    </a:lnTo>
                    <a:lnTo>
                      <a:pt x="949" y="850"/>
                    </a:lnTo>
                    <a:lnTo>
                      <a:pt x="951" y="850"/>
                    </a:lnTo>
                    <a:lnTo>
                      <a:pt x="951" y="847"/>
                    </a:lnTo>
                    <a:lnTo>
                      <a:pt x="953" y="850"/>
                    </a:lnTo>
                    <a:lnTo>
                      <a:pt x="953" y="850"/>
                    </a:lnTo>
                    <a:lnTo>
                      <a:pt x="953" y="850"/>
                    </a:lnTo>
                    <a:lnTo>
                      <a:pt x="953" y="847"/>
                    </a:lnTo>
                    <a:lnTo>
                      <a:pt x="956" y="847"/>
                    </a:lnTo>
                    <a:lnTo>
                      <a:pt x="956" y="845"/>
                    </a:lnTo>
                    <a:lnTo>
                      <a:pt x="956" y="845"/>
                    </a:lnTo>
                    <a:lnTo>
                      <a:pt x="956" y="845"/>
                    </a:lnTo>
                    <a:lnTo>
                      <a:pt x="953" y="843"/>
                    </a:lnTo>
                    <a:lnTo>
                      <a:pt x="953" y="843"/>
                    </a:lnTo>
                    <a:lnTo>
                      <a:pt x="949" y="840"/>
                    </a:lnTo>
                    <a:lnTo>
                      <a:pt x="949" y="840"/>
                    </a:lnTo>
                    <a:lnTo>
                      <a:pt x="946" y="838"/>
                    </a:lnTo>
                    <a:lnTo>
                      <a:pt x="946" y="838"/>
                    </a:lnTo>
                    <a:lnTo>
                      <a:pt x="946" y="836"/>
                    </a:lnTo>
                    <a:lnTo>
                      <a:pt x="946" y="836"/>
                    </a:lnTo>
                    <a:lnTo>
                      <a:pt x="949" y="836"/>
                    </a:lnTo>
                    <a:lnTo>
                      <a:pt x="949" y="836"/>
                    </a:lnTo>
                    <a:lnTo>
                      <a:pt x="949" y="836"/>
                    </a:lnTo>
                    <a:lnTo>
                      <a:pt x="949" y="836"/>
                    </a:lnTo>
                    <a:lnTo>
                      <a:pt x="951" y="833"/>
                    </a:lnTo>
                    <a:lnTo>
                      <a:pt x="951" y="833"/>
                    </a:lnTo>
                    <a:lnTo>
                      <a:pt x="953" y="833"/>
                    </a:lnTo>
                    <a:lnTo>
                      <a:pt x="953" y="833"/>
                    </a:lnTo>
                    <a:lnTo>
                      <a:pt x="953" y="831"/>
                    </a:lnTo>
                    <a:lnTo>
                      <a:pt x="953" y="828"/>
                    </a:lnTo>
                    <a:lnTo>
                      <a:pt x="953" y="828"/>
                    </a:lnTo>
                    <a:lnTo>
                      <a:pt x="953" y="828"/>
                    </a:lnTo>
                    <a:lnTo>
                      <a:pt x="953" y="828"/>
                    </a:lnTo>
                    <a:lnTo>
                      <a:pt x="951" y="828"/>
                    </a:lnTo>
                    <a:lnTo>
                      <a:pt x="951" y="831"/>
                    </a:lnTo>
                    <a:lnTo>
                      <a:pt x="949" y="831"/>
                    </a:lnTo>
                    <a:lnTo>
                      <a:pt x="949" y="831"/>
                    </a:lnTo>
                    <a:lnTo>
                      <a:pt x="946" y="828"/>
                    </a:lnTo>
                    <a:lnTo>
                      <a:pt x="949" y="828"/>
                    </a:lnTo>
                    <a:lnTo>
                      <a:pt x="949" y="826"/>
                    </a:lnTo>
                    <a:lnTo>
                      <a:pt x="951" y="826"/>
                    </a:lnTo>
                    <a:lnTo>
                      <a:pt x="951" y="826"/>
                    </a:lnTo>
                    <a:lnTo>
                      <a:pt x="949" y="826"/>
                    </a:lnTo>
                    <a:lnTo>
                      <a:pt x="949" y="826"/>
                    </a:lnTo>
                    <a:lnTo>
                      <a:pt x="949" y="826"/>
                    </a:lnTo>
                    <a:lnTo>
                      <a:pt x="946" y="826"/>
                    </a:lnTo>
                    <a:lnTo>
                      <a:pt x="944" y="828"/>
                    </a:lnTo>
                    <a:lnTo>
                      <a:pt x="941" y="828"/>
                    </a:lnTo>
                    <a:lnTo>
                      <a:pt x="939" y="828"/>
                    </a:lnTo>
                    <a:lnTo>
                      <a:pt x="937" y="826"/>
                    </a:lnTo>
                    <a:lnTo>
                      <a:pt x="939" y="824"/>
                    </a:lnTo>
                    <a:lnTo>
                      <a:pt x="941" y="821"/>
                    </a:lnTo>
                    <a:lnTo>
                      <a:pt x="944" y="821"/>
                    </a:lnTo>
                    <a:lnTo>
                      <a:pt x="944" y="821"/>
                    </a:lnTo>
                    <a:lnTo>
                      <a:pt x="946" y="824"/>
                    </a:lnTo>
                    <a:lnTo>
                      <a:pt x="951" y="826"/>
                    </a:lnTo>
                    <a:lnTo>
                      <a:pt x="956" y="824"/>
                    </a:lnTo>
                    <a:lnTo>
                      <a:pt x="958" y="821"/>
                    </a:lnTo>
                    <a:lnTo>
                      <a:pt x="958" y="821"/>
                    </a:lnTo>
                    <a:lnTo>
                      <a:pt x="958" y="821"/>
                    </a:lnTo>
                    <a:lnTo>
                      <a:pt x="963" y="821"/>
                    </a:lnTo>
                    <a:lnTo>
                      <a:pt x="965" y="819"/>
                    </a:lnTo>
                    <a:lnTo>
                      <a:pt x="965" y="819"/>
                    </a:lnTo>
                    <a:lnTo>
                      <a:pt x="967" y="821"/>
                    </a:lnTo>
                    <a:lnTo>
                      <a:pt x="970" y="821"/>
                    </a:lnTo>
                    <a:lnTo>
                      <a:pt x="975" y="821"/>
                    </a:lnTo>
                    <a:lnTo>
                      <a:pt x="977" y="821"/>
                    </a:lnTo>
                    <a:lnTo>
                      <a:pt x="979" y="821"/>
                    </a:lnTo>
                    <a:lnTo>
                      <a:pt x="979" y="819"/>
                    </a:lnTo>
                    <a:lnTo>
                      <a:pt x="982" y="817"/>
                    </a:lnTo>
                    <a:lnTo>
                      <a:pt x="982" y="814"/>
                    </a:lnTo>
                    <a:lnTo>
                      <a:pt x="984" y="814"/>
                    </a:lnTo>
                    <a:lnTo>
                      <a:pt x="984" y="817"/>
                    </a:lnTo>
                    <a:lnTo>
                      <a:pt x="984" y="817"/>
                    </a:lnTo>
                    <a:lnTo>
                      <a:pt x="984" y="819"/>
                    </a:lnTo>
                    <a:lnTo>
                      <a:pt x="984" y="819"/>
                    </a:lnTo>
                    <a:lnTo>
                      <a:pt x="984" y="821"/>
                    </a:lnTo>
                    <a:lnTo>
                      <a:pt x="984" y="821"/>
                    </a:lnTo>
                    <a:lnTo>
                      <a:pt x="984" y="824"/>
                    </a:lnTo>
                    <a:lnTo>
                      <a:pt x="982" y="824"/>
                    </a:lnTo>
                    <a:lnTo>
                      <a:pt x="982" y="824"/>
                    </a:lnTo>
                    <a:lnTo>
                      <a:pt x="979" y="824"/>
                    </a:lnTo>
                    <a:lnTo>
                      <a:pt x="986" y="824"/>
                    </a:lnTo>
                    <a:lnTo>
                      <a:pt x="991" y="821"/>
                    </a:lnTo>
                    <a:lnTo>
                      <a:pt x="991" y="821"/>
                    </a:lnTo>
                    <a:lnTo>
                      <a:pt x="991" y="821"/>
                    </a:lnTo>
                    <a:lnTo>
                      <a:pt x="989" y="821"/>
                    </a:lnTo>
                    <a:lnTo>
                      <a:pt x="991" y="824"/>
                    </a:lnTo>
                    <a:lnTo>
                      <a:pt x="993" y="821"/>
                    </a:lnTo>
                    <a:lnTo>
                      <a:pt x="996" y="821"/>
                    </a:lnTo>
                    <a:lnTo>
                      <a:pt x="996" y="819"/>
                    </a:lnTo>
                    <a:lnTo>
                      <a:pt x="998" y="817"/>
                    </a:lnTo>
                    <a:lnTo>
                      <a:pt x="998" y="817"/>
                    </a:lnTo>
                    <a:lnTo>
                      <a:pt x="998" y="819"/>
                    </a:lnTo>
                    <a:lnTo>
                      <a:pt x="1001" y="817"/>
                    </a:lnTo>
                    <a:lnTo>
                      <a:pt x="1001" y="817"/>
                    </a:lnTo>
                    <a:lnTo>
                      <a:pt x="1001" y="819"/>
                    </a:lnTo>
                    <a:lnTo>
                      <a:pt x="1001" y="819"/>
                    </a:lnTo>
                    <a:lnTo>
                      <a:pt x="998" y="821"/>
                    </a:lnTo>
                    <a:lnTo>
                      <a:pt x="996" y="821"/>
                    </a:lnTo>
                    <a:lnTo>
                      <a:pt x="996" y="821"/>
                    </a:lnTo>
                    <a:lnTo>
                      <a:pt x="1001" y="821"/>
                    </a:lnTo>
                    <a:lnTo>
                      <a:pt x="1005" y="821"/>
                    </a:lnTo>
                    <a:lnTo>
                      <a:pt x="1008" y="819"/>
                    </a:lnTo>
                    <a:lnTo>
                      <a:pt x="1008" y="819"/>
                    </a:lnTo>
                    <a:lnTo>
                      <a:pt x="1010" y="819"/>
                    </a:lnTo>
                    <a:lnTo>
                      <a:pt x="1010" y="819"/>
                    </a:lnTo>
                    <a:lnTo>
                      <a:pt x="1012" y="819"/>
                    </a:lnTo>
                    <a:lnTo>
                      <a:pt x="1015" y="819"/>
                    </a:lnTo>
                    <a:lnTo>
                      <a:pt x="1015" y="819"/>
                    </a:lnTo>
                    <a:lnTo>
                      <a:pt x="1015" y="821"/>
                    </a:lnTo>
                    <a:lnTo>
                      <a:pt x="1012" y="819"/>
                    </a:lnTo>
                    <a:lnTo>
                      <a:pt x="1010" y="821"/>
                    </a:lnTo>
                    <a:lnTo>
                      <a:pt x="1015" y="821"/>
                    </a:lnTo>
                    <a:lnTo>
                      <a:pt x="1019" y="824"/>
                    </a:lnTo>
                    <a:lnTo>
                      <a:pt x="1019" y="826"/>
                    </a:lnTo>
                    <a:lnTo>
                      <a:pt x="1019" y="826"/>
                    </a:lnTo>
                    <a:lnTo>
                      <a:pt x="1022" y="824"/>
                    </a:lnTo>
                    <a:lnTo>
                      <a:pt x="1022" y="824"/>
                    </a:lnTo>
                    <a:lnTo>
                      <a:pt x="1022" y="824"/>
                    </a:lnTo>
                    <a:lnTo>
                      <a:pt x="1024" y="824"/>
                    </a:lnTo>
                    <a:lnTo>
                      <a:pt x="1022" y="824"/>
                    </a:lnTo>
                    <a:lnTo>
                      <a:pt x="1022" y="824"/>
                    </a:lnTo>
                    <a:lnTo>
                      <a:pt x="1022" y="826"/>
                    </a:lnTo>
                    <a:lnTo>
                      <a:pt x="1022" y="826"/>
                    </a:lnTo>
                    <a:lnTo>
                      <a:pt x="1022" y="826"/>
                    </a:lnTo>
                    <a:lnTo>
                      <a:pt x="1024" y="828"/>
                    </a:lnTo>
                    <a:lnTo>
                      <a:pt x="1027" y="831"/>
                    </a:lnTo>
                    <a:lnTo>
                      <a:pt x="1027" y="833"/>
                    </a:lnTo>
                    <a:lnTo>
                      <a:pt x="1027" y="833"/>
                    </a:lnTo>
                    <a:lnTo>
                      <a:pt x="1027" y="833"/>
                    </a:lnTo>
                    <a:lnTo>
                      <a:pt x="1024" y="833"/>
                    </a:lnTo>
                    <a:lnTo>
                      <a:pt x="1024" y="833"/>
                    </a:lnTo>
                    <a:lnTo>
                      <a:pt x="1024" y="833"/>
                    </a:lnTo>
                    <a:lnTo>
                      <a:pt x="1024" y="836"/>
                    </a:lnTo>
                    <a:lnTo>
                      <a:pt x="1027" y="836"/>
                    </a:lnTo>
                    <a:lnTo>
                      <a:pt x="1029" y="836"/>
                    </a:lnTo>
                    <a:lnTo>
                      <a:pt x="1031" y="836"/>
                    </a:lnTo>
                    <a:lnTo>
                      <a:pt x="1031" y="833"/>
                    </a:lnTo>
                    <a:lnTo>
                      <a:pt x="1034" y="833"/>
                    </a:lnTo>
                    <a:lnTo>
                      <a:pt x="1036" y="833"/>
                    </a:lnTo>
                    <a:lnTo>
                      <a:pt x="1041" y="831"/>
                    </a:lnTo>
                    <a:lnTo>
                      <a:pt x="1043" y="831"/>
                    </a:lnTo>
                    <a:lnTo>
                      <a:pt x="1043" y="831"/>
                    </a:lnTo>
                    <a:lnTo>
                      <a:pt x="1043" y="831"/>
                    </a:lnTo>
                    <a:lnTo>
                      <a:pt x="1043" y="828"/>
                    </a:lnTo>
                    <a:lnTo>
                      <a:pt x="1046" y="828"/>
                    </a:lnTo>
                    <a:lnTo>
                      <a:pt x="1046" y="828"/>
                    </a:lnTo>
                    <a:lnTo>
                      <a:pt x="1050" y="826"/>
                    </a:lnTo>
                    <a:lnTo>
                      <a:pt x="1055" y="831"/>
                    </a:lnTo>
                    <a:lnTo>
                      <a:pt x="1060" y="840"/>
                    </a:lnTo>
                    <a:lnTo>
                      <a:pt x="1067" y="850"/>
                    </a:lnTo>
                    <a:lnTo>
                      <a:pt x="1069" y="852"/>
                    </a:lnTo>
                    <a:lnTo>
                      <a:pt x="1069" y="854"/>
                    </a:lnTo>
                    <a:lnTo>
                      <a:pt x="1069" y="854"/>
                    </a:lnTo>
                    <a:lnTo>
                      <a:pt x="1067" y="862"/>
                    </a:lnTo>
                    <a:lnTo>
                      <a:pt x="1064" y="866"/>
                    </a:lnTo>
                    <a:lnTo>
                      <a:pt x="1060" y="873"/>
                    </a:lnTo>
                    <a:lnTo>
                      <a:pt x="1062" y="876"/>
                    </a:lnTo>
                    <a:lnTo>
                      <a:pt x="1062" y="876"/>
                    </a:lnTo>
                    <a:lnTo>
                      <a:pt x="1062" y="878"/>
                    </a:lnTo>
                    <a:lnTo>
                      <a:pt x="1062" y="876"/>
                    </a:lnTo>
                    <a:lnTo>
                      <a:pt x="1064" y="878"/>
                    </a:lnTo>
                    <a:lnTo>
                      <a:pt x="1064" y="876"/>
                    </a:lnTo>
                    <a:lnTo>
                      <a:pt x="1064" y="876"/>
                    </a:lnTo>
                    <a:lnTo>
                      <a:pt x="1064" y="873"/>
                    </a:lnTo>
                    <a:lnTo>
                      <a:pt x="1064" y="873"/>
                    </a:lnTo>
                    <a:lnTo>
                      <a:pt x="1064" y="871"/>
                    </a:lnTo>
                    <a:lnTo>
                      <a:pt x="1064" y="871"/>
                    </a:lnTo>
                    <a:lnTo>
                      <a:pt x="1067" y="871"/>
                    </a:lnTo>
                    <a:lnTo>
                      <a:pt x="1067" y="873"/>
                    </a:lnTo>
                    <a:lnTo>
                      <a:pt x="1067" y="873"/>
                    </a:lnTo>
                    <a:lnTo>
                      <a:pt x="1069" y="873"/>
                    </a:lnTo>
                    <a:lnTo>
                      <a:pt x="1069" y="873"/>
                    </a:lnTo>
                    <a:lnTo>
                      <a:pt x="1069" y="873"/>
                    </a:lnTo>
                    <a:lnTo>
                      <a:pt x="1067" y="876"/>
                    </a:lnTo>
                    <a:lnTo>
                      <a:pt x="1067" y="878"/>
                    </a:lnTo>
                    <a:lnTo>
                      <a:pt x="1062" y="881"/>
                    </a:lnTo>
                    <a:lnTo>
                      <a:pt x="1062" y="881"/>
                    </a:lnTo>
                    <a:lnTo>
                      <a:pt x="1062" y="881"/>
                    </a:lnTo>
                    <a:lnTo>
                      <a:pt x="1062" y="883"/>
                    </a:lnTo>
                    <a:lnTo>
                      <a:pt x="1062" y="883"/>
                    </a:lnTo>
                    <a:lnTo>
                      <a:pt x="1064" y="890"/>
                    </a:lnTo>
                    <a:lnTo>
                      <a:pt x="1064" y="895"/>
                    </a:lnTo>
                    <a:lnTo>
                      <a:pt x="1067" y="895"/>
                    </a:lnTo>
                    <a:lnTo>
                      <a:pt x="1067" y="895"/>
                    </a:lnTo>
                    <a:lnTo>
                      <a:pt x="1069" y="895"/>
                    </a:lnTo>
                    <a:lnTo>
                      <a:pt x="1069" y="895"/>
                    </a:lnTo>
                    <a:lnTo>
                      <a:pt x="1069" y="895"/>
                    </a:lnTo>
                    <a:lnTo>
                      <a:pt x="1069" y="892"/>
                    </a:lnTo>
                    <a:lnTo>
                      <a:pt x="1072" y="892"/>
                    </a:lnTo>
                    <a:lnTo>
                      <a:pt x="1072" y="895"/>
                    </a:lnTo>
                    <a:lnTo>
                      <a:pt x="1069" y="899"/>
                    </a:lnTo>
                    <a:lnTo>
                      <a:pt x="1069" y="902"/>
                    </a:lnTo>
                    <a:lnTo>
                      <a:pt x="1069" y="902"/>
                    </a:lnTo>
                    <a:lnTo>
                      <a:pt x="1072" y="902"/>
                    </a:lnTo>
                    <a:lnTo>
                      <a:pt x="1072" y="899"/>
                    </a:lnTo>
                    <a:lnTo>
                      <a:pt x="1074" y="899"/>
                    </a:lnTo>
                    <a:lnTo>
                      <a:pt x="1074" y="899"/>
                    </a:lnTo>
                    <a:lnTo>
                      <a:pt x="1072" y="902"/>
                    </a:lnTo>
                    <a:lnTo>
                      <a:pt x="1072" y="904"/>
                    </a:lnTo>
                    <a:lnTo>
                      <a:pt x="1072" y="904"/>
                    </a:lnTo>
                    <a:lnTo>
                      <a:pt x="1072" y="904"/>
                    </a:lnTo>
                    <a:lnTo>
                      <a:pt x="1072" y="911"/>
                    </a:lnTo>
                    <a:lnTo>
                      <a:pt x="1074" y="914"/>
                    </a:lnTo>
                    <a:lnTo>
                      <a:pt x="1076" y="916"/>
                    </a:lnTo>
                    <a:lnTo>
                      <a:pt x="1079" y="916"/>
                    </a:lnTo>
                    <a:lnTo>
                      <a:pt x="1079" y="918"/>
                    </a:lnTo>
                    <a:lnTo>
                      <a:pt x="1081" y="923"/>
                    </a:lnTo>
                    <a:lnTo>
                      <a:pt x="1081" y="928"/>
                    </a:lnTo>
                    <a:lnTo>
                      <a:pt x="1083" y="928"/>
                    </a:lnTo>
                    <a:lnTo>
                      <a:pt x="1083" y="928"/>
                    </a:lnTo>
                    <a:lnTo>
                      <a:pt x="1083" y="928"/>
                    </a:lnTo>
                    <a:lnTo>
                      <a:pt x="1083" y="930"/>
                    </a:lnTo>
                    <a:lnTo>
                      <a:pt x="1081" y="928"/>
                    </a:lnTo>
                    <a:lnTo>
                      <a:pt x="1081" y="928"/>
                    </a:lnTo>
                    <a:lnTo>
                      <a:pt x="1081" y="928"/>
                    </a:lnTo>
                    <a:lnTo>
                      <a:pt x="1081" y="930"/>
                    </a:lnTo>
                    <a:lnTo>
                      <a:pt x="1081" y="933"/>
                    </a:lnTo>
                    <a:lnTo>
                      <a:pt x="1083" y="933"/>
                    </a:lnTo>
                    <a:lnTo>
                      <a:pt x="1086" y="930"/>
                    </a:lnTo>
                    <a:lnTo>
                      <a:pt x="1088" y="930"/>
                    </a:lnTo>
                    <a:lnTo>
                      <a:pt x="1090" y="930"/>
                    </a:lnTo>
                    <a:lnTo>
                      <a:pt x="1093" y="930"/>
                    </a:lnTo>
                    <a:lnTo>
                      <a:pt x="1095" y="928"/>
                    </a:lnTo>
                    <a:lnTo>
                      <a:pt x="1095" y="926"/>
                    </a:lnTo>
                    <a:lnTo>
                      <a:pt x="1098" y="921"/>
                    </a:lnTo>
                    <a:lnTo>
                      <a:pt x="1100" y="918"/>
                    </a:lnTo>
                    <a:lnTo>
                      <a:pt x="1100" y="916"/>
                    </a:lnTo>
                    <a:lnTo>
                      <a:pt x="1102" y="916"/>
                    </a:lnTo>
                    <a:lnTo>
                      <a:pt x="1102" y="916"/>
                    </a:lnTo>
                    <a:lnTo>
                      <a:pt x="1102" y="916"/>
                    </a:lnTo>
                    <a:lnTo>
                      <a:pt x="1102" y="911"/>
                    </a:lnTo>
                    <a:lnTo>
                      <a:pt x="1105" y="902"/>
                    </a:lnTo>
                    <a:lnTo>
                      <a:pt x="1107" y="897"/>
                    </a:lnTo>
                    <a:lnTo>
                      <a:pt x="1107" y="892"/>
                    </a:lnTo>
                    <a:lnTo>
                      <a:pt x="1107" y="890"/>
                    </a:lnTo>
                    <a:lnTo>
                      <a:pt x="1105" y="888"/>
                    </a:lnTo>
                    <a:lnTo>
                      <a:pt x="1102" y="866"/>
                    </a:lnTo>
                    <a:lnTo>
                      <a:pt x="1102" y="866"/>
                    </a:lnTo>
                    <a:lnTo>
                      <a:pt x="1100" y="864"/>
                    </a:lnTo>
                    <a:lnTo>
                      <a:pt x="1102" y="859"/>
                    </a:lnTo>
                    <a:lnTo>
                      <a:pt x="1100" y="857"/>
                    </a:lnTo>
                    <a:lnTo>
                      <a:pt x="1102" y="854"/>
                    </a:lnTo>
                    <a:lnTo>
                      <a:pt x="1102" y="854"/>
                    </a:lnTo>
                    <a:lnTo>
                      <a:pt x="1102" y="854"/>
                    </a:lnTo>
                    <a:lnTo>
                      <a:pt x="1102" y="857"/>
                    </a:lnTo>
                    <a:lnTo>
                      <a:pt x="1102" y="857"/>
                    </a:lnTo>
                    <a:lnTo>
                      <a:pt x="1102" y="859"/>
                    </a:lnTo>
                    <a:lnTo>
                      <a:pt x="1102" y="859"/>
                    </a:lnTo>
                    <a:lnTo>
                      <a:pt x="1102" y="859"/>
                    </a:lnTo>
                    <a:lnTo>
                      <a:pt x="1102" y="862"/>
                    </a:lnTo>
                    <a:lnTo>
                      <a:pt x="1102" y="864"/>
                    </a:lnTo>
                    <a:lnTo>
                      <a:pt x="1102" y="864"/>
                    </a:lnTo>
                    <a:lnTo>
                      <a:pt x="1102" y="862"/>
                    </a:lnTo>
                    <a:lnTo>
                      <a:pt x="1105" y="859"/>
                    </a:lnTo>
                    <a:lnTo>
                      <a:pt x="1105" y="859"/>
                    </a:lnTo>
                    <a:lnTo>
                      <a:pt x="1102" y="864"/>
                    </a:lnTo>
                    <a:lnTo>
                      <a:pt x="1102" y="866"/>
                    </a:lnTo>
                    <a:lnTo>
                      <a:pt x="1102" y="873"/>
                    </a:lnTo>
                    <a:lnTo>
                      <a:pt x="1105" y="873"/>
                    </a:lnTo>
                    <a:lnTo>
                      <a:pt x="1102" y="869"/>
                    </a:lnTo>
                    <a:lnTo>
                      <a:pt x="1102" y="866"/>
                    </a:lnTo>
                    <a:lnTo>
                      <a:pt x="1102" y="866"/>
                    </a:lnTo>
                    <a:lnTo>
                      <a:pt x="1105" y="864"/>
                    </a:lnTo>
                    <a:lnTo>
                      <a:pt x="1105" y="862"/>
                    </a:lnTo>
                    <a:lnTo>
                      <a:pt x="1105" y="862"/>
                    </a:lnTo>
                    <a:lnTo>
                      <a:pt x="1105" y="859"/>
                    </a:lnTo>
                    <a:lnTo>
                      <a:pt x="1102" y="850"/>
                    </a:lnTo>
                    <a:lnTo>
                      <a:pt x="1100" y="840"/>
                    </a:lnTo>
                    <a:lnTo>
                      <a:pt x="1100" y="833"/>
                    </a:lnTo>
                    <a:lnTo>
                      <a:pt x="1100" y="826"/>
                    </a:lnTo>
                    <a:lnTo>
                      <a:pt x="1100" y="824"/>
                    </a:lnTo>
                    <a:lnTo>
                      <a:pt x="1100" y="814"/>
                    </a:lnTo>
                    <a:lnTo>
                      <a:pt x="1100" y="814"/>
                    </a:lnTo>
                    <a:lnTo>
                      <a:pt x="1100" y="812"/>
                    </a:lnTo>
                    <a:lnTo>
                      <a:pt x="1100" y="810"/>
                    </a:lnTo>
                    <a:lnTo>
                      <a:pt x="1100" y="810"/>
                    </a:lnTo>
                    <a:lnTo>
                      <a:pt x="1102" y="807"/>
                    </a:lnTo>
                    <a:lnTo>
                      <a:pt x="1102" y="807"/>
                    </a:lnTo>
                    <a:lnTo>
                      <a:pt x="1102" y="805"/>
                    </a:lnTo>
                    <a:lnTo>
                      <a:pt x="1102" y="805"/>
                    </a:lnTo>
                    <a:lnTo>
                      <a:pt x="1105" y="805"/>
                    </a:lnTo>
                    <a:lnTo>
                      <a:pt x="1105" y="805"/>
                    </a:lnTo>
                    <a:lnTo>
                      <a:pt x="1107" y="802"/>
                    </a:lnTo>
                    <a:lnTo>
                      <a:pt x="1107" y="800"/>
                    </a:lnTo>
                    <a:lnTo>
                      <a:pt x="1105" y="800"/>
                    </a:lnTo>
                    <a:lnTo>
                      <a:pt x="1105" y="800"/>
                    </a:lnTo>
                    <a:lnTo>
                      <a:pt x="1107" y="800"/>
                    </a:lnTo>
                    <a:lnTo>
                      <a:pt x="1107" y="798"/>
                    </a:lnTo>
                    <a:lnTo>
                      <a:pt x="1109" y="798"/>
                    </a:lnTo>
                    <a:lnTo>
                      <a:pt x="1109" y="798"/>
                    </a:lnTo>
                    <a:lnTo>
                      <a:pt x="1109" y="795"/>
                    </a:lnTo>
                    <a:lnTo>
                      <a:pt x="1109" y="798"/>
                    </a:lnTo>
                    <a:lnTo>
                      <a:pt x="1109" y="795"/>
                    </a:lnTo>
                    <a:lnTo>
                      <a:pt x="1109" y="795"/>
                    </a:lnTo>
                    <a:lnTo>
                      <a:pt x="1109" y="795"/>
                    </a:lnTo>
                    <a:lnTo>
                      <a:pt x="1112" y="795"/>
                    </a:lnTo>
                    <a:lnTo>
                      <a:pt x="1109" y="793"/>
                    </a:lnTo>
                    <a:lnTo>
                      <a:pt x="1109" y="793"/>
                    </a:lnTo>
                    <a:lnTo>
                      <a:pt x="1112" y="793"/>
                    </a:lnTo>
                    <a:lnTo>
                      <a:pt x="1112" y="793"/>
                    </a:lnTo>
                    <a:lnTo>
                      <a:pt x="1114" y="791"/>
                    </a:lnTo>
                    <a:lnTo>
                      <a:pt x="1114" y="791"/>
                    </a:lnTo>
                    <a:lnTo>
                      <a:pt x="1114" y="791"/>
                    </a:lnTo>
                    <a:lnTo>
                      <a:pt x="1112" y="788"/>
                    </a:lnTo>
                    <a:lnTo>
                      <a:pt x="1114" y="788"/>
                    </a:lnTo>
                    <a:lnTo>
                      <a:pt x="1114" y="788"/>
                    </a:lnTo>
                    <a:lnTo>
                      <a:pt x="1116" y="788"/>
                    </a:lnTo>
                    <a:lnTo>
                      <a:pt x="1119" y="786"/>
                    </a:lnTo>
                    <a:lnTo>
                      <a:pt x="1119" y="786"/>
                    </a:lnTo>
                    <a:lnTo>
                      <a:pt x="1119" y="783"/>
                    </a:lnTo>
                    <a:lnTo>
                      <a:pt x="1121" y="783"/>
                    </a:lnTo>
                    <a:lnTo>
                      <a:pt x="1121" y="783"/>
                    </a:lnTo>
                    <a:lnTo>
                      <a:pt x="1121" y="781"/>
                    </a:lnTo>
                    <a:lnTo>
                      <a:pt x="1121" y="781"/>
                    </a:lnTo>
                    <a:lnTo>
                      <a:pt x="1121" y="781"/>
                    </a:lnTo>
                    <a:lnTo>
                      <a:pt x="1121" y="781"/>
                    </a:lnTo>
                    <a:lnTo>
                      <a:pt x="1121" y="779"/>
                    </a:lnTo>
                    <a:lnTo>
                      <a:pt x="1121" y="776"/>
                    </a:lnTo>
                    <a:lnTo>
                      <a:pt x="1124" y="779"/>
                    </a:lnTo>
                    <a:lnTo>
                      <a:pt x="1124" y="779"/>
                    </a:lnTo>
                    <a:lnTo>
                      <a:pt x="1124" y="779"/>
                    </a:lnTo>
                    <a:lnTo>
                      <a:pt x="1124" y="779"/>
                    </a:lnTo>
                    <a:lnTo>
                      <a:pt x="1124" y="779"/>
                    </a:lnTo>
                    <a:lnTo>
                      <a:pt x="1124" y="781"/>
                    </a:lnTo>
                    <a:lnTo>
                      <a:pt x="1126" y="781"/>
                    </a:lnTo>
                    <a:lnTo>
                      <a:pt x="1126" y="781"/>
                    </a:lnTo>
                    <a:lnTo>
                      <a:pt x="1126" y="779"/>
                    </a:lnTo>
                    <a:lnTo>
                      <a:pt x="1128" y="779"/>
                    </a:lnTo>
                    <a:lnTo>
                      <a:pt x="1126" y="776"/>
                    </a:lnTo>
                    <a:lnTo>
                      <a:pt x="1126" y="776"/>
                    </a:lnTo>
                    <a:lnTo>
                      <a:pt x="1126" y="776"/>
                    </a:lnTo>
                    <a:lnTo>
                      <a:pt x="1128" y="776"/>
                    </a:lnTo>
                    <a:lnTo>
                      <a:pt x="1131" y="776"/>
                    </a:lnTo>
                    <a:lnTo>
                      <a:pt x="1131" y="776"/>
                    </a:lnTo>
                    <a:lnTo>
                      <a:pt x="1133" y="774"/>
                    </a:lnTo>
                    <a:lnTo>
                      <a:pt x="1133" y="774"/>
                    </a:lnTo>
                    <a:lnTo>
                      <a:pt x="1135" y="774"/>
                    </a:lnTo>
                    <a:lnTo>
                      <a:pt x="1138" y="774"/>
                    </a:lnTo>
                    <a:lnTo>
                      <a:pt x="1138" y="772"/>
                    </a:lnTo>
                    <a:lnTo>
                      <a:pt x="1140" y="772"/>
                    </a:lnTo>
                    <a:lnTo>
                      <a:pt x="1140" y="769"/>
                    </a:lnTo>
                    <a:lnTo>
                      <a:pt x="1142" y="769"/>
                    </a:lnTo>
                    <a:lnTo>
                      <a:pt x="1142" y="769"/>
                    </a:lnTo>
                    <a:lnTo>
                      <a:pt x="1145" y="767"/>
                    </a:lnTo>
                    <a:lnTo>
                      <a:pt x="1147" y="765"/>
                    </a:lnTo>
                    <a:lnTo>
                      <a:pt x="1147" y="765"/>
                    </a:lnTo>
                    <a:lnTo>
                      <a:pt x="1150" y="765"/>
                    </a:lnTo>
                    <a:lnTo>
                      <a:pt x="1152" y="762"/>
                    </a:lnTo>
                    <a:lnTo>
                      <a:pt x="1154" y="762"/>
                    </a:lnTo>
                    <a:lnTo>
                      <a:pt x="1154" y="760"/>
                    </a:lnTo>
                    <a:lnTo>
                      <a:pt x="1154" y="757"/>
                    </a:lnTo>
                    <a:lnTo>
                      <a:pt x="1154" y="757"/>
                    </a:lnTo>
                    <a:lnTo>
                      <a:pt x="1154" y="760"/>
                    </a:lnTo>
                    <a:lnTo>
                      <a:pt x="1154" y="760"/>
                    </a:lnTo>
                    <a:lnTo>
                      <a:pt x="1157" y="757"/>
                    </a:lnTo>
                    <a:lnTo>
                      <a:pt x="1161" y="753"/>
                    </a:lnTo>
                    <a:lnTo>
                      <a:pt x="1164" y="750"/>
                    </a:lnTo>
                    <a:lnTo>
                      <a:pt x="1171" y="748"/>
                    </a:lnTo>
                    <a:lnTo>
                      <a:pt x="1173" y="746"/>
                    </a:lnTo>
                    <a:lnTo>
                      <a:pt x="1180" y="746"/>
                    </a:lnTo>
                    <a:lnTo>
                      <a:pt x="1180" y="746"/>
                    </a:lnTo>
                    <a:lnTo>
                      <a:pt x="1183" y="741"/>
                    </a:lnTo>
                    <a:lnTo>
                      <a:pt x="1183" y="743"/>
                    </a:lnTo>
                    <a:lnTo>
                      <a:pt x="1183" y="746"/>
                    </a:lnTo>
                    <a:lnTo>
                      <a:pt x="1183" y="746"/>
                    </a:lnTo>
                    <a:lnTo>
                      <a:pt x="1183" y="743"/>
                    </a:lnTo>
                    <a:lnTo>
                      <a:pt x="1185" y="741"/>
                    </a:lnTo>
                    <a:lnTo>
                      <a:pt x="1187" y="738"/>
                    </a:lnTo>
                    <a:lnTo>
                      <a:pt x="1187" y="738"/>
                    </a:lnTo>
                    <a:lnTo>
                      <a:pt x="1190" y="736"/>
                    </a:lnTo>
                    <a:lnTo>
                      <a:pt x="1192" y="734"/>
                    </a:lnTo>
                    <a:lnTo>
                      <a:pt x="1195" y="734"/>
                    </a:lnTo>
                    <a:lnTo>
                      <a:pt x="1195" y="734"/>
                    </a:lnTo>
                    <a:lnTo>
                      <a:pt x="1195" y="731"/>
                    </a:lnTo>
                    <a:lnTo>
                      <a:pt x="1195" y="729"/>
                    </a:lnTo>
                    <a:lnTo>
                      <a:pt x="1197" y="729"/>
                    </a:lnTo>
                    <a:lnTo>
                      <a:pt x="1197" y="731"/>
                    </a:lnTo>
                    <a:lnTo>
                      <a:pt x="1197" y="731"/>
                    </a:lnTo>
                    <a:lnTo>
                      <a:pt x="1197" y="731"/>
                    </a:lnTo>
                    <a:lnTo>
                      <a:pt x="1202" y="729"/>
                    </a:lnTo>
                    <a:lnTo>
                      <a:pt x="1202" y="729"/>
                    </a:lnTo>
                    <a:lnTo>
                      <a:pt x="1204" y="729"/>
                    </a:lnTo>
                    <a:lnTo>
                      <a:pt x="1206" y="729"/>
                    </a:lnTo>
                    <a:lnTo>
                      <a:pt x="1206" y="729"/>
                    </a:lnTo>
                    <a:lnTo>
                      <a:pt x="1209" y="729"/>
                    </a:lnTo>
                    <a:lnTo>
                      <a:pt x="1211" y="729"/>
                    </a:lnTo>
                    <a:lnTo>
                      <a:pt x="1211" y="729"/>
                    </a:lnTo>
                    <a:lnTo>
                      <a:pt x="1213" y="727"/>
                    </a:lnTo>
                    <a:lnTo>
                      <a:pt x="1216" y="724"/>
                    </a:lnTo>
                    <a:lnTo>
                      <a:pt x="1213" y="724"/>
                    </a:lnTo>
                    <a:lnTo>
                      <a:pt x="1209" y="724"/>
                    </a:lnTo>
                    <a:lnTo>
                      <a:pt x="1206" y="724"/>
                    </a:lnTo>
                    <a:lnTo>
                      <a:pt x="1206" y="722"/>
                    </a:lnTo>
                    <a:lnTo>
                      <a:pt x="1204" y="720"/>
                    </a:lnTo>
                    <a:lnTo>
                      <a:pt x="1206" y="722"/>
                    </a:lnTo>
                    <a:lnTo>
                      <a:pt x="1209" y="724"/>
                    </a:lnTo>
                    <a:lnTo>
                      <a:pt x="1211" y="722"/>
                    </a:lnTo>
                    <a:lnTo>
                      <a:pt x="1211" y="722"/>
                    </a:lnTo>
                    <a:lnTo>
                      <a:pt x="1213" y="720"/>
                    </a:lnTo>
                    <a:lnTo>
                      <a:pt x="1213" y="720"/>
                    </a:lnTo>
                    <a:lnTo>
                      <a:pt x="1216" y="717"/>
                    </a:lnTo>
                    <a:lnTo>
                      <a:pt x="1213" y="717"/>
                    </a:lnTo>
                    <a:lnTo>
                      <a:pt x="1213" y="717"/>
                    </a:lnTo>
                    <a:lnTo>
                      <a:pt x="1209" y="712"/>
                    </a:lnTo>
                    <a:lnTo>
                      <a:pt x="1206" y="712"/>
                    </a:lnTo>
                    <a:lnTo>
                      <a:pt x="1209" y="712"/>
                    </a:lnTo>
                    <a:lnTo>
                      <a:pt x="1211" y="715"/>
                    </a:lnTo>
                    <a:lnTo>
                      <a:pt x="1213" y="712"/>
                    </a:lnTo>
                    <a:lnTo>
                      <a:pt x="1216" y="712"/>
                    </a:lnTo>
                    <a:lnTo>
                      <a:pt x="1216" y="712"/>
                    </a:lnTo>
                    <a:lnTo>
                      <a:pt x="1216" y="712"/>
                    </a:lnTo>
                    <a:lnTo>
                      <a:pt x="1216" y="715"/>
                    </a:lnTo>
                    <a:lnTo>
                      <a:pt x="1216" y="715"/>
                    </a:lnTo>
                    <a:lnTo>
                      <a:pt x="1216" y="715"/>
                    </a:lnTo>
                    <a:lnTo>
                      <a:pt x="1218" y="715"/>
                    </a:lnTo>
                    <a:lnTo>
                      <a:pt x="1221" y="715"/>
                    </a:lnTo>
                    <a:lnTo>
                      <a:pt x="1221" y="715"/>
                    </a:lnTo>
                    <a:lnTo>
                      <a:pt x="1223" y="715"/>
                    </a:lnTo>
                    <a:lnTo>
                      <a:pt x="1225" y="712"/>
                    </a:lnTo>
                    <a:lnTo>
                      <a:pt x="1230" y="710"/>
                    </a:lnTo>
                    <a:lnTo>
                      <a:pt x="1232" y="708"/>
                    </a:lnTo>
                    <a:lnTo>
                      <a:pt x="1232" y="705"/>
                    </a:lnTo>
                    <a:lnTo>
                      <a:pt x="1232" y="703"/>
                    </a:lnTo>
                    <a:lnTo>
                      <a:pt x="1232" y="703"/>
                    </a:lnTo>
                    <a:lnTo>
                      <a:pt x="1230" y="703"/>
                    </a:lnTo>
                    <a:lnTo>
                      <a:pt x="1228" y="703"/>
                    </a:lnTo>
                    <a:lnTo>
                      <a:pt x="1228" y="708"/>
                    </a:lnTo>
                    <a:lnTo>
                      <a:pt x="1225" y="708"/>
                    </a:lnTo>
                    <a:lnTo>
                      <a:pt x="1225" y="708"/>
                    </a:lnTo>
                    <a:lnTo>
                      <a:pt x="1225" y="705"/>
                    </a:lnTo>
                    <a:lnTo>
                      <a:pt x="1228" y="705"/>
                    </a:lnTo>
                    <a:lnTo>
                      <a:pt x="1228" y="703"/>
                    </a:lnTo>
                    <a:lnTo>
                      <a:pt x="1225" y="703"/>
                    </a:lnTo>
                    <a:lnTo>
                      <a:pt x="1223" y="703"/>
                    </a:lnTo>
                    <a:lnTo>
                      <a:pt x="1223" y="703"/>
                    </a:lnTo>
                    <a:lnTo>
                      <a:pt x="1221" y="703"/>
                    </a:lnTo>
                    <a:lnTo>
                      <a:pt x="1218" y="703"/>
                    </a:lnTo>
                    <a:lnTo>
                      <a:pt x="1216" y="703"/>
                    </a:lnTo>
                    <a:lnTo>
                      <a:pt x="1216" y="701"/>
                    </a:lnTo>
                    <a:lnTo>
                      <a:pt x="1216" y="698"/>
                    </a:lnTo>
                    <a:lnTo>
                      <a:pt x="1218" y="696"/>
                    </a:lnTo>
                    <a:lnTo>
                      <a:pt x="1216" y="698"/>
                    </a:lnTo>
                    <a:lnTo>
                      <a:pt x="1218" y="701"/>
                    </a:lnTo>
                    <a:lnTo>
                      <a:pt x="1218" y="701"/>
                    </a:lnTo>
                    <a:lnTo>
                      <a:pt x="1221" y="701"/>
                    </a:lnTo>
                    <a:lnTo>
                      <a:pt x="1221" y="701"/>
                    </a:lnTo>
                    <a:lnTo>
                      <a:pt x="1223" y="698"/>
                    </a:lnTo>
                    <a:lnTo>
                      <a:pt x="1223" y="698"/>
                    </a:lnTo>
                    <a:lnTo>
                      <a:pt x="1225" y="698"/>
                    </a:lnTo>
                    <a:lnTo>
                      <a:pt x="1225" y="698"/>
                    </a:lnTo>
                    <a:lnTo>
                      <a:pt x="1225" y="698"/>
                    </a:lnTo>
                    <a:lnTo>
                      <a:pt x="1228" y="698"/>
                    </a:lnTo>
                    <a:lnTo>
                      <a:pt x="1228" y="698"/>
                    </a:lnTo>
                    <a:lnTo>
                      <a:pt x="1228" y="696"/>
                    </a:lnTo>
                    <a:lnTo>
                      <a:pt x="1230" y="696"/>
                    </a:lnTo>
                    <a:lnTo>
                      <a:pt x="1230" y="698"/>
                    </a:lnTo>
                    <a:lnTo>
                      <a:pt x="1232" y="698"/>
                    </a:lnTo>
                    <a:lnTo>
                      <a:pt x="1232" y="698"/>
                    </a:lnTo>
                    <a:lnTo>
                      <a:pt x="1232" y="696"/>
                    </a:lnTo>
                    <a:lnTo>
                      <a:pt x="1232" y="693"/>
                    </a:lnTo>
                    <a:lnTo>
                      <a:pt x="1232" y="693"/>
                    </a:lnTo>
                    <a:lnTo>
                      <a:pt x="1232" y="691"/>
                    </a:lnTo>
                    <a:lnTo>
                      <a:pt x="1232" y="689"/>
                    </a:lnTo>
                    <a:lnTo>
                      <a:pt x="1232" y="689"/>
                    </a:lnTo>
                    <a:lnTo>
                      <a:pt x="1232" y="689"/>
                    </a:lnTo>
                    <a:lnTo>
                      <a:pt x="1235" y="686"/>
                    </a:lnTo>
                    <a:lnTo>
                      <a:pt x="1235" y="689"/>
                    </a:lnTo>
                    <a:lnTo>
                      <a:pt x="1235" y="689"/>
                    </a:lnTo>
                    <a:lnTo>
                      <a:pt x="1235" y="696"/>
                    </a:lnTo>
                    <a:lnTo>
                      <a:pt x="1235" y="701"/>
                    </a:lnTo>
                    <a:lnTo>
                      <a:pt x="1235" y="705"/>
                    </a:lnTo>
                    <a:lnTo>
                      <a:pt x="1235" y="705"/>
                    </a:lnTo>
                    <a:lnTo>
                      <a:pt x="1235" y="705"/>
                    </a:lnTo>
                    <a:lnTo>
                      <a:pt x="1235" y="696"/>
                    </a:lnTo>
                    <a:lnTo>
                      <a:pt x="1235" y="686"/>
                    </a:lnTo>
                    <a:lnTo>
                      <a:pt x="1235" y="686"/>
                    </a:lnTo>
                    <a:lnTo>
                      <a:pt x="1235" y="684"/>
                    </a:lnTo>
                    <a:lnTo>
                      <a:pt x="1235" y="682"/>
                    </a:lnTo>
                    <a:lnTo>
                      <a:pt x="1232" y="682"/>
                    </a:lnTo>
                    <a:lnTo>
                      <a:pt x="1230" y="682"/>
                    </a:lnTo>
                    <a:lnTo>
                      <a:pt x="1228" y="682"/>
                    </a:lnTo>
                    <a:lnTo>
                      <a:pt x="1225" y="682"/>
                    </a:lnTo>
                    <a:lnTo>
                      <a:pt x="1225" y="682"/>
                    </a:lnTo>
                    <a:lnTo>
                      <a:pt x="1225" y="679"/>
                    </a:lnTo>
                    <a:lnTo>
                      <a:pt x="1225" y="677"/>
                    </a:lnTo>
                    <a:lnTo>
                      <a:pt x="1223" y="677"/>
                    </a:lnTo>
                    <a:lnTo>
                      <a:pt x="1221" y="675"/>
                    </a:lnTo>
                    <a:lnTo>
                      <a:pt x="1221" y="675"/>
                    </a:lnTo>
                    <a:lnTo>
                      <a:pt x="1216" y="675"/>
                    </a:lnTo>
                    <a:lnTo>
                      <a:pt x="1216" y="675"/>
                    </a:lnTo>
                    <a:lnTo>
                      <a:pt x="1216" y="672"/>
                    </a:lnTo>
                    <a:lnTo>
                      <a:pt x="1221" y="672"/>
                    </a:lnTo>
                    <a:lnTo>
                      <a:pt x="1225" y="675"/>
                    </a:lnTo>
                    <a:lnTo>
                      <a:pt x="1225" y="675"/>
                    </a:lnTo>
                    <a:lnTo>
                      <a:pt x="1225" y="677"/>
                    </a:lnTo>
                    <a:lnTo>
                      <a:pt x="1228" y="679"/>
                    </a:lnTo>
                    <a:lnTo>
                      <a:pt x="1228" y="679"/>
                    </a:lnTo>
                    <a:lnTo>
                      <a:pt x="1228" y="679"/>
                    </a:lnTo>
                    <a:lnTo>
                      <a:pt x="1230" y="679"/>
                    </a:lnTo>
                    <a:lnTo>
                      <a:pt x="1230" y="679"/>
                    </a:lnTo>
                    <a:lnTo>
                      <a:pt x="1230" y="677"/>
                    </a:lnTo>
                    <a:lnTo>
                      <a:pt x="1230" y="677"/>
                    </a:lnTo>
                    <a:lnTo>
                      <a:pt x="1230" y="675"/>
                    </a:lnTo>
                    <a:lnTo>
                      <a:pt x="1228" y="675"/>
                    </a:lnTo>
                    <a:lnTo>
                      <a:pt x="1228" y="672"/>
                    </a:lnTo>
                    <a:lnTo>
                      <a:pt x="1225" y="670"/>
                    </a:lnTo>
                    <a:lnTo>
                      <a:pt x="1225" y="670"/>
                    </a:lnTo>
                    <a:lnTo>
                      <a:pt x="1225" y="670"/>
                    </a:lnTo>
                    <a:lnTo>
                      <a:pt x="1228" y="675"/>
                    </a:lnTo>
                    <a:lnTo>
                      <a:pt x="1230" y="675"/>
                    </a:lnTo>
                    <a:lnTo>
                      <a:pt x="1230" y="675"/>
                    </a:lnTo>
                    <a:lnTo>
                      <a:pt x="1230" y="672"/>
                    </a:lnTo>
                    <a:lnTo>
                      <a:pt x="1230" y="672"/>
                    </a:lnTo>
                    <a:lnTo>
                      <a:pt x="1232" y="672"/>
                    </a:lnTo>
                    <a:lnTo>
                      <a:pt x="1235" y="670"/>
                    </a:lnTo>
                    <a:lnTo>
                      <a:pt x="1235" y="670"/>
                    </a:lnTo>
                    <a:lnTo>
                      <a:pt x="1232" y="670"/>
                    </a:lnTo>
                    <a:lnTo>
                      <a:pt x="1235" y="667"/>
                    </a:lnTo>
                    <a:lnTo>
                      <a:pt x="1230" y="667"/>
                    </a:lnTo>
                    <a:lnTo>
                      <a:pt x="1230" y="665"/>
                    </a:lnTo>
                    <a:lnTo>
                      <a:pt x="1230" y="665"/>
                    </a:lnTo>
                    <a:lnTo>
                      <a:pt x="1228" y="663"/>
                    </a:lnTo>
                    <a:lnTo>
                      <a:pt x="1228" y="660"/>
                    </a:lnTo>
                    <a:lnTo>
                      <a:pt x="1225" y="658"/>
                    </a:lnTo>
                    <a:lnTo>
                      <a:pt x="1223" y="656"/>
                    </a:lnTo>
                    <a:lnTo>
                      <a:pt x="1225" y="656"/>
                    </a:lnTo>
                    <a:lnTo>
                      <a:pt x="1225" y="656"/>
                    </a:lnTo>
                    <a:lnTo>
                      <a:pt x="1228" y="660"/>
                    </a:lnTo>
                    <a:lnTo>
                      <a:pt x="1228" y="660"/>
                    </a:lnTo>
                    <a:lnTo>
                      <a:pt x="1230" y="665"/>
                    </a:lnTo>
                    <a:lnTo>
                      <a:pt x="1232" y="665"/>
                    </a:lnTo>
                    <a:lnTo>
                      <a:pt x="1235" y="665"/>
                    </a:lnTo>
                    <a:lnTo>
                      <a:pt x="1235" y="665"/>
                    </a:lnTo>
                    <a:lnTo>
                      <a:pt x="1235" y="663"/>
                    </a:lnTo>
                    <a:lnTo>
                      <a:pt x="1237" y="663"/>
                    </a:lnTo>
                    <a:lnTo>
                      <a:pt x="1237" y="660"/>
                    </a:lnTo>
                    <a:lnTo>
                      <a:pt x="1235" y="660"/>
                    </a:lnTo>
                    <a:lnTo>
                      <a:pt x="1235" y="658"/>
                    </a:lnTo>
                    <a:lnTo>
                      <a:pt x="1232" y="656"/>
                    </a:lnTo>
                    <a:lnTo>
                      <a:pt x="1232" y="656"/>
                    </a:lnTo>
                    <a:lnTo>
                      <a:pt x="1228" y="656"/>
                    </a:lnTo>
                    <a:lnTo>
                      <a:pt x="1225" y="651"/>
                    </a:lnTo>
                    <a:lnTo>
                      <a:pt x="1225" y="651"/>
                    </a:lnTo>
                    <a:lnTo>
                      <a:pt x="1223" y="651"/>
                    </a:lnTo>
                    <a:lnTo>
                      <a:pt x="1223" y="651"/>
                    </a:lnTo>
                    <a:lnTo>
                      <a:pt x="1223" y="651"/>
                    </a:lnTo>
                    <a:lnTo>
                      <a:pt x="1223" y="646"/>
                    </a:lnTo>
                    <a:lnTo>
                      <a:pt x="1225" y="646"/>
                    </a:lnTo>
                    <a:lnTo>
                      <a:pt x="1228" y="644"/>
                    </a:lnTo>
                    <a:lnTo>
                      <a:pt x="1228" y="644"/>
                    </a:lnTo>
                    <a:lnTo>
                      <a:pt x="1230" y="641"/>
                    </a:lnTo>
                    <a:lnTo>
                      <a:pt x="1230" y="639"/>
                    </a:lnTo>
                    <a:lnTo>
                      <a:pt x="1230" y="641"/>
                    </a:lnTo>
                    <a:lnTo>
                      <a:pt x="1228" y="644"/>
                    </a:lnTo>
                    <a:lnTo>
                      <a:pt x="1228" y="644"/>
                    </a:lnTo>
                    <a:lnTo>
                      <a:pt x="1225" y="646"/>
                    </a:lnTo>
                    <a:lnTo>
                      <a:pt x="1223" y="648"/>
                    </a:lnTo>
                    <a:lnTo>
                      <a:pt x="1223" y="651"/>
                    </a:lnTo>
                    <a:lnTo>
                      <a:pt x="1225" y="651"/>
                    </a:lnTo>
                    <a:lnTo>
                      <a:pt x="1225" y="648"/>
                    </a:lnTo>
                    <a:lnTo>
                      <a:pt x="1228" y="648"/>
                    </a:lnTo>
                    <a:lnTo>
                      <a:pt x="1228" y="651"/>
                    </a:lnTo>
                    <a:lnTo>
                      <a:pt x="1228" y="651"/>
                    </a:lnTo>
                    <a:lnTo>
                      <a:pt x="1228" y="653"/>
                    </a:lnTo>
                    <a:lnTo>
                      <a:pt x="1230" y="651"/>
                    </a:lnTo>
                    <a:lnTo>
                      <a:pt x="1230" y="651"/>
                    </a:lnTo>
                    <a:lnTo>
                      <a:pt x="1230" y="653"/>
                    </a:lnTo>
                    <a:lnTo>
                      <a:pt x="1232" y="653"/>
                    </a:lnTo>
                    <a:lnTo>
                      <a:pt x="1235" y="656"/>
                    </a:lnTo>
                    <a:lnTo>
                      <a:pt x="1235" y="656"/>
                    </a:lnTo>
                    <a:lnTo>
                      <a:pt x="1237" y="656"/>
                    </a:lnTo>
                    <a:lnTo>
                      <a:pt x="1237" y="656"/>
                    </a:lnTo>
                    <a:lnTo>
                      <a:pt x="1237" y="656"/>
                    </a:lnTo>
                    <a:lnTo>
                      <a:pt x="1237" y="653"/>
                    </a:lnTo>
                    <a:lnTo>
                      <a:pt x="1235" y="648"/>
                    </a:lnTo>
                    <a:lnTo>
                      <a:pt x="1235" y="646"/>
                    </a:lnTo>
                    <a:lnTo>
                      <a:pt x="1235" y="646"/>
                    </a:lnTo>
                    <a:lnTo>
                      <a:pt x="1235" y="646"/>
                    </a:lnTo>
                    <a:lnTo>
                      <a:pt x="1235" y="646"/>
                    </a:lnTo>
                    <a:lnTo>
                      <a:pt x="1235" y="648"/>
                    </a:lnTo>
                    <a:lnTo>
                      <a:pt x="1237" y="651"/>
                    </a:lnTo>
                    <a:lnTo>
                      <a:pt x="1237" y="651"/>
                    </a:lnTo>
                    <a:lnTo>
                      <a:pt x="1237" y="651"/>
                    </a:lnTo>
                    <a:lnTo>
                      <a:pt x="1237" y="648"/>
                    </a:lnTo>
                    <a:lnTo>
                      <a:pt x="1237" y="648"/>
                    </a:lnTo>
                    <a:lnTo>
                      <a:pt x="1237" y="646"/>
                    </a:lnTo>
                    <a:lnTo>
                      <a:pt x="1237" y="644"/>
                    </a:lnTo>
                    <a:lnTo>
                      <a:pt x="1239" y="641"/>
                    </a:lnTo>
                    <a:lnTo>
                      <a:pt x="1239" y="641"/>
                    </a:lnTo>
                    <a:lnTo>
                      <a:pt x="1239" y="639"/>
                    </a:lnTo>
                    <a:lnTo>
                      <a:pt x="1239" y="639"/>
                    </a:lnTo>
                    <a:lnTo>
                      <a:pt x="1239" y="637"/>
                    </a:lnTo>
                    <a:lnTo>
                      <a:pt x="1239" y="637"/>
                    </a:lnTo>
                    <a:lnTo>
                      <a:pt x="1239" y="637"/>
                    </a:lnTo>
                    <a:lnTo>
                      <a:pt x="1242" y="637"/>
                    </a:lnTo>
                    <a:lnTo>
                      <a:pt x="1242" y="637"/>
                    </a:lnTo>
                    <a:lnTo>
                      <a:pt x="1242" y="634"/>
                    </a:lnTo>
                    <a:lnTo>
                      <a:pt x="1242" y="634"/>
                    </a:lnTo>
                    <a:lnTo>
                      <a:pt x="1242" y="632"/>
                    </a:lnTo>
                    <a:lnTo>
                      <a:pt x="1242" y="632"/>
                    </a:lnTo>
                    <a:lnTo>
                      <a:pt x="1244" y="632"/>
                    </a:lnTo>
                    <a:lnTo>
                      <a:pt x="1244" y="632"/>
                    </a:lnTo>
                    <a:lnTo>
                      <a:pt x="1244" y="632"/>
                    </a:lnTo>
                    <a:lnTo>
                      <a:pt x="1244" y="630"/>
                    </a:lnTo>
                    <a:lnTo>
                      <a:pt x="1247" y="630"/>
                    </a:lnTo>
                    <a:lnTo>
                      <a:pt x="1247" y="630"/>
                    </a:lnTo>
                    <a:lnTo>
                      <a:pt x="1247" y="630"/>
                    </a:lnTo>
                    <a:lnTo>
                      <a:pt x="1247" y="630"/>
                    </a:lnTo>
                    <a:lnTo>
                      <a:pt x="1247" y="630"/>
                    </a:lnTo>
                    <a:lnTo>
                      <a:pt x="1249" y="627"/>
                    </a:lnTo>
                    <a:lnTo>
                      <a:pt x="1249" y="627"/>
                    </a:lnTo>
                    <a:lnTo>
                      <a:pt x="1249" y="630"/>
                    </a:lnTo>
                    <a:lnTo>
                      <a:pt x="1249" y="630"/>
                    </a:lnTo>
                    <a:lnTo>
                      <a:pt x="1251" y="627"/>
                    </a:lnTo>
                    <a:lnTo>
                      <a:pt x="1251" y="627"/>
                    </a:lnTo>
                    <a:lnTo>
                      <a:pt x="1251" y="627"/>
                    </a:lnTo>
                    <a:lnTo>
                      <a:pt x="1251" y="625"/>
                    </a:lnTo>
                    <a:lnTo>
                      <a:pt x="1254" y="625"/>
                    </a:lnTo>
                    <a:lnTo>
                      <a:pt x="1254" y="625"/>
                    </a:lnTo>
                    <a:lnTo>
                      <a:pt x="1254" y="627"/>
                    </a:lnTo>
                    <a:lnTo>
                      <a:pt x="1256" y="627"/>
                    </a:lnTo>
                    <a:lnTo>
                      <a:pt x="1254" y="627"/>
                    </a:lnTo>
                    <a:lnTo>
                      <a:pt x="1254" y="627"/>
                    </a:lnTo>
                    <a:lnTo>
                      <a:pt x="1251" y="630"/>
                    </a:lnTo>
                    <a:lnTo>
                      <a:pt x="1254" y="630"/>
                    </a:lnTo>
                    <a:lnTo>
                      <a:pt x="1254" y="630"/>
                    </a:lnTo>
                    <a:lnTo>
                      <a:pt x="1251" y="630"/>
                    </a:lnTo>
                    <a:lnTo>
                      <a:pt x="1251" y="630"/>
                    </a:lnTo>
                    <a:lnTo>
                      <a:pt x="1249" y="630"/>
                    </a:lnTo>
                    <a:lnTo>
                      <a:pt x="1247" y="634"/>
                    </a:lnTo>
                    <a:lnTo>
                      <a:pt x="1247" y="637"/>
                    </a:lnTo>
                    <a:lnTo>
                      <a:pt x="1247" y="634"/>
                    </a:lnTo>
                    <a:lnTo>
                      <a:pt x="1247" y="637"/>
                    </a:lnTo>
                    <a:lnTo>
                      <a:pt x="1247" y="637"/>
                    </a:lnTo>
                    <a:lnTo>
                      <a:pt x="1244" y="637"/>
                    </a:lnTo>
                    <a:lnTo>
                      <a:pt x="1244" y="637"/>
                    </a:lnTo>
                    <a:lnTo>
                      <a:pt x="1242" y="639"/>
                    </a:lnTo>
                    <a:lnTo>
                      <a:pt x="1242" y="639"/>
                    </a:lnTo>
                    <a:lnTo>
                      <a:pt x="1244" y="639"/>
                    </a:lnTo>
                    <a:lnTo>
                      <a:pt x="1244" y="639"/>
                    </a:lnTo>
                    <a:lnTo>
                      <a:pt x="1244" y="641"/>
                    </a:lnTo>
                    <a:lnTo>
                      <a:pt x="1244" y="641"/>
                    </a:lnTo>
                    <a:lnTo>
                      <a:pt x="1242" y="641"/>
                    </a:lnTo>
                    <a:lnTo>
                      <a:pt x="1242" y="644"/>
                    </a:lnTo>
                    <a:lnTo>
                      <a:pt x="1242" y="644"/>
                    </a:lnTo>
                    <a:lnTo>
                      <a:pt x="1242" y="641"/>
                    </a:lnTo>
                    <a:lnTo>
                      <a:pt x="1244" y="641"/>
                    </a:lnTo>
                    <a:lnTo>
                      <a:pt x="1244" y="644"/>
                    </a:lnTo>
                    <a:lnTo>
                      <a:pt x="1244" y="646"/>
                    </a:lnTo>
                    <a:lnTo>
                      <a:pt x="1247" y="646"/>
                    </a:lnTo>
                    <a:lnTo>
                      <a:pt x="1247" y="646"/>
                    </a:lnTo>
                    <a:lnTo>
                      <a:pt x="1244" y="646"/>
                    </a:lnTo>
                    <a:lnTo>
                      <a:pt x="1242" y="646"/>
                    </a:lnTo>
                    <a:lnTo>
                      <a:pt x="1242" y="646"/>
                    </a:lnTo>
                    <a:lnTo>
                      <a:pt x="1239" y="648"/>
                    </a:lnTo>
                    <a:lnTo>
                      <a:pt x="1239" y="648"/>
                    </a:lnTo>
                    <a:lnTo>
                      <a:pt x="1242" y="651"/>
                    </a:lnTo>
                    <a:lnTo>
                      <a:pt x="1242" y="651"/>
                    </a:lnTo>
                    <a:lnTo>
                      <a:pt x="1242" y="653"/>
                    </a:lnTo>
                    <a:lnTo>
                      <a:pt x="1244" y="653"/>
                    </a:lnTo>
                    <a:lnTo>
                      <a:pt x="1244" y="651"/>
                    </a:lnTo>
                    <a:lnTo>
                      <a:pt x="1244" y="651"/>
                    </a:lnTo>
                    <a:lnTo>
                      <a:pt x="1244" y="653"/>
                    </a:lnTo>
                    <a:lnTo>
                      <a:pt x="1244" y="651"/>
                    </a:lnTo>
                    <a:lnTo>
                      <a:pt x="1247" y="651"/>
                    </a:lnTo>
                    <a:lnTo>
                      <a:pt x="1247" y="651"/>
                    </a:lnTo>
                    <a:lnTo>
                      <a:pt x="1247" y="651"/>
                    </a:lnTo>
                    <a:lnTo>
                      <a:pt x="1247" y="653"/>
                    </a:lnTo>
                    <a:lnTo>
                      <a:pt x="1247" y="653"/>
                    </a:lnTo>
                    <a:lnTo>
                      <a:pt x="1244" y="656"/>
                    </a:lnTo>
                    <a:lnTo>
                      <a:pt x="1244" y="656"/>
                    </a:lnTo>
                    <a:lnTo>
                      <a:pt x="1247" y="656"/>
                    </a:lnTo>
                    <a:lnTo>
                      <a:pt x="1247" y="658"/>
                    </a:lnTo>
                    <a:lnTo>
                      <a:pt x="1244" y="658"/>
                    </a:lnTo>
                    <a:lnTo>
                      <a:pt x="1244" y="660"/>
                    </a:lnTo>
                    <a:lnTo>
                      <a:pt x="1247" y="660"/>
                    </a:lnTo>
                    <a:lnTo>
                      <a:pt x="1247" y="660"/>
                    </a:lnTo>
                    <a:lnTo>
                      <a:pt x="1247" y="663"/>
                    </a:lnTo>
                    <a:lnTo>
                      <a:pt x="1244" y="663"/>
                    </a:lnTo>
                    <a:lnTo>
                      <a:pt x="1242" y="667"/>
                    </a:lnTo>
                    <a:lnTo>
                      <a:pt x="1237" y="672"/>
                    </a:lnTo>
                    <a:lnTo>
                      <a:pt x="1237" y="675"/>
                    </a:lnTo>
                    <a:lnTo>
                      <a:pt x="1237" y="675"/>
                    </a:lnTo>
                    <a:lnTo>
                      <a:pt x="1237" y="677"/>
                    </a:lnTo>
                    <a:lnTo>
                      <a:pt x="1239" y="675"/>
                    </a:lnTo>
                    <a:lnTo>
                      <a:pt x="1242" y="672"/>
                    </a:lnTo>
                    <a:lnTo>
                      <a:pt x="1242" y="670"/>
                    </a:lnTo>
                    <a:lnTo>
                      <a:pt x="1244" y="670"/>
                    </a:lnTo>
                    <a:lnTo>
                      <a:pt x="1244" y="670"/>
                    </a:lnTo>
                    <a:lnTo>
                      <a:pt x="1247" y="667"/>
                    </a:lnTo>
                    <a:lnTo>
                      <a:pt x="1247" y="667"/>
                    </a:lnTo>
                    <a:lnTo>
                      <a:pt x="1254" y="658"/>
                    </a:lnTo>
                    <a:lnTo>
                      <a:pt x="1256" y="656"/>
                    </a:lnTo>
                    <a:lnTo>
                      <a:pt x="1256" y="653"/>
                    </a:lnTo>
                    <a:lnTo>
                      <a:pt x="1258" y="653"/>
                    </a:lnTo>
                    <a:lnTo>
                      <a:pt x="1258" y="653"/>
                    </a:lnTo>
                    <a:lnTo>
                      <a:pt x="1261" y="651"/>
                    </a:lnTo>
                    <a:lnTo>
                      <a:pt x="1261" y="651"/>
                    </a:lnTo>
                    <a:lnTo>
                      <a:pt x="1261" y="648"/>
                    </a:lnTo>
                    <a:lnTo>
                      <a:pt x="1261" y="651"/>
                    </a:lnTo>
                    <a:lnTo>
                      <a:pt x="1261" y="651"/>
                    </a:lnTo>
                    <a:lnTo>
                      <a:pt x="1261" y="651"/>
                    </a:lnTo>
                    <a:lnTo>
                      <a:pt x="1261" y="648"/>
                    </a:lnTo>
                    <a:lnTo>
                      <a:pt x="1263" y="648"/>
                    </a:lnTo>
                    <a:lnTo>
                      <a:pt x="1263" y="646"/>
                    </a:lnTo>
                    <a:lnTo>
                      <a:pt x="1261" y="646"/>
                    </a:lnTo>
                    <a:lnTo>
                      <a:pt x="1261" y="646"/>
                    </a:lnTo>
                    <a:lnTo>
                      <a:pt x="1261" y="646"/>
                    </a:lnTo>
                    <a:lnTo>
                      <a:pt x="1263" y="644"/>
                    </a:lnTo>
                    <a:lnTo>
                      <a:pt x="1263" y="641"/>
                    </a:lnTo>
                    <a:lnTo>
                      <a:pt x="1261" y="641"/>
                    </a:lnTo>
                    <a:lnTo>
                      <a:pt x="1261" y="639"/>
                    </a:lnTo>
                    <a:lnTo>
                      <a:pt x="1261" y="634"/>
                    </a:lnTo>
                    <a:lnTo>
                      <a:pt x="1261" y="632"/>
                    </a:lnTo>
                    <a:lnTo>
                      <a:pt x="1261" y="630"/>
                    </a:lnTo>
                    <a:lnTo>
                      <a:pt x="1261" y="627"/>
                    </a:lnTo>
                    <a:lnTo>
                      <a:pt x="1261" y="625"/>
                    </a:lnTo>
                    <a:lnTo>
                      <a:pt x="1261" y="625"/>
                    </a:lnTo>
                    <a:lnTo>
                      <a:pt x="1261" y="625"/>
                    </a:lnTo>
                    <a:lnTo>
                      <a:pt x="1263" y="622"/>
                    </a:lnTo>
                    <a:lnTo>
                      <a:pt x="1263" y="620"/>
                    </a:lnTo>
                    <a:lnTo>
                      <a:pt x="1266" y="620"/>
                    </a:lnTo>
                    <a:lnTo>
                      <a:pt x="1268" y="620"/>
                    </a:lnTo>
                    <a:lnTo>
                      <a:pt x="1270" y="618"/>
                    </a:lnTo>
                    <a:lnTo>
                      <a:pt x="1273" y="615"/>
                    </a:lnTo>
                    <a:lnTo>
                      <a:pt x="1270" y="618"/>
                    </a:lnTo>
                    <a:lnTo>
                      <a:pt x="1270" y="618"/>
                    </a:lnTo>
                    <a:lnTo>
                      <a:pt x="1266" y="620"/>
                    </a:lnTo>
                    <a:lnTo>
                      <a:pt x="1266" y="620"/>
                    </a:lnTo>
                    <a:lnTo>
                      <a:pt x="1263" y="622"/>
                    </a:lnTo>
                    <a:lnTo>
                      <a:pt x="1261" y="625"/>
                    </a:lnTo>
                    <a:lnTo>
                      <a:pt x="1261" y="625"/>
                    </a:lnTo>
                    <a:lnTo>
                      <a:pt x="1261" y="627"/>
                    </a:lnTo>
                    <a:lnTo>
                      <a:pt x="1263" y="630"/>
                    </a:lnTo>
                    <a:lnTo>
                      <a:pt x="1266" y="632"/>
                    </a:lnTo>
                    <a:lnTo>
                      <a:pt x="1266" y="632"/>
                    </a:lnTo>
                    <a:lnTo>
                      <a:pt x="1268" y="632"/>
                    </a:lnTo>
                    <a:lnTo>
                      <a:pt x="1268" y="634"/>
                    </a:lnTo>
                    <a:lnTo>
                      <a:pt x="1270" y="634"/>
                    </a:lnTo>
                    <a:lnTo>
                      <a:pt x="1268" y="637"/>
                    </a:lnTo>
                    <a:lnTo>
                      <a:pt x="1268" y="639"/>
                    </a:lnTo>
                    <a:lnTo>
                      <a:pt x="1268" y="639"/>
                    </a:lnTo>
                    <a:lnTo>
                      <a:pt x="1270" y="637"/>
                    </a:lnTo>
                    <a:lnTo>
                      <a:pt x="1275" y="632"/>
                    </a:lnTo>
                    <a:lnTo>
                      <a:pt x="1275" y="632"/>
                    </a:lnTo>
                    <a:lnTo>
                      <a:pt x="1275" y="632"/>
                    </a:lnTo>
                    <a:lnTo>
                      <a:pt x="1275" y="630"/>
                    </a:lnTo>
                    <a:lnTo>
                      <a:pt x="1277" y="630"/>
                    </a:lnTo>
                    <a:lnTo>
                      <a:pt x="1277" y="630"/>
                    </a:lnTo>
                    <a:lnTo>
                      <a:pt x="1280" y="630"/>
                    </a:lnTo>
                    <a:lnTo>
                      <a:pt x="1280" y="627"/>
                    </a:lnTo>
                    <a:lnTo>
                      <a:pt x="1280" y="627"/>
                    </a:lnTo>
                    <a:lnTo>
                      <a:pt x="1280" y="625"/>
                    </a:lnTo>
                    <a:lnTo>
                      <a:pt x="1282" y="625"/>
                    </a:lnTo>
                    <a:lnTo>
                      <a:pt x="1284" y="625"/>
                    </a:lnTo>
                    <a:lnTo>
                      <a:pt x="1287" y="622"/>
                    </a:lnTo>
                    <a:lnTo>
                      <a:pt x="1289" y="618"/>
                    </a:lnTo>
                    <a:lnTo>
                      <a:pt x="1289" y="618"/>
                    </a:lnTo>
                    <a:lnTo>
                      <a:pt x="1289" y="615"/>
                    </a:lnTo>
                    <a:lnTo>
                      <a:pt x="1289" y="620"/>
                    </a:lnTo>
                    <a:lnTo>
                      <a:pt x="1287" y="620"/>
                    </a:lnTo>
                    <a:lnTo>
                      <a:pt x="1289" y="618"/>
                    </a:lnTo>
                    <a:lnTo>
                      <a:pt x="1292" y="615"/>
                    </a:lnTo>
                    <a:lnTo>
                      <a:pt x="1292" y="615"/>
                    </a:lnTo>
                    <a:lnTo>
                      <a:pt x="1294" y="613"/>
                    </a:lnTo>
                    <a:lnTo>
                      <a:pt x="1294" y="611"/>
                    </a:lnTo>
                    <a:lnTo>
                      <a:pt x="1294" y="611"/>
                    </a:lnTo>
                    <a:lnTo>
                      <a:pt x="1294" y="608"/>
                    </a:lnTo>
                    <a:lnTo>
                      <a:pt x="1294" y="608"/>
                    </a:lnTo>
                    <a:lnTo>
                      <a:pt x="1289" y="608"/>
                    </a:lnTo>
                    <a:lnTo>
                      <a:pt x="1289" y="606"/>
                    </a:lnTo>
                    <a:lnTo>
                      <a:pt x="1292" y="606"/>
                    </a:lnTo>
                    <a:lnTo>
                      <a:pt x="1292" y="604"/>
                    </a:lnTo>
                    <a:lnTo>
                      <a:pt x="1294" y="604"/>
                    </a:lnTo>
                    <a:lnTo>
                      <a:pt x="1294" y="604"/>
                    </a:lnTo>
                    <a:lnTo>
                      <a:pt x="1296" y="604"/>
                    </a:lnTo>
                    <a:lnTo>
                      <a:pt x="1296" y="601"/>
                    </a:lnTo>
                    <a:lnTo>
                      <a:pt x="1299" y="599"/>
                    </a:lnTo>
                    <a:lnTo>
                      <a:pt x="1301" y="596"/>
                    </a:lnTo>
                    <a:lnTo>
                      <a:pt x="1301" y="594"/>
                    </a:lnTo>
                    <a:lnTo>
                      <a:pt x="1301" y="592"/>
                    </a:lnTo>
                    <a:lnTo>
                      <a:pt x="1301" y="592"/>
                    </a:lnTo>
                    <a:lnTo>
                      <a:pt x="1301" y="594"/>
                    </a:lnTo>
                    <a:lnTo>
                      <a:pt x="1301" y="596"/>
                    </a:lnTo>
                    <a:lnTo>
                      <a:pt x="1299" y="599"/>
                    </a:lnTo>
                    <a:lnTo>
                      <a:pt x="1299" y="601"/>
                    </a:lnTo>
                    <a:lnTo>
                      <a:pt x="1296" y="601"/>
                    </a:lnTo>
                    <a:lnTo>
                      <a:pt x="1299" y="601"/>
                    </a:lnTo>
                    <a:lnTo>
                      <a:pt x="1299" y="601"/>
                    </a:lnTo>
                    <a:lnTo>
                      <a:pt x="1299" y="601"/>
                    </a:lnTo>
                    <a:lnTo>
                      <a:pt x="1301" y="599"/>
                    </a:lnTo>
                    <a:lnTo>
                      <a:pt x="1303" y="599"/>
                    </a:lnTo>
                    <a:lnTo>
                      <a:pt x="1306" y="596"/>
                    </a:lnTo>
                    <a:lnTo>
                      <a:pt x="1313" y="594"/>
                    </a:lnTo>
                    <a:lnTo>
                      <a:pt x="1318" y="592"/>
                    </a:lnTo>
                    <a:lnTo>
                      <a:pt x="1320" y="592"/>
                    </a:lnTo>
                    <a:lnTo>
                      <a:pt x="1320" y="592"/>
                    </a:lnTo>
                    <a:lnTo>
                      <a:pt x="1327" y="592"/>
                    </a:lnTo>
                    <a:lnTo>
                      <a:pt x="1329" y="592"/>
                    </a:lnTo>
                    <a:lnTo>
                      <a:pt x="1329" y="592"/>
                    </a:lnTo>
                    <a:lnTo>
                      <a:pt x="1334" y="589"/>
                    </a:lnTo>
                    <a:lnTo>
                      <a:pt x="1336" y="589"/>
                    </a:lnTo>
                    <a:lnTo>
                      <a:pt x="1339" y="589"/>
                    </a:lnTo>
                    <a:lnTo>
                      <a:pt x="1344" y="589"/>
                    </a:lnTo>
                    <a:lnTo>
                      <a:pt x="1346" y="587"/>
                    </a:lnTo>
                    <a:lnTo>
                      <a:pt x="1348" y="585"/>
                    </a:lnTo>
                    <a:lnTo>
                      <a:pt x="1348" y="582"/>
                    </a:lnTo>
                    <a:lnTo>
                      <a:pt x="1348" y="580"/>
                    </a:lnTo>
                    <a:lnTo>
                      <a:pt x="1351" y="580"/>
                    </a:lnTo>
                    <a:lnTo>
                      <a:pt x="1351" y="582"/>
                    </a:lnTo>
                    <a:lnTo>
                      <a:pt x="1351" y="582"/>
                    </a:lnTo>
                    <a:lnTo>
                      <a:pt x="1351" y="582"/>
                    </a:lnTo>
                    <a:lnTo>
                      <a:pt x="1353" y="582"/>
                    </a:lnTo>
                    <a:lnTo>
                      <a:pt x="1353" y="582"/>
                    </a:lnTo>
                    <a:lnTo>
                      <a:pt x="1351" y="585"/>
                    </a:lnTo>
                    <a:lnTo>
                      <a:pt x="1351" y="587"/>
                    </a:lnTo>
                    <a:lnTo>
                      <a:pt x="1351" y="587"/>
                    </a:lnTo>
                    <a:lnTo>
                      <a:pt x="1353" y="587"/>
                    </a:lnTo>
                    <a:lnTo>
                      <a:pt x="1355" y="585"/>
                    </a:lnTo>
                    <a:lnTo>
                      <a:pt x="1360" y="582"/>
                    </a:lnTo>
                    <a:lnTo>
                      <a:pt x="1360" y="582"/>
                    </a:lnTo>
                    <a:lnTo>
                      <a:pt x="1360" y="585"/>
                    </a:lnTo>
                    <a:lnTo>
                      <a:pt x="1360" y="585"/>
                    </a:lnTo>
                    <a:lnTo>
                      <a:pt x="1360" y="587"/>
                    </a:lnTo>
                    <a:lnTo>
                      <a:pt x="1362" y="585"/>
                    </a:lnTo>
                    <a:lnTo>
                      <a:pt x="1365" y="585"/>
                    </a:lnTo>
                    <a:lnTo>
                      <a:pt x="1372" y="582"/>
                    </a:lnTo>
                    <a:lnTo>
                      <a:pt x="1372" y="582"/>
                    </a:lnTo>
                    <a:lnTo>
                      <a:pt x="1372" y="582"/>
                    </a:lnTo>
                    <a:lnTo>
                      <a:pt x="1374" y="582"/>
                    </a:lnTo>
                    <a:lnTo>
                      <a:pt x="1374" y="580"/>
                    </a:lnTo>
                    <a:lnTo>
                      <a:pt x="1374" y="577"/>
                    </a:lnTo>
                    <a:lnTo>
                      <a:pt x="1374" y="575"/>
                    </a:lnTo>
                    <a:lnTo>
                      <a:pt x="1372" y="575"/>
                    </a:lnTo>
                    <a:lnTo>
                      <a:pt x="1372" y="575"/>
                    </a:lnTo>
                    <a:lnTo>
                      <a:pt x="1372" y="575"/>
                    </a:lnTo>
                    <a:lnTo>
                      <a:pt x="1372" y="575"/>
                    </a:lnTo>
                    <a:lnTo>
                      <a:pt x="1372" y="575"/>
                    </a:lnTo>
                    <a:lnTo>
                      <a:pt x="1372" y="575"/>
                    </a:lnTo>
                    <a:lnTo>
                      <a:pt x="1372" y="575"/>
                    </a:lnTo>
                    <a:lnTo>
                      <a:pt x="1372" y="577"/>
                    </a:lnTo>
                    <a:lnTo>
                      <a:pt x="1374" y="580"/>
                    </a:lnTo>
                    <a:lnTo>
                      <a:pt x="1372" y="580"/>
                    </a:lnTo>
                    <a:lnTo>
                      <a:pt x="1370" y="582"/>
                    </a:lnTo>
                    <a:lnTo>
                      <a:pt x="1367" y="582"/>
                    </a:lnTo>
                    <a:lnTo>
                      <a:pt x="1365" y="582"/>
                    </a:lnTo>
                    <a:lnTo>
                      <a:pt x="1365" y="580"/>
                    </a:lnTo>
                    <a:lnTo>
                      <a:pt x="1365" y="577"/>
                    </a:lnTo>
                    <a:lnTo>
                      <a:pt x="1362" y="577"/>
                    </a:lnTo>
                    <a:lnTo>
                      <a:pt x="1362" y="575"/>
                    </a:lnTo>
                    <a:lnTo>
                      <a:pt x="1365" y="575"/>
                    </a:lnTo>
                    <a:lnTo>
                      <a:pt x="1362" y="573"/>
                    </a:lnTo>
                    <a:lnTo>
                      <a:pt x="1362" y="570"/>
                    </a:lnTo>
                    <a:lnTo>
                      <a:pt x="1360" y="570"/>
                    </a:lnTo>
                    <a:lnTo>
                      <a:pt x="1360" y="570"/>
                    </a:lnTo>
                    <a:lnTo>
                      <a:pt x="1362" y="568"/>
                    </a:lnTo>
                    <a:lnTo>
                      <a:pt x="1362" y="566"/>
                    </a:lnTo>
                    <a:lnTo>
                      <a:pt x="1365" y="566"/>
                    </a:lnTo>
                    <a:lnTo>
                      <a:pt x="1365" y="566"/>
                    </a:lnTo>
                    <a:lnTo>
                      <a:pt x="1367" y="563"/>
                    </a:lnTo>
                    <a:lnTo>
                      <a:pt x="1370" y="563"/>
                    </a:lnTo>
                    <a:lnTo>
                      <a:pt x="1370" y="563"/>
                    </a:lnTo>
                    <a:lnTo>
                      <a:pt x="1370" y="563"/>
                    </a:lnTo>
                    <a:lnTo>
                      <a:pt x="1370" y="563"/>
                    </a:lnTo>
                    <a:lnTo>
                      <a:pt x="1367" y="563"/>
                    </a:lnTo>
                    <a:lnTo>
                      <a:pt x="1367" y="563"/>
                    </a:lnTo>
                    <a:lnTo>
                      <a:pt x="1367" y="561"/>
                    </a:lnTo>
                    <a:lnTo>
                      <a:pt x="1367" y="561"/>
                    </a:lnTo>
                    <a:lnTo>
                      <a:pt x="1367" y="559"/>
                    </a:lnTo>
                    <a:lnTo>
                      <a:pt x="1370" y="556"/>
                    </a:lnTo>
                    <a:lnTo>
                      <a:pt x="1370" y="554"/>
                    </a:lnTo>
                    <a:lnTo>
                      <a:pt x="1372" y="554"/>
                    </a:lnTo>
                    <a:lnTo>
                      <a:pt x="1372" y="554"/>
                    </a:lnTo>
                    <a:lnTo>
                      <a:pt x="1377" y="549"/>
                    </a:lnTo>
                    <a:lnTo>
                      <a:pt x="1379" y="547"/>
                    </a:lnTo>
                    <a:lnTo>
                      <a:pt x="1384" y="542"/>
                    </a:lnTo>
                    <a:lnTo>
                      <a:pt x="1384" y="542"/>
                    </a:lnTo>
                    <a:lnTo>
                      <a:pt x="1384" y="542"/>
                    </a:lnTo>
                    <a:lnTo>
                      <a:pt x="1386" y="540"/>
                    </a:lnTo>
                    <a:lnTo>
                      <a:pt x="1389" y="540"/>
                    </a:lnTo>
                    <a:lnTo>
                      <a:pt x="1389" y="540"/>
                    </a:lnTo>
                    <a:lnTo>
                      <a:pt x="1389" y="540"/>
                    </a:lnTo>
                    <a:lnTo>
                      <a:pt x="1389" y="540"/>
                    </a:lnTo>
                    <a:lnTo>
                      <a:pt x="1389" y="540"/>
                    </a:lnTo>
                    <a:lnTo>
                      <a:pt x="1391" y="540"/>
                    </a:lnTo>
                    <a:lnTo>
                      <a:pt x="1391" y="540"/>
                    </a:lnTo>
                    <a:lnTo>
                      <a:pt x="1391" y="540"/>
                    </a:lnTo>
                    <a:lnTo>
                      <a:pt x="1391" y="540"/>
                    </a:lnTo>
                    <a:lnTo>
                      <a:pt x="1393" y="537"/>
                    </a:lnTo>
                    <a:lnTo>
                      <a:pt x="1393" y="537"/>
                    </a:lnTo>
                    <a:lnTo>
                      <a:pt x="1393" y="537"/>
                    </a:lnTo>
                    <a:lnTo>
                      <a:pt x="1393" y="537"/>
                    </a:lnTo>
                    <a:lnTo>
                      <a:pt x="1393" y="540"/>
                    </a:lnTo>
                    <a:lnTo>
                      <a:pt x="1396" y="537"/>
                    </a:lnTo>
                    <a:lnTo>
                      <a:pt x="1396" y="535"/>
                    </a:lnTo>
                    <a:lnTo>
                      <a:pt x="1396" y="537"/>
                    </a:lnTo>
                    <a:lnTo>
                      <a:pt x="1396" y="537"/>
                    </a:lnTo>
                    <a:lnTo>
                      <a:pt x="1396" y="537"/>
                    </a:lnTo>
                    <a:lnTo>
                      <a:pt x="1398" y="535"/>
                    </a:lnTo>
                    <a:lnTo>
                      <a:pt x="1398" y="537"/>
                    </a:lnTo>
                    <a:lnTo>
                      <a:pt x="1398" y="537"/>
                    </a:lnTo>
                    <a:lnTo>
                      <a:pt x="1398" y="537"/>
                    </a:lnTo>
                    <a:lnTo>
                      <a:pt x="1400" y="537"/>
                    </a:lnTo>
                    <a:lnTo>
                      <a:pt x="1400" y="535"/>
                    </a:lnTo>
                    <a:lnTo>
                      <a:pt x="1403" y="535"/>
                    </a:lnTo>
                    <a:lnTo>
                      <a:pt x="1405" y="535"/>
                    </a:lnTo>
                    <a:lnTo>
                      <a:pt x="1407" y="532"/>
                    </a:lnTo>
                    <a:lnTo>
                      <a:pt x="1407" y="532"/>
                    </a:lnTo>
                    <a:lnTo>
                      <a:pt x="1410" y="528"/>
                    </a:lnTo>
                    <a:lnTo>
                      <a:pt x="1410" y="528"/>
                    </a:lnTo>
                    <a:lnTo>
                      <a:pt x="1412" y="525"/>
                    </a:lnTo>
                    <a:lnTo>
                      <a:pt x="1415" y="525"/>
                    </a:lnTo>
                    <a:lnTo>
                      <a:pt x="1415" y="523"/>
                    </a:lnTo>
                    <a:lnTo>
                      <a:pt x="1415" y="525"/>
                    </a:lnTo>
                    <a:lnTo>
                      <a:pt x="1415" y="525"/>
                    </a:lnTo>
                    <a:lnTo>
                      <a:pt x="1415" y="525"/>
                    </a:lnTo>
                    <a:lnTo>
                      <a:pt x="1415" y="525"/>
                    </a:lnTo>
                    <a:lnTo>
                      <a:pt x="1415" y="525"/>
                    </a:lnTo>
                    <a:lnTo>
                      <a:pt x="1412" y="528"/>
                    </a:lnTo>
                    <a:lnTo>
                      <a:pt x="1412" y="528"/>
                    </a:lnTo>
                    <a:lnTo>
                      <a:pt x="1415" y="528"/>
                    </a:lnTo>
                    <a:lnTo>
                      <a:pt x="1417" y="530"/>
                    </a:lnTo>
                    <a:lnTo>
                      <a:pt x="1417" y="530"/>
                    </a:lnTo>
                    <a:lnTo>
                      <a:pt x="1417" y="530"/>
                    </a:lnTo>
                    <a:lnTo>
                      <a:pt x="1417" y="530"/>
                    </a:lnTo>
                    <a:lnTo>
                      <a:pt x="1417" y="528"/>
                    </a:lnTo>
                    <a:lnTo>
                      <a:pt x="1419" y="525"/>
                    </a:lnTo>
                    <a:lnTo>
                      <a:pt x="1419" y="525"/>
                    </a:lnTo>
                    <a:lnTo>
                      <a:pt x="1419" y="525"/>
                    </a:lnTo>
                    <a:lnTo>
                      <a:pt x="1422" y="525"/>
                    </a:lnTo>
                    <a:lnTo>
                      <a:pt x="1422" y="525"/>
                    </a:lnTo>
                    <a:lnTo>
                      <a:pt x="1424" y="525"/>
                    </a:lnTo>
                    <a:lnTo>
                      <a:pt x="1424" y="525"/>
                    </a:lnTo>
                    <a:lnTo>
                      <a:pt x="1424" y="525"/>
                    </a:lnTo>
                    <a:lnTo>
                      <a:pt x="1424" y="525"/>
                    </a:lnTo>
                    <a:lnTo>
                      <a:pt x="1426" y="525"/>
                    </a:lnTo>
                    <a:lnTo>
                      <a:pt x="1426" y="525"/>
                    </a:lnTo>
                    <a:lnTo>
                      <a:pt x="1426" y="528"/>
                    </a:lnTo>
                    <a:lnTo>
                      <a:pt x="1426" y="528"/>
                    </a:lnTo>
                    <a:lnTo>
                      <a:pt x="1426" y="528"/>
                    </a:lnTo>
                    <a:lnTo>
                      <a:pt x="1429" y="525"/>
                    </a:lnTo>
                    <a:lnTo>
                      <a:pt x="1429" y="525"/>
                    </a:lnTo>
                    <a:lnTo>
                      <a:pt x="1431" y="523"/>
                    </a:lnTo>
                    <a:lnTo>
                      <a:pt x="1431" y="523"/>
                    </a:lnTo>
                    <a:lnTo>
                      <a:pt x="1433" y="523"/>
                    </a:lnTo>
                    <a:lnTo>
                      <a:pt x="1433" y="523"/>
                    </a:lnTo>
                    <a:lnTo>
                      <a:pt x="1436" y="523"/>
                    </a:lnTo>
                    <a:lnTo>
                      <a:pt x="1436" y="523"/>
                    </a:lnTo>
                    <a:lnTo>
                      <a:pt x="1438" y="523"/>
                    </a:lnTo>
                    <a:lnTo>
                      <a:pt x="1441" y="521"/>
                    </a:lnTo>
                    <a:lnTo>
                      <a:pt x="1443" y="521"/>
                    </a:lnTo>
                    <a:lnTo>
                      <a:pt x="1448" y="518"/>
                    </a:lnTo>
                    <a:lnTo>
                      <a:pt x="1448" y="518"/>
                    </a:lnTo>
                    <a:lnTo>
                      <a:pt x="1448" y="518"/>
                    </a:lnTo>
                    <a:lnTo>
                      <a:pt x="1445" y="518"/>
                    </a:lnTo>
                    <a:lnTo>
                      <a:pt x="1445" y="516"/>
                    </a:lnTo>
                    <a:lnTo>
                      <a:pt x="1448" y="516"/>
                    </a:lnTo>
                    <a:lnTo>
                      <a:pt x="1448" y="511"/>
                    </a:lnTo>
                    <a:lnTo>
                      <a:pt x="1448" y="511"/>
                    </a:lnTo>
                    <a:lnTo>
                      <a:pt x="1448" y="509"/>
                    </a:lnTo>
                    <a:lnTo>
                      <a:pt x="1448" y="509"/>
                    </a:lnTo>
                    <a:lnTo>
                      <a:pt x="1445" y="509"/>
                    </a:lnTo>
                    <a:lnTo>
                      <a:pt x="1445" y="509"/>
                    </a:lnTo>
                    <a:lnTo>
                      <a:pt x="1445" y="509"/>
                    </a:lnTo>
                    <a:lnTo>
                      <a:pt x="1445" y="509"/>
                    </a:lnTo>
                    <a:lnTo>
                      <a:pt x="1445" y="511"/>
                    </a:lnTo>
                    <a:lnTo>
                      <a:pt x="1443" y="509"/>
                    </a:lnTo>
                    <a:lnTo>
                      <a:pt x="1443" y="509"/>
                    </a:lnTo>
                    <a:lnTo>
                      <a:pt x="1443" y="509"/>
                    </a:lnTo>
                    <a:lnTo>
                      <a:pt x="1443" y="509"/>
                    </a:lnTo>
                    <a:lnTo>
                      <a:pt x="1443" y="506"/>
                    </a:lnTo>
                    <a:lnTo>
                      <a:pt x="1443" y="506"/>
                    </a:lnTo>
                    <a:lnTo>
                      <a:pt x="1443" y="506"/>
                    </a:lnTo>
                    <a:lnTo>
                      <a:pt x="1443" y="504"/>
                    </a:lnTo>
                    <a:lnTo>
                      <a:pt x="1443" y="504"/>
                    </a:lnTo>
                    <a:lnTo>
                      <a:pt x="1443" y="504"/>
                    </a:lnTo>
                    <a:lnTo>
                      <a:pt x="1443" y="504"/>
                    </a:lnTo>
                    <a:lnTo>
                      <a:pt x="1445" y="502"/>
                    </a:lnTo>
                    <a:lnTo>
                      <a:pt x="1445" y="502"/>
                    </a:lnTo>
                    <a:lnTo>
                      <a:pt x="1445" y="502"/>
                    </a:lnTo>
                    <a:lnTo>
                      <a:pt x="1445" y="502"/>
                    </a:lnTo>
                    <a:lnTo>
                      <a:pt x="1445" y="502"/>
                    </a:lnTo>
                    <a:lnTo>
                      <a:pt x="1445" y="502"/>
                    </a:lnTo>
                    <a:lnTo>
                      <a:pt x="1443" y="502"/>
                    </a:lnTo>
                    <a:lnTo>
                      <a:pt x="1443" y="499"/>
                    </a:lnTo>
                    <a:lnTo>
                      <a:pt x="1443" y="499"/>
                    </a:lnTo>
                    <a:lnTo>
                      <a:pt x="1441" y="499"/>
                    </a:lnTo>
                    <a:lnTo>
                      <a:pt x="1441" y="499"/>
                    </a:lnTo>
                    <a:lnTo>
                      <a:pt x="1441" y="499"/>
                    </a:lnTo>
                    <a:lnTo>
                      <a:pt x="1441" y="499"/>
                    </a:lnTo>
                    <a:lnTo>
                      <a:pt x="1441" y="497"/>
                    </a:lnTo>
                    <a:lnTo>
                      <a:pt x="1441" y="497"/>
                    </a:lnTo>
                    <a:lnTo>
                      <a:pt x="1443" y="497"/>
                    </a:lnTo>
                    <a:lnTo>
                      <a:pt x="1443" y="497"/>
                    </a:lnTo>
                    <a:lnTo>
                      <a:pt x="1443" y="495"/>
                    </a:lnTo>
                    <a:lnTo>
                      <a:pt x="1443" y="495"/>
                    </a:lnTo>
                    <a:lnTo>
                      <a:pt x="1443" y="495"/>
                    </a:lnTo>
                    <a:lnTo>
                      <a:pt x="1443" y="495"/>
                    </a:lnTo>
                    <a:lnTo>
                      <a:pt x="1443" y="495"/>
                    </a:lnTo>
                    <a:lnTo>
                      <a:pt x="1443" y="492"/>
                    </a:lnTo>
                    <a:lnTo>
                      <a:pt x="1445" y="487"/>
                    </a:lnTo>
                    <a:lnTo>
                      <a:pt x="1445" y="485"/>
                    </a:lnTo>
                    <a:lnTo>
                      <a:pt x="1448" y="483"/>
                    </a:lnTo>
                    <a:lnTo>
                      <a:pt x="1448" y="480"/>
                    </a:lnTo>
                    <a:lnTo>
                      <a:pt x="1450" y="476"/>
                    </a:lnTo>
                    <a:lnTo>
                      <a:pt x="1450" y="473"/>
                    </a:lnTo>
                    <a:lnTo>
                      <a:pt x="1452" y="471"/>
                    </a:lnTo>
                    <a:lnTo>
                      <a:pt x="1450" y="469"/>
                    </a:lnTo>
                    <a:lnTo>
                      <a:pt x="1448" y="466"/>
                    </a:lnTo>
                    <a:close/>
                    <a:moveTo>
                      <a:pt x="1415" y="530"/>
                    </a:moveTo>
                    <a:lnTo>
                      <a:pt x="1415" y="530"/>
                    </a:lnTo>
                    <a:lnTo>
                      <a:pt x="1415" y="530"/>
                    </a:lnTo>
                    <a:lnTo>
                      <a:pt x="1412" y="532"/>
                    </a:lnTo>
                    <a:lnTo>
                      <a:pt x="1415" y="532"/>
                    </a:lnTo>
                    <a:lnTo>
                      <a:pt x="1415" y="532"/>
                    </a:lnTo>
                    <a:lnTo>
                      <a:pt x="1415" y="530"/>
                    </a:lnTo>
                    <a:lnTo>
                      <a:pt x="1415" y="530"/>
                    </a:lnTo>
                    <a:close/>
                    <a:moveTo>
                      <a:pt x="1351" y="585"/>
                    </a:moveTo>
                    <a:lnTo>
                      <a:pt x="1351" y="585"/>
                    </a:lnTo>
                    <a:lnTo>
                      <a:pt x="1348" y="585"/>
                    </a:lnTo>
                    <a:lnTo>
                      <a:pt x="1348" y="587"/>
                    </a:lnTo>
                    <a:lnTo>
                      <a:pt x="1348" y="587"/>
                    </a:lnTo>
                    <a:lnTo>
                      <a:pt x="1348" y="587"/>
                    </a:lnTo>
                    <a:lnTo>
                      <a:pt x="1348" y="587"/>
                    </a:lnTo>
                    <a:lnTo>
                      <a:pt x="1351" y="585"/>
                    </a:lnTo>
                    <a:lnTo>
                      <a:pt x="1351" y="585"/>
                    </a:lnTo>
                    <a:close/>
                    <a:moveTo>
                      <a:pt x="1100" y="812"/>
                    </a:moveTo>
                    <a:lnTo>
                      <a:pt x="1100" y="814"/>
                    </a:lnTo>
                    <a:lnTo>
                      <a:pt x="1102" y="810"/>
                    </a:lnTo>
                    <a:lnTo>
                      <a:pt x="1102" y="810"/>
                    </a:lnTo>
                    <a:lnTo>
                      <a:pt x="1100" y="810"/>
                    </a:lnTo>
                    <a:lnTo>
                      <a:pt x="1100" y="812"/>
                    </a:lnTo>
                    <a:close/>
                    <a:moveTo>
                      <a:pt x="956" y="826"/>
                    </a:moveTo>
                    <a:lnTo>
                      <a:pt x="956" y="826"/>
                    </a:lnTo>
                    <a:lnTo>
                      <a:pt x="956" y="828"/>
                    </a:lnTo>
                    <a:lnTo>
                      <a:pt x="956" y="828"/>
                    </a:lnTo>
                    <a:lnTo>
                      <a:pt x="958" y="828"/>
                    </a:lnTo>
                    <a:lnTo>
                      <a:pt x="958" y="826"/>
                    </a:lnTo>
                    <a:lnTo>
                      <a:pt x="958" y="826"/>
                    </a:lnTo>
                    <a:lnTo>
                      <a:pt x="958" y="826"/>
                    </a:lnTo>
                    <a:lnTo>
                      <a:pt x="958" y="826"/>
                    </a:lnTo>
                    <a:lnTo>
                      <a:pt x="956" y="826"/>
                    </a:lnTo>
                    <a:close/>
                    <a:moveTo>
                      <a:pt x="908" y="838"/>
                    </a:moveTo>
                    <a:lnTo>
                      <a:pt x="908" y="836"/>
                    </a:lnTo>
                    <a:lnTo>
                      <a:pt x="906" y="836"/>
                    </a:lnTo>
                    <a:lnTo>
                      <a:pt x="906" y="838"/>
                    </a:lnTo>
                    <a:lnTo>
                      <a:pt x="906" y="838"/>
                    </a:lnTo>
                    <a:lnTo>
                      <a:pt x="908" y="840"/>
                    </a:lnTo>
                    <a:lnTo>
                      <a:pt x="908" y="840"/>
                    </a:lnTo>
                    <a:lnTo>
                      <a:pt x="908" y="838"/>
                    </a:lnTo>
                    <a:lnTo>
                      <a:pt x="908" y="838"/>
                    </a:lnTo>
                    <a:lnTo>
                      <a:pt x="908" y="838"/>
                    </a:lnTo>
                    <a:lnTo>
                      <a:pt x="908" y="838"/>
                    </a:lnTo>
                    <a:close/>
                    <a:moveTo>
                      <a:pt x="852" y="845"/>
                    </a:moveTo>
                    <a:lnTo>
                      <a:pt x="847" y="847"/>
                    </a:lnTo>
                    <a:lnTo>
                      <a:pt x="849" y="847"/>
                    </a:lnTo>
                    <a:lnTo>
                      <a:pt x="852" y="845"/>
                    </a:lnTo>
                    <a:lnTo>
                      <a:pt x="854" y="843"/>
                    </a:lnTo>
                    <a:lnTo>
                      <a:pt x="854" y="843"/>
                    </a:lnTo>
                    <a:lnTo>
                      <a:pt x="852" y="845"/>
                    </a:lnTo>
                    <a:close/>
                    <a:moveTo>
                      <a:pt x="965" y="831"/>
                    </a:moveTo>
                    <a:lnTo>
                      <a:pt x="963" y="833"/>
                    </a:lnTo>
                    <a:lnTo>
                      <a:pt x="963" y="833"/>
                    </a:lnTo>
                    <a:lnTo>
                      <a:pt x="965" y="831"/>
                    </a:lnTo>
                    <a:lnTo>
                      <a:pt x="965" y="828"/>
                    </a:lnTo>
                    <a:lnTo>
                      <a:pt x="965" y="828"/>
                    </a:lnTo>
                    <a:lnTo>
                      <a:pt x="965" y="831"/>
                    </a:lnTo>
                    <a:close/>
                    <a:moveTo>
                      <a:pt x="967" y="824"/>
                    </a:moveTo>
                    <a:lnTo>
                      <a:pt x="967" y="824"/>
                    </a:lnTo>
                    <a:lnTo>
                      <a:pt x="970" y="824"/>
                    </a:lnTo>
                    <a:lnTo>
                      <a:pt x="970" y="824"/>
                    </a:lnTo>
                    <a:lnTo>
                      <a:pt x="970" y="824"/>
                    </a:lnTo>
                    <a:lnTo>
                      <a:pt x="970" y="824"/>
                    </a:lnTo>
                    <a:lnTo>
                      <a:pt x="967" y="824"/>
                    </a:lnTo>
                    <a:close/>
                    <a:moveTo>
                      <a:pt x="977" y="824"/>
                    </a:moveTo>
                    <a:lnTo>
                      <a:pt x="975" y="824"/>
                    </a:lnTo>
                    <a:lnTo>
                      <a:pt x="975" y="824"/>
                    </a:lnTo>
                    <a:lnTo>
                      <a:pt x="977" y="824"/>
                    </a:lnTo>
                    <a:lnTo>
                      <a:pt x="979" y="824"/>
                    </a:lnTo>
                    <a:lnTo>
                      <a:pt x="979" y="824"/>
                    </a:lnTo>
                    <a:lnTo>
                      <a:pt x="977" y="824"/>
                    </a:lnTo>
                    <a:close/>
                    <a:moveTo>
                      <a:pt x="960" y="836"/>
                    </a:moveTo>
                    <a:lnTo>
                      <a:pt x="960" y="836"/>
                    </a:lnTo>
                    <a:lnTo>
                      <a:pt x="963" y="836"/>
                    </a:lnTo>
                    <a:lnTo>
                      <a:pt x="963" y="833"/>
                    </a:lnTo>
                    <a:lnTo>
                      <a:pt x="960" y="836"/>
                    </a:lnTo>
                    <a:lnTo>
                      <a:pt x="960" y="836"/>
                    </a:lnTo>
                    <a:close/>
                    <a:moveTo>
                      <a:pt x="818" y="864"/>
                    </a:moveTo>
                    <a:lnTo>
                      <a:pt x="816" y="864"/>
                    </a:lnTo>
                    <a:lnTo>
                      <a:pt x="814" y="866"/>
                    </a:lnTo>
                    <a:lnTo>
                      <a:pt x="811" y="866"/>
                    </a:lnTo>
                    <a:lnTo>
                      <a:pt x="811" y="869"/>
                    </a:lnTo>
                    <a:lnTo>
                      <a:pt x="811" y="869"/>
                    </a:lnTo>
                    <a:lnTo>
                      <a:pt x="816" y="866"/>
                    </a:lnTo>
                    <a:lnTo>
                      <a:pt x="818" y="864"/>
                    </a:lnTo>
                    <a:lnTo>
                      <a:pt x="818" y="864"/>
                    </a:lnTo>
                    <a:lnTo>
                      <a:pt x="818" y="864"/>
                    </a:lnTo>
                    <a:lnTo>
                      <a:pt x="818" y="864"/>
                    </a:lnTo>
                    <a:close/>
                    <a:moveTo>
                      <a:pt x="445" y="743"/>
                    </a:moveTo>
                    <a:lnTo>
                      <a:pt x="442" y="743"/>
                    </a:lnTo>
                    <a:lnTo>
                      <a:pt x="440" y="743"/>
                    </a:lnTo>
                    <a:lnTo>
                      <a:pt x="442" y="743"/>
                    </a:lnTo>
                    <a:lnTo>
                      <a:pt x="440" y="746"/>
                    </a:lnTo>
                    <a:lnTo>
                      <a:pt x="442" y="746"/>
                    </a:lnTo>
                    <a:lnTo>
                      <a:pt x="447" y="743"/>
                    </a:lnTo>
                    <a:lnTo>
                      <a:pt x="447" y="743"/>
                    </a:lnTo>
                    <a:lnTo>
                      <a:pt x="447" y="743"/>
                    </a:lnTo>
                    <a:lnTo>
                      <a:pt x="445" y="743"/>
                    </a:lnTo>
                    <a:close/>
                    <a:moveTo>
                      <a:pt x="456" y="767"/>
                    </a:moveTo>
                    <a:lnTo>
                      <a:pt x="456" y="765"/>
                    </a:lnTo>
                    <a:lnTo>
                      <a:pt x="454" y="765"/>
                    </a:lnTo>
                    <a:lnTo>
                      <a:pt x="456" y="767"/>
                    </a:lnTo>
                    <a:lnTo>
                      <a:pt x="456" y="769"/>
                    </a:lnTo>
                    <a:lnTo>
                      <a:pt x="456" y="769"/>
                    </a:lnTo>
                    <a:lnTo>
                      <a:pt x="459" y="769"/>
                    </a:lnTo>
                    <a:lnTo>
                      <a:pt x="456" y="769"/>
                    </a:lnTo>
                    <a:lnTo>
                      <a:pt x="456" y="767"/>
                    </a:lnTo>
                    <a:close/>
                    <a:moveTo>
                      <a:pt x="440" y="760"/>
                    </a:moveTo>
                    <a:lnTo>
                      <a:pt x="440" y="760"/>
                    </a:lnTo>
                    <a:lnTo>
                      <a:pt x="440" y="760"/>
                    </a:lnTo>
                    <a:lnTo>
                      <a:pt x="442" y="762"/>
                    </a:lnTo>
                    <a:lnTo>
                      <a:pt x="442" y="762"/>
                    </a:lnTo>
                    <a:lnTo>
                      <a:pt x="442" y="760"/>
                    </a:lnTo>
                    <a:lnTo>
                      <a:pt x="442" y="760"/>
                    </a:lnTo>
                    <a:lnTo>
                      <a:pt x="440" y="760"/>
                    </a:lnTo>
                    <a:close/>
                    <a:moveTo>
                      <a:pt x="799" y="881"/>
                    </a:moveTo>
                    <a:lnTo>
                      <a:pt x="797" y="885"/>
                    </a:lnTo>
                    <a:lnTo>
                      <a:pt x="795" y="888"/>
                    </a:lnTo>
                    <a:lnTo>
                      <a:pt x="797" y="885"/>
                    </a:lnTo>
                    <a:lnTo>
                      <a:pt x="799" y="881"/>
                    </a:lnTo>
                    <a:lnTo>
                      <a:pt x="804" y="876"/>
                    </a:lnTo>
                    <a:lnTo>
                      <a:pt x="802" y="876"/>
                    </a:lnTo>
                    <a:lnTo>
                      <a:pt x="799" y="881"/>
                    </a:lnTo>
                    <a:close/>
                    <a:moveTo>
                      <a:pt x="461" y="757"/>
                    </a:moveTo>
                    <a:lnTo>
                      <a:pt x="459" y="755"/>
                    </a:lnTo>
                    <a:lnTo>
                      <a:pt x="459" y="755"/>
                    </a:lnTo>
                    <a:lnTo>
                      <a:pt x="459" y="757"/>
                    </a:lnTo>
                    <a:lnTo>
                      <a:pt x="459" y="757"/>
                    </a:lnTo>
                    <a:lnTo>
                      <a:pt x="461" y="757"/>
                    </a:lnTo>
                    <a:lnTo>
                      <a:pt x="461" y="757"/>
                    </a:lnTo>
                    <a:lnTo>
                      <a:pt x="461" y="757"/>
                    </a:lnTo>
                    <a:lnTo>
                      <a:pt x="461" y="760"/>
                    </a:lnTo>
                    <a:lnTo>
                      <a:pt x="461" y="760"/>
                    </a:lnTo>
                    <a:lnTo>
                      <a:pt x="464" y="760"/>
                    </a:lnTo>
                    <a:lnTo>
                      <a:pt x="464" y="757"/>
                    </a:lnTo>
                    <a:lnTo>
                      <a:pt x="461" y="757"/>
                    </a:lnTo>
                    <a:close/>
                    <a:moveTo>
                      <a:pt x="809" y="869"/>
                    </a:moveTo>
                    <a:lnTo>
                      <a:pt x="807" y="871"/>
                    </a:lnTo>
                    <a:lnTo>
                      <a:pt x="807" y="871"/>
                    </a:lnTo>
                    <a:lnTo>
                      <a:pt x="804" y="873"/>
                    </a:lnTo>
                    <a:lnTo>
                      <a:pt x="807" y="873"/>
                    </a:lnTo>
                    <a:lnTo>
                      <a:pt x="809" y="871"/>
                    </a:lnTo>
                    <a:lnTo>
                      <a:pt x="809" y="869"/>
                    </a:lnTo>
                    <a:lnTo>
                      <a:pt x="809" y="869"/>
                    </a:lnTo>
                    <a:lnTo>
                      <a:pt x="809" y="869"/>
                    </a:lnTo>
                    <a:close/>
                    <a:moveTo>
                      <a:pt x="795" y="890"/>
                    </a:moveTo>
                    <a:lnTo>
                      <a:pt x="792" y="897"/>
                    </a:lnTo>
                    <a:lnTo>
                      <a:pt x="792" y="907"/>
                    </a:lnTo>
                    <a:lnTo>
                      <a:pt x="792" y="911"/>
                    </a:lnTo>
                    <a:lnTo>
                      <a:pt x="795" y="909"/>
                    </a:lnTo>
                    <a:lnTo>
                      <a:pt x="795" y="907"/>
                    </a:lnTo>
                    <a:lnTo>
                      <a:pt x="795" y="897"/>
                    </a:lnTo>
                    <a:lnTo>
                      <a:pt x="795" y="888"/>
                    </a:lnTo>
                    <a:lnTo>
                      <a:pt x="795" y="890"/>
                    </a:lnTo>
                    <a:close/>
                    <a:moveTo>
                      <a:pt x="1088" y="937"/>
                    </a:moveTo>
                    <a:lnTo>
                      <a:pt x="1088" y="937"/>
                    </a:lnTo>
                    <a:lnTo>
                      <a:pt x="1088" y="935"/>
                    </a:lnTo>
                    <a:lnTo>
                      <a:pt x="1088" y="935"/>
                    </a:lnTo>
                    <a:lnTo>
                      <a:pt x="1088" y="937"/>
                    </a:lnTo>
                    <a:close/>
                    <a:moveTo>
                      <a:pt x="1209" y="729"/>
                    </a:moveTo>
                    <a:lnTo>
                      <a:pt x="1209" y="729"/>
                    </a:lnTo>
                    <a:lnTo>
                      <a:pt x="1209" y="731"/>
                    </a:lnTo>
                    <a:lnTo>
                      <a:pt x="1211" y="731"/>
                    </a:lnTo>
                    <a:lnTo>
                      <a:pt x="1211" y="731"/>
                    </a:lnTo>
                    <a:lnTo>
                      <a:pt x="1209" y="729"/>
                    </a:lnTo>
                    <a:lnTo>
                      <a:pt x="1209" y="729"/>
                    </a:lnTo>
                    <a:close/>
                    <a:moveTo>
                      <a:pt x="1095" y="928"/>
                    </a:moveTo>
                    <a:lnTo>
                      <a:pt x="1095" y="930"/>
                    </a:lnTo>
                    <a:lnTo>
                      <a:pt x="1093" y="930"/>
                    </a:lnTo>
                    <a:lnTo>
                      <a:pt x="1093" y="930"/>
                    </a:lnTo>
                    <a:lnTo>
                      <a:pt x="1093" y="933"/>
                    </a:lnTo>
                    <a:lnTo>
                      <a:pt x="1090" y="935"/>
                    </a:lnTo>
                    <a:lnTo>
                      <a:pt x="1090" y="935"/>
                    </a:lnTo>
                    <a:lnTo>
                      <a:pt x="1093" y="933"/>
                    </a:lnTo>
                    <a:lnTo>
                      <a:pt x="1098" y="928"/>
                    </a:lnTo>
                    <a:lnTo>
                      <a:pt x="1098" y="928"/>
                    </a:lnTo>
                    <a:lnTo>
                      <a:pt x="1095" y="928"/>
                    </a:lnTo>
                    <a:close/>
                    <a:moveTo>
                      <a:pt x="1213" y="729"/>
                    </a:moveTo>
                    <a:lnTo>
                      <a:pt x="1211" y="731"/>
                    </a:lnTo>
                    <a:lnTo>
                      <a:pt x="1211" y="731"/>
                    </a:lnTo>
                    <a:lnTo>
                      <a:pt x="1216" y="727"/>
                    </a:lnTo>
                    <a:lnTo>
                      <a:pt x="1218" y="724"/>
                    </a:lnTo>
                    <a:lnTo>
                      <a:pt x="1218" y="724"/>
                    </a:lnTo>
                    <a:lnTo>
                      <a:pt x="1213" y="729"/>
                    </a:lnTo>
                    <a:close/>
                    <a:moveTo>
                      <a:pt x="1235" y="705"/>
                    </a:moveTo>
                    <a:lnTo>
                      <a:pt x="1235" y="703"/>
                    </a:lnTo>
                    <a:lnTo>
                      <a:pt x="1232" y="703"/>
                    </a:lnTo>
                    <a:lnTo>
                      <a:pt x="1235" y="705"/>
                    </a:lnTo>
                    <a:lnTo>
                      <a:pt x="1235" y="705"/>
                    </a:lnTo>
                    <a:lnTo>
                      <a:pt x="1235" y="705"/>
                    </a:lnTo>
                    <a:close/>
                    <a:moveTo>
                      <a:pt x="1256" y="658"/>
                    </a:moveTo>
                    <a:lnTo>
                      <a:pt x="1251" y="660"/>
                    </a:lnTo>
                    <a:lnTo>
                      <a:pt x="1254" y="660"/>
                    </a:lnTo>
                    <a:lnTo>
                      <a:pt x="1256" y="658"/>
                    </a:lnTo>
                    <a:lnTo>
                      <a:pt x="1258" y="656"/>
                    </a:lnTo>
                    <a:lnTo>
                      <a:pt x="1261" y="653"/>
                    </a:lnTo>
                    <a:lnTo>
                      <a:pt x="1258" y="653"/>
                    </a:lnTo>
                    <a:lnTo>
                      <a:pt x="1256" y="658"/>
                    </a:lnTo>
                    <a:close/>
                    <a:moveTo>
                      <a:pt x="1235" y="708"/>
                    </a:moveTo>
                    <a:lnTo>
                      <a:pt x="1235" y="710"/>
                    </a:lnTo>
                    <a:lnTo>
                      <a:pt x="1235" y="712"/>
                    </a:lnTo>
                    <a:lnTo>
                      <a:pt x="1232" y="717"/>
                    </a:lnTo>
                    <a:lnTo>
                      <a:pt x="1230" y="720"/>
                    </a:lnTo>
                    <a:lnTo>
                      <a:pt x="1230" y="720"/>
                    </a:lnTo>
                    <a:lnTo>
                      <a:pt x="1232" y="717"/>
                    </a:lnTo>
                    <a:lnTo>
                      <a:pt x="1232" y="717"/>
                    </a:lnTo>
                    <a:lnTo>
                      <a:pt x="1235" y="712"/>
                    </a:lnTo>
                    <a:lnTo>
                      <a:pt x="1235" y="710"/>
                    </a:lnTo>
                    <a:lnTo>
                      <a:pt x="1235" y="708"/>
                    </a:lnTo>
                    <a:lnTo>
                      <a:pt x="1235" y="708"/>
                    </a:lnTo>
                    <a:lnTo>
                      <a:pt x="1235" y="708"/>
                    </a:lnTo>
                    <a:close/>
                    <a:moveTo>
                      <a:pt x="1223" y="720"/>
                    </a:moveTo>
                    <a:lnTo>
                      <a:pt x="1223" y="720"/>
                    </a:lnTo>
                    <a:lnTo>
                      <a:pt x="1228" y="720"/>
                    </a:lnTo>
                    <a:lnTo>
                      <a:pt x="1225" y="720"/>
                    </a:lnTo>
                    <a:lnTo>
                      <a:pt x="1223" y="720"/>
                    </a:lnTo>
                    <a:close/>
                    <a:moveTo>
                      <a:pt x="1034" y="836"/>
                    </a:moveTo>
                    <a:lnTo>
                      <a:pt x="1031" y="836"/>
                    </a:lnTo>
                    <a:lnTo>
                      <a:pt x="1029" y="836"/>
                    </a:lnTo>
                    <a:lnTo>
                      <a:pt x="1029" y="836"/>
                    </a:lnTo>
                    <a:lnTo>
                      <a:pt x="1031" y="838"/>
                    </a:lnTo>
                    <a:lnTo>
                      <a:pt x="1034" y="836"/>
                    </a:lnTo>
                    <a:lnTo>
                      <a:pt x="1036" y="836"/>
                    </a:lnTo>
                    <a:lnTo>
                      <a:pt x="1034" y="836"/>
                    </a:lnTo>
                    <a:lnTo>
                      <a:pt x="1034" y="836"/>
                    </a:lnTo>
                    <a:close/>
                    <a:moveTo>
                      <a:pt x="1067" y="904"/>
                    </a:moveTo>
                    <a:lnTo>
                      <a:pt x="1067" y="902"/>
                    </a:lnTo>
                    <a:lnTo>
                      <a:pt x="1067" y="904"/>
                    </a:lnTo>
                    <a:lnTo>
                      <a:pt x="1067" y="904"/>
                    </a:lnTo>
                    <a:lnTo>
                      <a:pt x="1069" y="904"/>
                    </a:lnTo>
                    <a:lnTo>
                      <a:pt x="1069" y="904"/>
                    </a:lnTo>
                    <a:lnTo>
                      <a:pt x="1067" y="904"/>
                    </a:lnTo>
                    <a:lnTo>
                      <a:pt x="1067" y="904"/>
                    </a:lnTo>
                    <a:close/>
                    <a:moveTo>
                      <a:pt x="1069" y="902"/>
                    </a:moveTo>
                    <a:lnTo>
                      <a:pt x="1069" y="899"/>
                    </a:lnTo>
                    <a:lnTo>
                      <a:pt x="1067" y="899"/>
                    </a:lnTo>
                    <a:lnTo>
                      <a:pt x="1067" y="902"/>
                    </a:lnTo>
                    <a:lnTo>
                      <a:pt x="1069" y="902"/>
                    </a:lnTo>
                    <a:lnTo>
                      <a:pt x="1069" y="902"/>
                    </a:lnTo>
                    <a:close/>
                    <a:moveTo>
                      <a:pt x="1067" y="944"/>
                    </a:moveTo>
                    <a:lnTo>
                      <a:pt x="1067" y="944"/>
                    </a:lnTo>
                    <a:lnTo>
                      <a:pt x="1067" y="944"/>
                    </a:lnTo>
                    <a:lnTo>
                      <a:pt x="1067" y="944"/>
                    </a:lnTo>
                    <a:lnTo>
                      <a:pt x="1067" y="944"/>
                    </a:lnTo>
                    <a:lnTo>
                      <a:pt x="1067" y="944"/>
                    </a:lnTo>
                    <a:lnTo>
                      <a:pt x="1067" y="944"/>
                    </a:lnTo>
                    <a:close/>
                    <a:moveTo>
                      <a:pt x="1072" y="942"/>
                    </a:moveTo>
                    <a:lnTo>
                      <a:pt x="1069" y="942"/>
                    </a:lnTo>
                    <a:lnTo>
                      <a:pt x="1072" y="942"/>
                    </a:lnTo>
                    <a:lnTo>
                      <a:pt x="1072" y="942"/>
                    </a:lnTo>
                    <a:lnTo>
                      <a:pt x="1072" y="942"/>
                    </a:lnTo>
                    <a:lnTo>
                      <a:pt x="1072" y="942"/>
                    </a:lnTo>
                    <a:lnTo>
                      <a:pt x="1072" y="942"/>
                    </a:lnTo>
                    <a:close/>
                    <a:moveTo>
                      <a:pt x="1079" y="940"/>
                    </a:moveTo>
                    <a:lnTo>
                      <a:pt x="1079" y="942"/>
                    </a:lnTo>
                    <a:lnTo>
                      <a:pt x="1081" y="940"/>
                    </a:lnTo>
                    <a:lnTo>
                      <a:pt x="1081" y="940"/>
                    </a:lnTo>
                    <a:lnTo>
                      <a:pt x="1083" y="940"/>
                    </a:lnTo>
                    <a:lnTo>
                      <a:pt x="1079" y="940"/>
                    </a:lnTo>
                    <a:lnTo>
                      <a:pt x="1079" y="940"/>
                    </a:lnTo>
                    <a:close/>
                    <a:moveTo>
                      <a:pt x="1083" y="937"/>
                    </a:moveTo>
                    <a:lnTo>
                      <a:pt x="1083" y="940"/>
                    </a:lnTo>
                    <a:lnTo>
                      <a:pt x="1086" y="940"/>
                    </a:lnTo>
                    <a:lnTo>
                      <a:pt x="1086" y="937"/>
                    </a:lnTo>
                    <a:lnTo>
                      <a:pt x="1086" y="937"/>
                    </a:lnTo>
                    <a:lnTo>
                      <a:pt x="1086" y="937"/>
                    </a:lnTo>
                    <a:lnTo>
                      <a:pt x="1083" y="937"/>
                    </a:lnTo>
                    <a:close/>
                    <a:moveTo>
                      <a:pt x="1074" y="940"/>
                    </a:moveTo>
                    <a:lnTo>
                      <a:pt x="1074" y="942"/>
                    </a:lnTo>
                    <a:lnTo>
                      <a:pt x="1074" y="942"/>
                    </a:lnTo>
                    <a:lnTo>
                      <a:pt x="1074" y="942"/>
                    </a:lnTo>
                    <a:lnTo>
                      <a:pt x="1074" y="942"/>
                    </a:lnTo>
                    <a:lnTo>
                      <a:pt x="1076" y="942"/>
                    </a:lnTo>
                    <a:lnTo>
                      <a:pt x="1076" y="942"/>
                    </a:lnTo>
                    <a:lnTo>
                      <a:pt x="1074" y="940"/>
                    </a:lnTo>
                    <a:lnTo>
                      <a:pt x="1074" y="940"/>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15"/>
              <p:cNvSpPr>
                <a:spLocks noEditPoints="1"/>
              </p:cNvSpPr>
              <p:nvPr/>
            </p:nvSpPr>
            <p:spPr bwMode="auto">
              <a:xfrm>
                <a:off x="2654" y="1538"/>
                <a:ext cx="154" cy="208"/>
              </a:xfrm>
              <a:custGeom>
                <a:avLst/>
                <a:gdLst>
                  <a:gd name="T0" fmla="*/ 59 w 154"/>
                  <a:gd name="T1" fmla="*/ 144 h 208"/>
                  <a:gd name="T2" fmla="*/ 35 w 154"/>
                  <a:gd name="T3" fmla="*/ 125 h 208"/>
                  <a:gd name="T4" fmla="*/ 43 w 154"/>
                  <a:gd name="T5" fmla="*/ 116 h 208"/>
                  <a:gd name="T6" fmla="*/ 28 w 154"/>
                  <a:gd name="T7" fmla="*/ 104 h 208"/>
                  <a:gd name="T8" fmla="*/ 9 w 154"/>
                  <a:gd name="T9" fmla="*/ 114 h 208"/>
                  <a:gd name="T10" fmla="*/ 0 w 154"/>
                  <a:gd name="T11" fmla="*/ 118 h 208"/>
                  <a:gd name="T12" fmla="*/ 14 w 154"/>
                  <a:gd name="T13" fmla="*/ 123 h 208"/>
                  <a:gd name="T14" fmla="*/ 26 w 154"/>
                  <a:gd name="T15" fmla="*/ 128 h 208"/>
                  <a:gd name="T16" fmla="*/ 47 w 154"/>
                  <a:gd name="T17" fmla="*/ 95 h 208"/>
                  <a:gd name="T18" fmla="*/ 31 w 154"/>
                  <a:gd name="T19" fmla="*/ 90 h 208"/>
                  <a:gd name="T20" fmla="*/ 31 w 154"/>
                  <a:gd name="T21" fmla="*/ 97 h 208"/>
                  <a:gd name="T22" fmla="*/ 35 w 154"/>
                  <a:gd name="T23" fmla="*/ 90 h 208"/>
                  <a:gd name="T24" fmla="*/ 33 w 154"/>
                  <a:gd name="T25" fmla="*/ 83 h 208"/>
                  <a:gd name="T26" fmla="*/ 17 w 154"/>
                  <a:gd name="T27" fmla="*/ 69 h 208"/>
                  <a:gd name="T28" fmla="*/ 33 w 154"/>
                  <a:gd name="T29" fmla="*/ 69 h 208"/>
                  <a:gd name="T30" fmla="*/ 40 w 154"/>
                  <a:gd name="T31" fmla="*/ 69 h 208"/>
                  <a:gd name="T32" fmla="*/ 38 w 154"/>
                  <a:gd name="T33" fmla="*/ 59 h 208"/>
                  <a:gd name="T34" fmla="*/ 28 w 154"/>
                  <a:gd name="T35" fmla="*/ 59 h 208"/>
                  <a:gd name="T36" fmla="*/ 19 w 154"/>
                  <a:gd name="T37" fmla="*/ 57 h 208"/>
                  <a:gd name="T38" fmla="*/ 28 w 154"/>
                  <a:gd name="T39" fmla="*/ 52 h 208"/>
                  <a:gd name="T40" fmla="*/ 38 w 154"/>
                  <a:gd name="T41" fmla="*/ 40 h 208"/>
                  <a:gd name="T42" fmla="*/ 26 w 154"/>
                  <a:gd name="T43" fmla="*/ 47 h 208"/>
                  <a:gd name="T44" fmla="*/ 147 w 154"/>
                  <a:gd name="T45" fmla="*/ 149 h 208"/>
                  <a:gd name="T46" fmla="*/ 132 w 154"/>
                  <a:gd name="T47" fmla="*/ 144 h 208"/>
                  <a:gd name="T48" fmla="*/ 128 w 154"/>
                  <a:gd name="T49" fmla="*/ 133 h 208"/>
                  <a:gd name="T50" fmla="*/ 104 w 154"/>
                  <a:gd name="T51" fmla="*/ 102 h 208"/>
                  <a:gd name="T52" fmla="*/ 76 w 154"/>
                  <a:gd name="T53" fmla="*/ 88 h 208"/>
                  <a:gd name="T54" fmla="*/ 88 w 154"/>
                  <a:gd name="T55" fmla="*/ 78 h 208"/>
                  <a:gd name="T56" fmla="*/ 102 w 154"/>
                  <a:gd name="T57" fmla="*/ 54 h 208"/>
                  <a:gd name="T58" fmla="*/ 73 w 154"/>
                  <a:gd name="T59" fmla="*/ 52 h 208"/>
                  <a:gd name="T60" fmla="*/ 85 w 154"/>
                  <a:gd name="T61" fmla="*/ 35 h 208"/>
                  <a:gd name="T62" fmla="*/ 57 w 154"/>
                  <a:gd name="T63" fmla="*/ 38 h 208"/>
                  <a:gd name="T64" fmla="*/ 54 w 154"/>
                  <a:gd name="T65" fmla="*/ 50 h 208"/>
                  <a:gd name="T66" fmla="*/ 43 w 154"/>
                  <a:gd name="T67" fmla="*/ 59 h 208"/>
                  <a:gd name="T68" fmla="*/ 38 w 154"/>
                  <a:gd name="T69" fmla="*/ 73 h 208"/>
                  <a:gd name="T70" fmla="*/ 45 w 154"/>
                  <a:gd name="T71" fmla="*/ 83 h 208"/>
                  <a:gd name="T72" fmla="*/ 40 w 154"/>
                  <a:gd name="T73" fmla="*/ 102 h 208"/>
                  <a:gd name="T74" fmla="*/ 50 w 154"/>
                  <a:gd name="T75" fmla="*/ 88 h 208"/>
                  <a:gd name="T76" fmla="*/ 57 w 154"/>
                  <a:gd name="T77" fmla="*/ 90 h 208"/>
                  <a:gd name="T78" fmla="*/ 47 w 154"/>
                  <a:gd name="T79" fmla="*/ 109 h 208"/>
                  <a:gd name="T80" fmla="*/ 64 w 154"/>
                  <a:gd name="T81" fmla="*/ 114 h 208"/>
                  <a:gd name="T82" fmla="*/ 71 w 154"/>
                  <a:gd name="T83" fmla="*/ 118 h 208"/>
                  <a:gd name="T84" fmla="*/ 80 w 154"/>
                  <a:gd name="T85" fmla="*/ 133 h 208"/>
                  <a:gd name="T86" fmla="*/ 71 w 154"/>
                  <a:gd name="T87" fmla="*/ 142 h 208"/>
                  <a:gd name="T88" fmla="*/ 54 w 154"/>
                  <a:gd name="T89" fmla="*/ 152 h 208"/>
                  <a:gd name="T90" fmla="*/ 57 w 154"/>
                  <a:gd name="T91" fmla="*/ 163 h 208"/>
                  <a:gd name="T92" fmla="*/ 54 w 154"/>
                  <a:gd name="T93" fmla="*/ 173 h 208"/>
                  <a:gd name="T94" fmla="*/ 76 w 154"/>
                  <a:gd name="T95" fmla="*/ 178 h 208"/>
                  <a:gd name="T96" fmla="*/ 57 w 154"/>
                  <a:gd name="T97" fmla="*/ 185 h 208"/>
                  <a:gd name="T98" fmla="*/ 31 w 154"/>
                  <a:gd name="T99" fmla="*/ 206 h 208"/>
                  <a:gd name="T100" fmla="*/ 54 w 154"/>
                  <a:gd name="T101" fmla="*/ 201 h 208"/>
                  <a:gd name="T102" fmla="*/ 80 w 154"/>
                  <a:gd name="T103" fmla="*/ 197 h 208"/>
                  <a:gd name="T104" fmla="*/ 102 w 154"/>
                  <a:gd name="T105" fmla="*/ 192 h 208"/>
                  <a:gd name="T106" fmla="*/ 140 w 154"/>
                  <a:gd name="T107" fmla="*/ 187 h 208"/>
                  <a:gd name="T108" fmla="*/ 132 w 154"/>
                  <a:gd name="T109" fmla="*/ 178 h 208"/>
                  <a:gd name="T110" fmla="*/ 144 w 154"/>
                  <a:gd name="T111" fmla="*/ 168 h 208"/>
                  <a:gd name="T112" fmla="*/ 90 w 154"/>
                  <a:gd name="T113" fmla="*/ 33 h 208"/>
                  <a:gd name="T114" fmla="*/ 85 w 154"/>
                  <a:gd name="T115" fmla="*/ 33 h 208"/>
                  <a:gd name="T116" fmla="*/ 90 w 154"/>
                  <a:gd name="T117" fmla="*/ 28 h 208"/>
                  <a:gd name="T118" fmla="*/ 99 w 154"/>
                  <a:gd name="T119" fmla="*/ 24 h 208"/>
                  <a:gd name="T120" fmla="*/ 90 w 154"/>
                  <a:gd name="T121" fmla="*/ 21 h 208"/>
                  <a:gd name="T122" fmla="*/ 114 w 154"/>
                  <a:gd name="T123" fmla="*/ 5 h 208"/>
                  <a:gd name="T124" fmla="*/ 118 w 154"/>
                  <a:gd name="T125" fmla="*/ 7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4" h="208">
                    <a:moveTo>
                      <a:pt x="102" y="194"/>
                    </a:moveTo>
                    <a:lnTo>
                      <a:pt x="99" y="194"/>
                    </a:lnTo>
                    <a:lnTo>
                      <a:pt x="97" y="194"/>
                    </a:lnTo>
                    <a:lnTo>
                      <a:pt x="97" y="197"/>
                    </a:lnTo>
                    <a:lnTo>
                      <a:pt x="97" y="197"/>
                    </a:lnTo>
                    <a:lnTo>
                      <a:pt x="102" y="197"/>
                    </a:lnTo>
                    <a:lnTo>
                      <a:pt x="102" y="197"/>
                    </a:lnTo>
                    <a:lnTo>
                      <a:pt x="104" y="197"/>
                    </a:lnTo>
                    <a:lnTo>
                      <a:pt x="104" y="197"/>
                    </a:lnTo>
                    <a:lnTo>
                      <a:pt x="104" y="197"/>
                    </a:lnTo>
                    <a:lnTo>
                      <a:pt x="106" y="194"/>
                    </a:lnTo>
                    <a:lnTo>
                      <a:pt x="104" y="194"/>
                    </a:lnTo>
                    <a:lnTo>
                      <a:pt x="102" y="194"/>
                    </a:lnTo>
                    <a:close/>
                    <a:moveTo>
                      <a:pt x="57" y="144"/>
                    </a:moveTo>
                    <a:lnTo>
                      <a:pt x="59" y="144"/>
                    </a:lnTo>
                    <a:lnTo>
                      <a:pt x="59" y="144"/>
                    </a:lnTo>
                    <a:lnTo>
                      <a:pt x="62" y="142"/>
                    </a:lnTo>
                    <a:lnTo>
                      <a:pt x="62" y="142"/>
                    </a:lnTo>
                    <a:lnTo>
                      <a:pt x="59" y="142"/>
                    </a:lnTo>
                    <a:lnTo>
                      <a:pt x="59" y="142"/>
                    </a:lnTo>
                    <a:lnTo>
                      <a:pt x="59" y="140"/>
                    </a:lnTo>
                    <a:lnTo>
                      <a:pt x="57" y="140"/>
                    </a:lnTo>
                    <a:lnTo>
                      <a:pt x="54" y="140"/>
                    </a:lnTo>
                    <a:lnTo>
                      <a:pt x="54" y="142"/>
                    </a:lnTo>
                    <a:lnTo>
                      <a:pt x="54" y="144"/>
                    </a:lnTo>
                    <a:lnTo>
                      <a:pt x="57" y="144"/>
                    </a:lnTo>
                    <a:lnTo>
                      <a:pt x="57" y="144"/>
                    </a:lnTo>
                    <a:close/>
                    <a:moveTo>
                      <a:pt x="33" y="128"/>
                    </a:moveTo>
                    <a:lnTo>
                      <a:pt x="33" y="125"/>
                    </a:lnTo>
                    <a:lnTo>
                      <a:pt x="35" y="125"/>
                    </a:lnTo>
                    <a:lnTo>
                      <a:pt x="35" y="123"/>
                    </a:lnTo>
                    <a:lnTo>
                      <a:pt x="35" y="123"/>
                    </a:lnTo>
                    <a:lnTo>
                      <a:pt x="38" y="123"/>
                    </a:lnTo>
                    <a:lnTo>
                      <a:pt x="40" y="123"/>
                    </a:lnTo>
                    <a:lnTo>
                      <a:pt x="40" y="121"/>
                    </a:lnTo>
                    <a:lnTo>
                      <a:pt x="40" y="121"/>
                    </a:lnTo>
                    <a:lnTo>
                      <a:pt x="38" y="121"/>
                    </a:lnTo>
                    <a:lnTo>
                      <a:pt x="40" y="118"/>
                    </a:lnTo>
                    <a:lnTo>
                      <a:pt x="38" y="116"/>
                    </a:lnTo>
                    <a:lnTo>
                      <a:pt x="40" y="118"/>
                    </a:lnTo>
                    <a:lnTo>
                      <a:pt x="40" y="118"/>
                    </a:lnTo>
                    <a:lnTo>
                      <a:pt x="40" y="118"/>
                    </a:lnTo>
                    <a:lnTo>
                      <a:pt x="43" y="118"/>
                    </a:lnTo>
                    <a:lnTo>
                      <a:pt x="43" y="118"/>
                    </a:lnTo>
                    <a:lnTo>
                      <a:pt x="43" y="116"/>
                    </a:lnTo>
                    <a:lnTo>
                      <a:pt x="40" y="116"/>
                    </a:lnTo>
                    <a:lnTo>
                      <a:pt x="40" y="114"/>
                    </a:lnTo>
                    <a:lnTo>
                      <a:pt x="38" y="114"/>
                    </a:lnTo>
                    <a:lnTo>
                      <a:pt x="38" y="114"/>
                    </a:lnTo>
                    <a:lnTo>
                      <a:pt x="35" y="116"/>
                    </a:lnTo>
                    <a:lnTo>
                      <a:pt x="35" y="114"/>
                    </a:lnTo>
                    <a:lnTo>
                      <a:pt x="38" y="114"/>
                    </a:lnTo>
                    <a:lnTo>
                      <a:pt x="38" y="114"/>
                    </a:lnTo>
                    <a:lnTo>
                      <a:pt x="38" y="111"/>
                    </a:lnTo>
                    <a:lnTo>
                      <a:pt x="38" y="109"/>
                    </a:lnTo>
                    <a:lnTo>
                      <a:pt x="35" y="107"/>
                    </a:lnTo>
                    <a:lnTo>
                      <a:pt x="35" y="104"/>
                    </a:lnTo>
                    <a:lnTo>
                      <a:pt x="33" y="104"/>
                    </a:lnTo>
                    <a:lnTo>
                      <a:pt x="31" y="104"/>
                    </a:lnTo>
                    <a:lnTo>
                      <a:pt x="28" y="104"/>
                    </a:lnTo>
                    <a:lnTo>
                      <a:pt x="28" y="104"/>
                    </a:lnTo>
                    <a:lnTo>
                      <a:pt x="24" y="104"/>
                    </a:lnTo>
                    <a:lnTo>
                      <a:pt x="21" y="104"/>
                    </a:lnTo>
                    <a:lnTo>
                      <a:pt x="21" y="104"/>
                    </a:lnTo>
                    <a:lnTo>
                      <a:pt x="21" y="104"/>
                    </a:lnTo>
                    <a:lnTo>
                      <a:pt x="19" y="107"/>
                    </a:lnTo>
                    <a:lnTo>
                      <a:pt x="19" y="107"/>
                    </a:lnTo>
                    <a:lnTo>
                      <a:pt x="17" y="107"/>
                    </a:lnTo>
                    <a:lnTo>
                      <a:pt x="17" y="107"/>
                    </a:lnTo>
                    <a:lnTo>
                      <a:pt x="14" y="107"/>
                    </a:lnTo>
                    <a:lnTo>
                      <a:pt x="14" y="109"/>
                    </a:lnTo>
                    <a:lnTo>
                      <a:pt x="12" y="109"/>
                    </a:lnTo>
                    <a:lnTo>
                      <a:pt x="12" y="111"/>
                    </a:lnTo>
                    <a:lnTo>
                      <a:pt x="12" y="111"/>
                    </a:lnTo>
                    <a:lnTo>
                      <a:pt x="9" y="114"/>
                    </a:lnTo>
                    <a:lnTo>
                      <a:pt x="9" y="114"/>
                    </a:lnTo>
                    <a:lnTo>
                      <a:pt x="7" y="114"/>
                    </a:lnTo>
                    <a:lnTo>
                      <a:pt x="7" y="114"/>
                    </a:lnTo>
                    <a:lnTo>
                      <a:pt x="7" y="114"/>
                    </a:lnTo>
                    <a:lnTo>
                      <a:pt x="5" y="114"/>
                    </a:lnTo>
                    <a:lnTo>
                      <a:pt x="5" y="114"/>
                    </a:lnTo>
                    <a:lnTo>
                      <a:pt x="5" y="114"/>
                    </a:lnTo>
                    <a:lnTo>
                      <a:pt x="5" y="114"/>
                    </a:lnTo>
                    <a:lnTo>
                      <a:pt x="5" y="116"/>
                    </a:lnTo>
                    <a:lnTo>
                      <a:pt x="7" y="116"/>
                    </a:lnTo>
                    <a:lnTo>
                      <a:pt x="7" y="116"/>
                    </a:lnTo>
                    <a:lnTo>
                      <a:pt x="5" y="116"/>
                    </a:lnTo>
                    <a:lnTo>
                      <a:pt x="2" y="118"/>
                    </a:lnTo>
                    <a:lnTo>
                      <a:pt x="0" y="118"/>
                    </a:lnTo>
                    <a:lnTo>
                      <a:pt x="0" y="118"/>
                    </a:lnTo>
                    <a:lnTo>
                      <a:pt x="0" y="121"/>
                    </a:lnTo>
                    <a:lnTo>
                      <a:pt x="2" y="123"/>
                    </a:lnTo>
                    <a:lnTo>
                      <a:pt x="5" y="123"/>
                    </a:lnTo>
                    <a:lnTo>
                      <a:pt x="5" y="123"/>
                    </a:lnTo>
                    <a:lnTo>
                      <a:pt x="7" y="125"/>
                    </a:lnTo>
                    <a:lnTo>
                      <a:pt x="7" y="125"/>
                    </a:lnTo>
                    <a:lnTo>
                      <a:pt x="9" y="125"/>
                    </a:lnTo>
                    <a:lnTo>
                      <a:pt x="12" y="125"/>
                    </a:lnTo>
                    <a:lnTo>
                      <a:pt x="12" y="125"/>
                    </a:lnTo>
                    <a:lnTo>
                      <a:pt x="12" y="125"/>
                    </a:lnTo>
                    <a:lnTo>
                      <a:pt x="12" y="125"/>
                    </a:lnTo>
                    <a:lnTo>
                      <a:pt x="14" y="123"/>
                    </a:lnTo>
                    <a:lnTo>
                      <a:pt x="14" y="123"/>
                    </a:lnTo>
                    <a:lnTo>
                      <a:pt x="14" y="123"/>
                    </a:lnTo>
                    <a:lnTo>
                      <a:pt x="14" y="123"/>
                    </a:lnTo>
                    <a:lnTo>
                      <a:pt x="17" y="121"/>
                    </a:lnTo>
                    <a:lnTo>
                      <a:pt x="17" y="121"/>
                    </a:lnTo>
                    <a:lnTo>
                      <a:pt x="19" y="121"/>
                    </a:lnTo>
                    <a:lnTo>
                      <a:pt x="19" y="121"/>
                    </a:lnTo>
                    <a:lnTo>
                      <a:pt x="19" y="121"/>
                    </a:lnTo>
                    <a:lnTo>
                      <a:pt x="19" y="123"/>
                    </a:lnTo>
                    <a:lnTo>
                      <a:pt x="19" y="123"/>
                    </a:lnTo>
                    <a:lnTo>
                      <a:pt x="21" y="123"/>
                    </a:lnTo>
                    <a:lnTo>
                      <a:pt x="21" y="123"/>
                    </a:lnTo>
                    <a:lnTo>
                      <a:pt x="24" y="125"/>
                    </a:lnTo>
                    <a:lnTo>
                      <a:pt x="24" y="125"/>
                    </a:lnTo>
                    <a:lnTo>
                      <a:pt x="21" y="125"/>
                    </a:lnTo>
                    <a:lnTo>
                      <a:pt x="24" y="128"/>
                    </a:lnTo>
                    <a:lnTo>
                      <a:pt x="24" y="128"/>
                    </a:lnTo>
                    <a:lnTo>
                      <a:pt x="26" y="128"/>
                    </a:lnTo>
                    <a:lnTo>
                      <a:pt x="26" y="128"/>
                    </a:lnTo>
                    <a:lnTo>
                      <a:pt x="26" y="125"/>
                    </a:lnTo>
                    <a:lnTo>
                      <a:pt x="28" y="125"/>
                    </a:lnTo>
                    <a:lnTo>
                      <a:pt x="28" y="125"/>
                    </a:lnTo>
                    <a:lnTo>
                      <a:pt x="31" y="128"/>
                    </a:lnTo>
                    <a:lnTo>
                      <a:pt x="33" y="128"/>
                    </a:lnTo>
                    <a:close/>
                    <a:moveTo>
                      <a:pt x="47" y="99"/>
                    </a:moveTo>
                    <a:lnTo>
                      <a:pt x="50" y="99"/>
                    </a:lnTo>
                    <a:lnTo>
                      <a:pt x="50" y="97"/>
                    </a:lnTo>
                    <a:lnTo>
                      <a:pt x="50" y="97"/>
                    </a:lnTo>
                    <a:lnTo>
                      <a:pt x="50" y="95"/>
                    </a:lnTo>
                    <a:lnTo>
                      <a:pt x="50" y="95"/>
                    </a:lnTo>
                    <a:lnTo>
                      <a:pt x="47" y="95"/>
                    </a:lnTo>
                    <a:lnTo>
                      <a:pt x="47" y="95"/>
                    </a:lnTo>
                    <a:lnTo>
                      <a:pt x="47" y="95"/>
                    </a:lnTo>
                    <a:lnTo>
                      <a:pt x="45" y="95"/>
                    </a:lnTo>
                    <a:lnTo>
                      <a:pt x="45" y="95"/>
                    </a:lnTo>
                    <a:lnTo>
                      <a:pt x="47" y="99"/>
                    </a:lnTo>
                    <a:lnTo>
                      <a:pt x="47" y="99"/>
                    </a:lnTo>
                    <a:lnTo>
                      <a:pt x="47" y="99"/>
                    </a:lnTo>
                    <a:close/>
                    <a:moveTo>
                      <a:pt x="31" y="97"/>
                    </a:moveTo>
                    <a:lnTo>
                      <a:pt x="33" y="97"/>
                    </a:lnTo>
                    <a:lnTo>
                      <a:pt x="35" y="95"/>
                    </a:lnTo>
                    <a:lnTo>
                      <a:pt x="35" y="95"/>
                    </a:lnTo>
                    <a:lnTo>
                      <a:pt x="35" y="95"/>
                    </a:lnTo>
                    <a:lnTo>
                      <a:pt x="35" y="92"/>
                    </a:lnTo>
                    <a:lnTo>
                      <a:pt x="35" y="90"/>
                    </a:lnTo>
                    <a:lnTo>
                      <a:pt x="33" y="90"/>
                    </a:lnTo>
                    <a:lnTo>
                      <a:pt x="33" y="90"/>
                    </a:lnTo>
                    <a:lnTo>
                      <a:pt x="31" y="90"/>
                    </a:lnTo>
                    <a:lnTo>
                      <a:pt x="31" y="90"/>
                    </a:lnTo>
                    <a:lnTo>
                      <a:pt x="31" y="90"/>
                    </a:lnTo>
                    <a:lnTo>
                      <a:pt x="31" y="92"/>
                    </a:lnTo>
                    <a:lnTo>
                      <a:pt x="28" y="92"/>
                    </a:lnTo>
                    <a:lnTo>
                      <a:pt x="28" y="92"/>
                    </a:lnTo>
                    <a:lnTo>
                      <a:pt x="28" y="95"/>
                    </a:lnTo>
                    <a:lnTo>
                      <a:pt x="28" y="95"/>
                    </a:lnTo>
                    <a:lnTo>
                      <a:pt x="28" y="95"/>
                    </a:lnTo>
                    <a:lnTo>
                      <a:pt x="31" y="92"/>
                    </a:lnTo>
                    <a:lnTo>
                      <a:pt x="31" y="92"/>
                    </a:lnTo>
                    <a:lnTo>
                      <a:pt x="33" y="92"/>
                    </a:lnTo>
                    <a:lnTo>
                      <a:pt x="31" y="95"/>
                    </a:lnTo>
                    <a:lnTo>
                      <a:pt x="33" y="95"/>
                    </a:lnTo>
                    <a:lnTo>
                      <a:pt x="31" y="95"/>
                    </a:lnTo>
                    <a:lnTo>
                      <a:pt x="31" y="97"/>
                    </a:lnTo>
                    <a:close/>
                    <a:moveTo>
                      <a:pt x="35" y="90"/>
                    </a:moveTo>
                    <a:lnTo>
                      <a:pt x="35" y="92"/>
                    </a:lnTo>
                    <a:lnTo>
                      <a:pt x="35" y="92"/>
                    </a:lnTo>
                    <a:lnTo>
                      <a:pt x="35" y="92"/>
                    </a:lnTo>
                    <a:lnTo>
                      <a:pt x="38" y="92"/>
                    </a:lnTo>
                    <a:lnTo>
                      <a:pt x="38" y="92"/>
                    </a:lnTo>
                    <a:lnTo>
                      <a:pt x="40" y="88"/>
                    </a:lnTo>
                    <a:lnTo>
                      <a:pt x="43" y="85"/>
                    </a:lnTo>
                    <a:lnTo>
                      <a:pt x="40" y="85"/>
                    </a:lnTo>
                    <a:lnTo>
                      <a:pt x="40" y="85"/>
                    </a:lnTo>
                    <a:lnTo>
                      <a:pt x="38" y="88"/>
                    </a:lnTo>
                    <a:lnTo>
                      <a:pt x="38" y="88"/>
                    </a:lnTo>
                    <a:lnTo>
                      <a:pt x="38" y="88"/>
                    </a:lnTo>
                    <a:lnTo>
                      <a:pt x="38" y="88"/>
                    </a:lnTo>
                    <a:lnTo>
                      <a:pt x="35" y="90"/>
                    </a:lnTo>
                    <a:lnTo>
                      <a:pt x="35" y="90"/>
                    </a:lnTo>
                    <a:close/>
                    <a:moveTo>
                      <a:pt x="40" y="78"/>
                    </a:moveTo>
                    <a:lnTo>
                      <a:pt x="40" y="78"/>
                    </a:lnTo>
                    <a:lnTo>
                      <a:pt x="38" y="76"/>
                    </a:lnTo>
                    <a:lnTo>
                      <a:pt x="38" y="76"/>
                    </a:lnTo>
                    <a:lnTo>
                      <a:pt x="35" y="76"/>
                    </a:lnTo>
                    <a:lnTo>
                      <a:pt x="35" y="76"/>
                    </a:lnTo>
                    <a:lnTo>
                      <a:pt x="33" y="76"/>
                    </a:lnTo>
                    <a:lnTo>
                      <a:pt x="33" y="76"/>
                    </a:lnTo>
                    <a:lnTo>
                      <a:pt x="33" y="76"/>
                    </a:lnTo>
                    <a:lnTo>
                      <a:pt x="33" y="78"/>
                    </a:lnTo>
                    <a:lnTo>
                      <a:pt x="35" y="78"/>
                    </a:lnTo>
                    <a:lnTo>
                      <a:pt x="35" y="80"/>
                    </a:lnTo>
                    <a:lnTo>
                      <a:pt x="33" y="80"/>
                    </a:lnTo>
                    <a:lnTo>
                      <a:pt x="33" y="83"/>
                    </a:lnTo>
                    <a:lnTo>
                      <a:pt x="33" y="83"/>
                    </a:lnTo>
                    <a:lnTo>
                      <a:pt x="35" y="83"/>
                    </a:lnTo>
                    <a:lnTo>
                      <a:pt x="40" y="80"/>
                    </a:lnTo>
                    <a:lnTo>
                      <a:pt x="43" y="78"/>
                    </a:lnTo>
                    <a:lnTo>
                      <a:pt x="40" y="78"/>
                    </a:lnTo>
                    <a:close/>
                    <a:moveTo>
                      <a:pt x="31" y="76"/>
                    </a:moveTo>
                    <a:lnTo>
                      <a:pt x="31" y="76"/>
                    </a:lnTo>
                    <a:lnTo>
                      <a:pt x="31" y="76"/>
                    </a:lnTo>
                    <a:lnTo>
                      <a:pt x="28" y="76"/>
                    </a:lnTo>
                    <a:lnTo>
                      <a:pt x="28" y="76"/>
                    </a:lnTo>
                    <a:lnTo>
                      <a:pt x="28" y="76"/>
                    </a:lnTo>
                    <a:lnTo>
                      <a:pt x="31" y="76"/>
                    </a:lnTo>
                    <a:lnTo>
                      <a:pt x="31" y="76"/>
                    </a:lnTo>
                    <a:close/>
                    <a:moveTo>
                      <a:pt x="17" y="69"/>
                    </a:moveTo>
                    <a:lnTo>
                      <a:pt x="17" y="69"/>
                    </a:lnTo>
                    <a:lnTo>
                      <a:pt x="19" y="69"/>
                    </a:lnTo>
                    <a:lnTo>
                      <a:pt x="19" y="69"/>
                    </a:lnTo>
                    <a:lnTo>
                      <a:pt x="17" y="69"/>
                    </a:lnTo>
                    <a:lnTo>
                      <a:pt x="17" y="69"/>
                    </a:lnTo>
                    <a:lnTo>
                      <a:pt x="17" y="69"/>
                    </a:lnTo>
                    <a:lnTo>
                      <a:pt x="17" y="69"/>
                    </a:lnTo>
                    <a:lnTo>
                      <a:pt x="17" y="69"/>
                    </a:lnTo>
                    <a:close/>
                    <a:moveTo>
                      <a:pt x="33" y="69"/>
                    </a:moveTo>
                    <a:lnTo>
                      <a:pt x="35" y="69"/>
                    </a:lnTo>
                    <a:lnTo>
                      <a:pt x="35" y="69"/>
                    </a:lnTo>
                    <a:lnTo>
                      <a:pt x="35" y="69"/>
                    </a:lnTo>
                    <a:lnTo>
                      <a:pt x="35" y="69"/>
                    </a:lnTo>
                    <a:lnTo>
                      <a:pt x="35" y="69"/>
                    </a:lnTo>
                    <a:lnTo>
                      <a:pt x="35" y="66"/>
                    </a:lnTo>
                    <a:lnTo>
                      <a:pt x="33" y="69"/>
                    </a:lnTo>
                    <a:lnTo>
                      <a:pt x="33" y="69"/>
                    </a:lnTo>
                    <a:lnTo>
                      <a:pt x="33" y="69"/>
                    </a:lnTo>
                    <a:close/>
                    <a:moveTo>
                      <a:pt x="19" y="62"/>
                    </a:moveTo>
                    <a:lnTo>
                      <a:pt x="19" y="62"/>
                    </a:lnTo>
                    <a:lnTo>
                      <a:pt x="19" y="64"/>
                    </a:lnTo>
                    <a:lnTo>
                      <a:pt x="19" y="64"/>
                    </a:lnTo>
                    <a:lnTo>
                      <a:pt x="19" y="66"/>
                    </a:lnTo>
                    <a:lnTo>
                      <a:pt x="19" y="66"/>
                    </a:lnTo>
                    <a:lnTo>
                      <a:pt x="19" y="66"/>
                    </a:lnTo>
                    <a:lnTo>
                      <a:pt x="21" y="66"/>
                    </a:lnTo>
                    <a:lnTo>
                      <a:pt x="21" y="66"/>
                    </a:lnTo>
                    <a:lnTo>
                      <a:pt x="21" y="62"/>
                    </a:lnTo>
                    <a:lnTo>
                      <a:pt x="21" y="62"/>
                    </a:lnTo>
                    <a:lnTo>
                      <a:pt x="19" y="62"/>
                    </a:lnTo>
                    <a:close/>
                    <a:moveTo>
                      <a:pt x="40" y="69"/>
                    </a:moveTo>
                    <a:lnTo>
                      <a:pt x="40" y="69"/>
                    </a:lnTo>
                    <a:lnTo>
                      <a:pt x="40" y="66"/>
                    </a:lnTo>
                    <a:lnTo>
                      <a:pt x="43" y="66"/>
                    </a:lnTo>
                    <a:lnTo>
                      <a:pt x="45" y="64"/>
                    </a:lnTo>
                    <a:lnTo>
                      <a:pt x="45" y="64"/>
                    </a:lnTo>
                    <a:lnTo>
                      <a:pt x="45" y="64"/>
                    </a:lnTo>
                    <a:lnTo>
                      <a:pt x="45" y="64"/>
                    </a:lnTo>
                    <a:lnTo>
                      <a:pt x="43" y="64"/>
                    </a:lnTo>
                    <a:lnTo>
                      <a:pt x="38" y="64"/>
                    </a:lnTo>
                    <a:lnTo>
                      <a:pt x="38" y="62"/>
                    </a:lnTo>
                    <a:lnTo>
                      <a:pt x="38" y="62"/>
                    </a:lnTo>
                    <a:lnTo>
                      <a:pt x="38" y="62"/>
                    </a:lnTo>
                    <a:lnTo>
                      <a:pt x="38" y="59"/>
                    </a:lnTo>
                    <a:lnTo>
                      <a:pt x="38" y="59"/>
                    </a:lnTo>
                    <a:lnTo>
                      <a:pt x="38" y="59"/>
                    </a:lnTo>
                    <a:lnTo>
                      <a:pt x="38" y="57"/>
                    </a:lnTo>
                    <a:lnTo>
                      <a:pt x="38" y="54"/>
                    </a:lnTo>
                    <a:lnTo>
                      <a:pt x="35" y="54"/>
                    </a:lnTo>
                    <a:lnTo>
                      <a:pt x="35" y="54"/>
                    </a:lnTo>
                    <a:lnTo>
                      <a:pt x="35" y="57"/>
                    </a:lnTo>
                    <a:lnTo>
                      <a:pt x="31" y="57"/>
                    </a:lnTo>
                    <a:lnTo>
                      <a:pt x="31" y="57"/>
                    </a:lnTo>
                    <a:lnTo>
                      <a:pt x="31" y="59"/>
                    </a:lnTo>
                    <a:lnTo>
                      <a:pt x="31" y="59"/>
                    </a:lnTo>
                    <a:lnTo>
                      <a:pt x="31" y="59"/>
                    </a:lnTo>
                    <a:lnTo>
                      <a:pt x="31" y="59"/>
                    </a:lnTo>
                    <a:lnTo>
                      <a:pt x="31" y="59"/>
                    </a:lnTo>
                    <a:lnTo>
                      <a:pt x="28" y="59"/>
                    </a:lnTo>
                    <a:lnTo>
                      <a:pt x="28" y="59"/>
                    </a:lnTo>
                    <a:lnTo>
                      <a:pt x="28" y="59"/>
                    </a:lnTo>
                    <a:lnTo>
                      <a:pt x="31" y="62"/>
                    </a:lnTo>
                    <a:lnTo>
                      <a:pt x="33" y="62"/>
                    </a:lnTo>
                    <a:lnTo>
                      <a:pt x="35" y="64"/>
                    </a:lnTo>
                    <a:lnTo>
                      <a:pt x="35" y="64"/>
                    </a:lnTo>
                    <a:lnTo>
                      <a:pt x="35" y="64"/>
                    </a:lnTo>
                    <a:lnTo>
                      <a:pt x="38" y="64"/>
                    </a:lnTo>
                    <a:lnTo>
                      <a:pt x="40" y="64"/>
                    </a:lnTo>
                    <a:lnTo>
                      <a:pt x="40" y="66"/>
                    </a:lnTo>
                    <a:lnTo>
                      <a:pt x="40" y="69"/>
                    </a:lnTo>
                    <a:close/>
                    <a:moveTo>
                      <a:pt x="24" y="57"/>
                    </a:moveTo>
                    <a:lnTo>
                      <a:pt x="24" y="57"/>
                    </a:lnTo>
                    <a:lnTo>
                      <a:pt x="24" y="54"/>
                    </a:lnTo>
                    <a:lnTo>
                      <a:pt x="21" y="54"/>
                    </a:lnTo>
                    <a:lnTo>
                      <a:pt x="21" y="54"/>
                    </a:lnTo>
                    <a:lnTo>
                      <a:pt x="19" y="57"/>
                    </a:lnTo>
                    <a:lnTo>
                      <a:pt x="19" y="54"/>
                    </a:lnTo>
                    <a:lnTo>
                      <a:pt x="19" y="54"/>
                    </a:lnTo>
                    <a:lnTo>
                      <a:pt x="19" y="57"/>
                    </a:lnTo>
                    <a:lnTo>
                      <a:pt x="17" y="57"/>
                    </a:lnTo>
                    <a:lnTo>
                      <a:pt x="17" y="57"/>
                    </a:lnTo>
                    <a:lnTo>
                      <a:pt x="21" y="57"/>
                    </a:lnTo>
                    <a:lnTo>
                      <a:pt x="24" y="57"/>
                    </a:lnTo>
                    <a:close/>
                    <a:moveTo>
                      <a:pt x="26" y="52"/>
                    </a:moveTo>
                    <a:lnTo>
                      <a:pt x="24" y="52"/>
                    </a:lnTo>
                    <a:lnTo>
                      <a:pt x="26" y="54"/>
                    </a:lnTo>
                    <a:lnTo>
                      <a:pt x="26" y="54"/>
                    </a:lnTo>
                    <a:lnTo>
                      <a:pt x="26" y="54"/>
                    </a:lnTo>
                    <a:lnTo>
                      <a:pt x="28" y="52"/>
                    </a:lnTo>
                    <a:lnTo>
                      <a:pt x="28" y="52"/>
                    </a:lnTo>
                    <a:lnTo>
                      <a:pt x="28" y="52"/>
                    </a:lnTo>
                    <a:lnTo>
                      <a:pt x="31" y="50"/>
                    </a:lnTo>
                    <a:lnTo>
                      <a:pt x="33" y="50"/>
                    </a:lnTo>
                    <a:lnTo>
                      <a:pt x="35" y="47"/>
                    </a:lnTo>
                    <a:lnTo>
                      <a:pt x="35" y="47"/>
                    </a:lnTo>
                    <a:lnTo>
                      <a:pt x="35" y="47"/>
                    </a:lnTo>
                    <a:lnTo>
                      <a:pt x="35" y="47"/>
                    </a:lnTo>
                    <a:lnTo>
                      <a:pt x="33" y="47"/>
                    </a:lnTo>
                    <a:lnTo>
                      <a:pt x="35" y="45"/>
                    </a:lnTo>
                    <a:lnTo>
                      <a:pt x="35" y="45"/>
                    </a:lnTo>
                    <a:lnTo>
                      <a:pt x="38" y="45"/>
                    </a:lnTo>
                    <a:lnTo>
                      <a:pt x="40" y="43"/>
                    </a:lnTo>
                    <a:lnTo>
                      <a:pt x="40" y="40"/>
                    </a:lnTo>
                    <a:lnTo>
                      <a:pt x="40" y="40"/>
                    </a:lnTo>
                    <a:lnTo>
                      <a:pt x="40" y="38"/>
                    </a:lnTo>
                    <a:lnTo>
                      <a:pt x="38" y="40"/>
                    </a:lnTo>
                    <a:lnTo>
                      <a:pt x="35" y="40"/>
                    </a:lnTo>
                    <a:lnTo>
                      <a:pt x="31" y="43"/>
                    </a:lnTo>
                    <a:lnTo>
                      <a:pt x="31" y="43"/>
                    </a:lnTo>
                    <a:lnTo>
                      <a:pt x="31" y="43"/>
                    </a:lnTo>
                    <a:lnTo>
                      <a:pt x="31" y="45"/>
                    </a:lnTo>
                    <a:lnTo>
                      <a:pt x="31" y="45"/>
                    </a:lnTo>
                    <a:lnTo>
                      <a:pt x="31" y="45"/>
                    </a:lnTo>
                    <a:lnTo>
                      <a:pt x="28" y="45"/>
                    </a:lnTo>
                    <a:lnTo>
                      <a:pt x="28" y="45"/>
                    </a:lnTo>
                    <a:lnTo>
                      <a:pt x="26" y="45"/>
                    </a:lnTo>
                    <a:lnTo>
                      <a:pt x="26" y="45"/>
                    </a:lnTo>
                    <a:lnTo>
                      <a:pt x="26" y="45"/>
                    </a:lnTo>
                    <a:lnTo>
                      <a:pt x="26" y="45"/>
                    </a:lnTo>
                    <a:lnTo>
                      <a:pt x="26" y="45"/>
                    </a:lnTo>
                    <a:lnTo>
                      <a:pt x="26" y="47"/>
                    </a:lnTo>
                    <a:lnTo>
                      <a:pt x="26" y="47"/>
                    </a:lnTo>
                    <a:lnTo>
                      <a:pt x="26" y="47"/>
                    </a:lnTo>
                    <a:lnTo>
                      <a:pt x="26" y="47"/>
                    </a:lnTo>
                    <a:lnTo>
                      <a:pt x="26" y="47"/>
                    </a:lnTo>
                    <a:lnTo>
                      <a:pt x="26" y="47"/>
                    </a:lnTo>
                    <a:lnTo>
                      <a:pt x="26" y="50"/>
                    </a:lnTo>
                    <a:lnTo>
                      <a:pt x="26" y="50"/>
                    </a:lnTo>
                    <a:lnTo>
                      <a:pt x="28" y="50"/>
                    </a:lnTo>
                    <a:lnTo>
                      <a:pt x="28" y="50"/>
                    </a:lnTo>
                    <a:lnTo>
                      <a:pt x="26" y="50"/>
                    </a:lnTo>
                    <a:lnTo>
                      <a:pt x="26" y="52"/>
                    </a:lnTo>
                    <a:close/>
                    <a:moveTo>
                      <a:pt x="151" y="154"/>
                    </a:moveTo>
                    <a:lnTo>
                      <a:pt x="151" y="154"/>
                    </a:lnTo>
                    <a:lnTo>
                      <a:pt x="147" y="149"/>
                    </a:lnTo>
                    <a:lnTo>
                      <a:pt x="147" y="149"/>
                    </a:lnTo>
                    <a:lnTo>
                      <a:pt x="142" y="149"/>
                    </a:lnTo>
                    <a:lnTo>
                      <a:pt x="140" y="149"/>
                    </a:lnTo>
                    <a:lnTo>
                      <a:pt x="140" y="149"/>
                    </a:lnTo>
                    <a:lnTo>
                      <a:pt x="137" y="149"/>
                    </a:lnTo>
                    <a:lnTo>
                      <a:pt x="135" y="149"/>
                    </a:lnTo>
                    <a:lnTo>
                      <a:pt x="132" y="149"/>
                    </a:lnTo>
                    <a:lnTo>
                      <a:pt x="132" y="152"/>
                    </a:lnTo>
                    <a:lnTo>
                      <a:pt x="132" y="152"/>
                    </a:lnTo>
                    <a:lnTo>
                      <a:pt x="130" y="152"/>
                    </a:lnTo>
                    <a:lnTo>
                      <a:pt x="130" y="152"/>
                    </a:lnTo>
                    <a:lnTo>
                      <a:pt x="125" y="149"/>
                    </a:lnTo>
                    <a:lnTo>
                      <a:pt x="128" y="149"/>
                    </a:lnTo>
                    <a:lnTo>
                      <a:pt x="128" y="147"/>
                    </a:lnTo>
                    <a:lnTo>
                      <a:pt x="130" y="147"/>
                    </a:lnTo>
                    <a:lnTo>
                      <a:pt x="132" y="144"/>
                    </a:lnTo>
                    <a:lnTo>
                      <a:pt x="130" y="142"/>
                    </a:lnTo>
                    <a:lnTo>
                      <a:pt x="128" y="140"/>
                    </a:lnTo>
                    <a:lnTo>
                      <a:pt x="123" y="135"/>
                    </a:lnTo>
                    <a:lnTo>
                      <a:pt x="118" y="135"/>
                    </a:lnTo>
                    <a:lnTo>
                      <a:pt x="116" y="133"/>
                    </a:lnTo>
                    <a:lnTo>
                      <a:pt x="118" y="133"/>
                    </a:lnTo>
                    <a:lnTo>
                      <a:pt x="118" y="133"/>
                    </a:lnTo>
                    <a:lnTo>
                      <a:pt x="123" y="133"/>
                    </a:lnTo>
                    <a:lnTo>
                      <a:pt x="123" y="135"/>
                    </a:lnTo>
                    <a:lnTo>
                      <a:pt x="125" y="135"/>
                    </a:lnTo>
                    <a:lnTo>
                      <a:pt x="125" y="135"/>
                    </a:lnTo>
                    <a:lnTo>
                      <a:pt x="128" y="135"/>
                    </a:lnTo>
                    <a:lnTo>
                      <a:pt x="128" y="135"/>
                    </a:lnTo>
                    <a:lnTo>
                      <a:pt x="128" y="135"/>
                    </a:lnTo>
                    <a:lnTo>
                      <a:pt x="128" y="133"/>
                    </a:lnTo>
                    <a:lnTo>
                      <a:pt x="125" y="130"/>
                    </a:lnTo>
                    <a:lnTo>
                      <a:pt x="125" y="130"/>
                    </a:lnTo>
                    <a:lnTo>
                      <a:pt x="123" y="128"/>
                    </a:lnTo>
                    <a:lnTo>
                      <a:pt x="125" y="125"/>
                    </a:lnTo>
                    <a:lnTo>
                      <a:pt x="125" y="125"/>
                    </a:lnTo>
                    <a:lnTo>
                      <a:pt x="123" y="123"/>
                    </a:lnTo>
                    <a:lnTo>
                      <a:pt x="121" y="123"/>
                    </a:lnTo>
                    <a:lnTo>
                      <a:pt x="118" y="121"/>
                    </a:lnTo>
                    <a:lnTo>
                      <a:pt x="118" y="118"/>
                    </a:lnTo>
                    <a:lnTo>
                      <a:pt x="116" y="118"/>
                    </a:lnTo>
                    <a:lnTo>
                      <a:pt x="109" y="116"/>
                    </a:lnTo>
                    <a:lnTo>
                      <a:pt x="109" y="114"/>
                    </a:lnTo>
                    <a:lnTo>
                      <a:pt x="109" y="114"/>
                    </a:lnTo>
                    <a:lnTo>
                      <a:pt x="106" y="107"/>
                    </a:lnTo>
                    <a:lnTo>
                      <a:pt x="104" y="102"/>
                    </a:lnTo>
                    <a:lnTo>
                      <a:pt x="104" y="97"/>
                    </a:lnTo>
                    <a:lnTo>
                      <a:pt x="104" y="97"/>
                    </a:lnTo>
                    <a:lnTo>
                      <a:pt x="102" y="95"/>
                    </a:lnTo>
                    <a:lnTo>
                      <a:pt x="102" y="95"/>
                    </a:lnTo>
                    <a:lnTo>
                      <a:pt x="99" y="92"/>
                    </a:lnTo>
                    <a:lnTo>
                      <a:pt x="97" y="90"/>
                    </a:lnTo>
                    <a:lnTo>
                      <a:pt x="90" y="88"/>
                    </a:lnTo>
                    <a:lnTo>
                      <a:pt x="85" y="88"/>
                    </a:lnTo>
                    <a:lnTo>
                      <a:pt x="83" y="90"/>
                    </a:lnTo>
                    <a:lnTo>
                      <a:pt x="83" y="90"/>
                    </a:lnTo>
                    <a:lnTo>
                      <a:pt x="73" y="88"/>
                    </a:lnTo>
                    <a:lnTo>
                      <a:pt x="73" y="88"/>
                    </a:lnTo>
                    <a:lnTo>
                      <a:pt x="71" y="85"/>
                    </a:lnTo>
                    <a:lnTo>
                      <a:pt x="73" y="88"/>
                    </a:lnTo>
                    <a:lnTo>
                      <a:pt x="76" y="88"/>
                    </a:lnTo>
                    <a:lnTo>
                      <a:pt x="78" y="88"/>
                    </a:lnTo>
                    <a:lnTo>
                      <a:pt x="80" y="88"/>
                    </a:lnTo>
                    <a:lnTo>
                      <a:pt x="80" y="88"/>
                    </a:lnTo>
                    <a:lnTo>
                      <a:pt x="85" y="85"/>
                    </a:lnTo>
                    <a:lnTo>
                      <a:pt x="88" y="85"/>
                    </a:lnTo>
                    <a:lnTo>
                      <a:pt x="90" y="83"/>
                    </a:lnTo>
                    <a:lnTo>
                      <a:pt x="90" y="83"/>
                    </a:lnTo>
                    <a:lnTo>
                      <a:pt x="85" y="80"/>
                    </a:lnTo>
                    <a:lnTo>
                      <a:pt x="83" y="80"/>
                    </a:lnTo>
                    <a:lnTo>
                      <a:pt x="80" y="80"/>
                    </a:lnTo>
                    <a:lnTo>
                      <a:pt x="80" y="80"/>
                    </a:lnTo>
                    <a:lnTo>
                      <a:pt x="80" y="80"/>
                    </a:lnTo>
                    <a:lnTo>
                      <a:pt x="83" y="80"/>
                    </a:lnTo>
                    <a:lnTo>
                      <a:pt x="83" y="78"/>
                    </a:lnTo>
                    <a:lnTo>
                      <a:pt x="88" y="78"/>
                    </a:lnTo>
                    <a:lnTo>
                      <a:pt x="90" y="78"/>
                    </a:lnTo>
                    <a:lnTo>
                      <a:pt x="90" y="78"/>
                    </a:lnTo>
                    <a:lnTo>
                      <a:pt x="92" y="76"/>
                    </a:lnTo>
                    <a:lnTo>
                      <a:pt x="95" y="73"/>
                    </a:lnTo>
                    <a:lnTo>
                      <a:pt x="97" y="71"/>
                    </a:lnTo>
                    <a:lnTo>
                      <a:pt x="99" y="66"/>
                    </a:lnTo>
                    <a:lnTo>
                      <a:pt x="99" y="66"/>
                    </a:lnTo>
                    <a:lnTo>
                      <a:pt x="99" y="64"/>
                    </a:lnTo>
                    <a:lnTo>
                      <a:pt x="102" y="64"/>
                    </a:lnTo>
                    <a:lnTo>
                      <a:pt x="102" y="62"/>
                    </a:lnTo>
                    <a:lnTo>
                      <a:pt x="104" y="59"/>
                    </a:lnTo>
                    <a:lnTo>
                      <a:pt x="104" y="59"/>
                    </a:lnTo>
                    <a:lnTo>
                      <a:pt x="104" y="59"/>
                    </a:lnTo>
                    <a:lnTo>
                      <a:pt x="104" y="57"/>
                    </a:lnTo>
                    <a:lnTo>
                      <a:pt x="102" y="54"/>
                    </a:lnTo>
                    <a:lnTo>
                      <a:pt x="102" y="54"/>
                    </a:lnTo>
                    <a:lnTo>
                      <a:pt x="97" y="54"/>
                    </a:lnTo>
                    <a:lnTo>
                      <a:pt x="90" y="54"/>
                    </a:lnTo>
                    <a:lnTo>
                      <a:pt x="88" y="54"/>
                    </a:lnTo>
                    <a:lnTo>
                      <a:pt x="85" y="54"/>
                    </a:lnTo>
                    <a:lnTo>
                      <a:pt x="85" y="54"/>
                    </a:lnTo>
                    <a:lnTo>
                      <a:pt x="83" y="54"/>
                    </a:lnTo>
                    <a:lnTo>
                      <a:pt x="80" y="54"/>
                    </a:lnTo>
                    <a:lnTo>
                      <a:pt x="78" y="54"/>
                    </a:lnTo>
                    <a:lnTo>
                      <a:pt x="73" y="57"/>
                    </a:lnTo>
                    <a:lnTo>
                      <a:pt x="71" y="57"/>
                    </a:lnTo>
                    <a:lnTo>
                      <a:pt x="69" y="57"/>
                    </a:lnTo>
                    <a:lnTo>
                      <a:pt x="71" y="54"/>
                    </a:lnTo>
                    <a:lnTo>
                      <a:pt x="73" y="52"/>
                    </a:lnTo>
                    <a:lnTo>
                      <a:pt x="73" y="52"/>
                    </a:lnTo>
                    <a:lnTo>
                      <a:pt x="73" y="52"/>
                    </a:lnTo>
                    <a:lnTo>
                      <a:pt x="71" y="52"/>
                    </a:lnTo>
                    <a:lnTo>
                      <a:pt x="71" y="50"/>
                    </a:lnTo>
                    <a:lnTo>
                      <a:pt x="71" y="50"/>
                    </a:lnTo>
                    <a:lnTo>
                      <a:pt x="76" y="47"/>
                    </a:lnTo>
                    <a:lnTo>
                      <a:pt x="80" y="45"/>
                    </a:lnTo>
                    <a:lnTo>
                      <a:pt x="85" y="43"/>
                    </a:lnTo>
                    <a:lnTo>
                      <a:pt x="85" y="40"/>
                    </a:lnTo>
                    <a:lnTo>
                      <a:pt x="85" y="40"/>
                    </a:lnTo>
                    <a:lnTo>
                      <a:pt x="88" y="40"/>
                    </a:lnTo>
                    <a:lnTo>
                      <a:pt x="88" y="38"/>
                    </a:lnTo>
                    <a:lnTo>
                      <a:pt x="88" y="38"/>
                    </a:lnTo>
                    <a:lnTo>
                      <a:pt x="88" y="35"/>
                    </a:lnTo>
                    <a:lnTo>
                      <a:pt x="88" y="35"/>
                    </a:lnTo>
                    <a:lnTo>
                      <a:pt x="85" y="35"/>
                    </a:lnTo>
                    <a:lnTo>
                      <a:pt x="80" y="35"/>
                    </a:lnTo>
                    <a:lnTo>
                      <a:pt x="78" y="38"/>
                    </a:lnTo>
                    <a:lnTo>
                      <a:pt x="76" y="38"/>
                    </a:lnTo>
                    <a:lnTo>
                      <a:pt x="71" y="38"/>
                    </a:lnTo>
                    <a:lnTo>
                      <a:pt x="66" y="38"/>
                    </a:lnTo>
                    <a:lnTo>
                      <a:pt x="66" y="38"/>
                    </a:lnTo>
                    <a:lnTo>
                      <a:pt x="66" y="38"/>
                    </a:lnTo>
                    <a:lnTo>
                      <a:pt x="64" y="38"/>
                    </a:lnTo>
                    <a:lnTo>
                      <a:pt x="62" y="38"/>
                    </a:lnTo>
                    <a:lnTo>
                      <a:pt x="62" y="38"/>
                    </a:lnTo>
                    <a:lnTo>
                      <a:pt x="62" y="38"/>
                    </a:lnTo>
                    <a:lnTo>
                      <a:pt x="59" y="38"/>
                    </a:lnTo>
                    <a:lnTo>
                      <a:pt x="59" y="38"/>
                    </a:lnTo>
                    <a:lnTo>
                      <a:pt x="57" y="38"/>
                    </a:lnTo>
                    <a:lnTo>
                      <a:pt x="57" y="38"/>
                    </a:lnTo>
                    <a:lnTo>
                      <a:pt x="57" y="40"/>
                    </a:lnTo>
                    <a:lnTo>
                      <a:pt x="57" y="40"/>
                    </a:lnTo>
                    <a:lnTo>
                      <a:pt x="57" y="40"/>
                    </a:lnTo>
                    <a:lnTo>
                      <a:pt x="57" y="43"/>
                    </a:lnTo>
                    <a:lnTo>
                      <a:pt x="57" y="43"/>
                    </a:lnTo>
                    <a:lnTo>
                      <a:pt x="57" y="43"/>
                    </a:lnTo>
                    <a:lnTo>
                      <a:pt x="57" y="43"/>
                    </a:lnTo>
                    <a:lnTo>
                      <a:pt x="54" y="43"/>
                    </a:lnTo>
                    <a:lnTo>
                      <a:pt x="52" y="45"/>
                    </a:lnTo>
                    <a:lnTo>
                      <a:pt x="52" y="45"/>
                    </a:lnTo>
                    <a:lnTo>
                      <a:pt x="52" y="45"/>
                    </a:lnTo>
                    <a:lnTo>
                      <a:pt x="52" y="45"/>
                    </a:lnTo>
                    <a:lnTo>
                      <a:pt x="50" y="47"/>
                    </a:lnTo>
                    <a:lnTo>
                      <a:pt x="52" y="47"/>
                    </a:lnTo>
                    <a:lnTo>
                      <a:pt x="54" y="50"/>
                    </a:lnTo>
                    <a:lnTo>
                      <a:pt x="54" y="52"/>
                    </a:lnTo>
                    <a:lnTo>
                      <a:pt x="52" y="50"/>
                    </a:lnTo>
                    <a:lnTo>
                      <a:pt x="52" y="50"/>
                    </a:lnTo>
                    <a:lnTo>
                      <a:pt x="52" y="52"/>
                    </a:lnTo>
                    <a:lnTo>
                      <a:pt x="47" y="52"/>
                    </a:lnTo>
                    <a:lnTo>
                      <a:pt x="47" y="52"/>
                    </a:lnTo>
                    <a:lnTo>
                      <a:pt x="45" y="52"/>
                    </a:lnTo>
                    <a:lnTo>
                      <a:pt x="45" y="54"/>
                    </a:lnTo>
                    <a:lnTo>
                      <a:pt x="45" y="57"/>
                    </a:lnTo>
                    <a:lnTo>
                      <a:pt x="45" y="57"/>
                    </a:lnTo>
                    <a:lnTo>
                      <a:pt x="45" y="57"/>
                    </a:lnTo>
                    <a:lnTo>
                      <a:pt x="47" y="57"/>
                    </a:lnTo>
                    <a:lnTo>
                      <a:pt x="45" y="59"/>
                    </a:lnTo>
                    <a:lnTo>
                      <a:pt x="45" y="59"/>
                    </a:lnTo>
                    <a:lnTo>
                      <a:pt x="43" y="59"/>
                    </a:lnTo>
                    <a:lnTo>
                      <a:pt x="43" y="59"/>
                    </a:lnTo>
                    <a:lnTo>
                      <a:pt x="43" y="62"/>
                    </a:lnTo>
                    <a:lnTo>
                      <a:pt x="45" y="62"/>
                    </a:lnTo>
                    <a:lnTo>
                      <a:pt x="45" y="62"/>
                    </a:lnTo>
                    <a:lnTo>
                      <a:pt x="47" y="64"/>
                    </a:lnTo>
                    <a:lnTo>
                      <a:pt x="45" y="66"/>
                    </a:lnTo>
                    <a:lnTo>
                      <a:pt x="43" y="69"/>
                    </a:lnTo>
                    <a:lnTo>
                      <a:pt x="43" y="71"/>
                    </a:lnTo>
                    <a:lnTo>
                      <a:pt x="40" y="71"/>
                    </a:lnTo>
                    <a:lnTo>
                      <a:pt x="43" y="71"/>
                    </a:lnTo>
                    <a:lnTo>
                      <a:pt x="40" y="73"/>
                    </a:lnTo>
                    <a:lnTo>
                      <a:pt x="38" y="73"/>
                    </a:lnTo>
                    <a:lnTo>
                      <a:pt x="38" y="73"/>
                    </a:lnTo>
                    <a:lnTo>
                      <a:pt x="35" y="73"/>
                    </a:lnTo>
                    <a:lnTo>
                      <a:pt x="38" y="73"/>
                    </a:lnTo>
                    <a:lnTo>
                      <a:pt x="40" y="73"/>
                    </a:lnTo>
                    <a:lnTo>
                      <a:pt x="40" y="76"/>
                    </a:lnTo>
                    <a:lnTo>
                      <a:pt x="40" y="78"/>
                    </a:lnTo>
                    <a:lnTo>
                      <a:pt x="43" y="78"/>
                    </a:lnTo>
                    <a:lnTo>
                      <a:pt x="43" y="78"/>
                    </a:lnTo>
                    <a:lnTo>
                      <a:pt x="45" y="78"/>
                    </a:lnTo>
                    <a:lnTo>
                      <a:pt x="50" y="73"/>
                    </a:lnTo>
                    <a:lnTo>
                      <a:pt x="52" y="73"/>
                    </a:lnTo>
                    <a:lnTo>
                      <a:pt x="50" y="73"/>
                    </a:lnTo>
                    <a:lnTo>
                      <a:pt x="50" y="76"/>
                    </a:lnTo>
                    <a:lnTo>
                      <a:pt x="50" y="78"/>
                    </a:lnTo>
                    <a:lnTo>
                      <a:pt x="47" y="78"/>
                    </a:lnTo>
                    <a:lnTo>
                      <a:pt x="47" y="80"/>
                    </a:lnTo>
                    <a:lnTo>
                      <a:pt x="45" y="80"/>
                    </a:lnTo>
                    <a:lnTo>
                      <a:pt x="45" y="83"/>
                    </a:lnTo>
                    <a:lnTo>
                      <a:pt x="45" y="85"/>
                    </a:lnTo>
                    <a:lnTo>
                      <a:pt x="43" y="88"/>
                    </a:lnTo>
                    <a:lnTo>
                      <a:pt x="43" y="92"/>
                    </a:lnTo>
                    <a:lnTo>
                      <a:pt x="43" y="92"/>
                    </a:lnTo>
                    <a:lnTo>
                      <a:pt x="43" y="92"/>
                    </a:lnTo>
                    <a:lnTo>
                      <a:pt x="45" y="92"/>
                    </a:lnTo>
                    <a:lnTo>
                      <a:pt x="45" y="92"/>
                    </a:lnTo>
                    <a:lnTo>
                      <a:pt x="43" y="95"/>
                    </a:lnTo>
                    <a:lnTo>
                      <a:pt x="43" y="95"/>
                    </a:lnTo>
                    <a:lnTo>
                      <a:pt x="40" y="95"/>
                    </a:lnTo>
                    <a:lnTo>
                      <a:pt x="40" y="99"/>
                    </a:lnTo>
                    <a:lnTo>
                      <a:pt x="40" y="99"/>
                    </a:lnTo>
                    <a:lnTo>
                      <a:pt x="40" y="102"/>
                    </a:lnTo>
                    <a:lnTo>
                      <a:pt x="40" y="102"/>
                    </a:lnTo>
                    <a:lnTo>
                      <a:pt x="40" y="102"/>
                    </a:lnTo>
                    <a:lnTo>
                      <a:pt x="43" y="102"/>
                    </a:lnTo>
                    <a:lnTo>
                      <a:pt x="43" y="102"/>
                    </a:lnTo>
                    <a:lnTo>
                      <a:pt x="43" y="99"/>
                    </a:lnTo>
                    <a:lnTo>
                      <a:pt x="45" y="92"/>
                    </a:lnTo>
                    <a:lnTo>
                      <a:pt x="47" y="92"/>
                    </a:lnTo>
                    <a:lnTo>
                      <a:pt x="45" y="90"/>
                    </a:lnTo>
                    <a:lnTo>
                      <a:pt x="45" y="88"/>
                    </a:lnTo>
                    <a:lnTo>
                      <a:pt x="47" y="88"/>
                    </a:lnTo>
                    <a:lnTo>
                      <a:pt x="47" y="88"/>
                    </a:lnTo>
                    <a:lnTo>
                      <a:pt x="47" y="85"/>
                    </a:lnTo>
                    <a:lnTo>
                      <a:pt x="52" y="85"/>
                    </a:lnTo>
                    <a:lnTo>
                      <a:pt x="52" y="83"/>
                    </a:lnTo>
                    <a:lnTo>
                      <a:pt x="50" y="85"/>
                    </a:lnTo>
                    <a:lnTo>
                      <a:pt x="50" y="88"/>
                    </a:lnTo>
                    <a:lnTo>
                      <a:pt x="50" y="88"/>
                    </a:lnTo>
                    <a:lnTo>
                      <a:pt x="50" y="90"/>
                    </a:lnTo>
                    <a:lnTo>
                      <a:pt x="50" y="90"/>
                    </a:lnTo>
                    <a:lnTo>
                      <a:pt x="50" y="90"/>
                    </a:lnTo>
                    <a:lnTo>
                      <a:pt x="50" y="90"/>
                    </a:lnTo>
                    <a:lnTo>
                      <a:pt x="50" y="90"/>
                    </a:lnTo>
                    <a:lnTo>
                      <a:pt x="50" y="90"/>
                    </a:lnTo>
                    <a:lnTo>
                      <a:pt x="52" y="88"/>
                    </a:lnTo>
                    <a:lnTo>
                      <a:pt x="52" y="88"/>
                    </a:lnTo>
                    <a:lnTo>
                      <a:pt x="54" y="88"/>
                    </a:lnTo>
                    <a:lnTo>
                      <a:pt x="54" y="85"/>
                    </a:lnTo>
                    <a:lnTo>
                      <a:pt x="57" y="85"/>
                    </a:lnTo>
                    <a:lnTo>
                      <a:pt x="57" y="85"/>
                    </a:lnTo>
                    <a:lnTo>
                      <a:pt x="54" y="88"/>
                    </a:lnTo>
                    <a:lnTo>
                      <a:pt x="54" y="88"/>
                    </a:lnTo>
                    <a:lnTo>
                      <a:pt x="57" y="90"/>
                    </a:lnTo>
                    <a:lnTo>
                      <a:pt x="59" y="90"/>
                    </a:lnTo>
                    <a:lnTo>
                      <a:pt x="54" y="90"/>
                    </a:lnTo>
                    <a:lnTo>
                      <a:pt x="54" y="90"/>
                    </a:lnTo>
                    <a:lnTo>
                      <a:pt x="54" y="90"/>
                    </a:lnTo>
                    <a:lnTo>
                      <a:pt x="54" y="92"/>
                    </a:lnTo>
                    <a:lnTo>
                      <a:pt x="54" y="95"/>
                    </a:lnTo>
                    <a:lnTo>
                      <a:pt x="57" y="97"/>
                    </a:lnTo>
                    <a:lnTo>
                      <a:pt x="57" y="97"/>
                    </a:lnTo>
                    <a:lnTo>
                      <a:pt x="57" y="97"/>
                    </a:lnTo>
                    <a:lnTo>
                      <a:pt x="57" y="99"/>
                    </a:lnTo>
                    <a:lnTo>
                      <a:pt x="54" y="102"/>
                    </a:lnTo>
                    <a:lnTo>
                      <a:pt x="52" y="104"/>
                    </a:lnTo>
                    <a:lnTo>
                      <a:pt x="50" y="109"/>
                    </a:lnTo>
                    <a:lnTo>
                      <a:pt x="50" y="109"/>
                    </a:lnTo>
                    <a:lnTo>
                      <a:pt x="47" y="109"/>
                    </a:lnTo>
                    <a:lnTo>
                      <a:pt x="47" y="109"/>
                    </a:lnTo>
                    <a:lnTo>
                      <a:pt x="47" y="111"/>
                    </a:lnTo>
                    <a:lnTo>
                      <a:pt x="50" y="114"/>
                    </a:lnTo>
                    <a:lnTo>
                      <a:pt x="52" y="114"/>
                    </a:lnTo>
                    <a:lnTo>
                      <a:pt x="52" y="114"/>
                    </a:lnTo>
                    <a:lnTo>
                      <a:pt x="52" y="111"/>
                    </a:lnTo>
                    <a:lnTo>
                      <a:pt x="52" y="111"/>
                    </a:lnTo>
                    <a:lnTo>
                      <a:pt x="54" y="111"/>
                    </a:lnTo>
                    <a:lnTo>
                      <a:pt x="57" y="114"/>
                    </a:lnTo>
                    <a:lnTo>
                      <a:pt x="59" y="111"/>
                    </a:lnTo>
                    <a:lnTo>
                      <a:pt x="62" y="111"/>
                    </a:lnTo>
                    <a:lnTo>
                      <a:pt x="62" y="111"/>
                    </a:lnTo>
                    <a:lnTo>
                      <a:pt x="62" y="111"/>
                    </a:lnTo>
                    <a:lnTo>
                      <a:pt x="64" y="111"/>
                    </a:lnTo>
                    <a:lnTo>
                      <a:pt x="64" y="114"/>
                    </a:lnTo>
                    <a:lnTo>
                      <a:pt x="64" y="111"/>
                    </a:lnTo>
                    <a:lnTo>
                      <a:pt x="66" y="111"/>
                    </a:lnTo>
                    <a:lnTo>
                      <a:pt x="66" y="111"/>
                    </a:lnTo>
                    <a:lnTo>
                      <a:pt x="69" y="111"/>
                    </a:lnTo>
                    <a:lnTo>
                      <a:pt x="69" y="111"/>
                    </a:lnTo>
                    <a:lnTo>
                      <a:pt x="71" y="111"/>
                    </a:lnTo>
                    <a:lnTo>
                      <a:pt x="71" y="111"/>
                    </a:lnTo>
                    <a:lnTo>
                      <a:pt x="73" y="109"/>
                    </a:lnTo>
                    <a:lnTo>
                      <a:pt x="76" y="109"/>
                    </a:lnTo>
                    <a:lnTo>
                      <a:pt x="80" y="109"/>
                    </a:lnTo>
                    <a:lnTo>
                      <a:pt x="80" y="109"/>
                    </a:lnTo>
                    <a:lnTo>
                      <a:pt x="78" y="109"/>
                    </a:lnTo>
                    <a:lnTo>
                      <a:pt x="73" y="114"/>
                    </a:lnTo>
                    <a:lnTo>
                      <a:pt x="71" y="116"/>
                    </a:lnTo>
                    <a:lnTo>
                      <a:pt x="71" y="118"/>
                    </a:lnTo>
                    <a:lnTo>
                      <a:pt x="73" y="123"/>
                    </a:lnTo>
                    <a:lnTo>
                      <a:pt x="76" y="123"/>
                    </a:lnTo>
                    <a:lnTo>
                      <a:pt x="78" y="125"/>
                    </a:lnTo>
                    <a:lnTo>
                      <a:pt x="78" y="125"/>
                    </a:lnTo>
                    <a:lnTo>
                      <a:pt x="78" y="125"/>
                    </a:lnTo>
                    <a:lnTo>
                      <a:pt x="80" y="125"/>
                    </a:lnTo>
                    <a:lnTo>
                      <a:pt x="83" y="125"/>
                    </a:lnTo>
                    <a:lnTo>
                      <a:pt x="83" y="125"/>
                    </a:lnTo>
                    <a:lnTo>
                      <a:pt x="83" y="128"/>
                    </a:lnTo>
                    <a:lnTo>
                      <a:pt x="80" y="128"/>
                    </a:lnTo>
                    <a:lnTo>
                      <a:pt x="78" y="130"/>
                    </a:lnTo>
                    <a:lnTo>
                      <a:pt x="78" y="130"/>
                    </a:lnTo>
                    <a:lnTo>
                      <a:pt x="78" y="133"/>
                    </a:lnTo>
                    <a:lnTo>
                      <a:pt x="80" y="133"/>
                    </a:lnTo>
                    <a:lnTo>
                      <a:pt x="80" y="133"/>
                    </a:lnTo>
                    <a:lnTo>
                      <a:pt x="80" y="135"/>
                    </a:lnTo>
                    <a:lnTo>
                      <a:pt x="78" y="137"/>
                    </a:lnTo>
                    <a:lnTo>
                      <a:pt x="78" y="137"/>
                    </a:lnTo>
                    <a:lnTo>
                      <a:pt x="78" y="140"/>
                    </a:lnTo>
                    <a:lnTo>
                      <a:pt x="80" y="142"/>
                    </a:lnTo>
                    <a:lnTo>
                      <a:pt x="80" y="142"/>
                    </a:lnTo>
                    <a:lnTo>
                      <a:pt x="83" y="142"/>
                    </a:lnTo>
                    <a:lnTo>
                      <a:pt x="83" y="142"/>
                    </a:lnTo>
                    <a:lnTo>
                      <a:pt x="80" y="142"/>
                    </a:lnTo>
                    <a:lnTo>
                      <a:pt x="80" y="142"/>
                    </a:lnTo>
                    <a:lnTo>
                      <a:pt x="78" y="140"/>
                    </a:lnTo>
                    <a:lnTo>
                      <a:pt x="76" y="140"/>
                    </a:lnTo>
                    <a:lnTo>
                      <a:pt x="78" y="142"/>
                    </a:lnTo>
                    <a:lnTo>
                      <a:pt x="73" y="142"/>
                    </a:lnTo>
                    <a:lnTo>
                      <a:pt x="71" y="142"/>
                    </a:lnTo>
                    <a:lnTo>
                      <a:pt x="71" y="142"/>
                    </a:lnTo>
                    <a:lnTo>
                      <a:pt x="69" y="142"/>
                    </a:lnTo>
                    <a:lnTo>
                      <a:pt x="66" y="142"/>
                    </a:lnTo>
                    <a:lnTo>
                      <a:pt x="66" y="142"/>
                    </a:lnTo>
                    <a:lnTo>
                      <a:pt x="62" y="144"/>
                    </a:lnTo>
                    <a:lnTo>
                      <a:pt x="59" y="144"/>
                    </a:lnTo>
                    <a:lnTo>
                      <a:pt x="57" y="147"/>
                    </a:lnTo>
                    <a:lnTo>
                      <a:pt x="57" y="147"/>
                    </a:lnTo>
                    <a:lnTo>
                      <a:pt x="57" y="147"/>
                    </a:lnTo>
                    <a:lnTo>
                      <a:pt x="54" y="149"/>
                    </a:lnTo>
                    <a:lnTo>
                      <a:pt x="52" y="152"/>
                    </a:lnTo>
                    <a:lnTo>
                      <a:pt x="52" y="152"/>
                    </a:lnTo>
                    <a:lnTo>
                      <a:pt x="52" y="152"/>
                    </a:lnTo>
                    <a:lnTo>
                      <a:pt x="52" y="152"/>
                    </a:lnTo>
                    <a:lnTo>
                      <a:pt x="54" y="152"/>
                    </a:lnTo>
                    <a:lnTo>
                      <a:pt x="57" y="149"/>
                    </a:lnTo>
                    <a:lnTo>
                      <a:pt x="59" y="149"/>
                    </a:lnTo>
                    <a:lnTo>
                      <a:pt x="62" y="149"/>
                    </a:lnTo>
                    <a:lnTo>
                      <a:pt x="59" y="152"/>
                    </a:lnTo>
                    <a:lnTo>
                      <a:pt x="59" y="152"/>
                    </a:lnTo>
                    <a:lnTo>
                      <a:pt x="62" y="154"/>
                    </a:lnTo>
                    <a:lnTo>
                      <a:pt x="62" y="154"/>
                    </a:lnTo>
                    <a:lnTo>
                      <a:pt x="62" y="154"/>
                    </a:lnTo>
                    <a:lnTo>
                      <a:pt x="59" y="156"/>
                    </a:lnTo>
                    <a:lnTo>
                      <a:pt x="62" y="156"/>
                    </a:lnTo>
                    <a:lnTo>
                      <a:pt x="62" y="156"/>
                    </a:lnTo>
                    <a:lnTo>
                      <a:pt x="62" y="159"/>
                    </a:lnTo>
                    <a:lnTo>
                      <a:pt x="59" y="161"/>
                    </a:lnTo>
                    <a:lnTo>
                      <a:pt x="59" y="161"/>
                    </a:lnTo>
                    <a:lnTo>
                      <a:pt x="57" y="163"/>
                    </a:lnTo>
                    <a:lnTo>
                      <a:pt x="54" y="163"/>
                    </a:lnTo>
                    <a:lnTo>
                      <a:pt x="52" y="166"/>
                    </a:lnTo>
                    <a:lnTo>
                      <a:pt x="47" y="168"/>
                    </a:lnTo>
                    <a:lnTo>
                      <a:pt x="43" y="168"/>
                    </a:lnTo>
                    <a:lnTo>
                      <a:pt x="40" y="170"/>
                    </a:lnTo>
                    <a:lnTo>
                      <a:pt x="40" y="170"/>
                    </a:lnTo>
                    <a:lnTo>
                      <a:pt x="40" y="170"/>
                    </a:lnTo>
                    <a:lnTo>
                      <a:pt x="40" y="173"/>
                    </a:lnTo>
                    <a:lnTo>
                      <a:pt x="40" y="173"/>
                    </a:lnTo>
                    <a:lnTo>
                      <a:pt x="43" y="175"/>
                    </a:lnTo>
                    <a:lnTo>
                      <a:pt x="45" y="175"/>
                    </a:lnTo>
                    <a:lnTo>
                      <a:pt x="47" y="175"/>
                    </a:lnTo>
                    <a:lnTo>
                      <a:pt x="50" y="173"/>
                    </a:lnTo>
                    <a:lnTo>
                      <a:pt x="52" y="173"/>
                    </a:lnTo>
                    <a:lnTo>
                      <a:pt x="54" y="173"/>
                    </a:lnTo>
                    <a:lnTo>
                      <a:pt x="54" y="175"/>
                    </a:lnTo>
                    <a:lnTo>
                      <a:pt x="54" y="175"/>
                    </a:lnTo>
                    <a:lnTo>
                      <a:pt x="59" y="175"/>
                    </a:lnTo>
                    <a:lnTo>
                      <a:pt x="57" y="175"/>
                    </a:lnTo>
                    <a:lnTo>
                      <a:pt x="57" y="178"/>
                    </a:lnTo>
                    <a:lnTo>
                      <a:pt x="57" y="178"/>
                    </a:lnTo>
                    <a:lnTo>
                      <a:pt x="59" y="178"/>
                    </a:lnTo>
                    <a:lnTo>
                      <a:pt x="62" y="178"/>
                    </a:lnTo>
                    <a:lnTo>
                      <a:pt x="62" y="178"/>
                    </a:lnTo>
                    <a:lnTo>
                      <a:pt x="64" y="178"/>
                    </a:lnTo>
                    <a:lnTo>
                      <a:pt x="66" y="180"/>
                    </a:lnTo>
                    <a:lnTo>
                      <a:pt x="71" y="180"/>
                    </a:lnTo>
                    <a:lnTo>
                      <a:pt x="71" y="180"/>
                    </a:lnTo>
                    <a:lnTo>
                      <a:pt x="73" y="178"/>
                    </a:lnTo>
                    <a:lnTo>
                      <a:pt x="76" y="178"/>
                    </a:lnTo>
                    <a:lnTo>
                      <a:pt x="80" y="178"/>
                    </a:lnTo>
                    <a:lnTo>
                      <a:pt x="80" y="175"/>
                    </a:lnTo>
                    <a:lnTo>
                      <a:pt x="83" y="175"/>
                    </a:lnTo>
                    <a:lnTo>
                      <a:pt x="85" y="173"/>
                    </a:lnTo>
                    <a:lnTo>
                      <a:pt x="83" y="175"/>
                    </a:lnTo>
                    <a:lnTo>
                      <a:pt x="80" y="178"/>
                    </a:lnTo>
                    <a:lnTo>
                      <a:pt x="78" y="180"/>
                    </a:lnTo>
                    <a:lnTo>
                      <a:pt x="78" y="180"/>
                    </a:lnTo>
                    <a:lnTo>
                      <a:pt x="73" y="185"/>
                    </a:lnTo>
                    <a:lnTo>
                      <a:pt x="73" y="185"/>
                    </a:lnTo>
                    <a:lnTo>
                      <a:pt x="71" y="185"/>
                    </a:lnTo>
                    <a:lnTo>
                      <a:pt x="69" y="185"/>
                    </a:lnTo>
                    <a:lnTo>
                      <a:pt x="66" y="185"/>
                    </a:lnTo>
                    <a:lnTo>
                      <a:pt x="62" y="185"/>
                    </a:lnTo>
                    <a:lnTo>
                      <a:pt x="57" y="185"/>
                    </a:lnTo>
                    <a:lnTo>
                      <a:pt x="57" y="185"/>
                    </a:lnTo>
                    <a:lnTo>
                      <a:pt x="54" y="187"/>
                    </a:lnTo>
                    <a:lnTo>
                      <a:pt x="50" y="189"/>
                    </a:lnTo>
                    <a:lnTo>
                      <a:pt x="50" y="192"/>
                    </a:lnTo>
                    <a:lnTo>
                      <a:pt x="50" y="192"/>
                    </a:lnTo>
                    <a:lnTo>
                      <a:pt x="50" y="194"/>
                    </a:lnTo>
                    <a:lnTo>
                      <a:pt x="45" y="197"/>
                    </a:lnTo>
                    <a:lnTo>
                      <a:pt x="43" y="199"/>
                    </a:lnTo>
                    <a:lnTo>
                      <a:pt x="43" y="199"/>
                    </a:lnTo>
                    <a:lnTo>
                      <a:pt x="43" y="199"/>
                    </a:lnTo>
                    <a:lnTo>
                      <a:pt x="40" y="199"/>
                    </a:lnTo>
                    <a:lnTo>
                      <a:pt x="38" y="201"/>
                    </a:lnTo>
                    <a:lnTo>
                      <a:pt x="35" y="204"/>
                    </a:lnTo>
                    <a:lnTo>
                      <a:pt x="31" y="206"/>
                    </a:lnTo>
                    <a:lnTo>
                      <a:pt x="31" y="206"/>
                    </a:lnTo>
                    <a:lnTo>
                      <a:pt x="31" y="208"/>
                    </a:lnTo>
                    <a:lnTo>
                      <a:pt x="31" y="208"/>
                    </a:lnTo>
                    <a:lnTo>
                      <a:pt x="31" y="208"/>
                    </a:lnTo>
                    <a:lnTo>
                      <a:pt x="33" y="206"/>
                    </a:lnTo>
                    <a:lnTo>
                      <a:pt x="35" y="208"/>
                    </a:lnTo>
                    <a:lnTo>
                      <a:pt x="38" y="208"/>
                    </a:lnTo>
                    <a:lnTo>
                      <a:pt x="38" y="208"/>
                    </a:lnTo>
                    <a:lnTo>
                      <a:pt x="40" y="206"/>
                    </a:lnTo>
                    <a:lnTo>
                      <a:pt x="40" y="206"/>
                    </a:lnTo>
                    <a:lnTo>
                      <a:pt x="45" y="204"/>
                    </a:lnTo>
                    <a:lnTo>
                      <a:pt x="45" y="204"/>
                    </a:lnTo>
                    <a:lnTo>
                      <a:pt x="50" y="201"/>
                    </a:lnTo>
                    <a:lnTo>
                      <a:pt x="52" y="201"/>
                    </a:lnTo>
                    <a:lnTo>
                      <a:pt x="52" y="201"/>
                    </a:lnTo>
                    <a:lnTo>
                      <a:pt x="54" y="201"/>
                    </a:lnTo>
                    <a:lnTo>
                      <a:pt x="54" y="201"/>
                    </a:lnTo>
                    <a:lnTo>
                      <a:pt x="54" y="201"/>
                    </a:lnTo>
                    <a:lnTo>
                      <a:pt x="57" y="201"/>
                    </a:lnTo>
                    <a:lnTo>
                      <a:pt x="59" y="204"/>
                    </a:lnTo>
                    <a:lnTo>
                      <a:pt x="62" y="204"/>
                    </a:lnTo>
                    <a:lnTo>
                      <a:pt x="62" y="204"/>
                    </a:lnTo>
                    <a:lnTo>
                      <a:pt x="64" y="204"/>
                    </a:lnTo>
                    <a:lnTo>
                      <a:pt x="66" y="201"/>
                    </a:lnTo>
                    <a:lnTo>
                      <a:pt x="66" y="199"/>
                    </a:lnTo>
                    <a:lnTo>
                      <a:pt x="69" y="197"/>
                    </a:lnTo>
                    <a:lnTo>
                      <a:pt x="73" y="194"/>
                    </a:lnTo>
                    <a:lnTo>
                      <a:pt x="76" y="194"/>
                    </a:lnTo>
                    <a:lnTo>
                      <a:pt x="78" y="194"/>
                    </a:lnTo>
                    <a:lnTo>
                      <a:pt x="80" y="197"/>
                    </a:lnTo>
                    <a:lnTo>
                      <a:pt x="80" y="197"/>
                    </a:lnTo>
                    <a:lnTo>
                      <a:pt x="83" y="197"/>
                    </a:lnTo>
                    <a:lnTo>
                      <a:pt x="83" y="197"/>
                    </a:lnTo>
                    <a:lnTo>
                      <a:pt x="85" y="197"/>
                    </a:lnTo>
                    <a:lnTo>
                      <a:pt x="90" y="197"/>
                    </a:lnTo>
                    <a:lnTo>
                      <a:pt x="90" y="197"/>
                    </a:lnTo>
                    <a:lnTo>
                      <a:pt x="90" y="197"/>
                    </a:lnTo>
                    <a:lnTo>
                      <a:pt x="90" y="197"/>
                    </a:lnTo>
                    <a:lnTo>
                      <a:pt x="90" y="194"/>
                    </a:lnTo>
                    <a:lnTo>
                      <a:pt x="92" y="194"/>
                    </a:lnTo>
                    <a:lnTo>
                      <a:pt x="95" y="194"/>
                    </a:lnTo>
                    <a:lnTo>
                      <a:pt x="97" y="194"/>
                    </a:lnTo>
                    <a:lnTo>
                      <a:pt x="97" y="194"/>
                    </a:lnTo>
                    <a:lnTo>
                      <a:pt x="102" y="192"/>
                    </a:lnTo>
                    <a:lnTo>
                      <a:pt x="99" y="192"/>
                    </a:lnTo>
                    <a:lnTo>
                      <a:pt x="102" y="192"/>
                    </a:lnTo>
                    <a:lnTo>
                      <a:pt x="104" y="192"/>
                    </a:lnTo>
                    <a:lnTo>
                      <a:pt x="106" y="192"/>
                    </a:lnTo>
                    <a:lnTo>
                      <a:pt x="109" y="194"/>
                    </a:lnTo>
                    <a:lnTo>
                      <a:pt x="109" y="194"/>
                    </a:lnTo>
                    <a:lnTo>
                      <a:pt x="116" y="192"/>
                    </a:lnTo>
                    <a:lnTo>
                      <a:pt x="118" y="192"/>
                    </a:lnTo>
                    <a:lnTo>
                      <a:pt x="125" y="194"/>
                    </a:lnTo>
                    <a:lnTo>
                      <a:pt x="128" y="194"/>
                    </a:lnTo>
                    <a:lnTo>
                      <a:pt x="130" y="192"/>
                    </a:lnTo>
                    <a:lnTo>
                      <a:pt x="130" y="192"/>
                    </a:lnTo>
                    <a:lnTo>
                      <a:pt x="135" y="192"/>
                    </a:lnTo>
                    <a:lnTo>
                      <a:pt x="135" y="189"/>
                    </a:lnTo>
                    <a:lnTo>
                      <a:pt x="137" y="189"/>
                    </a:lnTo>
                    <a:lnTo>
                      <a:pt x="140" y="189"/>
                    </a:lnTo>
                    <a:lnTo>
                      <a:pt x="140" y="187"/>
                    </a:lnTo>
                    <a:lnTo>
                      <a:pt x="144" y="185"/>
                    </a:lnTo>
                    <a:lnTo>
                      <a:pt x="147" y="185"/>
                    </a:lnTo>
                    <a:lnTo>
                      <a:pt x="147" y="182"/>
                    </a:lnTo>
                    <a:lnTo>
                      <a:pt x="147" y="182"/>
                    </a:lnTo>
                    <a:lnTo>
                      <a:pt x="144" y="180"/>
                    </a:lnTo>
                    <a:lnTo>
                      <a:pt x="144" y="180"/>
                    </a:lnTo>
                    <a:lnTo>
                      <a:pt x="140" y="182"/>
                    </a:lnTo>
                    <a:lnTo>
                      <a:pt x="137" y="182"/>
                    </a:lnTo>
                    <a:lnTo>
                      <a:pt x="135" y="180"/>
                    </a:lnTo>
                    <a:lnTo>
                      <a:pt x="135" y="180"/>
                    </a:lnTo>
                    <a:lnTo>
                      <a:pt x="132" y="180"/>
                    </a:lnTo>
                    <a:lnTo>
                      <a:pt x="132" y="180"/>
                    </a:lnTo>
                    <a:lnTo>
                      <a:pt x="130" y="180"/>
                    </a:lnTo>
                    <a:lnTo>
                      <a:pt x="132" y="178"/>
                    </a:lnTo>
                    <a:lnTo>
                      <a:pt x="132" y="178"/>
                    </a:lnTo>
                    <a:lnTo>
                      <a:pt x="135" y="178"/>
                    </a:lnTo>
                    <a:lnTo>
                      <a:pt x="137" y="178"/>
                    </a:lnTo>
                    <a:lnTo>
                      <a:pt x="137" y="178"/>
                    </a:lnTo>
                    <a:lnTo>
                      <a:pt x="140" y="175"/>
                    </a:lnTo>
                    <a:lnTo>
                      <a:pt x="137" y="175"/>
                    </a:lnTo>
                    <a:lnTo>
                      <a:pt x="135" y="173"/>
                    </a:lnTo>
                    <a:lnTo>
                      <a:pt x="140" y="173"/>
                    </a:lnTo>
                    <a:lnTo>
                      <a:pt x="142" y="173"/>
                    </a:lnTo>
                    <a:lnTo>
                      <a:pt x="142" y="173"/>
                    </a:lnTo>
                    <a:lnTo>
                      <a:pt x="144" y="170"/>
                    </a:lnTo>
                    <a:lnTo>
                      <a:pt x="144" y="170"/>
                    </a:lnTo>
                    <a:lnTo>
                      <a:pt x="144" y="170"/>
                    </a:lnTo>
                    <a:lnTo>
                      <a:pt x="144" y="168"/>
                    </a:lnTo>
                    <a:lnTo>
                      <a:pt x="144" y="168"/>
                    </a:lnTo>
                    <a:lnTo>
                      <a:pt x="144" y="168"/>
                    </a:lnTo>
                    <a:lnTo>
                      <a:pt x="147" y="168"/>
                    </a:lnTo>
                    <a:lnTo>
                      <a:pt x="149" y="166"/>
                    </a:lnTo>
                    <a:lnTo>
                      <a:pt x="149" y="166"/>
                    </a:lnTo>
                    <a:lnTo>
                      <a:pt x="149" y="166"/>
                    </a:lnTo>
                    <a:lnTo>
                      <a:pt x="151" y="163"/>
                    </a:lnTo>
                    <a:lnTo>
                      <a:pt x="151" y="161"/>
                    </a:lnTo>
                    <a:lnTo>
                      <a:pt x="154" y="159"/>
                    </a:lnTo>
                    <a:lnTo>
                      <a:pt x="154" y="156"/>
                    </a:lnTo>
                    <a:lnTo>
                      <a:pt x="151" y="154"/>
                    </a:lnTo>
                    <a:close/>
                    <a:moveTo>
                      <a:pt x="90" y="33"/>
                    </a:moveTo>
                    <a:lnTo>
                      <a:pt x="90" y="33"/>
                    </a:lnTo>
                    <a:lnTo>
                      <a:pt x="90" y="33"/>
                    </a:lnTo>
                    <a:lnTo>
                      <a:pt x="90" y="33"/>
                    </a:lnTo>
                    <a:lnTo>
                      <a:pt x="90" y="33"/>
                    </a:lnTo>
                    <a:lnTo>
                      <a:pt x="90" y="33"/>
                    </a:lnTo>
                    <a:lnTo>
                      <a:pt x="88" y="33"/>
                    </a:lnTo>
                    <a:lnTo>
                      <a:pt x="90" y="33"/>
                    </a:lnTo>
                    <a:close/>
                    <a:moveTo>
                      <a:pt x="85" y="33"/>
                    </a:moveTo>
                    <a:lnTo>
                      <a:pt x="85" y="33"/>
                    </a:lnTo>
                    <a:lnTo>
                      <a:pt x="85" y="33"/>
                    </a:lnTo>
                    <a:lnTo>
                      <a:pt x="88" y="33"/>
                    </a:lnTo>
                    <a:lnTo>
                      <a:pt x="85" y="33"/>
                    </a:lnTo>
                    <a:lnTo>
                      <a:pt x="85" y="33"/>
                    </a:lnTo>
                    <a:lnTo>
                      <a:pt x="85" y="31"/>
                    </a:lnTo>
                    <a:lnTo>
                      <a:pt x="85" y="31"/>
                    </a:lnTo>
                    <a:lnTo>
                      <a:pt x="83" y="31"/>
                    </a:lnTo>
                    <a:lnTo>
                      <a:pt x="83" y="31"/>
                    </a:lnTo>
                    <a:lnTo>
                      <a:pt x="83" y="31"/>
                    </a:lnTo>
                    <a:lnTo>
                      <a:pt x="83" y="33"/>
                    </a:lnTo>
                    <a:lnTo>
                      <a:pt x="85" y="33"/>
                    </a:lnTo>
                    <a:close/>
                    <a:moveTo>
                      <a:pt x="85" y="31"/>
                    </a:moveTo>
                    <a:lnTo>
                      <a:pt x="85" y="31"/>
                    </a:lnTo>
                    <a:lnTo>
                      <a:pt x="85" y="28"/>
                    </a:lnTo>
                    <a:lnTo>
                      <a:pt x="85" y="28"/>
                    </a:lnTo>
                    <a:lnTo>
                      <a:pt x="85" y="31"/>
                    </a:lnTo>
                    <a:lnTo>
                      <a:pt x="85" y="31"/>
                    </a:lnTo>
                    <a:lnTo>
                      <a:pt x="85" y="31"/>
                    </a:lnTo>
                    <a:lnTo>
                      <a:pt x="88" y="31"/>
                    </a:lnTo>
                    <a:lnTo>
                      <a:pt x="90" y="31"/>
                    </a:lnTo>
                    <a:lnTo>
                      <a:pt x="90" y="31"/>
                    </a:lnTo>
                    <a:lnTo>
                      <a:pt x="92" y="31"/>
                    </a:lnTo>
                    <a:lnTo>
                      <a:pt x="92" y="31"/>
                    </a:lnTo>
                    <a:lnTo>
                      <a:pt x="92" y="31"/>
                    </a:lnTo>
                    <a:lnTo>
                      <a:pt x="92" y="28"/>
                    </a:lnTo>
                    <a:lnTo>
                      <a:pt x="90" y="28"/>
                    </a:lnTo>
                    <a:lnTo>
                      <a:pt x="90" y="28"/>
                    </a:lnTo>
                    <a:lnTo>
                      <a:pt x="88" y="28"/>
                    </a:lnTo>
                    <a:lnTo>
                      <a:pt x="88" y="28"/>
                    </a:lnTo>
                    <a:lnTo>
                      <a:pt x="90" y="28"/>
                    </a:lnTo>
                    <a:lnTo>
                      <a:pt x="90" y="28"/>
                    </a:lnTo>
                    <a:lnTo>
                      <a:pt x="88" y="26"/>
                    </a:lnTo>
                    <a:lnTo>
                      <a:pt x="88" y="26"/>
                    </a:lnTo>
                    <a:lnTo>
                      <a:pt x="85" y="26"/>
                    </a:lnTo>
                    <a:lnTo>
                      <a:pt x="85" y="26"/>
                    </a:lnTo>
                    <a:lnTo>
                      <a:pt x="85" y="28"/>
                    </a:lnTo>
                    <a:lnTo>
                      <a:pt x="83" y="28"/>
                    </a:lnTo>
                    <a:lnTo>
                      <a:pt x="83" y="28"/>
                    </a:lnTo>
                    <a:lnTo>
                      <a:pt x="85" y="31"/>
                    </a:lnTo>
                    <a:close/>
                    <a:moveTo>
                      <a:pt x="99" y="24"/>
                    </a:moveTo>
                    <a:lnTo>
                      <a:pt x="99" y="24"/>
                    </a:lnTo>
                    <a:lnTo>
                      <a:pt x="97" y="24"/>
                    </a:lnTo>
                    <a:lnTo>
                      <a:pt x="95" y="24"/>
                    </a:lnTo>
                    <a:lnTo>
                      <a:pt x="95" y="24"/>
                    </a:lnTo>
                    <a:lnTo>
                      <a:pt x="97" y="24"/>
                    </a:lnTo>
                    <a:lnTo>
                      <a:pt x="99" y="24"/>
                    </a:lnTo>
                    <a:close/>
                    <a:moveTo>
                      <a:pt x="90" y="24"/>
                    </a:moveTo>
                    <a:lnTo>
                      <a:pt x="92" y="24"/>
                    </a:lnTo>
                    <a:lnTo>
                      <a:pt x="92" y="26"/>
                    </a:lnTo>
                    <a:lnTo>
                      <a:pt x="92" y="26"/>
                    </a:lnTo>
                    <a:lnTo>
                      <a:pt x="95" y="26"/>
                    </a:lnTo>
                    <a:lnTo>
                      <a:pt x="95" y="24"/>
                    </a:lnTo>
                    <a:lnTo>
                      <a:pt x="95" y="24"/>
                    </a:lnTo>
                    <a:lnTo>
                      <a:pt x="92" y="24"/>
                    </a:lnTo>
                    <a:lnTo>
                      <a:pt x="92" y="24"/>
                    </a:lnTo>
                    <a:lnTo>
                      <a:pt x="90" y="21"/>
                    </a:lnTo>
                    <a:lnTo>
                      <a:pt x="90" y="24"/>
                    </a:lnTo>
                    <a:lnTo>
                      <a:pt x="90" y="24"/>
                    </a:lnTo>
                    <a:lnTo>
                      <a:pt x="90" y="24"/>
                    </a:lnTo>
                    <a:lnTo>
                      <a:pt x="90" y="24"/>
                    </a:lnTo>
                    <a:close/>
                    <a:moveTo>
                      <a:pt x="114" y="0"/>
                    </a:moveTo>
                    <a:lnTo>
                      <a:pt x="114" y="0"/>
                    </a:lnTo>
                    <a:lnTo>
                      <a:pt x="116" y="0"/>
                    </a:lnTo>
                    <a:lnTo>
                      <a:pt x="116" y="2"/>
                    </a:lnTo>
                    <a:lnTo>
                      <a:pt x="114" y="5"/>
                    </a:lnTo>
                    <a:lnTo>
                      <a:pt x="114" y="5"/>
                    </a:lnTo>
                    <a:lnTo>
                      <a:pt x="111" y="5"/>
                    </a:lnTo>
                    <a:lnTo>
                      <a:pt x="111" y="5"/>
                    </a:lnTo>
                    <a:lnTo>
                      <a:pt x="111" y="5"/>
                    </a:lnTo>
                    <a:lnTo>
                      <a:pt x="111" y="5"/>
                    </a:lnTo>
                    <a:lnTo>
                      <a:pt x="114" y="5"/>
                    </a:lnTo>
                    <a:lnTo>
                      <a:pt x="114" y="5"/>
                    </a:lnTo>
                    <a:lnTo>
                      <a:pt x="114" y="7"/>
                    </a:lnTo>
                    <a:lnTo>
                      <a:pt x="114" y="7"/>
                    </a:lnTo>
                    <a:lnTo>
                      <a:pt x="116" y="7"/>
                    </a:lnTo>
                    <a:lnTo>
                      <a:pt x="116" y="7"/>
                    </a:lnTo>
                    <a:lnTo>
                      <a:pt x="116" y="7"/>
                    </a:lnTo>
                    <a:lnTo>
                      <a:pt x="116" y="7"/>
                    </a:lnTo>
                    <a:lnTo>
                      <a:pt x="116" y="9"/>
                    </a:lnTo>
                    <a:lnTo>
                      <a:pt x="116" y="12"/>
                    </a:lnTo>
                    <a:lnTo>
                      <a:pt x="116" y="12"/>
                    </a:lnTo>
                    <a:lnTo>
                      <a:pt x="116" y="12"/>
                    </a:lnTo>
                    <a:lnTo>
                      <a:pt x="118" y="9"/>
                    </a:lnTo>
                    <a:lnTo>
                      <a:pt x="118" y="9"/>
                    </a:lnTo>
                    <a:lnTo>
                      <a:pt x="118" y="7"/>
                    </a:lnTo>
                    <a:lnTo>
                      <a:pt x="118" y="7"/>
                    </a:lnTo>
                    <a:lnTo>
                      <a:pt x="118" y="7"/>
                    </a:lnTo>
                    <a:lnTo>
                      <a:pt x="118" y="5"/>
                    </a:lnTo>
                    <a:lnTo>
                      <a:pt x="121" y="2"/>
                    </a:lnTo>
                    <a:lnTo>
                      <a:pt x="121" y="0"/>
                    </a:lnTo>
                    <a:lnTo>
                      <a:pt x="121" y="2"/>
                    </a:lnTo>
                    <a:lnTo>
                      <a:pt x="118" y="2"/>
                    </a:lnTo>
                    <a:lnTo>
                      <a:pt x="118" y="0"/>
                    </a:lnTo>
                    <a:lnTo>
                      <a:pt x="118" y="0"/>
                    </a:lnTo>
                    <a:lnTo>
                      <a:pt x="114" y="0"/>
                    </a:lnTo>
                    <a:close/>
                  </a:path>
                </a:pathLst>
              </a:custGeom>
              <a:solidFill>
                <a:srgbClr val="8787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 name="Freeform 16"/>
              <p:cNvSpPr>
                <a:spLocks noEditPoints="1"/>
              </p:cNvSpPr>
              <p:nvPr/>
            </p:nvSpPr>
            <p:spPr bwMode="auto">
              <a:xfrm>
                <a:off x="2654" y="1538"/>
                <a:ext cx="154" cy="208"/>
              </a:xfrm>
              <a:custGeom>
                <a:avLst/>
                <a:gdLst>
                  <a:gd name="T0" fmla="*/ 59 w 154"/>
                  <a:gd name="T1" fmla="*/ 144 h 208"/>
                  <a:gd name="T2" fmla="*/ 35 w 154"/>
                  <a:gd name="T3" fmla="*/ 125 h 208"/>
                  <a:gd name="T4" fmla="*/ 43 w 154"/>
                  <a:gd name="T5" fmla="*/ 116 h 208"/>
                  <a:gd name="T6" fmla="*/ 28 w 154"/>
                  <a:gd name="T7" fmla="*/ 104 h 208"/>
                  <a:gd name="T8" fmla="*/ 9 w 154"/>
                  <a:gd name="T9" fmla="*/ 114 h 208"/>
                  <a:gd name="T10" fmla="*/ 0 w 154"/>
                  <a:gd name="T11" fmla="*/ 118 h 208"/>
                  <a:gd name="T12" fmla="*/ 14 w 154"/>
                  <a:gd name="T13" fmla="*/ 123 h 208"/>
                  <a:gd name="T14" fmla="*/ 26 w 154"/>
                  <a:gd name="T15" fmla="*/ 128 h 208"/>
                  <a:gd name="T16" fmla="*/ 47 w 154"/>
                  <a:gd name="T17" fmla="*/ 95 h 208"/>
                  <a:gd name="T18" fmla="*/ 31 w 154"/>
                  <a:gd name="T19" fmla="*/ 90 h 208"/>
                  <a:gd name="T20" fmla="*/ 31 w 154"/>
                  <a:gd name="T21" fmla="*/ 97 h 208"/>
                  <a:gd name="T22" fmla="*/ 35 w 154"/>
                  <a:gd name="T23" fmla="*/ 90 h 208"/>
                  <a:gd name="T24" fmla="*/ 33 w 154"/>
                  <a:gd name="T25" fmla="*/ 83 h 208"/>
                  <a:gd name="T26" fmla="*/ 17 w 154"/>
                  <a:gd name="T27" fmla="*/ 69 h 208"/>
                  <a:gd name="T28" fmla="*/ 33 w 154"/>
                  <a:gd name="T29" fmla="*/ 69 h 208"/>
                  <a:gd name="T30" fmla="*/ 40 w 154"/>
                  <a:gd name="T31" fmla="*/ 69 h 208"/>
                  <a:gd name="T32" fmla="*/ 38 w 154"/>
                  <a:gd name="T33" fmla="*/ 59 h 208"/>
                  <a:gd name="T34" fmla="*/ 28 w 154"/>
                  <a:gd name="T35" fmla="*/ 59 h 208"/>
                  <a:gd name="T36" fmla="*/ 19 w 154"/>
                  <a:gd name="T37" fmla="*/ 57 h 208"/>
                  <a:gd name="T38" fmla="*/ 28 w 154"/>
                  <a:gd name="T39" fmla="*/ 52 h 208"/>
                  <a:gd name="T40" fmla="*/ 38 w 154"/>
                  <a:gd name="T41" fmla="*/ 40 h 208"/>
                  <a:gd name="T42" fmla="*/ 26 w 154"/>
                  <a:gd name="T43" fmla="*/ 47 h 208"/>
                  <a:gd name="T44" fmla="*/ 147 w 154"/>
                  <a:gd name="T45" fmla="*/ 149 h 208"/>
                  <a:gd name="T46" fmla="*/ 132 w 154"/>
                  <a:gd name="T47" fmla="*/ 144 h 208"/>
                  <a:gd name="T48" fmla="*/ 128 w 154"/>
                  <a:gd name="T49" fmla="*/ 133 h 208"/>
                  <a:gd name="T50" fmla="*/ 104 w 154"/>
                  <a:gd name="T51" fmla="*/ 102 h 208"/>
                  <a:gd name="T52" fmla="*/ 76 w 154"/>
                  <a:gd name="T53" fmla="*/ 88 h 208"/>
                  <a:gd name="T54" fmla="*/ 88 w 154"/>
                  <a:gd name="T55" fmla="*/ 78 h 208"/>
                  <a:gd name="T56" fmla="*/ 102 w 154"/>
                  <a:gd name="T57" fmla="*/ 54 h 208"/>
                  <a:gd name="T58" fmla="*/ 73 w 154"/>
                  <a:gd name="T59" fmla="*/ 52 h 208"/>
                  <a:gd name="T60" fmla="*/ 85 w 154"/>
                  <a:gd name="T61" fmla="*/ 35 h 208"/>
                  <a:gd name="T62" fmla="*/ 57 w 154"/>
                  <a:gd name="T63" fmla="*/ 38 h 208"/>
                  <a:gd name="T64" fmla="*/ 54 w 154"/>
                  <a:gd name="T65" fmla="*/ 50 h 208"/>
                  <a:gd name="T66" fmla="*/ 43 w 154"/>
                  <a:gd name="T67" fmla="*/ 59 h 208"/>
                  <a:gd name="T68" fmla="*/ 38 w 154"/>
                  <a:gd name="T69" fmla="*/ 73 h 208"/>
                  <a:gd name="T70" fmla="*/ 45 w 154"/>
                  <a:gd name="T71" fmla="*/ 83 h 208"/>
                  <a:gd name="T72" fmla="*/ 40 w 154"/>
                  <a:gd name="T73" fmla="*/ 102 h 208"/>
                  <a:gd name="T74" fmla="*/ 50 w 154"/>
                  <a:gd name="T75" fmla="*/ 88 h 208"/>
                  <a:gd name="T76" fmla="*/ 57 w 154"/>
                  <a:gd name="T77" fmla="*/ 90 h 208"/>
                  <a:gd name="T78" fmla="*/ 47 w 154"/>
                  <a:gd name="T79" fmla="*/ 109 h 208"/>
                  <a:gd name="T80" fmla="*/ 64 w 154"/>
                  <a:gd name="T81" fmla="*/ 114 h 208"/>
                  <a:gd name="T82" fmla="*/ 71 w 154"/>
                  <a:gd name="T83" fmla="*/ 118 h 208"/>
                  <a:gd name="T84" fmla="*/ 80 w 154"/>
                  <a:gd name="T85" fmla="*/ 133 h 208"/>
                  <a:gd name="T86" fmla="*/ 71 w 154"/>
                  <a:gd name="T87" fmla="*/ 142 h 208"/>
                  <a:gd name="T88" fmla="*/ 54 w 154"/>
                  <a:gd name="T89" fmla="*/ 152 h 208"/>
                  <a:gd name="T90" fmla="*/ 57 w 154"/>
                  <a:gd name="T91" fmla="*/ 163 h 208"/>
                  <a:gd name="T92" fmla="*/ 54 w 154"/>
                  <a:gd name="T93" fmla="*/ 173 h 208"/>
                  <a:gd name="T94" fmla="*/ 76 w 154"/>
                  <a:gd name="T95" fmla="*/ 178 h 208"/>
                  <a:gd name="T96" fmla="*/ 57 w 154"/>
                  <a:gd name="T97" fmla="*/ 185 h 208"/>
                  <a:gd name="T98" fmla="*/ 31 w 154"/>
                  <a:gd name="T99" fmla="*/ 206 h 208"/>
                  <a:gd name="T100" fmla="*/ 54 w 154"/>
                  <a:gd name="T101" fmla="*/ 201 h 208"/>
                  <a:gd name="T102" fmla="*/ 80 w 154"/>
                  <a:gd name="T103" fmla="*/ 197 h 208"/>
                  <a:gd name="T104" fmla="*/ 102 w 154"/>
                  <a:gd name="T105" fmla="*/ 192 h 208"/>
                  <a:gd name="T106" fmla="*/ 140 w 154"/>
                  <a:gd name="T107" fmla="*/ 187 h 208"/>
                  <a:gd name="T108" fmla="*/ 132 w 154"/>
                  <a:gd name="T109" fmla="*/ 178 h 208"/>
                  <a:gd name="T110" fmla="*/ 144 w 154"/>
                  <a:gd name="T111" fmla="*/ 168 h 208"/>
                  <a:gd name="T112" fmla="*/ 90 w 154"/>
                  <a:gd name="T113" fmla="*/ 33 h 208"/>
                  <a:gd name="T114" fmla="*/ 85 w 154"/>
                  <a:gd name="T115" fmla="*/ 33 h 208"/>
                  <a:gd name="T116" fmla="*/ 90 w 154"/>
                  <a:gd name="T117" fmla="*/ 28 h 208"/>
                  <a:gd name="T118" fmla="*/ 99 w 154"/>
                  <a:gd name="T119" fmla="*/ 24 h 208"/>
                  <a:gd name="T120" fmla="*/ 90 w 154"/>
                  <a:gd name="T121" fmla="*/ 21 h 208"/>
                  <a:gd name="T122" fmla="*/ 114 w 154"/>
                  <a:gd name="T123" fmla="*/ 5 h 208"/>
                  <a:gd name="T124" fmla="*/ 118 w 154"/>
                  <a:gd name="T125" fmla="*/ 7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4" h="208">
                    <a:moveTo>
                      <a:pt x="102" y="194"/>
                    </a:moveTo>
                    <a:lnTo>
                      <a:pt x="99" y="194"/>
                    </a:lnTo>
                    <a:lnTo>
                      <a:pt x="97" y="194"/>
                    </a:lnTo>
                    <a:lnTo>
                      <a:pt x="97" y="197"/>
                    </a:lnTo>
                    <a:lnTo>
                      <a:pt x="97" y="197"/>
                    </a:lnTo>
                    <a:lnTo>
                      <a:pt x="102" y="197"/>
                    </a:lnTo>
                    <a:lnTo>
                      <a:pt x="102" y="197"/>
                    </a:lnTo>
                    <a:lnTo>
                      <a:pt x="104" y="197"/>
                    </a:lnTo>
                    <a:lnTo>
                      <a:pt x="104" y="197"/>
                    </a:lnTo>
                    <a:lnTo>
                      <a:pt x="104" y="197"/>
                    </a:lnTo>
                    <a:lnTo>
                      <a:pt x="106" y="194"/>
                    </a:lnTo>
                    <a:lnTo>
                      <a:pt x="104" y="194"/>
                    </a:lnTo>
                    <a:lnTo>
                      <a:pt x="102" y="194"/>
                    </a:lnTo>
                    <a:moveTo>
                      <a:pt x="57" y="144"/>
                    </a:moveTo>
                    <a:lnTo>
                      <a:pt x="59" y="144"/>
                    </a:lnTo>
                    <a:lnTo>
                      <a:pt x="59" y="144"/>
                    </a:lnTo>
                    <a:lnTo>
                      <a:pt x="62" y="142"/>
                    </a:lnTo>
                    <a:lnTo>
                      <a:pt x="62" y="142"/>
                    </a:lnTo>
                    <a:lnTo>
                      <a:pt x="59" y="142"/>
                    </a:lnTo>
                    <a:lnTo>
                      <a:pt x="59" y="142"/>
                    </a:lnTo>
                    <a:lnTo>
                      <a:pt x="59" y="140"/>
                    </a:lnTo>
                    <a:lnTo>
                      <a:pt x="57" y="140"/>
                    </a:lnTo>
                    <a:lnTo>
                      <a:pt x="54" y="140"/>
                    </a:lnTo>
                    <a:lnTo>
                      <a:pt x="54" y="142"/>
                    </a:lnTo>
                    <a:lnTo>
                      <a:pt x="54" y="144"/>
                    </a:lnTo>
                    <a:lnTo>
                      <a:pt x="57" y="144"/>
                    </a:lnTo>
                    <a:lnTo>
                      <a:pt x="57" y="144"/>
                    </a:lnTo>
                    <a:moveTo>
                      <a:pt x="33" y="128"/>
                    </a:moveTo>
                    <a:lnTo>
                      <a:pt x="33" y="125"/>
                    </a:lnTo>
                    <a:lnTo>
                      <a:pt x="35" y="125"/>
                    </a:lnTo>
                    <a:lnTo>
                      <a:pt x="35" y="123"/>
                    </a:lnTo>
                    <a:lnTo>
                      <a:pt x="35" y="123"/>
                    </a:lnTo>
                    <a:lnTo>
                      <a:pt x="38" y="123"/>
                    </a:lnTo>
                    <a:lnTo>
                      <a:pt x="40" y="123"/>
                    </a:lnTo>
                    <a:lnTo>
                      <a:pt x="40" y="121"/>
                    </a:lnTo>
                    <a:lnTo>
                      <a:pt x="40" y="121"/>
                    </a:lnTo>
                    <a:lnTo>
                      <a:pt x="38" y="121"/>
                    </a:lnTo>
                    <a:lnTo>
                      <a:pt x="40" y="118"/>
                    </a:lnTo>
                    <a:lnTo>
                      <a:pt x="38" y="116"/>
                    </a:lnTo>
                    <a:lnTo>
                      <a:pt x="40" y="118"/>
                    </a:lnTo>
                    <a:lnTo>
                      <a:pt x="40" y="118"/>
                    </a:lnTo>
                    <a:lnTo>
                      <a:pt x="40" y="118"/>
                    </a:lnTo>
                    <a:lnTo>
                      <a:pt x="43" y="118"/>
                    </a:lnTo>
                    <a:lnTo>
                      <a:pt x="43" y="118"/>
                    </a:lnTo>
                    <a:lnTo>
                      <a:pt x="43" y="116"/>
                    </a:lnTo>
                    <a:lnTo>
                      <a:pt x="40" y="116"/>
                    </a:lnTo>
                    <a:lnTo>
                      <a:pt x="40" y="114"/>
                    </a:lnTo>
                    <a:lnTo>
                      <a:pt x="38" y="114"/>
                    </a:lnTo>
                    <a:lnTo>
                      <a:pt x="38" y="114"/>
                    </a:lnTo>
                    <a:lnTo>
                      <a:pt x="35" y="116"/>
                    </a:lnTo>
                    <a:lnTo>
                      <a:pt x="35" y="114"/>
                    </a:lnTo>
                    <a:lnTo>
                      <a:pt x="38" y="114"/>
                    </a:lnTo>
                    <a:lnTo>
                      <a:pt x="38" y="114"/>
                    </a:lnTo>
                    <a:lnTo>
                      <a:pt x="38" y="111"/>
                    </a:lnTo>
                    <a:lnTo>
                      <a:pt x="38" y="109"/>
                    </a:lnTo>
                    <a:lnTo>
                      <a:pt x="35" y="107"/>
                    </a:lnTo>
                    <a:lnTo>
                      <a:pt x="35" y="104"/>
                    </a:lnTo>
                    <a:lnTo>
                      <a:pt x="33" y="104"/>
                    </a:lnTo>
                    <a:lnTo>
                      <a:pt x="31" y="104"/>
                    </a:lnTo>
                    <a:lnTo>
                      <a:pt x="28" y="104"/>
                    </a:lnTo>
                    <a:lnTo>
                      <a:pt x="28" y="104"/>
                    </a:lnTo>
                    <a:lnTo>
                      <a:pt x="24" y="104"/>
                    </a:lnTo>
                    <a:lnTo>
                      <a:pt x="21" y="104"/>
                    </a:lnTo>
                    <a:lnTo>
                      <a:pt x="21" y="104"/>
                    </a:lnTo>
                    <a:lnTo>
                      <a:pt x="21" y="104"/>
                    </a:lnTo>
                    <a:lnTo>
                      <a:pt x="19" y="107"/>
                    </a:lnTo>
                    <a:lnTo>
                      <a:pt x="19" y="107"/>
                    </a:lnTo>
                    <a:lnTo>
                      <a:pt x="17" y="107"/>
                    </a:lnTo>
                    <a:lnTo>
                      <a:pt x="17" y="107"/>
                    </a:lnTo>
                    <a:lnTo>
                      <a:pt x="14" y="107"/>
                    </a:lnTo>
                    <a:lnTo>
                      <a:pt x="14" y="109"/>
                    </a:lnTo>
                    <a:lnTo>
                      <a:pt x="12" y="109"/>
                    </a:lnTo>
                    <a:lnTo>
                      <a:pt x="12" y="111"/>
                    </a:lnTo>
                    <a:lnTo>
                      <a:pt x="12" y="111"/>
                    </a:lnTo>
                    <a:lnTo>
                      <a:pt x="9" y="114"/>
                    </a:lnTo>
                    <a:lnTo>
                      <a:pt x="9" y="114"/>
                    </a:lnTo>
                    <a:lnTo>
                      <a:pt x="7" y="114"/>
                    </a:lnTo>
                    <a:lnTo>
                      <a:pt x="7" y="114"/>
                    </a:lnTo>
                    <a:lnTo>
                      <a:pt x="7" y="114"/>
                    </a:lnTo>
                    <a:lnTo>
                      <a:pt x="5" y="114"/>
                    </a:lnTo>
                    <a:lnTo>
                      <a:pt x="5" y="114"/>
                    </a:lnTo>
                    <a:lnTo>
                      <a:pt x="5" y="114"/>
                    </a:lnTo>
                    <a:lnTo>
                      <a:pt x="5" y="114"/>
                    </a:lnTo>
                    <a:lnTo>
                      <a:pt x="5" y="116"/>
                    </a:lnTo>
                    <a:lnTo>
                      <a:pt x="7" y="116"/>
                    </a:lnTo>
                    <a:lnTo>
                      <a:pt x="7" y="116"/>
                    </a:lnTo>
                    <a:lnTo>
                      <a:pt x="5" y="116"/>
                    </a:lnTo>
                    <a:lnTo>
                      <a:pt x="2" y="118"/>
                    </a:lnTo>
                    <a:lnTo>
                      <a:pt x="0" y="118"/>
                    </a:lnTo>
                    <a:lnTo>
                      <a:pt x="0" y="118"/>
                    </a:lnTo>
                    <a:lnTo>
                      <a:pt x="0" y="121"/>
                    </a:lnTo>
                    <a:lnTo>
                      <a:pt x="2" y="123"/>
                    </a:lnTo>
                    <a:lnTo>
                      <a:pt x="5" y="123"/>
                    </a:lnTo>
                    <a:lnTo>
                      <a:pt x="5" y="123"/>
                    </a:lnTo>
                    <a:lnTo>
                      <a:pt x="7" y="125"/>
                    </a:lnTo>
                    <a:lnTo>
                      <a:pt x="7" y="125"/>
                    </a:lnTo>
                    <a:lnTo>
                      <a:pt x="9" y="125"/>
                    </a:lnTo>
                    <a:lnTo>
                      <a:pt x="12" y="125"/>
                    </a:lnTo>
                    <a:lnTo>
                      <a:pt x="12" y="125"/>
                    </a:lnTo>
                    <a:lnTo>
                      <a:pt x="12" y="125"/>
                    </a:lnTo>
                    <a:lnTo>
                      <a:pt x="12" y="125"/>
                    </a:lnTo>
                    <a:lnTo>
                      <a:pt x="14" y="123"/>
                    </a:lnTo>
                    <a:lnTo>
                      <a:pt x="14" y="123"/>
                    </a:lnTo>
                    <a:lnTo>
                      <a:pt x="14" y="123"/>
                    </a:lnTo>
                    <a:lnTo>
                      <a:pt x="14" y="123"/>
                    </a:lnTo>
                    <a:lnTo>
                      <a:pt x="17" y="121"/>
                    </a:lnTo>
                    <a:lnTo>
                      <a:pt x="17" y="121"/>
                    </a:lnTo>
                    <a:lnTo>
                      <a:pt x="19" y="121"/>
                    </a:lnTo>
                    <a:lnTo>
                      <a:pt x="19" y="121"/>
                    </a:lnTo>
                    <a:lnTo>
                      <a:pt x="19" y="121"/>
                    </a:lnTo>
                    <a:lnTo>
                      <a:pt x="19" y="123"/>
                    </a:lnTo>
                    <a:lnTo>
                      <a:pt x="19" y="123"/>
                    </a:lnTo>
                    <a:lnTo>
                      <a:pt x="21" y="123"/>
                    </a:lnTo>
                    <a:lnTo>
                      <a:pt x="21" y="123"/>
                    </a:lnTo>
                    <a:lnTo>
                      <a:pt x="24" y="125"/>
                    </a:lnTo>
                    <a:lnTo>
                      <a:pt x="24" y="125"/>
                    </a:lnTo>
                    <a:lnTo>
                      <a:pt x="21" y="125"/>
                    </a:lnTo>
                    <a:lnTo>
                      <a:pt x="24" y="128"/>
                    </a:lnTo>
                    <a:lnTo>
                      <a:pt x="24" y="128"/>
                    </a:lnTo>
                    <a:lnTo>
                      <a:pt x="26" y="128"/>
                    </a:lnTo>
                    <a:lnTo>
                      <a:pt x="26" y="128"/>
                    </a:lnTo>
                    <a:lnTo>
                      <a:pt x="26" y="125"/>
                    </a:lnTo>
                    <a:lnTo>
                      <a:pt x="28" y="125"/>
                    </a:lnTo>
                    <a:lnTo>
                      <a:pt x="28" y="125"/>
                    </a:lnTo>
                    <a:lnTo>
                      <a:pt x="31" y="128"/>
                    </a:lnTo>
                    <a:lnTo>
                      <a:pt x="33" y="128"/>
                    </a:lnTo>
                    <a:moveTo>
                      <a:pt x="47" y="99"/>
                    </a:moveTo>
                    <a:lnTo>
                      <a:pt x="50" y="99"/>
                    </a:lnTo>
                    <a:lnTo>
                      <a:pt x="50" y="97"/>
                    </a:lnTo>
                    <a:lnTo>
                      <a:pt x="50" y="97"/>
                    </a:lnTo>
                    <a:lnTo>
                      <a:pt x="50" y="95"/>
                    </a:lnTo>
                    <a:lnTo>
                      <a:pt x="50" y="95"/>
                    </a:lnTo>
                    <a:lnTo>
                      <a:pt x="47" y="95"/>
                    </a:lnTo>
                    <a:lnTo>
                      <a:pt x="47" y="95"/>
                    </a:lnTo>
                    <a:lnTo>
                      <a:pt x="47" y="95"/>
                    </a:lnTo>
                    <a:lnTo>
                      <a:pt x="45" y="95"/>
                    </a:lnTo>
                    <a:lnTo>
                      <a:pt x="45" y="95"/>
                    </a:lnTo>
                    <a:lnTo>
                      <a:pt x="47" y="99"/>
                    </a:lnTo>
                    <a:lnTo>
                      <a:pt x="47" y="99"/>
                    </a:lnTo>
                    <a:lnTo>
                      <a:pt x="47" y="99"/>
                    </a:lnTo>
                    <a:moveTo>
                      <a:pt x="31" y="97"/>
                    </a:moveTo>
                    <a:lnTo>
                      <a:pt x="33" y="97"/>
                    </a:lnTo>
                    <a:lnTo>
                      <a:pt x="35" y="95"/>
                    </a:lnTo>
                    <a:lnTo>
                      <a:pt x="35" y="95"/>
                    </a:lnTo>
                    <a:lnTo>
                      <a:pt x="35" y="95"/>
                    </a:lnTo>
                    <a:lnTo>
                      <a:pt x="35" y="92"/>
                    </a:lnTo>
                    <a:lnTo>
                      <a:pt x="35" y="90"/>
                    </a:lnTo>
                    <a:lnTo>
                      <a:pt x="33" y="90"/>
                    </a:lnTo>
                    <a:lnTo>
                      <a:pt x="33" y="90"/>
                    </a:lnTo>
                    <a:lnTo>
                      <a:pt x="31" y="90"/>
                    </a:lnTo>
                    <a:lnTo>
                      <a:pt x="31" y="90"/>
                    </a:lnTo>
                    <a:lnTo>
                      <a:pt x="31" y="90"/>
                    </a:lnTo>
                    <a:lnTo>
                      <a:pt x="31" y="92"/>
                    </a:lnTo>
                    <a:lnTo>
                      <a:pt x="28" y="92"/>
                    </a:lnTo>
                    <a:lnTo>
                      <a:pt x="28" y="92"/>
                    </a:lnTo>
                    <a:lnTo>
                      <a:pt x="28" y="95"/>
                    </a:lnTo>
                    <a:lnTo>
                      <a:pt x="28" y="95"/>
                    </a:lnTo>
                    <a:lnTo>
                      <a:pt x="28" y="95"/>
                    </a:lnTo>
                    <a:lnTo>
                      <a:pt x="31" y="92"/>
                    </a:lnTo>
                    <a:lnTo>
                      <a:pt x="31" y="92"/>
                    </a:lnTo>
                    <a:lnTo>
                      <a:pt x="33" y="92"/>
                    </a:lnTo>
                    <a:lnTo>
                      <a:pt x="31" y="95"/>
                    </a:lnTo>
                    <a:lnTo>
                      <a:pt x="33" y="95"/>
                    </a:lnTo>
                    <a:lnTo>
                      <a:pt x="31" y="95"/>
                    </a:lnTo>
                    <a:lnTo>
                      <a:pt x="31" y="97"/>
                    </a:lnTo>
                    <a:moveTo>
                      <a:pt x="35" y="90"/>
                    </a:moveTo>
                    <a:lnTo>
                      <a:pt x="35" y="92"/>
                    </a:lnTo>
                    <a:lnTo>
                      <a:pt x="35" y="92"/>
                    </a:lnTo>
                    <a:lnTo>
                      <a:pt x="35" y="92"/>
                    </a:lnTo>
                    <a:lnTo>
                      <a:pt x="38" y="92"/>
                    </a:lnTo>
                    <a:lnTo>
                      <a:pt x="38" y="92"/>
                    </a:lnTo>
                    <a:lnTo>
                      <a:pt x="40" y="88"/>
                    </a:lnTo>
                    <a:lnTo>
                      <a:pt x="43" y="85"/>
                    </a:lnTo>
                    <a:lnTo>
                      <a:pt x="40" y="85"/>
                    </a:lnTo>
                    <a:lnTo>
                      <a:pt x="40" y="85"/>
                    </a:lnTo>
                    <a:lnTo>
                      <a:pt x="38" y="88"/>
                    </a:lnTo>
                    <a:lnTo>
                      <a:pt x="38" y="88"/>
                    </a:lnTo>
                    <a:lnTo>
                      <a:pt x="38" y="88"/>
                    </a:lnTo>
                    <a:lnTo>
                      <a:pt x="38" y="88"/>
                    </a:lnTo>
                    <a:lnTo>
                      <a:pt x="35" y="90"/>
                    </a:lnTo>
                    <a:lnTo>
                      <a:pt x="35" y="90"/>
                    </a:lnTo>
                    <a:moveTo>
                      <a:pt x="40" y="78"/>
                    </a:moveTo>
                    <a:lnTo>
                      <a:pt x="40" y="78"/>
                    </a:lnTo>
                    <a:lnTo>
                      <a:pt x="38" y="76"/>
                    </a:lnTo>
                    <a:lnTo>
                      <a:pt x="38" y="76"/>
                    </a:lnTo>
                    <a:lnTo>
                      <a:pt x="35" y="76"/>
                    </a:lnTo>
                    <a:lnTo>
                      <a:pt x="35" y="76"/>
                    </a:lnTo>
                    <a:lnTo>
                      <a:pt x="33" y="76"/>
                    </a:lnTo>
                    <a:lnTo>
                      <a:pt x="33" y="76"/>
                    </a:lnTo>
                    <a:lnTo>
                      <a:pt x="33" y="76"/>
                    </a:lnTo>
                    <a:lnTo>
                      <a:pt x="33" y="78"/>
                    </a:lnTo>
                    <a:lnTo>
                      <a:pt x="35" y="78"/>
                    </a:lnTo>
                    <a:lnTo>
                      <a:pt x="35" y="80"/>
                    </a:lnTo>
                    <a:lnTo>
                      <a:pt x="33" y="80"/>
                    </a:lnTo>
                    <a:lnTo>
                      <a:pt x="33" y="83"/>
                    </a:lnTo>
                    <a:lnTo>
                      <a:pt x="33" y="83"/>
                    </a:lnTo>
                    <a:lnTo>
                      <a:pt x="35" y="83"/>
                    </a:lnTo>
                    <a:lnTo>
                      <a:pt x="40" y="80"/>
                    </a:lnTo>
                    <a:lnTo>
                      <a:pt x="43" y="78"/>
                    </a:lnTo>
                    <a:lnTo>
                      <a:pt x="40" y="78"/>
                    </a:lnTo>
                    <a:moveTo>
                      <a:pt x="31" y="76"/>
                    </a:moveTo>
                    <a:lnTo>
                      <a:pt x="31" y="76"/>
                    </a:lnTo>
                    <a:lnTo>
                      <a:pt x="31" y="76"/>
                    </a:lnTo>
                    <a:lnTo>
                      <a:pt x="28" y="76"/>
                    </a:lnTo>
                    <a:lnTo>
                      <a:pt x="28" y="76"/>
                    </a:lnTo>
                    <a:lnTo>
                      <a:pt x="28" y="76"/>
                    </a:lnTo>
                    <a:lnTo>
                      <a:pt x="31" y="76"/>
                    </a:lnTo>
                    <a:lnTo>
                      <a:pt x="31" y="76"/>
                    </a:lnTo>
                    <a:moveTo>
                      <a:pt x="17" y="69"/>
                    </a:moveTo>
                    <a:lnTo>
                      <a:pt x="17" y="69"/>
                    </a:lnTo>
                    <a:lnTo>
                      <a:pt x="19" y="69"/>
                    </a:lnTo>
                    <a:lnTo>
                      <a:pt x="19" y="69"/>
                    </a:lnTo>
                    <a:lnTo>
                      <a:pt x="17" y="69"/>
                    </a:lnTo>
                    <a:lnTo>
                      <a:pt x="17" y="69"/>
                    </a:lnTo>
                    <a:lnTo>
                      <a:pt x="17" y="69"/>
                    </a:lnTo>
                    <a:lnTo>
                      <a:pt x="17" y="69"/>
                    </a:lnTo>
                    <a:lnTo>
                      <a:pt x="17" y="69"/>
                    </a:lnTo>
                    <a:moveTo>
                      <a:pt x="33" y="69"/>
                    </a:moveTo>
                    <a:lnTo>
                      <a:pt x="35" y="69"/>
                    </a:lnTo>
                    <a:lnTo>
                      <a:pt x="35" y="69"/>
                    </a:lnTo>
                    <a:lnTo>
                      <a:pt x="35" y="69"/>
                    </a:lnTo>
                    <a:lnTo>
                      <a:pt x="35" y="69"/>
                    </a:lnTo>
                    <a:lnTo>
                      <a:pt x="35" y="69"/>
                    </a:lnTo>
                    <a:lnTo>
                      <a:pt x="35" y="66"/>
                    </a:lnTo>
                    <a:lnTo>
                      <a:pt x="33" y="69"/>
                    </a:lnTo>
                    <a:lnTo>
                      <a:pt x="33" y="69"/>
                    </a:lnTo>
                    <a:lnTo>
                      <a:pt x="33" y="69"/>
                    </a:lnTo>
                    <a:moveTo>
                      <a:pt x="19" y="62"/>
                    </a:moveTo>
                    <a:lnTo>
                      <a:pt x="19" y="62"/>
                    </a:lnTo>
                    <a:lnTo>
                      <a:pt x="19" y="64"/>
                    </a:lnTo>
                    <a:lnTo>
                      <a:pt x="19" y="64"/>
                    </a:lnTo>
                    <a:lnTo>
                      <a:pt x="19" y="66"/>
                    </a:lnTo>
                    <a:lnTo>
                      <a:pt x="19" y="66"/>
                    </a:lnTo>
                    <a:lnTo>
                      <a:pt x="19" y="66"/>
                    </a:lnTo>
                    <a:lnTo>
                      <a:pt x="21" y="66"/>
                    </a:lnTo>
                    <a:lnTo>
                      <a:pt x="21" y="66"/>
                    </a:lnTo>
                    <a:lnTo>
                      <a:pt x="21" y="62"/>
                    </a:lnTo>
                    <a:lnTo>
                      <a:pt x="21" y="62"/>
                    </a:lnTo>
                    <a:lnTo>
                      <a:pt x="19" y="62"/>
                    </a:lnTo>
                    <a:moveTo>
                      <a:pt x="40" y="69"/>
                    </a:moveTo>
                    <a:lnTo>
                      <a:pt x="40" y="69"/>
                    </a:lnTo>
                    <a:lnTo>
                      <a:pt x="40" y="66"/>
                    </a:lnTo>
                    <a:lnTo>
                      <a:pt x="43" y="66"/>
                    </a:lnTo>
                    <a:lnTo>
                      <a:pt x="45" y="64"/>
                    </a:lnTo>
                    <a:lnTo>
                      <a:pt x="45" y="64"/>
                    </a:lnTo>
                    <a:lnTo>
                      <a:pt x="45" y="64"/>
                    </a:lnTo>
                    <a:lnTo>
                      <a:pt x="45" y="64"/>
                    </a:lnTo>
                    <a:lnTo>
                      <a:pt x="43" y="64"/>
                    </a:lnTo>
                    <a:lnTo>
                      <a:pt x="38" y="64"/>
                    </a:lnTo>
                    <a:lnTo>
                      <a:pt x="38" y="62"/>
                    </a:lnTo>
                    <a:lnTo>
                      <a:pt x="38" y="62"/>
                    </a:lnTo>
                    <a:lnTo>
                      <a:pt x="38" y="62"/>
                    </a:lnTo>
                    <a:lnTo>
                      <a:pt x="38" y="59"/>
                    </a:lnTo>
                    <a:lnTo>
                      <a:pt x="38" y="59"/>
                    </a:lnTo>
                    <a:lnTo>
                      <a:pt x="38" y="59"/>
                    </a:lnTo>
                    <a:lnTo>
                      <a:pt x="38" y="57"/>
                    </a:lnTo>
                    <a:lnTo>
                      <a:pt x="38" y="54"/>
                    </a:lnTo>
                    <a:lnTo>
                      <a:pt x="35" y="54"/>
                    </a:lnTo>
                    <a:lnTo>
                      <a:pt x="35" y="54"/>
                    </a:lnTo>
                    <a:lnTo>
                      <a:pt x="35" y="57"/>
                    </a:lnTo>
                    <a:lnTo>
                      <a:pt x="31" y="57"/>
                    </a:lnTo>
                    <a:lnTo>
                      <a:pt x="31" y="57"/>
                    </a:lnTo>
                    <a:lnTo>
                      <a:pt x="31" y="59"/>
                    </a:lnTo>
                    <a:lnTo>
                      <a:pt x="31" y="59"/>
                    </a:lnTo>
                    <a:lnTo>
                      <a:pt x="31" y="59"/>
                    </a:lnTo>
                    <a:lnTo>
                      <a:pt x="31" y="59"/>
                    </a:lnTo>
                    <a:lnTo>
                      <a:pt x="31" y="59"/>
                    </a:lnTo>
                    <a:lnTo>
                      <a:pt x="28" y="59"/>
                    </a:lnTo>
                    <a:lnTo>
                      <a:pt x="28" y="59"/>
                    </a:lnTo>
                    <a:lnTo>
                      <a:pt x="28" y="59"/>
                    </a:lnTo>
                    <a:lnTo>
                      <a:pt x="31" y="62"/>
                    </a:lnTo>
                    <a:lnTo>
                      <a:pt x="33" y="62"/>
                    </a:lnTo>
                    <a:lnTo>
                      <a:pt x="35" y="64"/>
                    </a:lnTo>
                    <a:lnTo>
                      <a:pt x="35" y="64"/>
                    </a:lnTo>
                    <a:lnTo>
                      <a:pt x="35" y="64"/>
                    </a:lnTo>
                    <a:lnTo>
                      <a:pt x="38" y="64"/>
                    </a:lnTo>
                    <a:lnTo>
                      <a:pt x="40" y="64"/>
                    </a:lnTo>
                    <a:lnTo>
                      <a:pt x="40" y="66"/>
                    </a:lnTo>
                    <a:lnTo>
                      <a:pt x="40" y="69"/>
                    </a:lnTo>
                    <a:moveTo>
                      <a:pt x="24" y="57"/>
                    </a:moveTo>
                    <a:lnTo>
                      <a:pt x="24" y="57"/>
                    </a:lnTo>
                    <a:lnTo>
                      <a:pt x="24" y="54"/>
                    </a:lnTo>
                    <a:lnTo>
                      <a:pt x="21" y="54"/>
                    </a:lnTo>
                    <a:lnTo>
                      <a:pt x="21" y="54"/>
                    </a:lnTo>
                    <a:lnTo>
                      <a:pt x="19" y="57"/>
                    </a:lnTo>
                    <a:lnTo>
                      <a:pt x="19" y="54"/>
                    </a:lnTo>
                    <a:lnTo>
                      <a:pt x="19" y="54"/>
                    </a:lnTo>
                    <a:lnTo>
                      <a:pt x="19" y="57"/>
                    </a:lnTo>
                    <a:lnTo>
                      <a:pt x="17" y="57"/>
                    </a:lnTo>
                    <a:lnTo>
                      <a:pt x="17" y="57"/>
                    </a:lnTo>
                    <a:lnTo>
                      <a:pt x="21" y="57"/>
                    </a:lnTo>
                    <a:lnTo>
                      <a:pt x="24" y="57"/>
                    </a:lnTo>
                    <a:moveTo>
                      <a:pt x="26" y="52"/>
                    </a:moveTo>
                    <a:lnTo>
                      <a:pt x="24" y="52"/>
                    </a:lnTo>
                    <a:lnTo>
                      <a:pt x="26" y="54"/>
                    </a:lnTo>
                    <a:lnTo>
                      <a:pt x="26" y="54"/>
                    </a:lnTo>
                    <a:lnTo>
                      <a:pt x="26" y="54"/>
                    </a:lnTo>
                    <a:lnTo>
                      <a:pt x="28" y="52"/>
                    </a:lnTo>
                    <a:lnTo>
                      <a:pt x="28" y="52"/>
                    </a:lnTo>
                    <a:lnTo>
                      <a:pt x="28" y="52"/>
                    </a:lnTo>
                    <a:lnTo>
                      <a:pt x="31" y="50"/>
                    </a:lnTo>
                    <a:lnTo>
                      <a:pt x="33" y="50"/>
                    </a:lnTo>
                    <a:lnTo>
                      <a:pt x="35" y="47"/>
                    </a:lnTo>
                    <a:lnTo>
                      <a:pt x="35" y="47"/>
                    </a:lnTo>
                    <a:lnTo>
                      <a:pt x="35" y="47"/>
                    </a:lnTo>
                    <a:lnTo>
                      <a:pt x="35" y="47"/>
                    </a:lnTo>
                    <a:lnTo>
                      <a:pt x="33" y="47"/>
                    </a:lnTo>
                    <a:lnTo>
                      <a:pt x="35" y="45"/>
                    </a:lnTo>
                    <a:lnTo>
                      <a:pt x="35" y="45"/>
                    </a:lnTo>
                    <a:lnTo>
                      <a:pt x="38" y="45"/>
                    </a:lnTo>
                    <a:lnTo>
                      <a:pt x="40" y="43"/>
                    </a:lnTo>
                    <a:lnTo>
                      <a:pt x="40" y="40"/>
                    </a:lnTo>
                    <a:lnTo>
                      <a:pt x="40" y="40"/>
                    </a:lnTo>
                    <a:lnTo>
                      <a:pt x="40" y="38"/>
                    </a:lnTo>
                    <a:lnTo>
                      <a:pt x="38" y="40"/>
                    </a:lnTo>
                    <a:lnTo>
                      <a:pt x="35" y="40"/>
                    </a:lnTo>
                    <a:lnTo>
                      <a:pt x="31" y="43"/>
                    </a:lnTo>
                    <a:lnTo>
                      <a:pt x="31" y="43"/>
                    </a:lnTo>
                    <a:lnTo>
                      <a:pt x="31" y="43"/>
                    </a:lnTo>
                    <a:lnTo>
                      <a:pt x="31" y="45"/>
                    </a:lnTo>
                    <a:lnTo>
                      <a:pt x="31" y="45"/>
                    </a:lnTo>
                    <a:lnTo>
                      <a:pt x="31" y="45"/>
                    </a:lnTo>
                    <a:lnTo>
                      <a:pt x="28" y="45"/>
                    </a:lnTo>
                    <a:lnTo>
                      <a:pt x="28" y="45"/>
                    </a:lnTo>
                    <a:lnTo>
                      <a:pt x="26" y="45"/>
                    </a:lnTo>
                    <a:lnTo>
                      <a:pt x="26" y="45"/>
                    </a:lnTo>
                    <a:lnTo>
                      <a:pt x="26" y="45"/>
                    </a:lnTo>
                    <a:lnTo>
                      <a:pt x="26" y="45"/>
                    </a:lnTo>
                    <a:lnTo>
                      <a:pt x="26" y="45"/>
                    </a:lnTo>
                    <a:lnTo>
                      <a:pt x="26" y="47"/>
                    </a:lnTo>
                    <a:lnTo>
                      <a:pt x="26" y="47"/>
                    </a:lnTo>
                    <a:lnTo>
                      <a:pt x="26" y="47"/>
                    </a:lnTo>
                    <a:lnTo>
                      <a:pt x="26" y="47"/>
                    </a:lnTo>
                    <a:lnTo>
                      <a:pt x="26" y="47"/>
                    </a:lnTo>
                    <a:lnTo>
                      <a:pt x="26" y="47"/>
                    </a:lnTo>
                    <a:lnTo>
                      <a:pt x="26" y="50"/>
                    </a:lnTo>
                    <a:lnTo>
                      <a:pt x="26" y="50"/>
                    </a:lnTo>
                    <a:lnTo>
                      <a:pt x="28" y="50"/>
                    </a:lnTo>
                    <a:lnTo>
                      <a:pt x="28" y="50"/>
                    </a:lnTo>
                    <a:lnTo>
                      <a:pt x="26" y="50"/>
                    </a:lnTo>
                    <a:lnTo>
                      <a:pt x="26" y="52"/>
                    </a:lnTo>
                    <a:moveTo>
                      <a:pt x="151" y="154"/>
                    </a:moveTo>
                    <a:lnTo>
                      <a:pt x="151" y="154"/>
                    </a:lnTo>
                    <a:lnTo>
                      <a:pt x="147" y="149"/>
                    </a:lnTo>
                    <a:lnTo>
                      <a:pt x="147" y="149"/>
                    </a:lnTo>
                    <a:lnTo>
                      <a:pt x="142" y="149"/>
                    </a:lnTo>
                    <a:lnTo>
                      <a:pt x="140" y="149"/>
                    </a:lnTo>
                    <a:lnTo>
                      <a:pt x="140" y="149"/>
                    </a:lnTo>
                    <a:lnTo>
                      <a:pt x="137" y="149"/>
                    </a:lnTo>
                    <a:lnTo>
                      <a:pt x="135" y="149"/>
                    </a:lnTo>
                    <a:lnTo>
                      <a:pt x="132" y="149"/>
                    </a:lnTo>
                    <a:lnTo>
                      <a:pt x="132" y="152"/>
                    </a:lnTo>
                    <a:lnTo>
                      <a:pt x="132" y="152"/>
                    </a:lnTo>
                    <a:lnTo>
                      <a:pt x="130" y="152"/>
                    </a:lnTo>
                    <a:lnTo>
                      <a:pt x="130" y="152"/>
                    </a:lnTo>
                    <a:lnTo>
                      <a:pt x="125" y="149"/>
                    </a:lnTo>
                    <a:lnTo>
                      <a:pt x="128" y="149"/>
                    </a:lnTo>
                    <a:lnTo>
                      <a:pt x="128" y="147"/>
                    </a:lnTo>
                    <a:lnTo>
                      <a:pt x="130" y="147"/>
                    </a:lnTo>
                    <a:lnTo>
                      <a:pt x="132" y="144"/>
                    </a:lnTo>
                    <a:lnTo>
                      <a:pt x="130" y="142"/>
                    </a:lnTo>
                    <a:lnTo>
                      <a:pt x="128" y="140"/>
                    </a:lnTo>
                    <a:lnTo>
                      <a:pt x="123" y="135"/>
                    </a:lnTo>
                    <a:lnTo>
                      <a:pt x="118" y="135"/>
                    </a:lnTo>
                    <a:lnTo>
                      <a:pt x="116" y="133"/>
                    </a:lnTo>
                    <a:lnTo>
                      <a:pt x="118" y="133"/>
                    </a:lnTo>
                    <a:lnTo>
                      <a:pt x="118" y="133"/>
                    </a:lnTo>
                    <a:lnTo>
                      <a:pt x="123" y="133"/>
                    </a:lnTo>
                    <a:lnTo>
                      <a:pt x="123" y="135"/>
                    </a:lnTo>
                    <a:lnTo>
                      <a:pt x="125" y="135"/>
                    </a:lnTo>
                    <a:lnTo>
                      <a:pt x="125" y="135"/>
                    </a:lnTo>
                    <a:lnTo>
                      <a:pt x="128" y="135"/>
                    </a:lnTo>
                    <a:lnTo>
                      <a:pt x="128" y="135"/>
                    </a:lnTo>
                    <a:lnTo>
                      <a:pt x="128" y="135"/>
                    </a:lnTo>
                    <a:lnTo>
                      <a:pt x="128" y="133"/>
                    </a:lnTo>
                    <a:lnTo>
                      <a:pt x="125" y="130"/>
                    </a:lnTo>
                    <a:lnTo>
                      <a:pt x="125" y="130"/>
                    </a:lnTo>
                    <a:lnTo>
                      <a:pt x="123" y="128"/>
                    </a:lnTo>
                    <a:lnTo>
                      <a:pt x="125" y="125"/>
                    </a:lnTo>
                    <a:lnTo>
                      <a:pt x="125" y="125"/>
                    </a:lnTo>
                    <a:lnTo>
                      <a:pt x="123" y="123"/>
                    </a:lnTo>
                    <a:lnTo>
                      <a:pt x="121" y="123"/>
                    </a:lnTo>
                    <a:lnTo>
                      <a:pt x="118" y="121"/>
                    </a:lnTo>
                    <a:lnTo>
                      <a:pt x="118" y="118"/>
                    </a:lnTo>
                    <a:lnTo>
                      <a:pt x="116" y="118"/>
                    </a:lnTo>
                    <a:lnTo>
                      <a:pt x="109" y="116"/>
                    </a:lnTo>
                    <a:lnTo>
                      <a:pt x="109" y="114"/>
                    </a:lnTo>
                    <a:lnTo>
                      <a:pt x="109" y="114"/>
                    </a:lnTo>
                    <a:lnTo>
                      <a:pt x="106" y="107"/>
                    </a:lnTo>
                    <a:lnTo>
                      <a:pt x="104" y="102"/>
                    </a:lnTo>
                    <a:lnTo>
                      <a:pt x="104" y="97"/>
                    </a:lnTo>
                    <a:lnTo>
                      <a:pt x="104" y="97"/>
                    </a:lnTo>
                    <a:lnTo>
                      <a:pt x="102" y="95"/>
                    </a:lnTo>
                    <a:lnTo>
                      <a:pt x="102" y="95"/>
                    </a:lnTo>
                    <a:lnTo>
                      <a:pt x="99" y="92"/>
                    </a:lnTo>
                    <a:lnTo>
                      <a:pt x="97" y="90"/>
                    </a:lnTo>
                    <a:lnTo>
                      <a:pt x="90" y="88"/>
                    </a:lnTo>
                    <a:lnTo>
                      <a:pt x="85" y="88"/>
                    </a:lnTo>
                    <a:lnTo>
                      <a:pt x="83" y="90"/>
                    </a:lnTo>
                    <a:lnTo>
                      <a:pt x="83" y="90"/>
                    </a:lnTo>
                    <a:lnTo>
                      <a:pt x="73" y="88"/>
                    </a:lnTo>
                    <a:lnTo>
                      <a:pt x="73" y="88"/>
                    </a:lnTo>
                    <a:lnTo>
                      <a:pt x="71" y="85"/>
                    </a:lnTo>
                    <a:lnTo>
                      <a:pt x="73" y="88"/>
                    </a:lnTo>
                    <a:lnTo>
                      <a:pt x="76" y="88"/>
                    </a:lnTo>
                    <a:lnTo>
                      <a:pt x="78" y="88"/>
                    </a:lnTo>
                    <a:lnTo>
                      <a:pt x="80" y="88"/>
                    </a:lnTo>
                    <a:lnTo>
                      <a:pt x="80" y="88"/>
                    </a:lnTo>
                    <a:lnTo>
                      <a:pt x="85" y="85"/>
                    </a:lnTo>
                    <a:lnTo>
                      <a:pt x="88" y="85"/>
                    </a:lnTo>
                    <a:lnTo>
                      <a:pt x="90" y="83"/>
                    </a:lnTo>
                    <a:lnTo>
                      <a:pt x="90" y="83"/>
                    </a:lnTo>
                    <a:lnTo>
                      <a:pt x="85" y="80"/>
                    </a:lnTo>
                    <a:lnTo>
                      <a:pt x="83" y="80"/>
                    </a:lnTo>
                    <a:lnTo>
                      <a:pt x="80" y="80"/>
                    </a:lnTo>
                    <a:lnTo>
                      <a:pt x="80" y="80"/>
                    </a:lnTo>
                    <a:lnTo>
                      <a:pt x="80" y="80"/>
                    </a:lnTo>
                    <a:lnTo>
                      <a:pt x="83" y="80"/>
                    </a:lnTo>
                    <a:lnTo>
                      <a:pt x="83" y="78"/>
                    </a:lnTo>
                    <a:lnTo>
                      <a:pt x="88" y="78"/>
                    </a:lnTo>
                    <a:lnTo>
                      <a:pt x="90" y="78"/>
                    </a:lnTo>
                    <a:lnTo>
                      <a:pt x="90" y="78"/>
                    </a:lnTo>
                    <a:lnTo>
                      <a:pt x="92" y="76"/>
                    </a:lnTo>
                    <a:lnTo>
                      <a:pt x="95" y="73"/>
                    </a:lnTo>
                    <a:lnTo>
                      <a:pt x="97" y="71"/>
                    </a:lnTo>
                    <a:lnTo>
                      <a:pt x="99" y="66"/>
                    </a:lnTo>
                    <a:lnTo>
                      <a:pt x="99" y="66"/>
                    </a:lnTo>
                    <a:lnTo>
                      <a:pt x="99" y="64"/>
                    </a:lnTo>
                    <a:lnTo>
                      <a:pt x="102" y="64"/>
                    </a:lnTo>
                    <a:lnTo>
                      <a:pt x="102" y="62"/>
                    </a:lnTo>
                    <a:lnTo>
                      <a:pt x="104" y="59"/>
                    </a:lnTo>
                    <a:lnTo>
                      <a:pt x="104" y="59"/>
                    </a:lnTo>
                    <a:lnTo>
                      <a:pt x="104" y="59"/>
                    </a:lnTo>
                    <a:lnTo>
                      <a:pt x="104" y="57"/>
                    </a:lnTo>
                    <a:lnTo>
                      <a:pt x="102" y="54"/>
                    </a:lnTo>
                    <a:lnTo>
                      <a:pt x="102" y="54"/>
                    </a:lnTo>
                    <a:lnTo>
                      <a:pt x="97" y="54"/>
                    </a:lnTo>
                    <a:lnTo>
                      <a:pt x="90" y="54"/>
                    </a:lnTo>
                    <a:lnTo>
                      <a:pt x="88" y="54"/>
                    </a:lnTo>
                    <a:lnTo>
                      <a:pt x="85" y="54"/>
                    </a:lnTo>
                    <a:lnTo>
                      <a:pt x="85" y="54"/>
                    </a:lnTo>
                    <a:lnTo>
                      <a:pt x="83" y="54"/>
                    </a:lnTo>
                    <a:lnTo>
                      <a:pt x="80" y="54"/>
                    </a:lnTo>
                    <a:lnTo>
                      <a:pt x="78" y="54"/>
                    </a:lnTo>
                    <a:lnTo>
                      <a:pt x="73" y="57"/>
                    </a:lnTo>
                    <a:lnTo>
                      <a:pt x="71" y="57"/>
                    </a:lnTo>
                    <a:lnTo>
                      <a:pt x="69" y="57"/>
                    </a:lnTo>
                    <a:lnTo>
                      <a:pt x="71" y="54"/>
                    </a:lnTo>
                    <a:lnTo>
                      <a:pt x="73" y="52"/>
                    </a:lnTo>
                    <a:lnTo>
                      <a:pt x="73" y="52"/>
                    </a:lnTo>
                    <a:lnTo>
                      <a:pt x="73" y="52"/>
                    </a:lnTo>
                    <a:lnTo>
                      <a:pt x="71" y="52"/>
                    </a:lnTo>
                    <a:lnTo>
                      <a:pt x="71" y="50"/>
                    </a:lnTo>
                    <a:lnTo>
                      <a:pt x="71" y="50"/>
                    </a:lnTo>
                    <a:lnTo>
                      <a:pt x="76" y="47"/>
                    </a:lnTo>
                    <a:lnTo>
                      <a:pt x="80" y="45"/>
                    </a:lnTo>
                    <a:lnTo>
                      <a:pt x="85" y="43"/>
                    </a:lnTo>
                    <a:lnTo>
                      <a:pt x="85" y="40"/>
                    </a:lnTo>
                    <a:lnTo>
                      <a:pt x="85" y="40"/>
                    </a:lnTo>
                    <a:lnTo>
                      <a:pt x="88" y="40"/>
                    </a:lnTo>
                    <a:lnTo>
                      <a:pt x="88" y="38"/>
                    </a:lnTo>
                    <a:lnTo>
                      <a:pt x="88" y="38"/>
                    </a:lnTo>
                    <a:lnTo>
                      <a:pt x="88" y="35"/>
                    </a:lnTo>
                    <a:lnTo>
                      <a:pt x="88" y="35"/>
                    </a:lnTo>
                    <a:lnTo>
                      <a:pt x="85" y="35"/>
                    </a:lnTo>
                    <a:lnTo>
                      <a:pt x="80" y="35"/>
                    </a:lnTo>
                    <a:lnTo>
                      <a:pt x="78" y="38"/>
                    </a:lnTo>
                    <a:lnTo>
                      <a:pt x="76" y="38"/>
                    </a:lnTo>
                    <a:lnTo>
                      <a:pt x="71" y="38"/>
                    </a:lnTo>
                    <a:lnTo>
                      <a:pt x="66" y="38"/>
                    </a:lnTo>
                    <a:lnTo>
                      <a:pt x="66" y="38"/>
                    </a:lnTo>
                    <a:lnTo>
                      <a:pt x="66" y="38"/>
                    </a:lnTo>
                    <a:lnTo>
                      <a:pt x="64" y="38"/>
                    </a:lnTo>
                    <a:lnTo>
                      <a:pt x="62" y="38"/>
                    </a:lnTo>
                    <a:lnTo>
                      <a:pt x="62" y="38"/>
                    </a:lnTo>
                    <a:lnTo>
                      <a:pt x="62" y="38"/>
                    </a:lnTo>
                    <a:lnTo>
                      <a:pt x="59" y="38"/>
                    </a:lnTo>
                    <a:lnTo>
                      <a:pt x="59" y="38"/>
                    </a:lnTo>
                    <a:lnTo>
                      <a:pt x="57" y="38"/>
                    </a:lnTo>
                    <a:lnTo>
                      <a:pt x="57" y="38"/>
                    </a:lnTo>
                    <a:lnTo>
                      <a:pt x="57" y="40"/>
                    </a:lnTo>
                    <a:lnTo>
                      <a:pt x="57" y="40"/>
                    </a:lnTo>
                    <a:lnTo>
                      <a:pt x="57" y="40"/>
                    </a:lnTo>
                    <a:lnTo>
                      <a:pt x="57" y="43"/>
                    </a:lnTo>
                    <a:lnTo>
                      <a:pt x="57" y="43"/>
                    </a:lnTo>
                    <a:lnTo>
                      <a:pt x="57" y="43"/>
                    </a:lnTo>
                    <a:lnTo>
                      <a:pt x="57" y="43"/>
                    </a:lnTo>
                    <a:lnTo>
                      <a:pt x="54" y="43"/>
                    </a:lnTo>
                    <a:lnTo>
                      <a:pt x="52" y="45"/>
                    </a:lnTo>
                    <a:lnTo>
                      <a:pt x="52" y="45"/>
                    </a:lnTo>
                    <a:lnTo>
                      <a:pt x="52" y="45"/>
                    </a:lnTo>
                    <a:lnTo>
                      <a:pt x="52" y="45"/>
                    </a:lnTo>
                    <a:lnTo>
                      <a:pt x="50" y="47"/>
                    </a:lnTo>
                    <a:lnTo>
                      <a:pt x="52" y="47"/>
                    </a:lnTo>
                    <a:lnTo>
                      <a:pt x="54" y="50"/>
                    </a:lnTo>
                    <a:lnTo>
                      <a:pt x="54" y="52"/>
                    </a:lnTo>
                    <a:lnTo>
                      <a:pt x="52" y="50"/>
                    </a:lnTo>
                    <a:lnTo>
                      <a:pt x="52" y="50"/>
                    </a:lnTo>
                    <a:lnTo>
                      <a:pt x="52" y="52"/>
                    </a:lnTo>
                    <a:lnTo>
                      <a:pt x="47" y="52"/>
                    </a:lnTo>
                    <a:lnTo>
                      <a:pt x="47" y="52"/>
                    </a:lnTo>
                    <a:lnTo>
                      <a:pt x="45" y="52"/>
                    </a:lnTo>
                    <a:lnTo>
                      <a:pt x="45" y="54"/>
                    </a:lnTo>
                    <a:lnTo>
                      <a:pt x="45" y="57"/>
                    </a:lnTo>
                    <a:lnTo>
                      <a:pt x="45" y="57"/>
                    </a:lnTo>
                    <a:lnTo>
                      <a:pt x="45" y="57"/>
                    </a:lnTo>
                    <a:lnTo>
                      <a:pt x="47" y="57"/>
                    </a:lnTo>
                    <a:lnTo>
                      <a:pt x="45" y="59"/>
                    </a:lnTo>
                    <a:lnTo>
                      <a:pt x="45" y="59"/>
                    </a:lnTo>
                    <a:lnTo>
                      <a:pt x="43" y="59"/>
                    </a:lnTo>
                    <a:lnTo>
                      <a:pt x="43" y="59"/>
                    </a:lnTo>
                    <a:lnTo>
                      <a:pt x="43" y="62"/>
                    </a:lnTo>
                    <a:lnTo>
                      <a:pt x="45" y="62"/>
                    </a:lnTo>
                    <a:lnTo>
                      <a:pt x="45" y="62"/>
                    </a:lnTo>
                    <a:lnTo>
                      <a:pt x="47" y="64"/>
                    </a:lnTo>
                    <a:lnTo>
                      <a:pt x="45" y="66"/>
                    </a:lnTo>
                    <a:lnTo>
                      <a:pt x="43" y="69"/>
                    </a:lnTo>
                    <a:lnTo>
                      <a:pt x="43" y="71"/>
                    </a:lnTo>
                    <a:lnTo>
                      <a:pt x="40" y="71"/>
                    </a:lnTo>
                    <a:lnTo>
                      <a:pt x="43" y="71"/>
                    </a:lnTo>
                    <a:lnTo>
                      <a:pt x="40" y="73"/>
                    </a:lnTo>
                    <a:lnTo>
                      <a:pt x="38" y="73"/>
                    </a:lnTo>
                    <a:lnTo>
                      <a:pt x="38" y="73"/>
                    </a:lnTo>
                    <a:lnTo>
                      <a:pt x="35" y="73"/>
                    </a:lnTo>
                    <a:lnTo>
                      <a:pt x="38" y="73"/>
                    </a:lnTo>
                    <a:lnTo>
                      <a:pt x="40" y="73"/>
                    </a:lnTo>
                    <a:lnTo>
                      <a:pt x="40" y="76"/>
                    </a:lnTo>
                    <a:lnTo>
                      <a:pt x="40" y="78"/>
                    </a:lnTo>
                    <a:lnTo>
                      <a:pt x="43" y="78"/>
                    </a:lnTo>
                    <a:lnTo>
                      <a:pt x="43" y="78"/>
                    </a:lnTo>
                    <a:lnTo>
                      <a:pt x="45" y="78"/>
                    </a:lnTo>
                    <a:lnTo>
                      <a:pt x="50" y="73"/>
                    </a:lnTo>
                    <a:lnTo>
                      <a:pt x="52" y="73"/>
                    </a:lnTo>
                    <a:lnTo>
                      <a:pt x="50" y="73"/>
                    </a:lnTo>
                    <a:lnTo>
                      <a:pt x="50" y="76"/>
                    </a:lnTo>
                    <a:lnTo>
                      <a:pt x="50" y="78"/>
                    </a:lnTo>
                    <a:lnTo>
                      <a:pt x="47" y="78"/>
                    </a:lnTo>
                    <a:lnTo>
                      <a:pt x="47" y="80"/>
                    </a:lnTo>
                    <a:lnTo>
                      <a:pt x="45" y="80"/>
                    </a:lnTo>
                    <a:lnTo>
                      <a:pt x="45" y="83"/>
                    </a:lnTo>
                    <a:lnTo>
                      <a:pt x="45" y="85"/>
                    </a:lnTo>
                    <a:lnTo>
                      <a:pt x="43" y="88"/>
                    </a:lnTo>
                    <a:lnTo>
                      <a:pt x="43" y="92"/>
                    </a:lnTo>
                    <a:lnTo>
                      <a:pt x="43" y="92"/>
                    </a:lnTo>
                    <a:lnTo>
                      <a:pt x="43" y="92"/>
                    </a:lnTo>
                    <a:lnTo>
                      <a:pt x="45" y="92"/>
                    </a:lnTo>
                    <a:lnTo>
                      <a:pt x="45" y="92"/>
                    </a:lnTo>
                    <a:lnTo>
                      <a:pt x="43" y="95"/>
                    </a:lnTo>
                    <a:lnTo>
                      <a:pt x="43" y="95"/>
                    </a:lnTo>
                    <a:lnTo>
                      <a:pt x="40" y="95"/>
                    </a:lnTo>
                    <a:lnTo>
                      <a:pt x="40" y="99"/>
                    </a:lnTo>
                    <a:lnTo>
                      <a:pt x="40" y="99"/>
                    </a:lnTo>
                    <a:lnTo>
                      <a:pt x="40" y="102"/>
                    </a:lnTo>
                    <a:lnTo>
                      <a:pt x="40" y="102"/>
                    </a:lnTo>
                    <a:lnTo>
                      <a:pt x="40" y="102"/>
                    </a:lnTo>
                    <a:lnTo>
                      <a:pt x="43" y="102"/>
                    </a:lnTo>
                    <a:lnTo>
                      <a:pt x="43" y="102"/>
                    </a:lnTo>
                    <a:lnTo>
                      <a:pt x="43" y="99"/>
                    </a:lnTo>
                    <a:lnTo>
                      <a:pt x="45" y="92"/>
                    </a:lnTo>
                    <a:lnTo>
                      <a:pt x="47" y="92"/>
                    </a:lnTo>
                    <a:lnTo>
                      <a:pt x="45" y="90"/>
                    </a:lnTo>
                    <a:lnTo>
                      <a:pt x="45" y="88"/>
                    </a:lnTo>
                    <a:lnTo>
                      <a:pt x="47" y="88"/>
                    </a:lnTo>
                    <a:lnTo>
                      <a:pt x="47" y="88"/>
                    </a:lnTo>
                    <a:lnTo>
                      <a:pt x="47" y="85"/>
                    </a:lnTo>
                    <a:lnTo>
                      <a:pt x="52" y="85"/>
                    </a:lnTo>
                    <a:lnTo>
                      <a:pt x="52" y="83"/>
                    </a:lnTo>
                    <a:lnTo>
                      <a:pt x="50" y="85"/>
                    </a:lnTo>
                    <a:lnTo>
                      <a:pt x="50" y="88"/>
                    </a:lnTo>
                    <a:lnTo>
                      <a:pt x="50" y="88"/>
                    </a:lnTo>
                    <a:lnTo>
                      <a:pt x="50" y="90"/>
                    </a:lnTo>
                    <a:lnTo>
                      <a:pt x="50" y="90"/>
                    </a:lnTo>
                    <a:lnTo>
                      <a:pt x="50" y="90"/>
                    </a:lnTo>
                    <a:lnTo>
                      <a:pt x="50" y="90"/>
                    </a:lnTo>
                    <a:lnTo>
                      <a:pt x="50" y="90"/>
                    </a:lnTo>
                    <a:lnTo>
                      <a:pt x="50" y="90"/>
                    </a:lnTo>
                    <a:lnTo>
                      <a:pt x="52" y="88"/>
                    </a:lnTo>
                    <a:lnTo>
                      <a:pt x="52" y="88"/>
                    </a:lnTo>
                    <a:lnTo>
                      <a:pt x="54" y="88"/>
                    </a:lnTo>
                    <a:lnTo>
                      <a:pt x="54" y="85"/>
                    </a:lnTo>
                    <a:lnTo>
                      <a:pt x="57" y="85"/>
                    </a:lnTo>
                    <a:lnTo>
                      <a:pt x="57" y="85"/>
                    </a:lnTo>
                    <a:lnTo>
                      <a:pt x="54" y="88"/>
                    </a:lnTo>
                    <a:lnTo>
                      <a:pt x="54" y="88"/>
                    </a:lnTo>
                    <a:lnTo>
                      <a:pt x="57" y="90"/>
                    </a:lnTo>
                    <a:lnTo>
                      <a:pt x="59" y="90"/>
                    </a:lnTo>
                    <a:lnTo>
                      <a:pt x="54" y="90"/>
                    </a:lnTo>
                    <a:lnTo>
                      <a:pt x="54" y="90"/>
                    </a:lnTo>
                    <a:lnTo>
                      <a:pt x="54" y="90"/>
                    </a:lnTo>
                    <a:lnTo>
                      <a:pt x="54" y="92"/>
                    </a:lnTo>
                    <a:lnTo>
                      <a:pt x="54" y="95"/>
                    </a:lnTo>
                    <a:lnTo>
                      <a:pt x="57" y="97"/>
                    </a:lnTo>
                    <a:lnTo>
                      <a:pt x="57" y="97"/>
                    </a:lnTo>
                    <a:lnTo>
                      <a:pt x="57" y="97"/>
                    </a:lnTo>
                    <a:lnTo>
                      <a:pt x="57" y="99"/>
                    </a:lnTo>
                    <a:lnTo>
                      <a:pt x="54" y="102"/>
                    </a:lnTo>
                    <a:lnTo>
                      <a:pt x="52" y="104"/>
                    </a:lnTo>
                    <a:lnTo>
                      <a:pt x="50" y="109"/>
                    </a:lnTo>
                    <a:lnTo>
                      <a:pt x="50" y="109"/>
                    </a:lnTo>
                    <a:lnTo>
                      <a:pt x="47" y="109"/>
                    </a:lnTo>
                    <a:lnTo>
                      <a:pt x="47" y="109"/>
                    </a:lnTo>
                    <a:lnTo>
                      <a:pt x="47" y="111"/>
                    </a:lnTo>
                    <a:lnTo>
                      <a:pt x="50" y="114"/>
                    </a:lnTo>
                    <a:lnTo>
                      <a:pt x="52" y="114"/>
                    </a:lnTo>
                    <a:lnTo>
                      <a:pt x="52" y="114"/>
                    </a:lnTo>
                    <a:lnTo>
                      <a:pt x="52" y="111"/>
                    </a:lnTo>
                    <a:lnTo>
                      <a:pt x="52" y="111"/>
                    </a:lnTo>
                    <a:lnTo>
                      <a:pt x="54" y="111"/>
                    </a:lnTo>
                    <a:lnTo>
                      <a:pt x="57" y="114"/>
                    </a:lnTo>
                    <a:lnTo>
                      <a:pt x="59" y="111"/>
                    </a:lnTo>
                    <a:lnTo>
                      <a:pt x="62" y="111"/>
                    </a:lnTo>
                    <a:lnTo>
                      <a:pt x="62" y="111"/>
                    </a:lnTo>
                    <a:lnTo>
                      <a:pt x="62" y="111"/>
                    </a:lnTo>
                    <a:lnTo>
                      <a:pt x="64" y="111"/>
                    </a:lnTo>
                    <a:lnTo>
                      <a:pt x="64" y="114"/>
                    </a:lnTo>
                    <a:lnTo>
                      <a:pt x="64" y="111"/>
                    </a:lnTo>
                    <a:lnTo>
                      <a:pt x="66" y="111"/>
                    </a:lnTo>
                    <a:lnTo>
                      <a:pt x="66" y="111"/>
                    </a:lnTo>
                    <a:lnTo>
                      <a:pt x="69" y="111"/>
                    </a:lnTo>
                    <a:lnTo>
                      <a:pt x="69" y="111"/>
                    </a:lnTo>
                    <a:lnTo>
                      <a:pt x="71" y="111"/>
                    </a:lnTo>
                    <a:lnTo>
                      <a:pt x="71" y="111"/>
                    </a:lnTo>
                    <a:lnTo>
                      <a:pt x="73" y="109"/>
                    </a:lnTo>
                    <a:lnTo>
                      <a:pt x="76" y="109"/>
                    </a:lnTo>
                    <a:lnTo>
                      <a:pt x="80" y="109"/>
                    </a:lnTo>
                    <a:lnTo>
                      <a:pt x="80" y="109"/>
                    </a:lnTo>
                    <a:lnTo>
                      <a:pt x="78" y="109"/>
                    </a:lnTo>
                    <a:lnTo>
                      <a:pt x="73" y="114"/>
                    </a:lnTo>
                    <a:lnTo>
                      <a:pt x="71" y="116"/>
                    </a:lnTo>
                    <a:lnTo>
                      <a:pt x="71" y="118"/>
                    </a:lnTo>
                    <a:lnTo>
                      <a:pt x="73" y="123"/>
                    </a:lnTo>
                    <a:lnTo>
                      <a:pt x="76" y="123"/>
                    </a:lnTo>
                    <a:lnTo>
                      <a:pt x="78" y="125"/>
                    </a:lnTo>
                    <a:lnTo>
                      <a:pt x="78" y="125"/>
                    </a:lnTo>
                    <a:lnTo>
                      <a:pt x="78" y="125"/>
                    </a:lnTo>
                    <a:lnTo>
                      <a:pt x="80" y="125"/>
                    </a:lnTo>
                    <a:lnTo>
                      <a:pt x="83" y="125"/>
                    </a:lnTo>
                    <a:lnTo>
                      <a:pt x="83" y="125"/>
                    </a:lnTo>
                    <a:lnTo>
                      <a:pt x="83" y="128"/>
                    </a:lnTo>
                    <a:lnTo>
                      <a:pt x="80" y="128"/>
                    </a:lnTo>
                    <a:lnTo>
                      <a:pt x="78" y="130"/>
                    </a:lnTo>
                    <a:lnTo>
                      <a:pt x="78" y="130"/>
                    </a:lnTo>
                    <a:lnTo>
                      <a:pt x="78" y="133"/>
                    </a:lnTo>
                    <a:lnTo>
                      <a:pt x="80" y="133"/>
                    </a:lnTo>
                    <a:lnTo>
                      <a:pt x="80" y="133"/>
                    </a:lnTo>
                    <a:lnTo>
                      <a:pt x="80" y="135"/>
                    </a:lnTo>
                    <a:lnTo>
                      <a:pt x="78" y="137"/>
                    </a:lnTo>
                    <a:lnTo>
                      <a:pt x="78" y="137"/>
                    </a:lnTo>
                    <a:lnTo>
                      <a:pt x="78" y="140"/>
                    </a:lnTo>
                    <a:lnTo>
                      <a:pt x="80" y="142"/>
                    </a:lnTo>
                    <a:lnTo>
                      <a:pt x="80" y="142"/>
                    </a:lnTo>
                    <a:lnTo>
                      <a:pt x="83" y="142"/>
                    </a:lnTo>
                    <a:lnTo>
                      <a:pt x="83" y="142"/>
                    </a:lnTo>
                    <a:lnTo>
                      <a:pt x="80" y="142"/>
                    </a:lnTo>
                    <a:lnTo>
                      <a:pt x="80" y="142"/>
                    </a:lnTo>
                    <a:lnTo>
                      <a:pt x="78" y="140"/>
                    </a:lnTo>
                    <a:lnTo>
                      <a:pt x="76" y="140"/>
                    </a:lnTo>
                    <a:lnTo>
                      <a:pt x="78" y="142"/>
                    </a:lnTo>
                    <a:lnTo>
                      <a:pt x="73" y="142"/>
                    </a:lnTo>
                    <a:lnTo>
                      <a:pt x="71" y="142"/>
                    </a:lnTo>
                    <a:lnTo>
                      <a:pt x="71" y="142"/>
                    </a:lnTo>
                    <a:lnTo>
                      <a:pt x="69" y="142"/>
                    </a:lnTo>
                    <a:lnTo>
                      <a:pt x="66" y="142"/>
                    </a:lnTo>
                    <a:lnTo>
                      <a:pt x="66" y="142"/>
                    </a:lnTo>
                    <a:lnTo>
                      <a:pt x="62" y="144"/>
                    </a:lnTo>
                    <a:lnTo>
                      <a:pt x="59" y="144"/>
                    </a:lnTo>
                    <a:lnTo>
                      <a:pt x="57" y="147"/>
                    </a:lnTo>
                    <a:lnTo>
                      <a:pt x="57" y="147"/>
                    </a:lnTo>
                    <a:lnTo>
                      <a:pt x="57" y="147"/>
                    </a:lnTo>
                    <a:lnTo>
                      <a:pt x="54" y="149"/>
                    </a:lnTo>
                    <a:lnTo>
                      <a:pt x="52" y="152"/>
                    </a:lnTo>
                    <a:lnTo>
                      <a:pt x="52" y="152"/>
                    </a:lnTo>
                    <a:lnTo>
                      <a:pt x="52" y="152"/>
                    </a:lnTo>
                    <a:lnTo>
                      <a:pt x="52" y="152"/>
                    </a:lnTo>
                    <a:lnTo>
                      <a:pt x="54" y="152"/>
                    </a:lnTo>
                    <a:lnTo>
                      <a:pt x="57" y="149"/>
                    </a:lnTo>
                    <a:lnTo>
                      <a:pt x="59" y="149"/>
                    </a:lnTo>
                    <a:lnTo>
                      <a:pt x="62" y="149"/>
                    </a:lnTo>
                    <a:lnTo>
                      <a:pt x="59" y="152"/>
                    </a:lnTo>
                    <a:lnTo>
                      <a:pt x="59" y="152"/>
                    </a:lnTo>
                    <a:lnTo>
                      <a:pt x="62" y="154"/>
                    </a:lnTo>
                    <a:lnTo>
                      <a:pt x="62" y="154"/>
                    </a:lnTo>
                    <a:lnTo>
                      <a:pt x="62" y="154"/>
                    </a:lnTo>
                    <a:lnTo>
                      <a:pt x="59" y="156"/>
                    </a:lnTo>
                    <a:lnTo>
                      <a:pt x="62" y="156"/>
                    </a:lnTo>
                    <a:lnTo>
                      <a:pt x="62" y="156"/>
                    </a:lnTo>
                    <a:lnTo>
                      <a:pt x="62" y="159"/>
                    </a:lnTo>
                    <a:lnTo>
                      <a:pt x="59" y="161"/>
                    </a:lnTo>
                    <a:lnTo>
                      <a:pt x="59" y="161"/>
                    </a:lnTo>
                    <a:lnTo>
                      <a:pt x="57" y="163"/>
                    </a:lnTo>
                    <a:lnTo>
                      <a:pt x="54" y="163"/>
                    </a:lnTo>
                    <a:lnTo>
                      <a:pt x="52" y="166"/>
                    </a:lnTo>
                    <a:lnTo>
                      <a:pt x="47" y="168"/>
                    </a:lnTo>
                    <a:lnTo>
                      <a:pt x="43" y="168"/>
                    </a:lnTo>
                    <a:lnTo>
                      <a:pt x="40" y="170"/>
                    </a:lnTo>
                    <a:lnTo>
                      <a:pt x="40" y="170"/>
                    </a:lnTo>
                    <a:lnTo>
                      <a:pt x="40" y="170"/>
                    </a:lnTo>
                    <a:lnTo>
                      <a:pt x="40" y="173"/>
                    </a:lnTo>
                    <a:lnTo>
                      <a:pt x="40" y="173"/>
                    </a:lnTo>
                    <a:lnTo>
                      <a:pt x="43" y="175"/>
                    </a:lnTo>
                    <a:lnTo>
                      <a:pt x="45" y="175"/>
                    </a:lnTo>
                    <a:lnTo>
                      <a:pt x="47" y="175"/>
                    </a:lnTo>
                    <a:lnTo>
                      <a:pt x="50" y="173"/>
                    </a:lnTo>
                    <a:lnTo>
                      <a:pt x="52" y="173"/>
                    </a:lnTo>
                    <a:lnTo>
                      <a:pt x="54" y="173"/>
                    </a:lnTo>
                    <a:lnTo>
                      <a:pt x="54" y="175"/>
                    </a:lnTo>
                    <a:lnTo>
                      <a:pt x="54" y="175"/>
                    </a:lnTo>
                    <a:lnTo>
                      <a:pt x="59" y="175"/>
                    </a:lnTo>
                    <a:lnTo>
                      <a:pt x="57" y="175"/>
                    </a:lnTo>
                    <a:lnTo>
                      <a:pt x="57" y="178"/>
                    </a:lnTo>
                    <a:lnTo>
                      <a:pt x="57" y="178"/>
                    </a:lnTo>
                    <a:lnTo>
                      <a:pt x="59" y="178"/>
                    </a:lnTo>
                    <a:lnTo>
                      <a:pt x="62" y="178"/>
                    </a:lnTo>
                    <a:lnTo>
                      <a:pt x="62" y="178"/>
                    </a:lnTo>
                    <a:lnTo>
                      <a:pt x="64" y="178"/>
                    </a:lnTo>
                    <a:lnTo>
                      <a:pt x="66" y="180"/>
                    </a:lnTo>
                    <a:lnTo>
                      <a:pt x="71" y="180"/>
                    </a:lnTo>
                    <a:lnTo>
                      <a:pt x="71" y="180"/>
                    </a:lnTo>
                    <a:lnTo>
                      <a:pt x="73" y="178"/>
                    </a:lnTo>
                    <a:lnTo>
                      <a:pt x="76" y="178"/>
                    </a:lnTo>
                    <a:lnTo>
                      <a:pt x="80" y="178"/>
                    </a:lnTo>
                    <a:lnTo>
                      <a:pt x="80" y="175"/>
                    </a:lnTo>
                    <a:lnTo>
                      <a:pt x="83" y="175"/>
                    </a:lnTo>
                    <a:lnTo>
                      <a:pt x="85" y="173"/>
                    </a:lnTo>
                    <a:lnTo>
                      <a:pt x="83" y="175"/>
                    </a:lnTo>
                    <a:lnTo>
                      <a:pt x="80" y="178"/>
                    </a:lnTo>
                    <a:lnTo>
                      <a:pt x="78" y="180"/>
                    </a:lnTo>
                    <a:lnTo>
                      <a:pt x="78" y="180"/>
                    </a:lnTo>
                    <a:lnTo>
                      <a:pt x="73" y="185"/>
                    </a:lnTo>
                    <a:lnTo>
                      <a:pt x="73" y="185"/>
                    </a:lnTo>
                    <a:lnTo>
                      <a:pt x="71" y="185"/>
                    </a:lnTo>
                    <a:lnTo>
                      <a:pt x="69" y="185"/>
                    </a:lnTo>
                    <a:lnTo>
                      <a:pt x="66" y="185"/>
                    </a:lnTo>
                    <a:lnTo>
                      <a:pt x="62" y="185"/>
                    </a:lnTo>
                    <a:lnTo>
                      <a:pt x="57" y="185"/>
                    </a:lnTo>
                    <a:lnTo>
                      <a:pt x="57" y="185"/>
                    </a:lnTo>
                    <a:lnTo>
                      <a:pt x="54" y="187"/>
                    </a:lnTo>
                    <a:lnTo>
                      <a:pt x="50" y="189"/>
                    </a:lnTo>
                    <a:lnTo>
                      <a:pt x="50" y="192"/>
                    </a:lnTo>
                    <a:lnTo>
                      <a:pt x="50" y="192"/>
                    </a:lnTo>
                    <a:lnTo>
                      <a:pt x="50" y="194"/>
                    </a:lnTo>
                    <a:lnTo>
                      <a:pt x="45" y="197"/>
                    </a:lnTo>
                    <a:lnTo>
                      <a:pt x="43" y="199"/>
                    </a:lnTo>
                    <a:lnTo>
                      <a:pt x="43" y="199"/>
                    </a:lnTo>
                    <a:lnTo>
                      <a:pt x="43" y="199"/>
                    </a:lnTo>
                    <a:lnTo>
                      <a:pt x="40" y="199"/>
                    </a:lnTo>
                    <a:lnTo>
                      <a:pt x="38" y="201"/>
                    </a:lnTo>
                    <a:lnTo>
                      <a:pt x="35" y="204"/>
                    </a:lnTo>
                    <a:lnTo>
                      <a:pt x="31" y="206"/>
                    </a:lnTo>
                    <a:lnTo>
                      <a:pt x="31" y="206"/>
                    </a:lnTo>
                    <a:lnTo>
                      <a:pt x="31" y="208"/>
                    </a:lnTo>
                    <a:lnTo>
                      <a:pt x="31" y="208"/>
                    </a:lnTo>
                    <a:lnTo>
                      <a:pt x="31" y="208"/>
                    </a:lnTo>
                    <a:lnTo>
                      <a:pt x="33" y="206"/>
                    </a:lnTo>
                    <a:lnTo>
                      <a:pt x="35" y="208"/>
                    </a:lnTo>
                    <a:lnTo>
                      <a:pt x="38" y="208"/>
                    </a:lnTo>
                    <a:lnTo>
                      <a:pt x="38" y="208"/>
                    </a:lnTo>
                    <a:lnTo>
                      <a:pt x="40" y="206"/>
                    </a:lnTo>
                    <a:lnTo>
                      <a:pt x="40" y="206"/>
                    </a:lnTo>
                    <a:lnTo>
                      <a:pt x="45" y="204"/>
                    </a:lnTo>
                    <a:lnTo>
                      <a:pt x="45" y="204"/>
                    </a:lnTo>
                    <a:lnTo>
                      <a:pt x="50" y="201"/>
                    </a:lnTo>
                    <a:lnTo>
                      <a:pt x="52" y="201"/>
                    </a:lnTo>
                    <a:lnTo>
                      <a:pt x="52" y="201"/>
                    </a:lnTo>
                    <a:lnTo>
                      <a:pt x="54" y="201"/>
                    </a:lnTo>
                    <a:lnTo>
                      <a:pt x="54" y="201"/>
                    </a:lnTo>
                    <a:lnTo>
                      <a:pt x="54" y="201"/>
                    </a:lnTo>
                    <a:lnTo>
                      <a:pt x="57" y="201"/>
                    </a:lnTo>
                    <a:lnTo>
                      <a:pt x="59" y="204"/>
                    </a:lnTo>
                    <a:lnTo>
                      <a:pt x="62" y="204"/>
                    </a:lnTo>
                    <a:lnTo>
                      <a:pt x="62" y="204"/>
                    </a:lnTo>
                    <a:lnTo>
                      <a:pt x="64" y="204"/>
                    </a:lnTo>
                    <a:lnTo>
                      <a:pt x="66" y="201"/>
                    </a:lnTo>
                    <a:lnTo>
                      <a:pt x="66" y="199"/>
                    </a:lnTo>
                    <a:lnTo>
                      <a:pt x="69" y="197"/>
                    </a:lnTo>
                    <a:lnTo>
                      <a:pt x="73" y="194"/>
                    </a:lnTo>
                    <a:lnTo>
                      <a:pt x="76" y="194"/>
                    </a:lnTo>
                    <a:lnTo>
                      <a:pt x="78" y="194"/>
                    </a:lnTo>
                    <a:lnTo>
                      <a:pt x="80" y="197"/>
                    </a:lnTo>
                    <a:lnTo>
                      <a:pt x="80" y="197"/>
                    </a:lnTo>
                    <a:lnTo>
                      <a:pt x="83" y="197"/>
                    </a:lnTo>
                    <a:lnTo>
                      <a:pt x="83" y="197"/>
                    </a:lnTo>
                    <a:lnTo>
                      <a:pt x="85" y="197"/>
                    </a:lnTo>
                    <a:lnTo>
                      <a:pt x="90" y="197"/>
                    </a:lnTo>
                    <a:lnTo>
                      <a:pt x="90" y="197"/>
                    </a:lnTo>
                    <a:lnTo>
                      <a:pt x="90" y="197"/>
                    </a:lnTo>
                    <a:lnTo>
                      <a:pt x="90" y="197"/>
                    </a:lnTo>
                    <a:lnTo>
                      <a:pt x="90" y="194"/>
                    </a:lnTo>
                    <a:lnTo>
                      <a:pt x="92" y="194"/>
                    </a:lnTo>
                    <a:lnTo>
                      <a:pt x="95" y="194"/>
                    </a:lnTo>
                    <a:lnTo>
                      <a:pt x="97" y="194"/>
                    </a:lnTo>
                    <a:lnTo>
                      <a:pt x="97" y="194"/>
                    </a:lnTo>
                    <a:lnTo>
                      <a:pt x="102" y="192"/>
                    </a:lnTo>
                    <a:lnTo>
                      <a:pt x="99" y="192"/>
                    </a:lnTo>
                    <a:lnTo>
                      <a:pt x="102" y="192"/>
                    </a:lnTo>
                    <a:lnTo>
                      <a:pt x="104" y="192"/>
                    </a:lnTo>
                    <a:lnTo>
                      <a:pt x="106" y="192"/>
                    </a:lnTo>
                    <a:lnTo>
                      <a:pt x="109" y="194"/>
                    </a:lnTo>
                    <a:lnTo>
                      <a:pt x="109" y="194"/>
                    </a:lnTo>
                    <a:lnTo>
                      <a:pt x="116" y="192"/>
                    </a:lnTo>
                    <a:lnTo>
                      <a:pt x="118" y="192"/>
                    </a:lnTo>
                    <a:lnTo>
                      <a:pt x="125" y="194"/>
                    </a:lnTo>
                    <a:lnTo>
                      <a:pt x="128" y="194"/>
                    </a:lnTo>
                    <a:lnTo>
                      <a:pt x="130" y="192"/>
                    </a:lnTo>
                    <a:lnTo>
                      <a:pt x="130" y="192"/>
                    </a:lnTo>
                    <a:lnTo>
                      <a:pt x="135" y="192"/>
                    </a:lnTo>
                    <a:lnTo>
                      <a:pt x="135" y="189"/>
                    </a:lnTo>
                    <a:lnTo>
                      <a:pt x="137" y="189"/>
                    </a:lnTo>
                    <a:lnTo>
                      <a:pt x="140" y="189"/>
                    </a:lnTo>
                    <a:lnTo>
                      <a:pt x="140" y="187"/>
                    </a:lnTo>
                    <a:lnTo>
                      <a:pt x="144" y="185"/>
                    </a:lnTo>
                    <a:lnTo>
                      <a:pt x="147" y="185"/>
                    </a:lnTo>
                    <a:lnTo>
                      <a:pt x="147" y="182"/>
                    </a:lnTo>
                    <a:lnTo>
                      <a:pt x="147" y="182"/>
                    </a:lnTo>
                    <a:lnTo>
                      <a:pt x="144" y="180"/>
                    </a:lnTo>
                    <a:lnTo>
                      <a:pt x="144" y="180"/>
                    </a:lnTo>
                    <a:lnTo>
                      <a:pt x="140" y="182"/>
                    </a:lnTo>
                    <a:lnTo>
                      <a:pt x="137" y="182"/>
                    </a:lnTo>
                    <a:lnTo>
                      <a:pt x="135" y="180"/>
                    </a:lnTo>
                    <a:lnTo>
                      <a:pt x="135" y="180"/>
                    </a:lnTo>
                    <a:lnTo>
                      <a:pt x="132" y="180"/>
                    </a:lnTo>
                    <a:lnTo>
                      <a:pt x="132" y="180"/>
                    </a:lnTo>
                    <a:lnTo>
                      <a:pt x="130" y="180"/>
                    </a:lnTo>
                    <a:lnTo>
                      <a:pt x="132" y="178"/>
                    </a:lnTo>
                    <a:lnTo>
                      <a:pt x="132" y="178"/>
                    </a:lnTo>
                    <a:lnTo>
                      <a:pt x="135" y="178"/>
                    </a:lnTo>
                    <a:lnTo>
                      <a:pt x="137" y="178"/>
                    </a:lnTo>
                    <a:lnTo>
                      <a:pt x="137" y="178"/>
                    </a:lnTo>
                    <a:lnTo>
                      <a:pt x="140" y="175"/>
                    </a:lnTo>
                    <a:lnTo>
                      <a:pt x="137" y="175"/>
                    </a:lnTo>
                    <a:lnTo>
                      <a:pt x="135" y="173"/>
                    </a:lnTo>
                    <a:lnTo>
                      <a:pt x="140" y="173"/>
                    </a:lnTo>
                    <a:lnTo>
                      <a:pt x="142" y="173"/>
                    </a:lnTo>
                    <a:lnTo>
                      <a:pt x="142" y="173"/>
                    </a:lnTo>
                    <a:lnTo>
                      <a:pt x="144" y="170"/>
                    </a:lnTo>
                    <a:lnTo>
                      <a:pt x="144" y="170"/>
                    </a:lnTo>
                    <a:lnTo>
                      <a:pt x="144" y="170"/>
                    </a:lnTo>
                    <a:lnTo>
                      <a:pt x="144" y="168"/>
                    </a:lnTo>
                    <a:lnTo>
                      <a:pt x="144" y="168"/>
                    </a:lnTo>
                    <a:lnTo>
                      <a:pt x="144" y="168"/>
                    </a:lnTo>
                    <a:lnTo>
                      <a:pt x="147" y="168"/>
                    </a:lnTo>
                    <a:lnTo>
                      <a:pt x="149" y="166"/>
                    </a:lnTo>
                    <a:lnTo>
                      <a:pt x="149" y="166"/>
                    </a:lnTo>
                    <a:lnTo>
                      <a:pt x="149" y="166"/>
                    </a:lnTo>
                    <a:lnTo>
                      <a:pt x="151" y="163"/>
                    </a:lnTo>
                    <a:lnTo>
                      <a:pt x="151" y="161"/>
                    </a:lnTo>
                    <a:lnTo>
                      <a:pt x="154" y="159"/>
                    </a:lnTo>
                    <a:lnTo>
                      <a:pt x="154" y="156"/>
                    </a:lnTo>
                    <a:lnTo>
                      <a:pt x="151" y="154"/>
                    </a:lnTo>
                    <a:moveTo>
                      <a:pt x="90" y="33"/>
                    </a:moveTo>
                    <a:lnTo>
                      <a:pt x="90" y="33"/>
                    </a:lnTo>
                    <a:lnTo>
                      <a:pt x="90" y="33"/>
                    </a:lnTo>
                    <a:lnTo>
                      <a:pt x="90" y="33"/>
                    </a:lnTo>
                    <a:lnTo>
                      <a:pt x="90" y="33"/>
                    </a:lnTo>
                    <a:lnTo>
                      <a:pt x="90" y="33"/>
                    </a:lnTo>
                    <a:lnTo>
                      <a:pt x="88" y="33"/>
                    </a:lnTo>
                    <a:lnTo>
                      <a:pt x="90" y="33"/>
                    </a:lnTo>
                    <a:moveTo>
                      <a:pt x="85" y="33"/>
                    </a:moveTo>
                    <a:lnTo>
                      <a:pt x="85" y="33"/>
                    </a:lnTo>
                    <a:lnTo>
                      <a:pt x="85" y="33"/>
                    </a:lnTo>
                    <a:lnTo>
                      <a:pt x="88" y="33"/>
                    </a:lnTo>
                    <a:lnTo>
                      <a:pt x="85" y="33"/>
                    </a:lnTo>
                    <a:lnTo>
                      <a:pt x="85" y="33"/>
                    </a:lnTo>
                    <a:lnTo>
                      <a:pt x="85" y="31"/>
                    </a:lnTo>
                    <a:lnTo>
                      <a:pt x="85" y="31"/>
                    </a:lnTo>
                    <a:lnTo>
                      <a:pt x="83" y="31"/>
                    </a:lnTo>
                    <a:lnTo>
                      <a:pt x="83" y="31"/>
                    </a:lnTo>
                    <a:lnTo>
                      <a:pt x="83" y="31"/>
                    </a:lnTo>
                    <a:lnTo>
                      <a:pt x="83" y="33"/>
                    </a:lnTo>
                    <a:lnTo>
                      <a:pt x="85" y="33"/>
                    </a:lnTo>
                    <a:moveTo>
                      <a:pt x="85" y="31"/>
                    </a:moveTo>
                    <a:lnTo>
                      <a:pt x="85" y="31"/>
                    </a:lnTo>
                    <a:lnTo>
                      <a:pt x="85" y="28"/>
                    </a:lnTo>
                    <a:lnTo>
                      <a:pt x="85" y="28"/>
                    </a:lnTo>
                    <a:lnTo>
                      <a:pt x="85" y="31"/>
                    </a:lnTo>
                    <a:lnTo>
                      <a:pt x="85" y="31"/>
                    </a:lnTo>
                    <a:lnTo>
                      <a:pt x="85" y="31"/>
                    </a:lnTo>
                    <a:lnTo>
                      <a:pt x="88" y="31"/>
                    </a:lnTo>
                    <a:lnTo>
                      <a:pt x="90" y="31"/>
                    </a:lnTo>
                    <a:lnTo>
                      <a:pt x="90" y="31"/>
                    </a:lnTo>
                    <a:lnTo>
                      <a:pt x="92" y="31"/>
                    </a:lnTo>
                    <a:lnTo>
                      <a:pt x="92" y="31"/>
                    </a:lnTo>
                    <a:lnTo>
                      <a:pt x="92" y="31"/>
                    </a:lnTo>
                    <a:lnTo>
                      <a:pt x="92" y="28"/>
                    </a:lnTo>
                    <a:lnTo>
                      <a:pt x="90" y="28"/>
                    </a:lnTo>
                    <a:lnTo>
                      <a:pt x="90" y="28"/>
                    </a:lnTo>
                    <a:lnTo>
                      <a:pt x="88" y="28"/>
                    </a:lnTo>
                    <a:lnTo>
                      <a:pt x="88" y="28"/>
                    </a:lnTo>
                    <a:lnTo>
                      <a:pt x="90" y="28"/>
                    </a:lnTo>
                    <a:lnTo>
                      <a:pt x="90" y="28"/>
                    </a:lnTo>
                    <a:lnTo>
                      <a:pt x="88" y="26"/>
                    </a:lnTo>
                    <a:lnTo>
                      <a:pt x="88" y="26"/>
                    </a:lnTo>
                    <a:lnTo>
                      <a:pt x="85" y="26"/>
                    </a:lnTo>
                    <a:lnTo>
                      <a:pt x="85" y="26"/>
                    </a:lnTo>
                    <a:lnTo>
                      <a:pt x="85" y="28"/>
                    </a:lnTo>
                    <a:lnTo>
                      <a:pt x="83" y="28"/>
                    </a:lnTo>
                    <a:lnTo>
                      <a:pt x="83" y="28"/>
                    </a:lnTo>
                    <a:lnTo>
                      <a:pt x="85" y="31"/>
                    </a:lnTo>
                    <a:moveTo>
                      <a:pt x="99" y="24"/>
                    </a:moveTo>
                    <a:lnTo>
                      <a:pt x="99" y="24"/>
                    </a:lnTo>
                    <a:lnTo>
                      <a:pt x="97" y="24"/>
                    </a:lnTo>
                    <a:lnTo>
                      <a:pt x="95" y="24"/>
                    </a:lnTo>
                    <a:lnTo>
                      <a:pt x="95" y="24"/>
                    </a:lnTo>
                    <a:lnTo>
                      <a:pt x="97" y="24"/>
                    </a:lnTo>
                    <a:lnTo>
                      <a:pt x="99" y="24"/>
                    </a:lnTo>
                    <a:moveTo>
                      <a:pt x="90" y="24"/>
                    </a:moveTo>
                    <a:lnTo>
                      <a:pt x="92" y="24"/>
                    </a:lnTo>
                    <a:lnTo>
                      <a:pt x="92" y="26"/>
                    </a:lnTo>
                    <a:lnTo>
                      <a:pt x="92" y="26"/>
                    </a:lnTo>
                    <a:lnTo>
                      <a:pt x="95" y="26"/>
                    </a:lnTo>
                    <a:lnTo>
                      <a:pt x="95" y="24"/>
                    </a:lnTo>
                    <a:lnTo>
                      <a:pt x="95" y="24"/>
                    </a:lnTo>
                    <a:lnTo>
                      <a:pt x="92" y="24"/>
                    </a:lnTo>
                    <a:lnTo>
                      <a:pt x="92" y="24"/>
                    </a:lnTo>
                    <a:lnTo>
                      <a:pt x="90" y="21"/>
                    </a:lnTo>
                    <a:lnTo>
                      <a:pt x="90" y="24"/>
                    </a:lnTo>
                    <a:lnTo>
                      <a:pt x="90" y="24"/>
                    </a:lnTo>
                    <a:lnTo>
                      <a:pt x="90" y="24"/>
                    </a:lnTo>
                    <a:lnTo>
                      <a:pt x="90" y="24"/>
                    </a:lnTo>
                    <a:moveTo>
                      <a:pt x="114" y="0"/>
                    </a:moveTo>
                    <a:lnTo>
                      <a:pt x="114" y="0"/>
                    </a:lnTo>
                    <a:lnTo>
                      <a:pt x="116" y="0"/>
                    </a:lnTo>
                    <a:lnTo>
                      <a:pt x="116" y="2"/>
                    </a:lnTo>
                    <a:lnTo>
                      <a:pt x="114" y="5"/>
                    </a:lnTo>
                    <a:lnTo>
                      <a:pt x="114" y="5"/>
                    </a:lnTo>
                    <a:lnTo>
                      <a:pt x="111" y="5"/>
                    </a:lnTo>
                    <a:lnTo>
                      <a:pt x="111" y="5"/>
                    </a:lnTo>
                    <a:lnTo>
                      <a:pt x="111" y="5"/>
                    </a:lnTo>
                    <a:lnTo>
                      <a:pt x="111" y="5"/>
                    </a:lnTo>
                    <a:lnTo>
                      <a:pt x="114" y="5"/>
                    </a:lnTo>
                    <a:lnTo>
                      <a:pt x="114" y="5"/>
                    </a:lnTo>
                    <a:lnTo>
                      <a:pt x="114" y="7"/>
                    </a:lnTo>
                    <a:lnTo>
                      <a:pt x="114" y="7"/>
                    </a:lnTo>
                    <a:lnTo>
                      <a:pt x="116" y="7"/>
                    </a:lnTo>
                    <a:lnTo>
                      <a:pt x="116" y="7"/>
                    </a:lnTo>
                    <a:lnTo>
                      <a:pt x="116" y="7"/>
                    </a:lnTo>
                    <a:lnTo>
                      <a:pt x="116" y="7"/>
                    </a:lnTo>
                    <a:lnTo>
                      <a:pt x="116" y="9"/>
                    </a:lnTo>
                    <a:lnTo>
                      <a:pt x="116" y="12"/>
                    </a:lnTo>
                    <a:lnTo>
                      <a:pt x="116" y="12"/>
                    </a:lnTo>
                    <a:lnTo>
                      <a:pt x="116" y="12"/>
                    </a:lnTo>
                    <a:lnTo>
                      <a:pt x="118" y="9"/>
                    </a:lnTo>
                    <a:lnTo>
                      <a:pt x="118" y="9"/>
                    </a:lnTo>
                    <a:lnTo>
                      <a:pt x="118" y="7"/>
                    </a:lnTo>
                    <a:lnTo>
                      <a:pt x="118" y="7"/>
                    </a:lnTo>
                    <a:lnTo>
                      <a:pt x="118" y="7"/>
                    </a:lnTo>
                    <a:lnTo>
                      <a:pt x="118" y="5"/>
                    </a:lnTo>
                    <a:lnTo>
                      <a:pt x="121" y="2"/>
                    </a:lnTo>
                    <a:lnTo>
                      <a:pt x="121" y="0"/>
                    </a:lnTo>
                    <a:lnTo>
                      <a:pt x="121" y="2"/>
                    </a:lnTo>
                    <a:lnTo>
                      <a:pt x="118" y="2"/>
                    </a:lnTo>
                    <a:lnTo>
                      <a:pt x="118" y="0"/>
                    </a:lnTo>
                    <a:lnTo>
                      <a:pt x="118" y="0"/>
                    </a:lnTo>
                  </a:path>
                </a:pathLst>
              </a:custGeom>
              <a:noFill/>
              <a:ln w="3175" cap="rnd">
                <a:solidFill>
                  <a:srgbClr val="F9F9F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5" name="Freeform 17"/>
              <p:cNvSpPr>
                <a:spLocks noEditPoints="1"/>
              </p:cNvSpPr>
              <p:nvPr/>
            </p:nvSpPr>
            <p:spPr bwMode="auto">
              <a:xfrm>
                <a:off x="3692" y="2248"/>
                <a:ext cx="86" cy="74"/>
              </a:xfrm>
              <a:custGeom>
                <a:avLst/>
                <a:gdLst>
                  <a:gd name="T0" fmla="*/ 43 w 86"/>
                  <a:gd name="T1" fmla="*/ 41 h 74"/>
                  <a:gd name="T2" fmla="*/ 41 w 86"/>
                  <a:gd name="T3" fmla="*/ 38 h 74"/>
                  <a:gd name="T4" fmla="*/ 38 w 86"/>
                  <a:gd name="T5" fmla="*/ 41 h 74"/>
                  <a:gd name="T6" fmla="*/ 19 w 86"/>
                  <a:gd name="T7" fmla="*/ 38 h 74"/>
                  <a:gd name="T8" fmla="*/ 17 w 86"/>
                  <a:gd name="T9" fmla="*/ 38 h 74"/>
                  <a:gd name="T10" fmla="*/ 31 w 86"/>
                  <a:gd name="T11" fmla="*/ 38 h 74"/>
                  <a:gd name="T12" fmla="*/ 34 w 86"/>
                  <a:gd name="T13" fmla="*/ 36 h 74"/>
                  <a:gd name="T14" fmla="*/ 31 w 86"/>
                  <a:gd name="T15" fmla="*/ 38 h 74"/>
                  <a:gd name="T16" fmla="*/ 31 w 86"/>
                  <a:gd name="T17" fmla="*/ 38 h 74"/>
                  <a:gd name="T18" fmla="*/ 53 w 86"/>
                  <a:gd name="T19" fmla="*/ 36 h 74"/>
                  <a:gd name="T20" fmla="*/ 50 w 86"/>
                  <a:gd name="T21" fmla="*/ 33 h 74"/>
                  <a:gd name="T22" fmla="*/ 50 w 86"/>
                  <a:gd name="T23" fmla="*/ 36 h 74"/>
                  <a:gd name="T24" fmla="*/ 83 w 86"/>
                  <a:gd name="T25" fmla="*/ 10 h 74"/>
                  <a:gd name="T26" fmla="*/ 81 w 86"/>
                  <a:gd name="T27" fmla="*/ 10 h 74"/>
                  <a:gd name="T28" fmla="*/ 81 w 86"/>
                  <a:gd name="T29" fmla="*/ 5 h 74"/>
                  <a:gd name="T30" fmla="*/ 79 w 86"/>
                  <a:gd name="T31" fmla="*/ 0 h 74"/>
                  <a:gd name="T32" fmla="*/ 79 w 86"/>
                  <a:gd name="T33" fmla="*/ 5 h 74"/>
                  <a:gd name="T34" fmla="*/ 67 w 86"/>
                  <a:gd name="T35" fmla="*/ 15 h 74"/>
                  <a:gd name="T36" fmla="*/ 62 w 86"/>
                  <a:gd name="T37" fmla="*/ 22 h 74"/>
                  <a:gd name="T38" fmla="*/ 55 w 86"/>
                  <a:gd name="T39" fmla="*/ 31 h 74"/>
                  <a:gd name="T40" fmla="*/ 53 w 86"/>
                  <a:gd name="T41" fmla="*/ 36 h 74"/>
                  <a:gd name="T42" fmla="*/ 50 w 86"/>
                  <a:gd name="T43" fmla="*/ 38 h 74"/>
                  <a:gd name="T44" fmla="*/ 41 w 86"/>
                  <a:gd name="T45" fmla="*/ 43 h 74"/>
                  <a:gd name="T46" fmla="*/ 19 w 86"/>
                  <a:gd name="T47" fmla="*/ 41 h 74"/>
                  <a:gd name="T48" fmla="*/ 10 w 86"/>
                  <a:gd name="T49" fmla="*/ 45 h 74"/>
                  <a:gd name="T50" fmla="*/ 3 w 86"/>
                  <a:gd name="T51" fmla="*/ 43 h 74"/>
                  <a:gd name="T52" fmla="*/ 0 w 86"/>
                  <a:gd name="T53" fmla="*/ 41 h 74"/>
                  <a:gd name="T54" fmla="*/ 0 w 86"/>
                  <a:gd name="T55" fmla="*/ 38 h 74"/>
                  <a:gd name="T56" fmla="*/ 0 w 86"/>
                  <a:gd name="T57" fmla="*/ 43 h 74"/>
                  <a:gd name="T58" fmla="*/ 3 w 86"/>
                  <a:gd name="T59" fmla="*/ 48 h 74"/>
                  <a:gd name="T60" fmla="*/ 8 w 86"/>
                  <a:gd name="T61" fmla="*/ 50 h 74"/>
                  <a:gd name="T62" fmla="*/ 10 w 86"/>
                  <a:gd name="T63" fmla="*/ 55 h 74"/>
                  <a:gd name="T64" fmla="*/ 12 w 86"/>
                  <a:gd name="T65" fmla="*/ 60 h 74"/>
                  <a:gd name="T66" fmla="*/ 17 w 86"/>
                  <a:gd name="T67" fmla="*/ 64 h 74"/>
                  <a:gd name="T68" fmla="*/ 22 w 86"/>
                  <a:gd name="T69" fmla="*/ 67 h 74"/>
                  <a:gd name="T70" fmla="*/ 24 w 86"/>
                  <a:gd name="T71" fmla="*/ 69 h 74"/>
                  <a:gd name="T72" fmla="*/ 36 w 86"/>
                  <a:gd name="T73" fmla="*/ 69 h 74"/>
                  <a:gd name="T74" fmla="*/ 48 w 86"/>
                  <a:gd name="T75" fmla="*/ 71 h 74"/>
                  <a:gd name="T76" fmla="*/ 57 w 86"/>
                  <a:gd name="T77" fmla="*/ 74 h 74"/>
                  <a:gd name="T78" fmla="*/ 64 w 86"/>
                  <a:gd name="T79" fmla="*/ 74 h 74"/>
                  <a:gd name="T80" fmla="*/ 67 w 86"/>
                  <a:gd name="T81" fmla="*/ 74 h 74"/>
                  <a:gd name="T82" fmla="*/ 67 w 86"/>
                  <a:gd name="T83" fmla="*/ 67 h 74"/>
                  <a:gd name="T84" fmla="*/ 69 w 86"/>
                  <a:gd name="T85" fmla="*/ 57 h 74"/>
                  <a:gd name="T86" fmla="*/ 71 w 86"/>
                  <a:gd name="T87" fmla="*/ 50 h 74"/>
                  <a:gd name="T88" fmla="*/ 71 w 86"/>
                  <a:gd name="T89" fmla="*/ 48 h 74"/>
                  <a:gd name="T90" fmla="*/ 76 w 86"/>
                  <a:gd name="T91" fmla="*/ 45 h 74"/>
                  <a:gd name="T92" fmla="*/ 81 w 86"/>
                  <a:gd name="T93" fmla="*/ 43 h 74"/>
                  <a:gd name="T94" fmla="*/ 79 w 86"/>
                  <a:gd name="T95" fmla="*/ 41 h 74"/>
                  <a:gd name="T96" fmla="*/ 76 w 86"/>
                  <a:gd name="T97" fmla="*/ 38 h 74"/>
                  <a:gd name="T98" fmla="*/ 76 w 86"/>
                  <a:gd name="T99" fmla="*/ 33 h 74"/>
                  <a:gd name="T100" fmla="*/ 76 w 86"/>
                  <a:gd name="T101" fmla="*/ 31 h 74"/>
                  <a:gd name="T102" fmla="*/ 76 w 86"/>
                  <a:gd name="T103" fmla="*/ 26 h 74"/>
                  <a:gd name="T104" fmla="*/ 79 w 86"/>
                  <a:gd name="T105" fmla="*/ 24 h 74"/>
                  <a:gd name="T106" fmla="*/ 79 w 86"/>
                  <a:gd name="T107" fmla="*/ 26 h 74"/>
                  <a:gd name="T108" fmla="*/ 79 w 86"/>
                  <a:gd name="T109" fmla="*/ 29 h 74"/>
                  <a:gd name="T110" fmla="*/ 81 w 86"/>
                  <a:gd name="T111" fmla="*/ 29 h 74"/>
                  <a:gd name="T112" fmla="*/ 86 w 86"/>
                  <a:gd name="T113" fmla="*/ 24 h 74"/>
                  <a:gd name="T114" fmla="*/ 86 w 86"/>
                  <a:gd name="T115" fmla="*/ 24 h 74"/>
                  <a:gd name="T116" fmla="*/ 83 w 86"/>
                  <a:gd name="T117" fmla="*/ 19 h 74"/>
                  <a:gd name="T118" fmla="*/ 83 w 86"/>
                  <a:gd name="T119" fmla="*/ 17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6" h="74">
                    <a:moveTo>
                      <a:pt x="41" y="43"/>
                    </a:moveTo>
                    <a:lnTo>
                      <a:pt x="41" y="41"/>
                    </a:lnTo>
                    <a:lnTo>
                      <a:pt x="43" y="41"/>
                    </a:lnTo>
                    <a:lnTo>
                      <a:pt x="43" y="41"/>
                    </a:lnTo>
                    <a:lnTo>
                      <a:pt x="43" y="41"/>
                    </a:lnTo>
                    <a:lnTo>
                      <a:pt x="41" y="38"/>
                    </a:lnTo>
                    <a:lnTo>
                      <a:pt x="38" y="41"/>
                    </a:lnTo>
                    <a:lnTo>
                      <a:pt x="38" y="41"/>
                    </a:lnTo>
                    <a:lnTo>
                      <a:pt x="38" y="41"/>
                    </a:lnTo>
                    <a:lnTo>
                      <a:pt x="41" y="43"/>
                    </a:lnTo>
                    <a:close/>
                    <a:moveTo>
                      <a:pt x="19" y="38"/>
                    </a:moveTo>
                    <a:lnTo>
                      <a:pt x="19" y="38"/>
                    </a:lnTo>
                    <a:lnTo>
                      <a:pt x="19" y="38"/>
                    </a:lnTo>
                    <a:lnTo>
                      <a:pt x="19" y="36"/>
                    </a:lnTo>
                    <a:lnTo>
                      <a:pt x="17" y="38"/>
                    </a:lnTo>
                    <a:lnTo>
                      <a:pt x="17" y="38"/>
                    </a:lnTo>
                    <a:lnTo>
                      <a:pt x="19" y="38"/>
                    </a:lnTo>
                    <a:close/>
                    <a:moveTo>
                      <a:pt x="31" y="38"/>
                    </a:moveTo>
                    <a:lnTo>
                      <a:pt x="34" y="38"/>
                    </a:lnTo>
                    <a:lnTo>
                      <a:pt x="34" y="38"/>
                    </a:lnTo>
                    <a:lnTo>
                      <a:pt x="34" y="36"/>
                    </a:lnTo>
                    <a:lnTo>
                      <a:pt x="34" y="36"/>
                    </a:lnTo>
                    <a:lnTo>
                      <a:pt x="31" y="36"/>
                    </a:lnTo>
                    <a:lnTo>
                      <a:pt x="31" y="38"/>
                    </a:lnTo>
                    <a:lnTo>
                      <a:pt x="29" y="38"/>
                    </a:lnTo>
                    <a:lnTo>
                      <a:pt x="31" y="38"/>
                    </a:lnTo>
                    <a:lnTo>
                      <a:pt x="31" y="38"/>
                    </a:lnTo>
                    <a:close/>
                    <a:moveTo>
                      <a:pt x="50" y="36"/>
                    </a:moveTo>
                    <a:lnTo>
                      <a:pt x="53" y="36"/>
                    </a:lnTo>
                    <a:lnTo>
                      <a:pt x="53" y="36"/>
                    </a:lnTo>
                    <a:lnTo>
                      <a:pt x="50" y="36"/>
                    </a:lnTo>
                    <a:lnTo>
                      <a:pt x="50" y="33"/>
                    </a:lnTo>
                    <a:lnTo>
                      <a:pt x="50" y="33"/>
                    </a:lnTo>
                    <a:lnTo>
                      <a:pt x="50" y="36"/>
                    </a:lnTo>
                    <a:lnTo>
                      <a:pt x="50" y="36"/>
                    </a:lnTo>
                    <a:lnTo>
                      <a:pt x="50" y="36"/>
                    </a:lnTo>
                    <a:close/>
                    <a:moveTo>
                      <a:pt x="86" y="24"/>
                    </a:moveTo>
                    <a:lnTo>
                      <a:pt x="83" y="12"/>
                    </a:lnTo>
                    <a:lnTo>
                      <a:pt x="83" y="10"/>
                    </a:lnTo>
                    <a:lnTo>
                      <a:pt x="83" y="10"/>
                    </a:lnTo>
                    <a:lnTo>
                      <a:pt x="83" y="10"/>
                    </a:lnTo>
                    <a:lnTo>
                      <a:pt x="81" y="10"/>
                    </a:lnTo>
                    <a:lnTo>
                      <a:pt x="81" y="10"/>
                    </a:lnTo>
                    <a:lnTo>
                      <a:pt x="81" y="7"/>
                    </a:lnTo>
                    <a:lnTo>
                      <a:pt x="81" y="5"/>
                    </a:lnTo>
                    <a:lnTo>
                      <a:pt x="81" y="3"/>
                    </a:lnTo>
                    <a:lnTo>
                      <a:pt x="81" y="0"/>
                    </a:lnTo>
                    <a:lnTo>
                      <a:pt x="79" y="0"/>
                    </a:lnTo>
                    <a:lnTo>
                      <a:pt x="79" y="0"/>
                    </a:lnTo>
                    <a:lnTo>
                      <a:pt x="79" y="0"/>
                    </a:lnTo>
                    <a:lnTo>
                      <a:pt x="79" y="5"/>
                    </a:lnTo>
                    <a:lnTo>
                      <a:pt x="76" y="7"/>
                    </a:lnTo>
                    <a:lnTo>
                      <a:pt x="69" y="12"/>
                    </a:lnTo>
                    <a:lnTo>
                      <a:pt x="67" y="15"/>
                    </a:lnTo>
                    <a:lnTo>
                      <a:pt x="67" y="17"/>
                    </a:lnTo>
                    <a:lnTo>
                      <a:pt x="67" y="19"/>
                    </a:lnTo>
                    <a:lnTo>
                      <a:pt x="62" y="22"/>
                    </a:lnTo>
                    <a:lnTo>
                      <a:pt x="57" y="29"/>
                    </a:lnTo>
                    <a:lnTo>
                      <a:pt x="55" y="29"/>
                    </a:lnTo>
                    <a:lnTo>
                      <a:pt x="55" y="31"/>
                    </a:lnTo>
                    <a:lnTo>
                      <a:pt x="55" y="33"/>
                    </a:lnTo>
                    <a:lnTo>
                      <a:pt x="53" y="33"/>
                    </a:lnTo>
                    <a:lnTo>
                      <a:pt x="53" y="36"/>
                    </a:lnTo>
                    <a:lnTo>
                      <a:pt x="53" y="38"/>
                    </a:lnTo>
                    <a:lnTo>
                      <a:pt x="50" y="38"/>
                    </a:lnTo>
                    <a:lnTo>
                      <a:pt x="50" y="38"/>
                    </a:lnTo>
                    <a:lnTo>
                      <a:pt x="48" y="41"/>
                    </a:lnTo>
                    <a:lnTo>
                      <a:pt x="43" y="43"/>
                    </a:lnTo>
                    <a:lnTo>
                      <a:pt x="41" y="43"/>
                    </a:lnTo>
                    <a:lnTo>
                      <a:pt x="31" y="43"/>
                    </a:lnTo>
                    <a:lnTo>
                      <a:pt x="26" y="41"/>
                    </a:lnTo>
                    <a:lnTo>
                      <a:pt x="19" y="41"/>
                    </a:lnTo>
                    <a:lnTo>
                      <a:pt x="17" y="43"/>
                    </a:lnTo>
                    <a:lnTo>
                      <a:pt x="12" y="45"/>
                    </a:lnTo>
                    <a:lnTo>
                      <a:pt x="10" y="45"/>
                    </a:lnTo>
                    <a:lnTo>
                      <a:pt x="5" y="45"/>
                    </a:lnTo>
                    <a:lnTo>
                      <a:pt x="5" y="45"/>
                    </a:lnTo>
                    <a:lnTo>
                      <a:pt x="3" y="43"/>
                    </a:lnTo>
                    <a:lnTo>
                      <a:pt x="3" y="38"/>
                    </a:lnTo>
                    <a:lnTo>
                      <a:pt x="3" y="38"/>
                    </a:lnTo>
                    <a:lnTo>
                      <a:pt x="0" y="41"/>
                    </a:lnTo>
                    <a:lnTo>
                      <a:pt x="0" y="38"/>
                    </a:lnTo>
                    <a:lnTo>
                      <a:pt x="0" y="38"/>
                    </a:lnTo>
                    <a:lnTo>
                      <a:pt x="0" y="38"/>
                    </a:lnTo>
                    <a:lnTo>
                      <a:pt x="0" y="38"/>
                    </a:lnTo>
                    <a:lnTo>
                      <a:pt x="0" y="43"/>
                    </a:lnTo>
                    <a:lnTo>
                      <a:pt x="0" y="43"/>
                    </a:lnTo>
                    <a:lnTo>
                      <a:pt x="0" y="43"/>
                    </a:lnTo>
                    <a:lnTo>
                      <a:pt x="3" y="45"/>
                    </a:lnTo>
                    <a:lnTo>
                      <a:pt x="3" y="48"/>
                    </a:lnTo>
                    <a:lnTo>
                      <a:pt x="5" y="48"/>
                    </a:lnTo>
                    <a:lnTo>
                      <a:pt x="5" y="50"/>
                    </a:lnTo>
                    <a:lnTo>
                      <a:pt x="8" y="50"/>
                    </a:lnTo>
                    <a:lnTo>
                      <a:pt x="8" y="52"/>
                    </a:lnTo>
                    <a:lnTo>
                      <a:pt x="8" y="55"/>
                    </a:lnTo>
                    <a:lnTo>
                      <a:pt x="10" y="55"/>
                    </a:lnTo>
                    <a:lnTo>
                      <a:pt x="10" y="57"/>
                    </a:lnTo>
                    <a:lnTo>
                      <a:pt x="12" y="57"/>
                    </a:lnTo>
                    <a:lnTo>
                      <a:pt x="12" y="60"/>
                    </a:lnTo>
                    <a:lnTo>
                      <a:pt x="15" y="62"/>
                    </a:lnTo>
                    <a:lnTo>
                      <a:pt x="17" y="64"/>
                    </a:lnTo>
                    <a:lnTo>
                      <a:pt x="17" y="64"/>
                    </a:lnTo>
                    <a:lnTo>
                      <a:pt x="19" y="67"/>
                    </a:lnTo>
                    <a:lnTo>
                      <a:pt x="19" y="67"/>
                    </a:lnTo>
                    <a:lnTo>
                      <a:pt x="22" y="67"/>
                    </a:lnTo>
                    <a:lnTo>
                      <a:pt x="22" y="67"/>
                    </a:lnTo>
                    <a:lnTo>
                      <a:pt x="22" y="67"/>
                    </a:lnTo>
                    <a:lnTo>
                      <a:pt x="24" y="69"/>
                    </a:lnTo>
                    <a:lnTo>
                      <a:pt x="29" y="69"/>
                    </a:lnTo>
                    <a:lnTo>
                      <a:pt x="31" y="69"/>
                    </a:lnTo>
                    <a:lnTo>
                      <a:pt x="36" y="69"/>
                    </a:lnTo>
                    <a:lnTo>
                      <a:pt x="38" y="69"/>
                    </a:lnTo>
                    <a:lnTo>
                      <a:pt x="43" y="71"/>
                    </a:lnTo>
                    <a:lnTo>
                      <a:pt x="48" y="71"/>
                    </a:lnTo>
                    <a:lnTo>
                      <a:pt x="50" y="71"/>
                    </a:lnTo>
                    <a:lnTo>
                      <a:pt x="55" y="71"/>
                    </a:lnTo>
                    <a:lnTo>
                      <a:pt x="57" y="74"/>
                    </a:lnTo>
                    <a:lnTo>
                      <a:pt x="62" y="74"/>
                    </a:lnTo>
                    <a:lnTo>
                      <a:pt x="62" y="74"/>
                    </a:lnTo>
                    <a:lnTo>
                      <a:pt x="64" y="74"/>
                    </a:lnTo>
                    <a:lnTo>
                      <a:pt x="64" y="74"/>
                    </a:lnTo>
                    <a:lnTo>
                      <a:pt x="67" y="74"/>
                    </a:lnTo>
                    <a:lnTo>
                      <a:pt x="67" y="74"/>
                    </a:lnTo>
                    <a:lnTo>
                      <a:pt x="67" y="71"/>
                    </a:lnTo>
                    <a:lnTo>
                      <a:pt x="67" y="69"/>
                    </a:lnTo>
                    <a:lnTo>
                      <a:pt x="67" y="67"/>
                    </a:lnTo>
                    <a:lnTo>
                      <a:pt x="67" y="64"/>
                    </a:lnTo>
                    <a:lnTo>
                      <a:pt x="69" y="62"/>
                    </a:lnTo>
                    <a:lnTo>
                      <a:pt x="69" y="57"/>
                    </a:lnTo>
                    <a:lnTo>
                      <a:pt x="71" y="55"/>
                    </a:lnTo>
                    <a:lnTo>
                      <a:pt x="71" y="52"/>
                    </a:lnTo>
                    <a:lnTo>
                      <a:pt x="71" y="50"/>
                    </a:lnTo>
                    <a:lnTo>
                      <a:pt x="71" y="48"/>
                    </a:lnTo>
                    <a:lnTo>
                      <a:pt x="71" y="48"/>
                    </a:lnTo>
                    <a:lnTo>
                      <a:pt x="71" y="48"/>
                    </a:lnTo>
                    <a:lnTo>
                      <a:pt x="71" y="45"/>
                    </a:lnTo>
                    <a:lnTo>
                      <a:pt x="71" y="45"/>
                    </a:lnTo>
                    <a:lnTo>
                      <a:pt x="76" y="45"/>
                    </a:lnTo>
                    <a:lnTo>
                      <a:pt x="76" y="45"/>
                    </a:lnTo>
                    <a:lnTo>
                      <a:pt x="79" y="43"/>
                    </a:lnTo>
                    <a:lnTo>
                      <a:pt x="81" y="43"/>
                    </a:lnTo>
                    <a:lnTo>
                      <a:pt x="81" y="43"/>
                    </a:lnTo>
                    <a:lnTo>
                      <a:pt x="81" y="41"/>
                    </a:lnTo>
                    <a:lnTo>
                      <a:pt x="79" y="41"/>
                    </a:lnTo>
                    <a:lnTo>
                      <a:pt x="76" y="41"/>
                    </a:lnTo>
                    <a:lnTo>
                      <a:pt x="76" y="41"/>
                    </a:lnTo>
                    <a:lnTo>
                      <a:pt x="76" y="38"/>
                    </a:lnTo>
                    <a:lnTo>
                      <a:pt x="76" y="36"/>
                    </a:lnTo>
                    <a:lnTo>
                      <a:pt x="76" y="36"/>
                    </a:lnTo>
                    <a:lnTo>
                      <a:pt x="76" y="33"/>
                    </a:lnTo>
                    <a:lnTo>
                      <a:pt x="76" y="33"/>
                    </a:lnTo>
                    <a:lnTo>
                      <a:pt x="76" y="31"/>
                    </a:lnTo>
                    <a:lnTo>
                      <a:pt x="76" y="31"/>
                    </a:lnTo>
                    <a:lnTo>
                      <a:pt x="76" y="29"/>
                    </a:lnTo>
                    <a:lnTo>
                      <a:pt x="76" y="26"/>
                    </a:lnTo>
                    <a:lnTo>
                      <a:pt x="76" y="26"/>
                    </a:lnTo>
                    <a:lnTo>
                      <a:pt x="76" y="24"/>
                    </a:lnTo>
                    <a:lnTo>
                      <a:pt x="79" y="24"/>
                    </a:lnTo>
                    <a:lnTo>
                      <a:pt x="79" y="24"/>
                    </a:lnTo>
                    <a:lnTo>
                      <a:pt x="79" y="24"/>
                    </a:lnTo>
                    <a:lnTo>
                      <a:pt x="79" y="26"/>
                    </a:lnTo>
                    <a:lnTo>
                      <a:pt x="79" y="26"/>
                    </a:lnTo>
                    <a:lnTo>
                      <a:pt x="79" y="26"/>
                    </a:lnTo>
                    <a:lnTo>
                      <a:pt x="79" y="26"/>
                    </a:lnTo>
                    <a:lnTo>
                      <a:pt x="79" y="29"/>
                    </a:lnTo>
                    <a:lnTo>
                      <a:pt x="81" y="29"/>
                    </a:lnTo>
                    <a:lnTo>
                      <a:pt x="81" y="29"/>
                    </a:lnTo>
                    <a:lnTo>
                      <a:pt x="81" y="29"/>
                    </a:lnTo>
                    <a:lnTo>
                      <a:pt x="83" y="26"/>
                    </a:lnTo>
                    <a:lnTo>
                      <a:pt x="83" y="26"/>
                    </a:lnTo>
                    <a:lnTo>
                      <a:pt x="86" y="24"/>
                    </a:lnTo>
                    <a:lnTo>
                      <a:pt x="86" y="24"/>
                    </a:lnTo>
                    <a:lnTo>
                      <a:pt x="86" y="24"/>
                    </a:lnTo>
                    <a:lnTo>
                      <a:pt x="86" y="24"/>
                    </a:lnTo>
                    <a:close/>
                    <a:moveTo>
                      <a:pt x="83" y="19"/>
                    </a:moveTo>
                    <a:lnTo>
                      <a:pt x="83" y="19"/>
                    </a:lnTo>
                    <a:lnTo>
                      <a:pt x="83" y="19"/>
                    </a:lnTo>
                    <a:lnTo>
                      <a:pt x="83" y="17"/>
                    </a:lnTo>
                    <a:lnTo>
                      <a:pt x="83" y="17"/>
                    </a:lnTo>
                    <a:lnTo>
                      <a:pt x="83" y="17"/>
                    </a:lnTo>
                    <a:lnTo>
                      <a:pt x="83" y="17"/>
                    </a:lnTo>
                    <a:lnTo>
                      <a:pt x="83" y="19"/>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18"/>
              <p:cNvSpPr>
                <a:spLocks noEditPoints="1"/>
              </p:cNvSpPr>
              <p:nvPr/>
            </p:nvSpPr>
            <p:spPr bwMode="auto">
              <a:xfrm>
                <a:off x="3137" y="1699"/>
                <a:ext cx="291" cy="166"/>
              </a:xfrm>
              <a:custGeom>
                <a:avLst/>
                <a:gdLst>
                  <a:gd name="T0" fmla="*/ 291 w 291"/>
                  <a:gd name="T1" fmla="*/ 83 h 166"/>
                  <a:gd name="T2" fmla="*/ 286 w 291"/>
                  <a:gd name="T3" fmla="*/ 76 h 166"/>
                  <a:gd name="T4" fmla="*/ 283 w 291"/>
                  <a:gd name="T5" fmla="*/ 69 h 166"/>
                  <a:gd name="T6" fmla="*/ 288 w 291"/>
                  <a:gd name="T7" fmla="*/ 57 h 166"/>
                  <a:gd name="T8" fmla="*/ 274 w 291"/>
                  <a:gd name="T9" fmla="*/ 52 h 166"/>
                  <a:gd name="T10" fmla="*/ 257 w 291"/>
                  <a:gd name="T11" fmla="*/ 50 h 166"/>
                  <a:gd name="T12" fmla="*/ 241 w 291"/>
                  <a:gd name="T13" fmla="*/ 40 h 166"/>
                  <a:gd name="T14" fmla="*/ 224 w 291"/>
                  <a:gd name="T15" fmla="*/ 43 h 166"/>
                  <a:gd name="T16" fmla="*/ 210 w 291"/>
                  <a:gd name="T17" fmla="*/ 36 h 166"/>
                  <a:gd name="T18" fmla="*/ 208 w 291"/>
                  <a:gd name="T19" fmla="*/ 26 h 166"/>
                  <a:gd name="T20" fmla="*/ 194 w 291"/>
                  <a:gd name="T21" fmla="*/ 24 h 166"/>
                  <a:gd name="T22" fmla="*/ 186 w 291"/>
                  <a:gd name="T23" fmla="*/ 14 h 166"/>
                  <a:gd name="T24" fmla="*/ 177 w 291"/>
                  <a:gd name="T25" fmla="*/ 0 h 166"/>
                  <a:gd name="T26" fmla="*/ 156 w 291"/>
                  <a:gd name="T27" fmla="*/ 5 h 166"/>
                  <a:gd name="T28" fmla="*/ 139 w 291"/>
                  <a:gd name="T29" fmla="*/ 7 h 166"/>
                  <a:gd name="T30" fmla="*/ 132 w 291"/>
                  <a:gd name="T31" fmla="*/ 19 h 166"/>
                  <a:gd name="T32" fmla="*/ 115 w 291"/>
                  <a:gd name="T33" fmla="*/ 19 h 166"/>
                  <a:gd name="T34" fmla="*/ 104 w 291"/>
                  <a:gd name="T35" fmla="*/ 17 h 166"/>
                  <a:gd name="T36" fmla="*/ 92 w 291"/>
                  <a:gd name="T37" fmla="*/ 14 h 166"/>
                  <a:gd name="T38" fmla="*/ 82 w 291"/>
                  <a:gd name="T39" fmla="*/ 17 h 166"/>
                  <a:gd name="T40" fmla="*/ 63 w 291"/>
                  <a:gd name="T41" fmla="*/ 9 h 166"/>
                  <a:gd name="T42" fmla="*/ 33 w 291"/>
                  <a:gd name="T43" fmla="*/ 9 h 166"/>
                  <a:gd name="T44" fmla="*/ 18 w 291"/>
                  <a:gd name="T45" fmla="*/ 14 h 166"/>
                  <a:gd name="T46" fmla="*/ 28 w 291"/>
                  <a:gd name="T47" fmla="*/ 31 h 166"/>
                  <a:gd name="T48" fmla="*/ 26 w 291"/>
                  <a:gd name="T49" fmla="*/ 38 h 166"/>
                  <a:gd name="T50" fmla="*/ 7 w 291"/>
                  <a:gd name="T51" fmla="*/ 57 h 166"/>
                  <a:gd name="T52" fmla="*/ 9 w 291"/>
                  <a:gd name="T53" fmla="*/ 69 h 166"/>
                  <a:gd name="T54" fmla="*/ 0 w 291"/>
                  <a:gd name="T55" fmla="*/ 80 h 166"/>
                  <a:gd name="T56" fmla="*/ 7 w 291"/>
                  <a:gd name="T57" fmla="*/ 88 h 166"/>
                  <a:gd name="T58" fmla="*/ 11 w 291"/>
                  <a:gd name="T59" fmla="*/ 90 h 166"/>
                  <a:gd name="T60" fmla="*/ 30 w 291"/>
                  <a:gd name="T61" fmla="*/ 90 h 166"/>
                  <a:gd name="T62" fmla="*/ 49 w 291"/>
                  <a:gd name="T63" fmla="*/ 95 h 166"/>
                  <a:gd name="T64" fmla="*/ 73 w 291"/>
                  <a:gd name="T65" fmla="*/ 83 h 166"/>
                  <a:gd name="T66" fmla="*/ 87 w 291"/>
                  <a:gd name="T67" fmla="*/ 80 h 166"/>
                  <a:gd name="T68" fmla="*/ 101 w 291"/>
                  <a:gd name="T69" fmla="*/ 85 h 166"/>
                  <a:gd name="T70" fmla="*/ 113 w 291"/>
                  <a:gd name="T71" fmla="*/ 90 h 166"/>
                  <a:gd name="T72" fmla="*/ 115 w 291"/>
                  <a:gd name="T73" fmla="*/ 102 h 166"/>
                  <a:gd name="T74" fmla="*/ 123 w 291"/>
                  <a:gd name="T75" fmla="*/ 109 h 166"/>
                  <a:gd name="T76" fmla="*/ 134 w 291"/>
                  <a:gd name="T77" fmla="*/ 123 h 166"/>
                  <a:gd name="T78" fmla="*/ 123 w 291"/>
                  <a:gd name="T79" fmla="*/ 121 h 166"/>
                  <a:gd name="T80" fmla="*/ 115 w 291"/>
                  <a:gd name="T81" fmla="*/ 121 h 166"/>
                  <a:gd name="T82" fmla="*/ 108 w 291"/>
                  <a:gd name="T83" fmla="*/ 137 h 166"/>
                  <a:gd name="T84" fmla="*/ 108 w 291"/>
                  <a:gd name="T85" fmla="*/ 144 h 166"/>
                  <a:gd name="T86" fmla="*/ 125 w 291"/>
                  <a:gd name="T87" fmla="*/ 142 h 166"/>
                  <a:gd name="T88" fmla="*/ 132 w 291"/>
                  <a:gd name="T89" fmla="*/ 135 h 166"/>
                  <a:gd name="T90" fmla="*/ 151 w 291"/>
                  <a:gd name="T91" fmla="*/ 118 h 166"/>
                  <a:gd name="T92" fmla="*/ 160 w 291"/>
                  <a:gd name="T93" fmla="*/ 109 h 166"/>
                  <a:gd name="T94" fmla="*/ 170 w 291"/>
                  <a:gd name="T95" fmla="*/ 118 h 166"/>
                  <a:gd name="T96" fmla="*/ 163 w 291"/>
                  <a:gd name="T97" fmla="*/ 121 h 166"/>
                  <a:gd name="T98" fmla="*/ 175 w 291"/>
                  <a:gd name="T99" fmla="*/ 128 h 166"/>
                  <a:gd name="T100" fmla="*/ 189 w 291"/>
                  <a:gd name="T101" fmla="*/ 135 h 166"/>
                  <a:gd name="T102" fmla="*/ 194 w 291"/>
                  <a:gd name="T103" fmla="*/ 149 h 166"/>
                  <a:gd name="T104" fmla="*/ 208 w 291"/>
                  <a:gd name="T105" fmla="*/ 163 h 166"/>
                  <a:gd name="T106" fmla="*/ 231 w 291"/>
                  <a:gd name="T107" fmla="*/ 152 h 166"/>
                  <a:gd name="T108" fmla="*/ 236 w 291"/>
                  <a:gd name="T109" fmla="*/ 142 h 166"/>
                  <a:gd name="T110" fmla="*/ 212 w 291"/>
                  <a:gd name="T111" fmla="*/ 130 h 166"/>
                  <a:gd name="T112" fmla="*/ 217 w 291"/>
                  <a:gd name="T113" fmla="*/ 128 h 166"/>
                  <a:gd name="T114" fmla="*/ 241 w 291"/>
                  <a:gd name="T115" fmla="*/ 116 h 166"/>
                  <a:gd name="T116" fmla="*/ 265 w 291"/>
                  <a:gd name="T117" fmla="*/ 107 h 166"/>
                  <a:gd name="T118" fmla="*/ 267 w 291"/>
                  <a:gd name="T119" fmla="*/ 99 h 166"/>
                  <a:gd name="T120" fmla="*/ 288 w 291"/>
                  <a:gd name="T121" fmla="*/ 92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91" h="166">
                    <a:moveTo>
                      <a:pt x="160" y="125"/>
                    </a:moveTo>
                    <a:lnTo>
                      <a:pt x="158" y="125"/>
                    </a:lnTo>
                    <a:lnTo>
                      <a:pt x="158" y="123"/>
                    </a:lnTo>
                    <a:lnTo>
                      <a:pt x="158" y="125"/>
                    </a:lnTo>
                    <a:lnTo>
                      <a:pt x="158" y="125"/>
                    </a:lnTo>
                    <a:lnTo>
                      <a:pt x="160" y="125"/>
                    </a:lnTo>
                    <a:lnTo>
                      <a:pt x="165" y="128"/>
                    </a:lnTo>
                    <a:lnTo>
                      <a:pt x="168" y="128"/>
                    </a:lnTo>
                    <a:lnTo>
                      <a:pt x="165" y="125"/>
                    </a:lnTo>
                    <a:lnTo>
                      <a:pt x="160" y="125"/>
                    </a:lnTo>
                    <a:close/>
                    <a:moveTo>
                      <a:pt x="291" y="83"/>
                    </a:moveTo>
                    <a:lnTo>
                      <a:pt x="291" y="83"/>
                    </a:lnTo>
                    <a:lnTo>
                      <a:pt x="291" y="83"/>
                    </a:lnTo>
                    <a:lnTo>
                      <a:pt x="291" y="83"/>
                    </a:lnTo>
                    <a:lnTo>
                      <a:pt x="288" y="83"/>
                    </a:lnTo>
                    <a:lnTo>
                      <a:pt x="291" y="83"/>
                    </a:lnTo>
                    <a:lnTo>
                      <a:pt x="291" y="80"/>
                    </a:lnTo>
                    <a:lnTo>
                      <a:pt x="288" y="80"/>
                    </a:lnTo>
                    <a:lnTo>
                      <a:pt x="288" y="78"/>
                    </a:lnTo>
                    <a:lnTo>
                      <a:pt x="288" y="78"/>
                    </a:lnTo>
                    <a:lnTo>
                      <a:pt x="286" y="78"/>
                    </a:lnTo>
                    <a:lnTo>
                      <a:pt x="286" y="76"/>
                    </a:lnTo>
                    <a:lnTo>
                      <a:pt x="286" y="73"/>
                    </a:lnTo>
                    <a:lnTo>
                      <a:pt x="286" y="73"/>
                    </a:lnTo>
                    <a:lnTo>
                      <a:pt x="286" y="73"/>
                    </a:lnTo>
                    <a:lnTo>
                      <a:pt x="288" y="73"/>
                    </a:lnTo>
                    <a:lnTo>
                      <a:pt x="291" y="73"/>
                    </a:lnTo>
                    <a:lnTo>
                      <a:pt x="291" y="73"/>
                    </a:lnTo>
                    <a:lnTo>
                      <a:pt x="291" y="71"/>
                    </a:lnTo>
                    <a:lnTo>
                      <a:pt x="288" y="71"/>
                    </a:lnTo>
                    <a:lnTo>
                      <a:pt x="286" y="71"/>
                    </a:lnTo>
                    <a:lnTo>
                      <a:pt x="286" y="69"/>
                    </a:lnTo>
                    <a:lnTo>
                      <a:pt x="283" y="69"/>
                    </a:lnTo>
                    <a:lnTo>
                      <a:pt x="286" y="69"/>
                    </a:lnTo>
                    <a:lnTo>
                      <a:pt x="288" y="66"/>
                    </a:lnTo>
                    <a:lnTo>
                      <a:pt x="288" y="66"/>
                    </a:lnTo>
                    <a:lnTo>
                      <a:pt x="291" y="64"/>
                    </a:lnTo>
                    <a:lnTo>
                      <a:pt x="291" y="64"/>
                    </a:lnTo>
                    <a:lnTo>
                      <a:pt x="291" y="62"/>
                    </a:lnTo>
                    <a:lnTo>
                      <a:pt x="291" y="62"/>
                    </a:lnTo>
                    <a:lnTo>
                      <a:pt x="288" y="59"/>
                    </a:lnTo>
                    <a:lnTo>
                      <a:pt x="288" y="59"/>
                    </a:lnTo>
                    <a:lnTo>
                      <a:pt x="291" y="57"/>
                    </a:lnTo>
                    <a:lnTo>
                      <a:pt x="288" y="57"/>
                    </a:lnTo>
                    <a:lnTo>
                      <a:pt x="288" y="57"/>
                    </a:lnTo>
                    <a:lnTo>
                      <a:pt x="288" y="57"/>
                    </a:lnTo>
                    <a:lnTo>
                      <a:pt x="286" y="57"/>
                    </a:lnTo>
                    <a:lnTo>
                      <a:pt x="283" y="57"/>
                    </a:lnTo>
                    <a:lnTo>
                      <a:pt x="281" y="54"/>
                    </a:lnTo>
                    <a:lnTo>
                      <a:pt x="279" y="54"/>
                    </a:lnTo>
                    <a:lnTo>
                      <a:pt x="276" y="54"/>
                    </a:lnTo>
                    <a:lnTo>
                      <a:pt x="276" y="54"/>
                    </a:lnTo>
                    <a:lnTo>
                      <a:pt x="274" y="52"/>
                    </a:lnTo>
                    <a:lnTo>
                      <a:pt x="274" y="52"/>
                    </a:lnTo>
                    <a:lnTo>
                      <a:pt x="274" y="52"/>
                    </a:lnTo>
                    <a:lnTo>
                      <a:pt x="272" y="52"/>
                    </a:lnTo>
                    <a:lnTo>
                      <a:pt x="272" y="52"/>
                    </a:lnTo>
                    <a:lnTo>
                      <a:pt x="269" y="52"/>
                    </a:lnTo>
                    <a:lnTo>
                      <a:pt x="267" y="50"/>
                    </a:lnTo>
                    <a:lnTo>
                      <a:pt x="265" y="50"/>
                    </a:lnTo>
                    <a:lnTo>
                      <a:pt x="262" y="50"/>
                    </a:lnTo>
                    <a:lnTo>
                      <a:pt x="262" y="50"/>
                    </a:lnTo>
                    <a:lnTo>
                      <a:pt x="257" y="47"/>
                    </a:lnTo>
                    <a:lnTo>
                      <a:pt x="257" y="47"/>
                    </a:lnTo>
                    <a:lnTo>
                      <a:pt x="257" y="47"/>
                    </a:lnTo>
                    <a:lnTo>
                      <a:pt x="257" y="50"/>
                    </a:lnTo>
                    <a:lnTo>
                      <a:pt x="257" y="50"/>
                    </a:lnTo>
                    <a:lnTo>
                      <a:pt x="255" y="50"/>
                    </a:lnTo>
                    <a:lnTo>
                      <a:pt x="255" y="50"/>
                    </a:lnTo>
                    <a:lnTo>
                      <a:pt x="253" y="50"/>
                    </a:lnTo>
                    <a:lnTo>
                      <a:pt x="248" y="45"/>
                    </a:lnTo>
                    <a:lnTo>
                      <a:pt x="248" y="43"/>
                    </a:lnTo>
                    <a:lnTo>
                      <a:pt x="246" y="43"/>
                    </a:lnTo>
                    <a:lnTo>
                      <a:pt x="246" y="40"/>
                    </a:lnTo>
                    <a:lnTo>
                      <a:pt x="243" y="40"/>
                    </a:lnTo>
                    <a:lnTo>
                      <a:pt x="243" y="40"/>
                    </a:lnTo>
                    <a:lnTo>
                      <a:pt x="241" y="40"/>
                    </a:lnTo>
                    <a:lnTo>
                      <a:pt x="238" y="40"/>
                    </a:lnTo>
                    <a:lnTo>
                      <a:pt x="238" y="40"/>
                    </a:lnTo>
                    <a:lnTo>
                      <a:pt x="236" y="40"/>
                    </a:lnTo>
                    <a:lnTo>
                      <a:pt x="234" y="43"/>
                    </a:lnTo>
                    <a:lnTo>
                      <a:pt x="231" y="43"/>
                    </a:lnTo>
                    <a:lnTo>
                      <a:pt x="231" y="45"/>
                    </a:lnTo>
                    <a:lnTo>
                      <a:pt x="229" y="43"/>
                    </a:lnTo>
                    <a:lnTo>
                      <a:pt x="229" y="43"/>
                    </a:lnTo>
                    <a:lnTo>
                      <a:pt x="227" y="43"/>
                    </a:lnTo>
                    <a:lnTo>
                      <a:pt x="227" y="43"/>
                    </a:lnTo>
                    <a:lnTo>
                      <a:pt x="224" y="43"/>
                    </a:lnTo>
                    <a:lnTo>
                      <a:pt x="224" y="40"/>
                    </a:lnTo>
                    <a:lnTo>
                      <a:pt x="222" y="40"/>
                    </a:lnTo>
                    <a:lnTo>
                      <a:pt x="220" y="40"/>
                    </a:lnTo>
                    <a:lnTo>
                      <a:pt x="220" y="40"/>
                    </a:lnTo>
                    <a:lnTo>
                      <a:pt x="217" y="40"/>
                    </a:lnTo>
                    <a:lnTo>
                      <a:pt x="215" y="40"/>
                    </a:lnTo>
                    <a:lnTo>
                      <a:pt x="215" y="40"/>
                    </a:lnTo>
                    <a:lnTo>
                      <a:pt x="212" y="40"/>
                    </a:lnTo>
                    <a:lnTo>
                      <a:pt x="212" y="38"/>
                    </a:lnTo>
                    <a:lnTo>
                      <a:pt x="210" y="38"/>
                    </a:lnTo>
                    <a:lnTo>
                      <a:pt x="210" y="36"/>
                    </a:lnTo>
                    <a:lnTo>
                      <a:pt x="210" y="36"/>
                    </a:lnTo>
                    <a:lnTo>
                      <a:pt x="210" y="33"/>
                    </a:lnTo>
                    <a:lnTo>
                      <a:pt x="210" y="33"/>
                    </a:lnTo>
                    <a:lnTo>
                      <a:pt x="210" y="33"/>
                    </a:lnTo>
                    <a:lnTo>
                      <a:pt x="210" y="31"/>
                    </a:lnTo>
                    <a:lnTo>
                      <a:pt x="208" y="31"/>
                    </a:lnTo>
                    <a:lnTo>
                      <a:pt x="208" y="28"/>
                    </a:lnTo>
                    <a:lnTo>
                      <a:pt x="208" y="28"/>
                    </a:lnTo>
                    <a:lnTo>
                      <a:pt x="208" y="28"/>
                    </a:lnTo>
                    <a:lnTo>
                      <a:pt x="208" y="26"/>
                    </a:lnTo>
                    <a:lnTo>
                      <a:pt x="208" y="26"/>
                    </a:lnTo>
                    <a:lnTo>
                      <a:pt x="205" y="26"/>
                    </a:lnTo>
                    <a:lnTo>
                      <a:pt x="205" y="26"/>
                    </a:lnTo>
                    <a:lnTo>
                      <a:pt x="205" y="26"/>
                    </a:lnTo>
                    <a:lnTo>
                      <a:pt x="203" y="24"/>
                    </a:lnTo>
                    <a:lnTo>
                      <a:pt x="203" y="24"/>
                    </a:lnTo>
                    <a:lnTo>
                      <a:pt x="203" y="24"/>
                    </a:lnTo>
                    <a:lnTo>
                      <a:pt x="201" y="24"/>
                    </a:lnTo>
                    <a:lnTo>
                      <a:pt x="198" y="24"/>
                    </a:lnTo>
                    <a:lnTo>
                      <a:pt x="198" y="24"/>
                    </a:lnTo>
                    <a:lnTo>
                      <a:pt x="196" y="24"/>
                    </a:lnTo>
                    <a:lnTo>
                      <a:pt x="194" y="24"/>
                    </a:lnTo>
                    <a:lnTo>
                      <a:pt x="189" y="24"/>
                    </a:lnTo>
                    <a:lnTo>
                      <a:pt x="189" y="24"/>
                    </a:lnTo>
                    <a:lnTo>
                      <a:pt x="189" y="21"/>
                    </a:lnTo>
                    <a:lnTo>
                      <a:pt x="191" y="21"/>
                    </a:lnTo>
                    <a:lnTo>
                      <a:pt x="191" y="21"/>
                    </a:lnTo>
                    <a:lnTo>
                      <a:pt x="189" y="21"/>
                    </a:lnTo>
                    <a:lnTo>
                      <a:pt x="189" y="19"/>
                    </a:lnTo>
                    <a:lnTo>
                      <a:pt x="189" y="19"/>
                    </a:lnTo>
                    <a:lnTo>
                      <a:pt x="189" y="17"/>
                    </a:lnTo>
                    <a:lnTo>
                      <a:pt x="186" y="14"/>
                    </a:lnTo>
                    <a:lnTo>
                      <a:pt x="186" y="14"/>
                    </a:lnTo>
                    <a:lnTo>
                      <a:pt x="186" y="14"/>
                    </a:lnTo>
                    <a:lnTo>
                      <a:pt x="189" y="14"/>
                    </a:lnTo>
                    <a:lnTo>
                      <a:pt x="191" y="14"/>
                    </a:lnTo>
                    <a:lnTo>
                      <a:pt x="191" y="12"/>
                    </a:lnTo>
                    <a:lnTo>
                      <a:pt x="191" y="12"/>
                    </a:lnTo>
                    <a:lnTo>
                      <a:pt x="186" y="7"/>
                    </a:lnTo>
                    <a:lnTo>
                      <a:pt x="184" y="5"/>
                    </a:lnTo>
                    <a:lnTo>
                      <a:pt x="182" y="2"/>
                    </a:lnTo>
                    <a:lnTo>
                      <a:pt x="179" y="0"/>
                    </a:lnTo>
                    <a:lnTo>
                      <a:pt x="179" y="0"/>
                    </a:lnTo>
                    <a:lnTo>
                      <a:pt x="177" y="0"/>
                    </a:lnTo>
                    <a:lnTo>
                      <a:pt x="175" y="0"/>
                    </a:lnTo>
                    <a:lnTo>
                      <a:pt x="172" y="0"/>
                    </a:lnTo>
                    <a:lnTo>
                      <a:pt x="170" y="0"/>
                    </a:lnTo>
                    <a:lnTo>
                      <a:pt x="165" y="2"/>
                    </a:lnTo>
                    <a:lnTo>
                      <a:pt x="165" y="2"/>
                    </a:lnTo>
                    <a:lnTo>
                      <a:pt x="160" y="2"/>
                    </a:lnTo>
                    <a:lnTo>
                      <a:pt x="158" y="0"/>
                    </a:lnTo>
                    <a:lnTo>
                      <a:pt x="158" y="0"/>
                    </a:lnTo>
                    <a:lnTo>
                      <a:pt x="158" y="2"/>
                    </a:lnTo>
                    <a:lnTo>
                      <a:pt x="158" y="2"/>
                    </a:lnTo>
                    <a:lnTo>
                      <a:pt x="156" y="5"/>
                    </a:lnTo>
                    <a:lnTo>
                      <a:pt x="156" y="5"/>
                    </a:lnTo>
                    <a:lnTo>
                      <a:pt x="153" y="7"/>
                    </a:lnTo>
                    <a:lnTo>
                      <a:pt x="153" y="7"/>
                    </a:lnTo>
                    <a:lnTo>
                      <a:pt x="151" y="7"/>
                    </a:lnTo>
                    <a:lnTo>
                      <a:pt x="149" y="7"/>
                    </a:lnTo>
                    <a:lnTo>
                      <a:pt x="149" y="5"/>
                    </a:lnTo>
                    <a:lnTo>
                      <a:pt x="149" y="5"/>
                    </a:lnTo>
                    <a:lnTo>
                      <a:pt x="144" y="5"/>
                    </a:lnTo>
                    <a:lnTo>
                      <a:pt x="142" y="5"/>
                    </a:lnTo>
                    <a:lnTo>
                      <a:pt x="139" y="7"/>
                    </a:lnTo>
                    <a:lnTo>
                      <a:pt x="139" y="7"/>
                    </a:lnTo>
                    <a:lnTo>
                      <a:pt x="137" y="5"/>
                    </a:lnTo>
                    <a:lnTo>
                      <a:pt x="134" y="7"/>
                    </a:lnTo>
                    <a:lnTo>
                      <a:pt x="134" y="9"/>
                    </a:lnTo>
                    <a:lnTo>
                      <a:pt x="132" y="9"/>
                    </a:lnTo>
                    <a:lnTo>
                      <a:pt x="132" y="12"/>
                    </a:lnTo>
                    <a:lnTo>
                      <a:pt x="130" y="12"/>
                    </a:lnTo>
                    <a:lnTo>
                      <a:pt x="130" y="14"/>
                    </a:lnTo>
                    <a:lnTo>
                      <a:pt x="130" y="17"/>
                    </a:lnTo>
                    <a:lnTo>
                      <a:pt x="130" y="17"/>
                    </a:lnTo>
                    <a:lnTo>
                      <a:pt x="132" y="19"/>
                    </a:lnTo>
                    <a:lnTo>
                      <a:pt x="132" y="19"/>
                    </a:lnTo>
                    <a:lnTo>
                      <a:pt x="132" y="21"/>
                    </a:lnTo>
                    <a:lnTo>
                      <a:pt x="130" y="21"/>
                    </a:lnTo>
                    <a:lnTo>
                      <a:pt x="130" y="21"/>
                    </a:lnTo>
                    <a:lnTo>
                      <a:pt x="130" y="21"/>
                    </a:lnTo>
                    <a:lnTo>
                      <a:pt x="127" y="21"/>
                    </a:lnTo>
                    <a:lnTo>
                      <a:pt x="127" y="19"/>
                    </a:lnTo>
                    <a:lnTo>
                      <a:pt x="125" y="19"/>
                    </a:lnTo>
                    <a:lnTo>
                      <a:pt x="125" y="19"/>
                    </a:lnTo>
                    <a:lnTo>
                      <a:pt x="123" y="19"/>
                    </a:lnTo>
                    <a:lnTo>
                      <a:pt x="120" y="19"/>
                    </a:lnTo>
                    <a:lnTo>
                      <a:pt x="115" y="19"/>
                    </a:lnTo>
                    <a:lnTo>
                      <a:pt x="113" y="19"/>
                    </a:lnTo>
                    <a:lnTo>
                      <a:pt x="113" y="19"/>
                    </a:lnTo>
                    <a:lnTo>
                      <a:pt x="111" y="19"/>
                    </a:lnTo>
                    <a:lnTo>
                      <a:pt x="111" y="19"/>
                    </a:lnTo>
                    <a:lnTo>
                      <a:pt x="108" y="17"/>
                    </a:lnTo>
                    <a:lnTo>
                      <a:pt x="108" y="17"/>
                    </a:lnTo>
                    <a:lnTo>
                      <a:pt x="106" y="14"/>
                    </a:lnTo>
                    <a:lnTo>
                      <a:pt x="106" y="14"/>
                    </a:lnTo>
                    <a:lnTo>
                      <a:pt x="106" y="14"/>
                    </a:lnTo>
                    <a:lnTo>
                      <a:pt x="106" y="17"/>
                    </a:lnTo>
                    <a:lnTo>
                      <a:pt x="104" y="17"/>
                    </a:lnTo>
                    <a:lnTo>
                      <a:pt x="104" y="17"/>
                    </a:lnTo>
                    <a:lnTo>
                      <a:pt x="104" y="17"/>
                    </a:lnTo>
                    <a:lnTo>
                      <a:pt x="101" y="17"/>
                    </a:lnTo>
                    <a:lnTo>
                      <a:pt x="101" y="19"/>
                    </a:lnTo>
                    <a:lnTo>
                      <a:pt x="101" y="19"/>
                    </a:lnTo>
                    <a:lnTo>
                      <a:pt x="99" y="19"/>
                    </a:lnTo>
                    <a:lnTo>
                      <a:pt x="99" y="17"/>
                    </a:lnTo>
                    <a:lnTo>
                      <a:pt x="97" y="17"/>
                    </a:lnTo>
                    <a:lnTo>
                      <a:pt x="97" y="17"/>
                    </a:lnTo>
                    <a:lnTo>
                      <a:pt x="94" y="17"/>
                    </a:lnTo>
                    <a:lnTo>
                      <a:pt x="92" y="14"/>
                    </a:lnTo>
                    <a:lnTo>
                      <a:pt x="92" y="17"/>
                    </a:lnTo>
                    <a:lnTo>
                      <a:pt x="89" y="17"/>
                    </a:lnTo>
                    <a:lnTo>
                      <a:pt x="89" y="17"/>
                    </a:lnTo>
                    <a:lnTo>
                      <a:pt x="87" y="17"/>
                    </a:lnTo>
                    <a:lnTo>
                      <a:pt x="87" y="17"/>
                    </a:lnTo>
                    <a:lnTo>
                      <a:pt x="85" y="17"/>
                    </a:lnTo>
                    <a:lnTo>
                      <a:pt x="85" y="19"/>
                    </a:lnTo>
                    <a:lnTo>
                      <a:pt x="85" y="19"/>
                    </a:lnTo>
                    <a:lnTo>
                      <a:pt x="85" y="17"/>
                    </a:lnTo>
                    <a:lnTo>
                      <a:pt x="85" y="17"/>
                    </a:lnTo>
                    <a:lnTo>
                      <a:pt x="82" y="17"/>
                    </a:lnTo>
                    <a:lnTo>
                      <a:pt x="80" y="14"/>
                    </a:lnTo>
                    <a:lnTo>
                      <a:pt x="78" y="17"/>
                    </a:lnTo>
                    <a:lnTo>
                      <a:pt x="78" y="17"/>
                    </a:lnTo>
                    <a:lnTo>
                      <a:pt x="78" y="14"/>
                    </a:lnTo>
                    <a:lnTo>
                      <a:pt x="75" y="12"/>
                    </a:lnTo>
                    <a:lnTo>
                      <a:pt x="73" y="12"/>
                    </a:lnTo>
                    <a:lnTo>
                      <a:pt x="73" y="12"/>
                    </a:lnTo>
                    <a:lnTo>
                      <a:pt x="68" y="12"/>
                    </a:lnTo>
                    <a:lnTo>
                      <a:pt x="66" y="12"/>
                    </a:lnTo>
                    <a:lnTo>
                      <a:pt x="63" y="12"/>
                    </a:lnTo>
                    <a:lnTo>
                      <a:pt x="63" y="9"/>
                    </a:lnTo>
                    <a:lnTo>
                      <a:pt x="61" y="9"/>
                    </a:lnTo>
                    <a:lnTo>
                      <a:pt x="54" y="9"/>
                    </a:lnTo>
                    <a:lnTo>
                      <a:pt x="54" y="9"/>
                    </a:lnTo>
                    <a:lnTo>
                      <a:pt x="49" y="9"/>
                    </a:lnTo>
                    <a:lnTo>
                      <a:pt x="45" y="9"/>
                    </a:lnTo>
                    <a:lnTo>
                      <a:pt x="42" y="9"/>
                    </a:lnTo>
                    <a:lnTo>
                      <a:pt x="40" y="9"/>
                    </a:lnTo>
                    <a:lnTo>
                      <a:pt x="37" y="9"/>
                    </a:lnTo>
                    <a:lnTo>
                      <a:pt x="35" y="9"/>
                    </a:lnTo>
                    <a:lnTo>
                      <a:pt x="35" y="9"/>
                    </a:lnTo>
                    <a:lnTo>
                      <a:pt x="33" y="9"/>
                    </a:lnTo>
                    <a:lnTo>
                      <a:pt x="30" y="9"/>
                    </a:lnTo>
                    <a:lnTo>
                      <a:pt x="30" y="9"/>
                    </a:lnTo>
                    <a:lnTo>
                      <a:pt x="28" y="12"/>
                    </a:lnTo>
                    <a:lnTo>
                      <a:pt x="28" y="14"/>
                    </a:lnTo>
                    <a:lnTo>
                      <a:pt x="26" y="17"/>
                    </a:lnTo>
                    <a:lnTo>
                      <a:pt x="23" y="17"/>
                    </a:lnTo>
                    <a:lnTo>
                      <a:pt x="23" y="14"/>
                    </a:lnTo>
                    <a:lnTo>
                      <a:pt x="21" y="14"/>
                    </a:lnTo>
                    <a:lnTo>
                      <a:pt x="21" y="14"/>
                    </a:lnTo>
                    <a:lnTo>
                      <a:pt x="18" y="14"/>
                    </a:lnTo>
                    <a:lnTo>
                      <a:pt x="18" y="14"/>
                    </a:lnTo>
                    <a:lnTo>
                      <a:pt x="18" y="17"/>
                    </a:lnTo>
                    <a:lnTo>
                      <a:pt x="18" y="17"/>
                    </a:lnTo>
                    <a:lnTo>
                      <a:pt x="18" y="19"/>
                    </a:lnTo>
                    <a:lnTo>
                      <a:pt x="21" y="19"/>
                    </a:lnTo>
                    <a:lnTo>
                      <a:pt x="21" y="21"/>
                    </a:lnTo>
                    <a:lnTo>
                      <a:pt x="21" y="21"/>
                    </a:lnTo>
                    <a:lnTo>
                      <a:pt x="21" y="21"/>
                    </a:lnTo>
                    <a:lnTo>
                      <a:pt x="23" y="26"/>
                    </a:lnTo>
                    <a:lnTo>
                      <a:pt x="26" y="28"/>
                    </a:lnTo>
                    <a:lnTo>
                      <a:pt x="26" y="28"/>
                    </a:lnTo>
                    <a:lnTo>
                      <a:pt x="28" y="31"/>
                    </a:lnTo>
                    <a:lnTo>
                      <a:pt x="28" y="31"/>
                    </a:lnTo>
                    <a:lnTo>
                      <a:pt x="28" y="31"/>
                    </a:lnTo>
                    <a:lnTo>
                      <a:pt x="26" y="31"/>
                    </a:lnTo>
                    <a:lnTo>
                      <a:pt x="26" y="31"/>
                    </a:lnTo>
                    <a:lnTo>
                      <a:pt x="26" y="33"/>
                    </a:lnTo>
                    <a:lnTo>
                      <a:pt x="26" y="33"/>
                    </a:lnTo>
                    <a:lnTo>
                      <a:pt x="28" y="33"/>
                    </a:lnTo>
                    <a:lnTo>
                      <a:pt x="28" y="36"/>
                    </a:lnTo>
                    <a:lnTo>
                      <a:pt x="28" y="38"/>
                    </a:lnTo>
                    <a:lnTo>
                      <a:pt x="28" y="38"/>
                    </a:lnTo>
                    <a:lnTo>
                      <a:pt x="26" y="38"/>
                    </a:lnTo>
                    <a:lnTo>
                      <a:pt x="26" y="40"/>
                    </a:lnTo>
                    <a:lnTo>
                      <a:pt x="23" y="40"/>
                    </a:lnTo>
                    <a:lnTo>
                      <a:pt x="21" y="43"/>
                    </a:lnTo>
                    <a:lnTo>
                      <a:pt x="18" y="43"/>
                    </a:lnTo>
                    <a:lnTo>
                      <a:pt x="18" y="45"/>
                    </a:lnTo>
                    <a:lnTo>
                      <a:pt x="16" y="47"/>
                    </a:lnTo>
                    <a:lnTo>
                      <a:pt x="11" y="50"/>
                    </a:lnTo>
                    <a:lnTo>
                      <a:pt x="11" y="52"/>
                    </a:lnTo>
                    <a:lnTo>
                      <a:pt x="9" y="52"/>
                    </a:lnTo>
                    <a:lnTo>
                      <a:pt x="7" y="57"/>
                    </a:lnTo>
                    <a:lnTo>
                      <a:pt x="7" y="57"/>
                    </a:lnTo>
                    <a:lnTo>
                      <a:pt x="7" y="59"/>
                    </a:lnTo>
                    <a:lnTo>
                      <a:pt x="7" y="62"/>
                    </a:lnTo>
                    <a:lnTo>
                      <a:pt x="7" y="62"/>
                    </a:lnTo>
                    <a:lnTo>
                      <a:pt x="7" y="64"/>
                    </a:lnTo>
                    <a:lnTo>
                      <a:pt x="7" y="64"/>
                    </a:lnTo>
                    <a:lnTo>
                      <a:pt x="7" y="66"/>
                    </a:lnTo>
                    <a:lnTo>
                      <a:pt x="9" y="66"/>
                    </a:lnTo>
                    <a:lnTo>
                      <a:pt x="9" y="66"/>
                    </a:lnTo>
                    <a:lnTo>
                      <a:pt x="9" y="66"/>
                    </a:lnTo>
                    <a:lnTo>
                      <a:pt x="9" y="69"/>
                    </a:lnTo>
                    <a:lnTo>
                      <a:pt x="9" y="69"/>
                    </a:lnTo>
                    <a:lnTo>
                      <a:pt x="7" y="69"/>
                    </a:lnTo>
                    <a:lnTo>
                      <a:pt x="7" y="66"/>
                    </a:lnTo>
                    <a:lnTo>
                      <a:pt x="4" y="66"/>
                    </a:lnTo>
                    <a:lnTo>
                      <a:pt x="4" y="69"/>
                    </a:lnTo>
                    <a:lnTo>
                      <a:pt x="4" y="69"/>
                    </a:lnTo>
                    <a:lnTo>
                      <a:pt x="4" y="71"/>
                    </a:lnTo>
                    <a:lnTo>
                      <a:pt x="2" y="71"/>
                    </a:lnTo>
                    <a:lnTo>
                      <a:pt x="2" y="73"/>
                    </a:lnTo>
                    <a:lnTo>
                      <a:pt x="2" y="76"/>
                    </a:lnTo>
                    <a:lnTo>
                      <a:pt x="0" y="78"/>
                    </a:lnTo>
                    <a:lnTo>
                      <a:pt x="0" y="80"/>
                    </a:lnTo>
                    <a:lnTo>
                      <a:pt x="0" y="80"/>
                    </a:lnTo>
                    <a:lnTo>
                      <a:pt x="0" y="80"/>
                    </a:lnTo>
                    <a:lnTo>
                      <a:pt x="2" y="80"/>
                    </a:lnTo>
                    <a:lnTo>
                      <a:pt x="2" y="83"/>
                    </a:lnTo>
                    <a:lnTo>
                      <a:pt x="2" y="83"/>
                    </a:lnTo>
                    <a:lnTo>
                      <a:pt x="2" y="83"/>
                    </a:lnTo>
                    <a:lnTo>
                      <a:pt x="2" y="83"/>
                    </a:lnTo>
                    <a:lnTo>
                      <a:pt x="2" y="85"/>
                    </a:lnTo>
                    <a:lnTo>
                      <a:pt x="4" y="85"/>
                    </a:lnTo>
                    <a:lnTo>
                      <a:pt x="7" y="85"/>
                    </a:lnTo>
                    <a:lnTo>
                      <a:pt x="7" y="88"/>
                    </a:lnTo>
                    <a:lnTo>
                      <a:pt x="9" y="88"/>
                    </a:lnTo>
                    <a:lnTo>
                      <a:pt x="9" y="88"/>
                    </a:lnTo>
                    <a:lnTo>
                      <a:pt x="9" y="88"/>
                    </a:lnTo>
                    <a:lnTo>
                      <a:pt x="9" y="88"/>
                    </a:lnTo>
                    <a:lnTo>
                      <a:pt x="9" y="88"/>
                    </a:lnTo>
                    <a:lnTo>
                      <a:pt x="11" y="88"/>
                    </a:lnTo>
                    <a:lnTo>
                      <a:pt x="11" y="88"/>
                    </a:lnTo>
                    <a:lnTo>
                      <a:pt x="11" y="90"/>
                    </a:lnTo>
                    <a:lnTo>
                      <a:pt x="11" y="90"/>
                    </a:lnTo>
                    <a:lnTo>
                      <a:pt x="11" y="90"/>
                    </a:lnTo>
                    <a:lnTo>
                      <a:pt x="11" y="90"/>
                    </a:lnTo>
                    <a:lnTo>
                      <a:pt x="14" y="90"/>
                    </a:lnTo>
                    <a:lnTo>
                      <a:pt x="16" y="88"/>
                    </a:lnTo>
                    <a:lnTo>
                      <a:pt x="16" y="88"/>
                    </a:lnTo>
                    <a:lnTo>
                      <a:pt x="16" y="88"/>
                    </a:lnTo>
                    <a:lnTo>
                      <a:pt x="21" y="90"/>
                    </a:lnTo>
                    <a:lnTo>
                      <a:pt x="23" y="90"/>
                    </a:lnTo>
                    <a:lnTo>
                      <a:pt x="26" y="90"/>
                    </a:lnTo>
                    <a:lnTo>
                      <a:pt x="26" y="90"/>
                    </a:lnTo>
                    <a:lnTo>
                      <a:pt x="26" y="90"/>
                    </a:lnTo>
                    <a:lnTo>
                      <a:pt x="30" y="90"/>
                    </a:lnTo>
                    <a:lnTo>
                      <a:pt x="30" y="90"/>
                    </a:lnTo>
                    <a:lnTo>
                      <a:pt x="30" y="90"/>
                    </a:lnTo>
                    <a:lnTo>
                      <a:pt x="33" y="92"/>
                    </a:lnTo>
                    <a:lnTo>
                      <a:pt x="35" y="92"/>
                    </a:lnTo>
                    <a:lnTo>
                      <a:pt x="37" y="90"/>
                    </a:lnTo>
                    <a:lnTo>
                      <a:pt x="37" y="90"/>
                    </a:lnTo>
                    <a:lnTo>
                      <a:pt x="40" y="90"/>
                    </a:lnTo>
                    <a:lnTo>
                      <a:pt x="42" y="92"/>
                    </a:lnTo>
                    <a:lnTo>
                      <a:pt x="45" y="95"/>
                    </a:lnTo>
                    <a:lnTo>
                      <a:pt x="45" y="95"/>
                    </a:lnTo>
                    <a:lnTo>
                      <a:pt x="47" y="95"/>
                    </a:lnTo>
                    <a:lnTo>
                      <a:pt x="49" y="95"/>
                    </a:lnTo>
                    <a:lnTo>
                      <a:pt x="49" y="92"/>
                    </a:lnTo>
                    <a:lnTo>
                      <a:pt x="54" y="92"/>
                    </a:lnTo>
                    <a:lnTo>
                      <a:pt x="59" y="90"/>
                    </a:lnTo>
                    <a:lnTo>
                      <a:pt x="61" y="90"/>
                    </a:lnTo>
                    <a:lnTo>
                      <a:pt x="66" y="90"/>
                    </a:lnTo>
                    <a:lnTo>
                      <a:pt x="66" y="88"/>
                    </a:lnTo>
                    <a:lnTo>
                      <a:pt x="68" y="88"/>
                    </a:lnTo>
                    <a:lnTo>
                      <a:pt x="68" y="85"/>
                    </a:lnTo>
                    <a:lnTo>
                      <a:pt x="71" y="85"/>
                    </a:lnTo>
                    <a:lnTo>
                      <a:pt x="73" y="85"/>
                    </a:lnTo>
                    <a:lnTo>
                      <a:pt x="73" y="83"/>
                    </a:lnTo>
                    <a:lnTo>
                      <a:pt x="73" y="83"/>
                    </a:lnTo>
                    <a:lnTo>
                      <a:pt x="75" y="80"/>
                    </a:lnTo>
                    <a:lnTo>
                      <a:pt x="78" y="83"/>
                    </a:lnTo>
                    <a:lnTo>
                      <a:pt x="80" y="83"/>
                    </a:lnTo>
                    <a:lnTo>
                      <a:pt x="82" y="83"/>
                    </a:lnTo>
                    <a:lnTo>
                      <a:pt x="85" y="80"/>
                    </a:lnTo>
                    <a:lnTo>
                      <a:pt x="85" y="80"/>
                    </a:lnTo>
                    <a:lnTo>
                      <a:pt x="87" y="80"/>
                    </a:lnTo>
                    <a:lnTo>
                      <a:pt x="87" y="80"/>
                    </a:lnTo>
                    <a:lnTo>
                      <a:pt x="87" y="80"/>
                    </a:lnTo>
                    <a:lnTo>
                      <a:pt x="87" y="80"/>
                    </a:lnTo>
                    <a:lnTo>
                      <a:pt x="89" y="80"/>
                    </a:lnTo>
                    <a:lnTo>
                      <a:pt x="92" y="80"/>
                    </a:lnTo>
                    <a:lnTo>
                      <a:pt x="94" y="83"/>
                    </a:lnTo>
                    <a:lnTo>
                      <a:pt x="94" y="83"/>
                    </a:lnTo>
                    <a:lnTo>
                      <a:pt x="97" y="83"/>
                    </a:lnTo>
                    <a:lnTo>
                      <a:pt x="97" y="83"/>
                    </a:lnTo>
                    <a:lnTo>
                      <a:pt x="97" y="85"/>
                    </a:lnTo>
                    <a:lnTo>
                      <a:pt x="99" y="85"/>
                    </a:lnTo>
                    <a:lnTo>
                      <a:pt x="101" y="85"/>
                    </a:lnTo>
                    <a:lnTo>
                      <a:pt x="101" y="85"/>
                    </a:lnTo>
                    <a:lnTo>
                      <a:pt x="101" y="85"/>
                    </a:lnTo>
                    <a:lnTo>
                      <a:pt x="101" y="85"/>
                    </a:lnTo>
                    <a:lnTo>
                      <a:pt x="101" y="85"/>
                    </a:lnTo>
                    <a:lnTo>
                      <a:pt x="104" y="85"/>
                    </a:lnTo>
                    <a:lnTo>
                      <a:pt x="104" y="88"/>
                    </a:lnTo>
                    <a:lnTo>
                      <a:pt x="104" y="88"/>
                    </a:lnTo>
                    <a:lnTo>
                      <a:pt x="104" y="85"/>
                    </a:lnTo>
                    <a:lnTo>
                      <a:pt x="106" y="85"/>
                    </a:lnTo>
                    <a:lnTo>
                      <a:pt x="108" y="88"/>
                    </a:lnTo>
                    <a:lnTo>
                      <a:pt x="111" y="90"/>
                    </a:lnTo>
                    <a:lnTo>
                      <a:pt x="111" y="90"/>
                    </a:lnTo>
                    <a:lnTo>
                      <a:pt x="113" y="90"/>
                    </a:lnTo>
                    <a:lnTo>
                      <a:pt x="113" y="90"/>
                    </a:lnTo>
                    <a:lnTo>
                      <a:pt x="113" y="90"/>
                    </a:lnTo>
                    <a:lnTo>
                      <a:pt x="115" y="90"/>
                    </a:lnTo>
                    <a:lnTo>
                      <a:pt x="115" y="92"/>
                    </a:lnTo>
                    <a:lnTo>
                      <a:pt x="115" y="95"/>
                    </a:lnTo>
                    <a:lnTo>
                      <a:pt x="115" y="95"/>
                    </a:lnTo>
                    <a:lnTo>
                      <a:pt x="115" y="97"/>
                    </a:lnTo>
                    <a:lnTo>
                      <a:pt x="115" y="97"/>
                    </a:lnTo>
                    <a:lnTo>
                      <a:pt x="115" y="99"/>
                    </a:lnTo>
                    <a:lnTo>
                      <a:pt x="115" y="99"/>
                    </a:lnTo>
                    <a:lnTo>
                      <a:pt x="115" y="102"/>
                    </a:lnTo>
                    <a:lnTo>
                      <a:pt x="115" y="102"/>
                    </a:lnTo>
                    <a:lnTo>
                      <a:pt x="118" y="102"/>
                    </a:lnTo>
                    <a:lnTo>
                      <a:pt x="120" y="104"/>
                    </a:lnTo>
                    <a:lnTo>
                      <a:pt x="120" y="104"/>
                    </a:lnTo>
                    <a:lnTo>
                      <a:pt x="123" y="104"/>
                    </a:lnTo>
                    <a:lnTo>
                      <a:pt x="123" y="104"/>
                    </a:lnTo>
                    <a:lnTo>
                      <a:pt x="123" y="104"/>
                    </a:lnTo>
                    <a:lnTo>
                      <a:pt x="123" y="107"/>
                    </a:lnTo>
                    <a:lnTo>
                      <a:pt x="123" y="107"/>
                    </a:lnTo>
                    <a:lnTo>
                      <a:pt x="123" y="109"/>
                    </a:lnTo>
                    <a:lnTo>
                      <a:pt x="123" y="109"/>
                    </a:lnTo>
                    <a:lnTo>
                      <a:pt x="123" y="111"/>
                    </a:lnTo>
                    <a:lnTo>
                      <a:pt x="123" y="111"/>
                    </a:lnTo>
                    <a:lnTo>
                      <a:pt x="125" y="111"/>
                    </a:lnTo>
                    <a:lnTo>
                      <a:pt x="127" y="114"/>
                    </a:lnTo>
                    <a:lnTo>
                      <a:pt x="130" y="114"/>
                    </a:lnTo>
                    <a:lnTo>
                      <a:pt x="130" y="114"/>
                    </a:lnTo>
                    <a:lnTo>
                      <a:pt x="130" y="116"/>
                    </a:lnTo>
                    <a:lnTo>
                      <a:pt x="130" y="118"/>
                    </a:lnTo>
                    <a:lnTo>
                      <a:pt x="130" y="121"/>
                    </a:lnTo>
                    <a:lnTo>
                      <a:pt x="134" y="123"/>
                    </a:lnTo>
                    <a:lnTo>
                      <a:pt x="134" y="123"/>
                    </a:lnTo>
                    <a:lnTo>
                      <a:pt x="132" y="123"/>
                    </a:lnTo>
                    <a:lnTo>
                      <a:pt x="130" y="123"/>
                    </a:lnTo>
                    <a:lnTo>
                      <a:pt x="130" y="123"/>
                    </a:lnTo>
                    <a:lnTo>
                      <a:pt x="127" y="121"/>
                    </a:lnTo>
                    <a:lnTo>
                      <a:pt x="127" y="121"/>
                    </a:lnTo>
                    <a:lnTo>
                      <a:pt x="127" y="123"/>
                    </a:lnTo>
                    <a:lnTo>
                      <a:pt x="125" y="123"/>
                    </a:lnTo>
                    <a:lnTo>
                      <a:pt x="125" y="123"/>
                    </a:lnTo>
                    <a:lnTo>
                      <a:pt x="123" y="121"/>
                    </a:lnTo>
                    <a:lnTo>
                      <a:pt x="123" y="121"/>
                    </a:lnTo>
                    <a:lnTo>
                      <a:pt x="123" y="121"/>
                    </a:lnTo>
                    <a:lnTo>
                      <a:pt x="123" y="121"/>
                    </a:lnTo>
                    <a:lnTo>
                      <a:pt x="120" y="121"/>
                    </a:lnTo>
                    <a:lnTo>
                      <a:pt x="120" y="121"/>
                    </a:lnTo>
                    <a:lnTo>
                      <a:pt x="120" y="123"/>
                    </a:lnTo>
                    <a:lnTo>
                      <a:pt x="118" y="123"/>
                    </a:lnTo>
                    <a:lnTo>
                      <a:pt x="118" y="123"/>
                    </a:lnTo>
                    <a:lnTo>
                      <a:pt x="118" y="121"/>
                    </a:lnTo>
                    <a:lnTo>
                      <a:pt x="118" y="121"/>
                    </a:lnTo>
                    <a:lnTo>
                      <a:pt x="118" y="121"/>
                    </a:lnTo>
                    <a:lnTo>
                      <a:pt x="115" y="121"/>
                    </a:lnTo>
                    <a:lnTo>
                      <a:pt x="115" y="121"/>
                    </a:lnTo>
                    <a:lnTo>
                      <a:pt x="113" y="123"/>
                    </a:lnTo>
                    <a:lnTo>
                      <a:pt x="113" y="123"/>
                    </a:lnTo>
                    <a:lnTo>
                      <a:pt x="115" y="125"/>
                    </a:lnTo>
                    <a:lnTo>
                      <a:pt x="115" y="128"/>
                    </a:lnTo>
                    <a:lnTo>
                      <a:pt x="115" y="128"/>
                    </a:lnTo>
                    <a:lnTo>
                      <a:pt x="115" y="130"/>
                    </a:lnTo>
                    <a:lnTo>
                      <a:pt x="113" y="130"/>
                    </a:lnTo>
                    <a:lnTo>
                      <a:pt x="111" y="133"/>
                    </a:lnTo>
                    <a:lnTo>
                      <a:pt x="111" y="135"/>
                    </a:lnTo>
                    <a:lnTo>
                      <a:pt x="111" y="135"/>
                    </a:lnTo>
                    <a:lnTo>
                      <a:pt x="108" y="137"/>
                    </a:lnTo>
                    <a:lnTo>
                      <a:pt x="108" y="137"/>
                    </a:lnTo>
                    <a:lnTo>
                      <a:pt x="108" y="140"/>
                    </a:lnTo>
                    <a:lnTo>
                      <a:pt x="108" y="140"/>
                    </a:lnTo>
                    <a:lnTo>
                      <a:pt x="108" y="140"/>
                    </a:lnTo>
                    <a:lnTo>
                      <a:pt x="108" y="140"/>
                    </a:lnTo>
                    <a:lnTo>
                      <a:pt x="108" y="142"/>
                    </a:lnTo>
                    <a:lnTo>
                      <a:pt x="106" y="142"/>
                    </a:lnTo>
                    <a:lnTo>
                      <a:pt x="104" y="142"/>
                    </a:lnTo>
                    <a:lnTo>
                      <a:pt x="104" y="142"/>
                    </a:lnTo>
                    <a:lnTo>
                      <a:pt x="106" y="144"/>
                    </a:lnTo>
                    <a:lnTo>
                      <a:pt x="108" y="144"/>
                    </a:lnTo>
                    <a:lnTo>
                      <a:pt x="113" y="147"/>
                    </a:lnTo>
                    <a:lnTo>
                      <a:pt x="113" y="147"/>
                    </a:lnTo>
                    <a:lnTo>
                      <a:pt x="113" y="147"/>
                    </a:lnTo>
                    <a:lnTo>
                      <a:pt x="113" y="147"/>
                    </a:lnTo>
                    <a:lnTo>
                      <a:pt x="113" y="144"/>
                    </a:lnTo>
                    <a:lnTo>
                      <a:pt x="113" y="144"/>
                    </a:lnTo>
                    <a:lnTo>
                      <a:pt x="115" y="144"/>
                    </a:lnTo>
                    <a:lnTo>
                      <a:pt x="115" y="144"/>
                    </a:lnTo>
                    <a:lnTo>
                      <a:pt x="118" y="144"/>
                    </a:lnTo>
                    <a:lnTo>
                      <a:pt x="120" y="142"/>
                    </a:lnTo>
                    <a:lnTo>
                      <a:pt x="125" y="142"/>
                    </a:lnTo>
                    <a:lnTo>
                      <a:pt x="127" y="144"/>
                    </a:lnTo>
                    <a:lnTo>
                      <a:pt x="127" y="144"/>
                    </a:lnTo>
                    <a:lnTo>
                      <a:pt x="130" y="147"/>
                    </a:lnTo>
                    <a:lnTo>
                      <a:pt x="130" y="144"/>
                    </a:lnTo>
                    <a:lnTo>
                      <a:pt x="127" y="140"/>
                    </a:lnTo>
                    <a:lnTo>
                      <a:pt x="127" y="140"/>
                    </a:lnTo>
                    <a:lnTo>
                      <a:pt x="127" y="137"/>
                    </a:lnTo>
                    <a:lnTo>
                      <a:pt x="127" y="137"/>
                    </a:lnTo>
                    <a:lnTo>
                      <a:pt x="127" y="135"/>
                    </a:lnTo>
                    <a:lnTo>
                      <a:pt x="130" y="137"/>
                    </a:lnTo>
                    <a:lnTo>
                      <a:pt x="132" y="135"/>
                    </a:lnTo>
                    <a:lnTo>
                      <a:pt x="132" y="135"/>
                    </a:lnTo>
                    <a:lnTo>
                      <a:pt x="137" y="135"/>
                    </a:lnTo>
                    <a:lnTo>
                      <a:pt x="137" y="133"/>
                    </a:lnTo>
                    <a:lnTo>
                      <a:pt x="142" y="128"/>
                    </a:lnTo>
                    <a:lnTo>
                      <a:pt x="142" y="128"/>
                    </a:lnTo>
                    <a:lnTo>
                      <a:pt x="144" y="125"/>
                    </a:lnTo>
                    <a:lnTo>
                      <a:pt x="144" y="125"/>
                    </a:lnTo>
                    <a:lnTo>
                      <a:pt x="144" y="123"/>
                    </a:lnTo>
                    <a:lnTo>
                      <a:pt x="144" y="121"/>
                    </a:lnTo>
                    <a:lnTo>
                      <a:pt x="144" y="118"/>
                    </a:lnTo>
                    <a:lnTo>
                      <a:pt x="151" y="118"/>
                    </a:lnTo>
                    <a:lnTo>
                      <a:pt x="153" y="118"/>
                    </a:lnTo>
                    <a:lnTo>
                      <a:pt x="156" y="118"/>
                    </a:lnTo>
                    <a:lnTo>
                      <a:pt x="156" y="116"/>
                    </a:lnTo>
                    <a:lnTo>
                      <a:pt x="158" y="114"/>
                    </a:lnTo>
                    <a:lnTo>
                      <a:pt x="156" y="116"/>
                    </a:lnTo>
                    <a:lnTo>
                      <a:pt x="158" y="118"/>
                    </a:lnTo>
                    <a:lnTo>
                      <a:pt x="160" y="118"/>
                    </a:lnTo>
                    <a:lnTo>
                      <a:pt x="163" y="118"/>
                    </a:lnTo>
                    <a:lnTo>
                      <a:pt x="163" y="116"/>
                    </a:lnTo>
                    <a:lnTo>
                      <a:pt x="163" y="111"/>
                    </a:lnTo>
                    <a:lnTo>
                      <a:pt x="160" y="109"/>
                    </a:lnTo>
                    <a:lnTo>
                      <a:pt x="160" y="109"/>
                    </a:lnTo>
                    <a:lnTo>
                      <a:pt x="160" y="107"/>
                    </a:lnTo>
                    <a:lnTo>
                      <a:pt x="160" y="107"/>
                    </a:lnTo>
                    <a:lnTo>
                      <a:pt x="160" y="109"/>
                    </a:lnTo>
                    <a:lnTo>
                      <a:pt x="163" y="111"/>
                    </a:lnTo>
                    <a:lnTo>
                      <a:pt x="163" y="114"/>
                    </a:lnTo>
                    <a:lnTo>
                      <a:pt x="163" y="114"/>
                    </a:lnTo>
                    <a:lnTo>
                      <a:pt x="163" y="116"/>
                    </a:lnTo>
                    <a:lnTo>
                      <a:pt x="165" y="118"/>
                    </a:lnTo>
                    <a:lnTo>
                      <a:pt x="168" y="118"/>
                    </a:lnTo>
                    <a:lnTo>
                      <a:pt x="170" y="118"/>
                    </a:lnTo>
                    <a:lnTo>
                      <a:pt x="175" y="118"/>
                    </a:lnTo>
                    <a:lnTo>
                      <a:pt x="175" y="118"/>
                    </a:lnTo>
                    <a:lnTo>
                      <a:pt x="172" y="121"/>
                    </a:lnTo>
                    <a:lnTo>
                      <a:pt x="170" y="121"/>
                    </a:lnTo>
                    <a:lnTo>
                      <a:pt x="168" y="121"/>
                    </a:lnTo>
                    <a:lnTo>
                      <a:pt x="163" y="121"/>
                    </a:lnTo>
                    <a:lnTo>
                      <a:pt x="160" y="118"/>
                    </a:lnTo>
                    <a:lnTo>
                      <a:pt x="158" y="118"/>
                    </a:lnTo>
                    <a:lnTo>
                      <a:pt x="158" y="121"/>
                    </a:lnTo>
                    <a:lnTo>
                      <a:pt x="160" y="121"/>
                    </a:lnTo>
                    <a:lnTo>
                      <a:pt x="163" y="121"/>
                    </a:lnTo>
                    <a:lnTo>
                      <a:pt x="165" y="121"/>
                    </a:lnTo>
                    <a:lnTo>
                      <a:pt x="165" y="123"/>
                    </a:lnTo>
                    <a:lnTo>
                      <a:pt x="165" y="123"/>
                    </a:lnTo>
                    <a:lnTo>
                      <a:pt x="163" y="123"/>
                    </a:lnTo>
                    <a:lnTo>
                      <a:pt x="163" y="123"/>
                    </a:lnTo>
                    <a:lnTo>
                      <a:pt x="160" y="123"/>
                    </a:lnTo>
                    <a:lnTo>
                      <a:pt x="163" y="125"/>
                    </a:lnTo>
                    <a:lnTo>
                      <a:pt x="165" y="125"/>
                    </a:lnTo>
                    <a:lnTo>
                      <a:pt x="165" y="125"/>
                    </a:lnTo>
                    <a:lnTo>
                      <a:pt x="170" y="128"/>
                    </a:lnTo>
                    <a:lnTo>
                      <a:pt x="175" y="128"/>
                    </a:lnTo>
                    <a:lnTo>
                      <a:pt x="179" y="128"/>
                    </a:lnTo>
                    <a:lnTo>
                      <a:pt x="182" y="128"/>
                    </a:lnTo>
                    <a:lnTo>
                      <a:pt x="186" y="128"/>
                    </a:lnTo>
                    <a:lnTo>
                      <a:pt x="186" y="128"/>
                    </a:lnTo>
                    <a:lnTo>
                      <a:pt x="189" y="130"/>
                    </a:lnTo>
                    <a:lnTo>
                      <a:pt x="191" y="130"/>
                    </a:lnTo>
                    <a:lnTo>
                      <a:pt x="191" y="128"/>
                    </a:lnTo>
                    <a:lnTo>
                      <a:pt x="194" y="130"/>
                    </a:lnTo>
                    <a:lnTo>
                      <a:pt x="194" y="133"/>
                    </a:lnTo>
                    <a:lnTo>
                      <a:pt x="191" y="135"/>
                    </a:lnTo>
                    <a:lnTo>
                      <a:pt x="189" y="135"/>
                    </a:lnTo>
                    <a:lnTo>
                      <a:pt x="186" y="135"/>
                    </a:lnTo>
                    <a:lnTo>
                      <a:pt x="179" y="140"/>
                    </a:lnTo>
                    <a:lnTo>
                      <a:pt x="175" y="142"/>
                    </a:lnTo>
                    <a:lnTo>
                      <a:pt x="177" y="144"/>
                    </a:lnTo>
                    <a:lnTo>
                      <a:pt x="177" y="144"/>
                    </a:lnTo>
                    <a:lnTo>
                      <a:pt x="179" y="144"/>
                    </a:lnTo>
                    <a:lnTo>
                      <a:pt x="182" y="144"/>
                    </a:lnTo>
                    <a:lnTo>
                      <a:pt x="186" y="147"/>
                    </a:lnTo>
                    <a:lnTo>
                      <a:pt x="189" y="147"/>
                    </a:lnTo>
                    <a:lnTo>
                      <a:pt x="191" y="147"/>
                    </a:lnTo>
                    <a:lnTo>
                      <a:pt x="194" y="149"/>
                    </a:lnTo>
                    <a:lnTo>
                      <a:pt x="196" y="154"/>
                    </a:lnTo>
                    <a:lnTo>
                      <a:pt x="196" y="154"/>
                    </a:lnTo>
                    <a:lnTo>
                      <a:pt x="194" y="159"/>
                    </a:lnTo>
                    <a:lnTo>
                      <a:pt x="194" y="161"/>
                    </a:lnTo>
                    <a:lnTo>
                      <a:pt x="194" y="161"/>
                    </a:lnTo>
                    <a:lnTo>
                      <a:pt x="194" y="161"/>
                    </a:lnTo>
                    <a:lnTo>
                      <a:pt x="196" y="166"/>
                    </a:lnTo>
                    <a:lnTo>
                      <a:pt x="198" y="166"/>
                    </a:lnTo>
                    <a:lnTo>
                      <a:pt x="201" y="166"/>
                    </a:lnTo>
                    <a:lnTo>
                      <a:pt x="203" y="166"/>
                    </a:lnTo>
                    <a:lnTo>
                      <a:pt x="208" y="163"/>
                    </a:lnTo>
                    <a:lnTo>
                      <a:pt x="210" y="159"/>
                    </a:lnTo>
                    <a:lnTo>
                      <a:pt x="215" y="156"/>
                    </a:lnTo>
                    <a:lnTo>
                      <a:pt x="217" y="156"/>
                    </a:lnTo>
                    <a:lnTo>
                      <a:pt x="220" y="156"/>
                    </a:lnTo>
                    <a:lnTo>
                      <a:pt x="222" y="156"/>
                    </a:lnTo>
                    <a:lnTo>
                      <a:pt x="224" y="154"/>
                    </a:lnTo>
                    <a:lnTo>
                      <a:pt x="227" y="149"/>
                    </a:lnTo>
                    <a:lnTo>
                      <a:pt x="227" y="149"/>
                    </a:lnTo>
                    <a:lnTo>
                      <a:pt x="229" y="149"/>
                    </a:lnTo>
                    <a:lnTo>
                      <a:pt x="231" y="149"/>
                    </a:lnTo>
                    <a:lnTo>
                      <a:pt x="231" y="152"/>
                    </a:lnTo>
                    <a:lnTo>
                      <a:pt x="234" y="152"/>
                    </a:lnTo>
                    <a:lnTo>
                      <a:pt x="236" y="152"/>
                    </a:lnTo>
                    <a:lnTo>
                      <a:pt x="238" y="152"/>
                    </a:lnTo>
                    <a:lnTo>
                      <a:pt x="241" y="149"/>
                    </a:lnTo>
                    <a:lnTo>
                      <a:pt x="241" y="149"/>
                    </a:lnTo>
                    <a:lnTo>
                      <a:pt x="241" y="147"/>
                    </a:lnTo>
                    <a:lnTo>
                      <a:pt x="243" y="144"/>
                    </a:lnTo>
                    <a:lnTo>
                      <a:pt x="243" y="142"/>
                    </a:lnTo>
                    <a:lnTo>
                      <a:pt x="241" y="142"/>
                    </a:lnTo>
                    <a:lnTo>
                      <a:pt x="238" y="142"/>
                    </a:lnTo>
                    <a:lnTo>
                      <a:pt x="236" y="142"/>
                    </a:lnTo>
                    <a:lnTo>
                      <a:pt x="236" y="142"/>
                    </a:lnTo>
                    <a:lnTo>
                      <a:pt x="234" y="144"/>
                    </a:lnTo>
                    <a:lnTo>
                      <a:pt x="231" y="142"/>
                    </a:lnTo>
                    <a:lnTo>
                      <a:pt x="229" y="144"/>
                    </a:lnTo>
                    <a:lnTo>
                      <a:pt x="227" y="144"/>
                    </a:lnTo>
                    <a:lnTo>
                      <a:pt x="224" y="144"/>
                    </a:lnTo>
                    <a:lnTo>
                      <a:pt x="224" y="144"/>
                    </a:lnTo>
                    <a:lnTo>
                      <a:pt x="222" y="142"/>
                    </a:lnTo>
                    <a:lnTo>
                      <a:pt x="217" y="137"/>
                    </a:lnTo>
                    <a:lnTo>
                      <a:pt x="215" y="133"/>
                    </a:lnTo>
                    <a:lnTo>
                      <a:pt x="212" y="130"/>
                    </a:lnTo>
                    <a:lnTo>
                      <a:pt x="212" y="130"/>
                    </a:lnTo>
                    <a:lnTo>
                      <a:pt x="212" y="128"/>
                    </a:lnTo>
                    <a:lnTo>
                      <a:pt x="215" y="125"/>
                    </a:lnTo>
                    <a:lnTo>
                      <a:pt x="217" y="125"/>
                    </a:lnTo>
                    <a:lnTo>
                      <a:pt x="220" y="121"/>
                    </a:lnTo>
                    <a:lnTo>
                      <a:pt x="220" y="123"/>
                    </a:lnTo>
                    <a:lnTo>
                      <a:pt x="220" y="123"/>
                    </a:lnTo>
                    <a:lnTo>
                      <a:pt x="220" y="125"/>
                    </a:lnTo>
                    <a:lnTo>
                      <a:pt x="220" y="125"/>
                    </a:lnTo>
                    <a:lnTo>
                      <a:pt x="215" y="128"/>
                    </a:lnTo>
                    <a:lnTo>
                      <a:pt x="217" y="128"/>
                    </a:lnTo>
                    <a:lnTo>
                      <a:pt x="217" y="128"/>
                    </a:lnTo>
                    <a:lnTo>
                      <a:pt x="220" y="128"/>
                    </a:lnTo>
                    <a:lnTo>
                      <a:pt x="220" y="125"/>
                    </a:lnTo>
                    <a:lnTo>
                      <a:pt x="222" y="123"/>
                    </a:lnTo>
                    <a:lnTo>
                      <a:pt x="229" y="118"/>
                    </a:lnTo>
                    <a:lnTo>
                      <a:pt x="231" y="116"/>
                    </a:lnTo>
                    <a:lnTo>
                      <a:pt x="234" y="118"/>
                    </a:lnTo>
                    <a:lnTo>
                      <a:pt x="236" y="116"/>
                    </a:lnTo>
                    <a:lnTo>
                      <a:pt x="238" y="116"/>
                    </a:lnTo>
                    <a:lnTo>
                      <a:pt x="238" y="116"/>
                    </a:lnTo>
                    <a:lnTo>
                      <a:pt x="241" y="116"/>
                    </a:lnTo>
                    <a:lnTo>
                      <a:pt x="243" y="116"/>
                    </a:lnTo>
                    <a:lnTo>
                      <a:pt x="246" y="114"/>
                    </a:lnTo>
                    <a:lnTo>
                      <a:pt x="248" y="114"/>
                    </a:lnTo>
                    <a:lnTo>
                      <a:pt x="250" y="111"/>
                    </a:lnTo>
                    <a:lnTo>
                      <a:pt x="253" y="111"/>
                    </a:lnTo>
                    <a:lnTo>
                      <a:pt x="255" y="109"/>
                    </a:lnTo>
                    <a:lnTo>
                      <a:pt x="260" y="109"/>
                    </a:lnTo>
                    <a:lnTo>
                      <a:pt x="265" y="109"/>
                    </a:lnTo>
                    <a:lnTo>
                      <a:pt x="267" y="109"/>
                    </a:lnTo>
                    <a:lnTo>
                      <a:pt x="267" y="107"/>
                    </a:lnTo>
                    <a:lnTo>
                      <a:pt x="265" y="107"/>
                    </a:lnTo>
                    <a:lnTo>
                      <a:pt x="267" y="107"/>
                    </a:lnTo>
                    <a:lnTo>
                      <a:pt x="267" y="104"/>
                    </a:lnTo>
                    <a:lnTo>
                      <a:pt x="267" y="104"/>
                    </a:lnTo>
                    <a:lnTo>
                      <a:pt x="267" y="104"/>
                    </a:lnTo>
                    <a:lnTo>
                      <a:pt x="267" y="104"/>
                    </a:lnTo>
                    <a:lnTo>
                      <a:pt x="265" y="104"/>
                    </a:lnTo>
                    <a:lnTo>
                      <a:pt x="265" y="104"/>
                    </a:lnTo>
                    <a:lnTo>
                      <a:pt x="265" y="102"/>
                    </a:lnTo>
                    <a:lnTo>
                      <a:pt x="267" y="102"/>
                    </a:lnTo>
                    <a:lnTo>
                      <a:pt x="267" y="102"/>
                    </a:lnTo>
                    <a:lnTo>
                      <a:pt x="267" y="99"/>
                    </a:lnTo>
                    <a:lnTo>
                      <a:pt x="267" y="99"/>
                    </a:lnTo>
                    <a:lnTo>
                      <a:pt x="267" y="97"/>
                    </a:lnTo>
                    <a:lnTo>
                      <a:pt x="269" y="97"/>
                    </a:lnTo>
                    <a:lnTo>
                      <a:pt x="272" y="97"/>
                    </a:lnTo>
                    <a:lnTo>
                      <a:pt x="272" y="95"/>
                    </a:lnTo>
                    <a:lnTo>
                      <a:pt x="274" y="92"/>
                    </a:lnTo>
                    <a:lnTo>
                      <a:pt x="276" y="92"/>
                    </a:lnTo>
                    <a:lnTo>
                      <a:pt x="279" y="92"/>
                    </a:lnTo>
                    <a:lnTo>
                      <a:pt x="279" y="92"/>
                    </a:lnTo>
                    <a:lnTo>
                      <a:pt x="283" y="92"/>
                    </a:lnTo>
                    <a:lnTo>
                      <a:pt x="288" y="92"/>
                    </a:lnTo>
                    <a:lnTo>
                      <a:pt x="288" y="92"/>
                    </a:lnTo>
                    <a:lnTo>
                      <a:pt x="291" y="92"/>
                    </a:lnTo>
                    <a:lnTo>
                      <a:pt x="288" y="90"/>
                    </a:lnTo>
                    <a:lnTo>
                      <a:pt x="291" y="88"/>
                    </a:lnTo>
                    <a:lnTo>
                      <a:pt x="291" y="85"/>
                    </a:lnTo>
                    <a:lnTo>
                      <a:pt x="291" y="85"/>
                    </a:lnTo>
                    <a:lnTo>
                      <a:pt x="291" y="83"/>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19"/>
              <p:cNvSpPr>
                <a:spLocks/>
              </p:cNvSpPr>
              <p:nvPr/>
            </p:nvSpPr>
            <p:spPr bwMode="auto">
              <a:xfrm>
                <a:off x="3300" y="2710"/>
                <a:ext cx="102" cy="121"/>
              </a:xfrm>
              <a:custGeom>
                <a:avLst/>
                <a:gdLst>
                  <a:gd name="T0" fmla="*/ 99 w 102"/>
                  <a:gd name="T1" fmla="*/ 43 h 121"/>
                  <a:gd name="T2" fmla="*/ 99 w 102"/>
                  <a:gd name="T3" fmla="*/ 36 h 121"/>
                  <a:gd name="T4" fmla="*/ 97 w 102"/>
                  <a:gd name="T5" fmla="*/ 33 h 121"/>
                  <a:gd name="T6" fmla="*/ 94 w 102"/>
                  <a:gd name="T7" fmla="*/ 28 h 121"/>
                  <a:gd name="T8" fmla="*/ 90 w 102"/>
                  <a:gd name="T9" fmla="*/ 19 h 121"/>
                  <a:gd name="T10" fmla="*/ 90 w 102"/>
                  <a:gd name="T11" fmla="*/ 12 h 121"/>
                  <a:gd name="T12" fmla="*/ 85 w 102"/>
                  <a:gd name="T13" fmla="*/ 10 h 121"/>
                  <a:gd name="T14" fmla="*/ 85 w 102"/>
                  <a:gd name="T15" fmla="*/ 7 h 121"/>
                  <a:gd name="T16" fmla="*/ 75 w 102"/>
                  <a:gd name="T17" fmla="*/ 10 h 121"/>
                  <a:gd name="T18" fmla="*/ 71 w 102"/>
                  <a:gd name="T19" fmla="*/ 12 h 121"/>
                  <a:gd name="T20" fmla="*/ 61 w 102"/>
                  <a:gd name="T21" fmla="*/ 10 h 121"/>
                  <a:gd name="T22" fmla="*/ 54 w 102"/>
                  <a:gd name="T23" fmla="*/ 12 h 121"/>
                  <a:gd name="T24" fmla="*/ 49 w 102"/>
                  <a:gd name="T25" fmla="*/ 14 h 121"/>
                  <a:gd name="T26" fmla="*/ 47 w 102"/>
                  <a:gd name="T27" fmla="*/ 17 h 121"/>
                  <a:gd name="T28" fmla="*/ 42 w 102"/>
                  <a:gd name="T29" fmla="*/ 12 h 121"/>
                  <a:gd name="T30" fmla="*/ 38 w 102"/>
                  <a:gd name="T31" fmla="*/ 12 h 121"/>
                  <a:gd name="T32" fmla="*/ 33 w 102"/>
                  <a:gd name="T33" fmla="*/ 12 h 121"/>
                  <a:gd name="T34" fmla="*/ 28 w 102"/>
                  <a:gd name="T35" fmla="*/ 12 h 121"/>
                  <a:gd name="T36" fmla="*/ 23 w 102"/>
                  <a:gd name="T37" fmla="*/ 17 h 121"/>
                  <a:gd name="T38" fmla="*/ 23 w 102"/>
                  <a:gd name="T39" fmla="*/ 19 h 121"/>
                  <a:gd name="T40" fmla="*/ 21 w 102"/>
                  <a:gd name="T41" fmla="*/ 26 h 121"/>
                  <a:gd name="T42" fmla="*/ 23 w 102"/>
                  <a:gd name="T43" fmla="*/ 28 h 121"/>
                  <a:gd name="T44" fmla="*/ 23 w 102"/>
                  <a:gd name="T45" fmla="*/ 33 h 121"/>
                  <a:gd name="T46" fmla="*/ 23 w 102"/>
                  <a:gd name="T47" fmla="*/ 40 h 121"/>
                  <a:gd name="T48" fmla="*/ 28 w 102"/>
                  <a:gd name="T49" fmla="*/ 40 h 121"/>
                  <a:gd name="T50" fmla="*/ 31 w 102"/>
                  <a:gd name="T51" fmla="*/ 43 h 121"/>
                  <a:gd name="T52" fmla="*/ 33 w 102"/>
                  <a:gd name="T53" fmla="*/ 45 h 121"/>
                  <a:gd name="T54" fmla="*/ 31 w 102"/>
                  <a:gd name="T55" fmla="*/ 50 h 121"/>
                  <a:gd name="T56" fmla="*/ 16 w 102"/>
                  <a:gd name="T57" fmla="*/ 64 h 121"/>
                  <a:gd name="T58" fmla="*/ 12 w 102"/>
                  <a:gd name="T59" fmla="*/ 69 h 121"/>
                  <a:gd name="T60" fmla="*/ 7 w 102"/>
                  <a:gd name="T61" fmla="*/ 73 h 121"/>
                  <a:gd name="T62" fmla="*/ 7 w 102"/>
                  <a:gd name="T63" fmla="*/ 81 h 121"/>
                  <a:gd name="T64" fmla="*/ 5 w 102"/>
                  <a:gd name="T65" fmla="*/ 88 h 121"/>
                  <a:gd name="T66" fmla="*/ 2 w 102"/>
                  <a:gd name="T67" fmla="*/ 92 h 121"/>
                  <a:gd name="T68" fmla="*/ 2 w 102"/>
                  <a:gd name="T69" fmla="*/ 104 h 121"/>
                  <a:gd name="T70" fmla="*/ 0 w 102"/>
                  <a:gd name="T71" fmla="*/ 111 h 121"/>
                  <a:gd name="T72" fmla="*/ 0 w 102"/>
                  <a:gd name="T73" fmla="*/ 118 h 121"/>
                  <a:gd name="T74" fmla="*/ 5 w 102"/>
                  <a:gd name="T75" fmla="*/ 118 h 121"/>
                  <a:gd name="T76" fmla="*/ 7 w 102"/>
                  <a:gd name="T77" fmla="*/ 121 h 121"/>
                  <a:gd name="T78" fmla="*/ 12 w 102"/>
                  <a:gd name="T79" fmla="*/ 118 h 121"/>
                  <a:gd name="T80" fmla="*/ 14 w 102"/>
                  <a:gd name="T81" fmla="*/ 114 h 121"/>
                  <a:gd name="T82" fmla="*/ 16 w 102"/>
                  <a:gd name="T83" fmla="*/ 114 h 121"/>
                  <a:gd name="T84" fmla="*/ 19 w 102"/>
                  <a:gd name="T85" fmla="*/ 114 h 121"/>
                  <a:gd name="T86" fmla="*/ 23 w 102"/>
                  <a:gd name="T87" fmla="*/ 111 h 121"/>
                  <a:gd name="T88" fmla="*/ 80 w 102"/>
                  <a:gd name="T89" fmla="*/ 111 h 121"/>
                  <a:gd name="T90" fmla="*/ 83 w 102"/>
                  <a:gd name="T91" fmla="*/ 90 h 121"/>
                  <a:gd name="T92" fmla="*/ 85 w 102"/>
                  <a:gd name="T93" fmla="*/ 83 h 121"/>
                  <a:gd name="T94" fmla="*/ 87 w 102"/>
                  <a:gd name="T95" fmla="*/ 76 h 121"/>
                  <a:gd name="T96" fmla="*/ 92 w 102"/>
                  <a:gd name="T97" fmla="*/ 69 h 121"/>
                  <a:gd name="T98" fmla="*/ 94 w 102"/>
                  <a:gd name="T99" fmla="*/ 64 h 121"/>
                  <a:gd name="T100" fmla="*/ 97 w 102"/>
                  <a:gd name="T101" fmla="*/ 64 h 121"/>
                  <a:gd name="T102" fmla="*/ 99 w 102"/>
                  <a:gd name="T103" fmla="*/ 59 h 121"/>
                  <a:gd name="T104" fmla="*/ 102 w 102"/>
                  <a:gd name="T105" fmla="*/ 57 h 121"/>
                  <a:gd name="T106" fmla="*/ 102 w 102"/>
                  <a:gd name="T107" fmla="*/ 52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2" h="121">
                    <a:moveTo>
                      <a:pt x="102" y="50"/>
                    </a:moveTo>
                    <a:lnTo>
                      <a:pt x="102" y="47"/>
                    </a:lnTo>
                    <a:lnTo>
                      <a:pt x="99" y="43"/>
                    </a:lnTo>
                    <a:lnTo>
                      <a:pt x="99" y="38"/>
                    </a:lnTo>
                    <a:lnTo>
                      <a:pt x="99" y="38"/>
                    </a:lnTo>
                    <a:lnTo>
                      <a:pt x="99" y="36"/>
                    </a:lnTo>
                    <a:lnTo>
                      <a:pt x="99" y="36"/>
                    </a:lnTo>
                    <a:lnTo>
                      <a:pt x="99" y="36"/>
                    </a:lnTo>
                    <a:lnTo>
                      <a:pt x="97" y="33"/>
                    </a:lnTo>
                    <a:lnTo>
                      <a:pt x="97" y="31"/>
                    </a:lnTo>
                    <a:lnTo>
                      <a:pt x="97" y="31"/>
                    </a:lnTo>
                    <a:lnTo>
                      <a:pt x="94" y="28"/>
                    </a:lnTo>
                    <a:lnTo>
                      <a:pt x="92" y="24"/>
                    </a:lnTo>
                    <a:lnTo>
                      <a:pt x="92" y="24"/>
                    </a:lnTo>
                    <a:lnTo>
                      <a:pt x="90" y="19"/>
                    </a:lnTo>
                    <a:lnTo>
                      <a:pt x="90" y="19"/>
                    </a:lnTo>
                    <a:lnTo>
                      <a:pt x="92" y="14"/>
                    </a:lnTo>
                    <a:lnTo>
                      <a:pt x="90" y="12"/>
                    </a:lnTo>
                    <a:lnTo>
                      <a:pt x="90" y="12"/>
                    </a:lnTo>
                    <a:lnTo>
                      <a:pt x="87" y="12"/>
                    </a:lnTo>
                    <a:lnTo>
                      <a:pt x="85" y="10"/>
                    </a:lnTo>
                    <a:lnTo>
                      <a:pt x="85" y="10"/>
                    </a:lnTo>
                    <a:lnTo>
                      <a:pt x="85" y="7"/>
                    </a:lnTo>
                    <a:lnTo>
                      <a:pt x="85" y="7"/>
                    </a:lnTo>
                    <a:lnTo>
                      <a:pt x="83" y="0"/>
                    </a:lnTo>
                    <a:lnTo>
                      <a:pt x="78" y="5"/>
                    </a:lnTo>
                    <a:lnTo>
                      <a:pt x="75" y="10"/>
                    </a:lnTo>
                    <a:lnTo>
                      <a:pt x="73" y="10"/>
                    </a:lnTo>
                    <a:lnTo>
                      <a:pt x="73" y="12"/>
                    </a:lnTo>
                    <a:lnTo>
                      <a:pt x="71" y="12"/>
                    </a:lnTo>
                    <a:lnTo>
                      <a:pt x="66" y="10"/>
                    </a:lnTo>
                    <a:lnTo>
                      <a:pt x="64" y="7"/>
                    </a:lnTo>
                    <a:lnTo>
                      <a:pt x="61" y="10"/>
                    </a:lnTo>
                    <a:lnTo>
                      <a:pt x="59" y="10"/>
                    </a:lnTo>
                    <a:lnTo>
                      <a:pt x="59" y="10"/>
                    </a:lnTo>
                    <a:lnTo>
                      <a:pt x="54" y="12"/>
                    </a:lnTo>
                    <a:lnTo>
                      <a:pt x="52" y="12"/>
                    </a:lnTo>
                    <a:lnTo>
                      <a:pt x="49" y="12"/>
                    </a:lnTo>
                    <a:lnTo>
                      <a:pt x="49" y="14"/>
                    </a:lnTo>
                    <a:lnTo>
                      <a:pt x="47" y="17"/>
                    </a:lnTo>
                    <a:lnTo>
                      <a:pt x="47" y="17"/>
                    </a:lnTo>
                    <a:lnTo>
                      <a:pt x="47" y="17"/>
                    </a:lnTo>
                    <a:lnTo>
                      <a:pt x="47" y="14"/>
                    </a:lnTo>
                    <a:lnTo>
                      <a:pt x="45" y="14"/>
                    </a:lnTo>
                    <a:lnTo>
                      <a:pt x="42" y="12"/>
                    </a:lnTo>
                    <a:lnTo>
                      <a:pt x="42" y="10"/>
                    </a:lnTo>
                    <a:lnTo>
                      <a:pt x="42" y="10"/>
                    </a:lnTo>
                    <a:lnTo>
                      <a:pt x="38" y="12"/>
                    </a:lnTo>
                    <a:lnTo>
                      <a:pt x="38" y="12"/>
                    </a:lnTo>
                    <a:lnTo>
                      <a:pt x="35" y="12"/>
                    </a:lnTo>
                    <a:lnTo>
                      <a:pt x="33" y="12"/>
                    </a:lnTo>
                    <a:lnTo>
                      <a:pt x="31" y="10"/>
                    </a:lnTo>
                    <a:lnTo>
                      <a:pt x="31" y="10"/>
                    </a:lnTo>
                    <a:lnTo>
                      <a:pt x="28" y="12"/>
                    </a:lnTo>
                    <a:lnTo>
                      <a:pt x="26" y="14"/>
                    </a:lnTo>
                    <a:lnTo>
                      <a:pt x="23" y="14"/>
                    </a:lnTo>
                    <a:lnTo>
                      <a:pt x="23" y="17"/>
                    </a:lnTo>
                    <a:lnTo>
                      <a:pt x="26" y="17"/>
                    </a:lnTo>
                    <a:lnTo>
                      <a:pt x="26" y="19"/>
                    </a:lnTo>
                    <a:lnTo>
                      <a:pt x="23" y="19"/>
                    </a:lnTo>
                    <a:lnTo>
                      <a:pt x="23" y="21"/>
                    </a:lnTo>
                    <a:lnTo>
                      <a:pt x="23" y="24"/>
                    </a:lnTo>
                    <a:lnTo>
                      <a:pt x="21" y="26"/>
                    </a:lnTo>
                    <a:lnTo>
                      <a:pt x="23" y="26"/>
                    </a:lnTo>
                    <a:lnTo>
                      <a:pt x="23" y="28"/>
                    </a:lnTo>
                    <a:lnTo>
                      <a:pt x="23" y="28"/>
                    </a:lnTo>
                    <a:lnTo>
                      <a:pt x="23" y="28"/>
                    </a:lnTo>
                    <a:lnTo>
                      <a:pt x="23" y="31"/>
                    </a:lnTo>
                    <a:lnTo>
                      <a:pt x="23" y="33"/>
                    </a:lnTo>
                    <a:lnTo>
                      <a:pt x="21" y="36"/>
                    </a:lnTo>
                    <a:lnTo>
                      <a:pt x="21" y="38"/>
                    </a:lnTo>
                    <a:lnTo>
                      <a:pt x="23" y="40"/>
                    </a:lnTo>
                    <a:lnTo>
                      <a:pt x="26" y="40"/>
                    </a:lnTo>
                    <a:lnTo>
                      <a:pt x="26" y="40"/>
                    </a:lnTo>
                    <a:lnTo>
                      <a:pt x="28" y="40"/>
                    </a:lnTo>
                    <a:lnTo>
                      <a:pt x="28" y="43"/>
                    </a:lnTo>
                    <a:lnTo>
                      <a:pt x="31" y="43"/>
                    </a:lnTo>
                    <a:lnTo>
                      <a:pt x="31" y="43"/>
                    </a:lnTo>
                    <a:lnTo>
                      <a:pt x="31" y="43"/>
                    </a:lnTo>
                    <a:lnTo>
                      <a:pt x="31" y="43"/>
                    </a:lnTo>
                    <a:lnTo>
                      <a:pt x="33" y="45"/>
                    </a:lnTo>
                    <a:lnTo>
                      <a:pt x="31" y="45"/>
                    </a:lnTo>
                    <a:lnTo>
                      <a:pt x="31" y="47"/>
                    </a:lnTo>
                    <a:lnTo>
                      <a:pt x="31" y="50"/>
                    </a:lnTo>
                    <a:lnTo>
                      <a:pt x="26" y="55"/>
                    </a:lnTo>
                    <a:lnTo>
                      <a:pt x="16" y="64"/>
                    </a:lnTo>
                    <a:lnTo>
                      <a:pt x="16" y="64"/>
                    </a:lnTo>
                    <a:lnTo>
                      <a:pt x="14" y="64"/>
                    </a:lnTo>
                    <a:lnTo>
                      <a:pt x="12" y="66"/>
                    </a:lnTo>
                    <a:lnTo>
                      <a:pt x="12" y="69"/>
                    </a:lnTo>
                    <a:lnTo>
                      <a:pt x="9" y="71"/>
                    </a:lnTo>
                    <a:lnTo>
                      <a:pt x="7" y="73"/>
                    </a:lnTo>
                    <a:lnTo>
                      <a:pt x="7" y="73"/>
                    </a:lnTo>
                    <a:lnTo>
                      <a:pt x="7" y="76"/>
                    </a:lnTo>
                    <a:lnTo>
                      <a:pt x="7" y="81"/>
                    </a:lnTo>
                    <a:lnTo>
                      <a:pt x="7" y="81"/>
                    </a:lnTo>
                    <a:lnTo>
                      <a:pt x="5" y="85"/>
                    </a:lnTo>
                    <a:lnTo>
                      <a:pt x="5" y="88"/>
                    </a:lnTo>
                    <a:lnTo>
                      <a:pt x="5" y="88"/>
                    </a:lnTo>
                    <a:lnTo>
                      <a:pt x="2" y="88"/>
                    </a:lnTo>
                    <a:lnTo>
                      <a:pt x="2" y="92"/>
                    </a:lnTo>
                    <a:lnTo>
                      <a:pt x="2" y="92"/>
                    </a:lnTo>
                    <a:lnTo>
                      <a:pt x="2" y="99"/>
                    </a:lnTo>
                    <a:lnTo>
                      <a:pt x="2" y="102"/>
                    </a:lnTo>
                    <a:lnTo>
                      <a:pt x="2" y="104"/>
                    </a:lnTo>
                    <a:lnTo>
                      <a:pt x="0" y="107"/>
                    </a:lnTo>
                    <a:lnTo>
                      <a:pt x="0" y="109"/>
                    </a:lnTo>
                    <a:lnTo>
                      <a:pt x="0" y="111"/>
                    </a:lnTo>
                    <a:lnTo>
                      <a:pt x="0" y="114"/>
                    </a:lnTo>
                    <a:lnTo>
                      <a:pt x="0" y="118"/>
                    </a:lnTo>
                    <a:lnTo>
                      <a:pt x="0" y="118"/>
                    </a:lnTo>
                    <a:lnTo>
                      <a:pt x="2" y="118"/>
                    </a:lnTo>
                    <a:lnTo>
                      <a:pt x="5" y="118"/>
                    </a:lnTo>
                    <a:lnTo>
                      <a:pt x="5" y="118"/>
                    </a:lnTo>
                    <a:lnTo>
                      <a:pt x="7" y="121"/>
                    </a:lnTo>
                    <a:lnTo>
                      <a:pt x="7" y="121"/>
                    </a:lnTo>
                    <a:lnTo>
                      <a:pt x="7" y="121"/>
                    </a:lnTo>
                    <a:lnTo>
                      <a:pt x="9" y="121"/>
                    </a:lnTo>
                    <a:lnTo>
                      <a:pt x="9" y="118"/>
                    </a:lnTo>
                    <a:lnTo>
                      <a:pt x="12" y="118"/>
                    </a:lnTo>
                    <a:lnTo>
                      <a:pt x="12" y="116"/>
                    </a:lnTo>
                    <a:lnTo>
                      <a:pt x="14" y="116"/>
                    </a:lnTo>
                    <a:lnTo>
                      <a:pt x="14" y="114"/>
                    </a:lnTo>
                    <a:lnTo>
                      <a:pt x="14" y="114"/>
                    </a:lnTo>
                    <a:lnTo>
                      <a:pt x="16" y="114"/>
                    </a:lnTo>
                    <a:lnTo>
                      <a:pt x="16" y="114"/>
                    </a:lnTo>
                    <a:lnTo>
                      <a:pt x="19" y="114"/>
                    </a:lnTo>
                    <a:lnTo>
                      <a:pt x="19" y="114"/>
                    </a:lnTo>
                    <a:lnTo>
                      <a:pt x="19" y="114"/>
                    </a:lnTo>
                    <a:lnTo>
                      <a:pt x="21" y="111"/>
                    </a:lnTo>
                    <a:lnTo>
                      <a:pt x="21" y="111"/>
                    </a:lnTo>
                    <a:lnTo>
                      <a:pt x="23" y="111"/>
                    </a:lnTo>
                    <a:lnTo>
                      <a:pt x="23" y="111"/>
                    </a:lnTo>
                    <a:lnTo>
                      <a:pt x="23" y="111"/>
                    </a:lnTo>
                    <a:lnTo>
                      <a:pt x="80" y="111"/>
                    </a:lnTo>
                    <a:lnTo>
                      <a:pt x="80" y="107"/>
                    </a:lnTo>
                    <a:lnTo>
                      <a:pt x="83" y="99"/>
                    </a:lnTo>
                    <a:lnTo>
                      <a:pt x="83" y="90"/>
                    </a:lnTo>
                    <a:lnTo>
                      <a:pt x="83" y="85"/>
                    </a:lnTo>
                    <a:lnTo>
                      <a:pt x="83" y="83"/>
                    </a:lnTo>
                    <a:lnTo>
                      <a:pt x="85" y="83"/>
                    </a:lnTo>
                    <a:lnTo>
                      <a:pt x="85" y="81"/>
                    </a:lnTo>
                    <a:lnTo>
                      <a:pt x="85" y="78"/>
                    </a:lnTo>
                    <a:lnTo>
                      <a:pt x="87" y="76"/>
                    </a:lnTo>
                    <a:lnTo>
                      <a:pt x="87" y="76"/>
                    </a:lnTo>
                    <a:lnTo>
                      <a:pt x="90" y="71"/>
                    </a:lnTo>
                    <a:lnTo>
                      <a:pt x="92" y="69"/>
                    </a:lnTo>
                    <a:lnTo>
                      <a:pt x="92" y="66"/>
                    </a:lnTo>
                    <a:lnTo>
                      <a:pt x="94" y="66"/>
                    </a:lnTo>
                    <a:lnTo>
                      <a:pt x="94" y="64"/>
                    </a:lnTo>
                    <a:lnTo>
                      <a:pt x="97" y="64"/>
                    </a:lnTo>
                    <a:lnTo>
                      <a:pt x="97" y="64"/>
                    </a:lnTo>
                    <a:lnTo>
                      <a:pt x="97" y="64"/>
                    </a:lnTo>
                    <a:lnTo>
                      <a:pt x="97" y="64"/>
                    </a:lnTo>
                    <a:lnTo>
                      <a:pt x="97" y="62"/>
                    </a:lnTo>
                    <a:lnTo>
                      <a:pt x="99" y="59"/>
                    </a:lnTo>
                    <a:lnTo>
                      <a:pt x="99" y="59"/>
                    </a:lnTo>
                    <a:lnTo>
                      <a:pt x="99" y="57"/>
                    </a:lnTo>
                    <a:lnTo>
                      <a:pt x="102" y="57"/>
                    </a:lnTo>
                    <a:lnTo>
                      <a:pt x="102" y="55"/>
                    </a:lnTo>
                    <a:lnTo>
                      <a:pt x="102" y="55"/>
                    </a:lnTo>
                    <a:lnTo>
                      <a:pt x="102" y="52"/>
                    </a:lnTo>
                    <a:lnTo>
                      <a:pt x="102" y="50"/>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20"/>
              <p:cNvSpPr>
                <a:spLocks noEditPoints="1"/>
              </p:cNvSpPr>
              <p:nvPr/>
            </p:nvSpPr>
            <p:spPr bwMode="auto">
              <a:xfrm>
                <a:off x="1556" y="2412"/>
                <a:ext cx="7" cy="14"/>
              </a:xfrm>
              <a:custGeom>
                <a:avLst/>
                <a:gdLst>
                  <a:gd name="T0" fmla="*/ 5 w 7"/>
                  <a:gd name="T1" fmla="*/ 14 h 14"/>
                  <a:gd name="T2" fmla="*/ 3 w 7"/>
                  <a:gd name="T3" fmla="*/ 12 h 14"/>
                  <a:gd name="T4" fmla="*/ 3 w 7"/>
                  <a:gd name="T5" fmla="*/ 12 h 14"/>
                  <a:gd name="T6" fmla="*/ 0 w 7"/>
                  <a:gd name="T7" fmla="*/ 14 h 14"/>
                  <a:gd name="T8" fmla="*/ 5 w 7"/>
                  <a:gd name="T9" fmla="*/ 14 h 14"/>
                  <a:gd name="T10" fmla="*/ 7 w 7"/>
                  <a:gd name="T11" fmla="*/ 14 h 14"/>
                  <a:gd name="T12" fmla="*/ 5 w 7"/>
                  <a:gd name="T13" fmla="*/ 14 h 14"/>
                  <a:gd name="T14" fmla="*/ 5 w 7"/>
                  <a:gd name="T15" fmla="*/ 0 h 14"/>
                  <a:gd name="T16" fmla="*/ 7 w 7"/>
                  <a:gd name="T17" fmla="*/ 0 h 14"/>
                  <a:gd name="T18" fmla="*/ 5 w 7"/>
                  <a:gd name="T19" fmla="*/ 0 h 14"/>
                  <a:gd name="T20" fmla="*/ 5 w 7"/>
                  <a:gd name="T21" fmla="*/ 0 h 14"/>
                  <a:gd name="T22" fmla="*/ 5 w 7"/>
                  <a:gd name="T23" fmla="*/ 0 h 14"/>
                  <a:gd name="T24" fmla="*/ 5 w 7"/>
                  <a:gd name="T25" fmla="*/ 0 h 14"/>
                  <a:gd name="T26" fmla="*/ 3 w 7"/>
                  <a:gd name="T27" fmla="*/ 0 h 14"/>
                  <a:gd name="T28" fmla="*/ 3 w 7"/>
                  <a:gd name="T29" fmla="*/ 0 h 14"/>
                  <a:gd name="T30" fmla="*/ 3 w 7"/>
                  <a:gd name="T31" fmla="*/ 0 h 14"/>
                  <a:gd name="T32" fmla="*/ 0 w 7"/>
                  <a:gd name="T33" fmla="*/ 0 h 14"/>
                  <a:gd name="T34" fmla="*/ 3 w 7"/>
                  <a:gd name="T35" fmla="*/ 0 h 14"/>
                  <a:gd name="T36" fmla="*/ 3 w 7"/>
                  <a:gd name="T3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 h="14">
                    <a:moveTo>
                      <a:pt x="5" y="14"/>
                    </a:moveTo>
                    <a:lnTo>
                      <a:pt x="3" y="12"/>
                    </a:lnTo>
                    <a:lnTo>
                      <a:pt x="3" y="12"/>
                    </a:lnTo>
                    <a:lnTo>
                      <a:pt x="0" y="14"/>
                    </a:lnTo>
                    <a:lnTo>
                      <a:pt x="5" y="14"/>
                    </a:lnTo>
                    <a:lnTo>
                      <a:pt x="7" y="14"/>
                    </a:lnTo>
                    <a:lnTo>
                      <a:pt x="5" y="14"/>
                    </a:lnTo>
                    <a:close/>
                    <a:moveTo>
                      <a:pt x="5" y="0"/>
                    </a:moveTo>
                    <a:lnTo>
                      <a:pt x="7" y="0"/>
                    </a:lnTo>
                    <a:lnTo>
                      <a:pt x="5" y="0"/>
                    </a:lnTo>
                    <a:lnTo>
                      <a:pt x="5" y="0"/>
                    </a:lnTo>
                    <a:lnTo>
                      <a:pt x="5" y="0"/>
                    </a:lnTo>
                    <a:lnTo>
                      <a:pt x="5" y="0"/>
                    </a:lnTo>
                    <a:close/>
                    <a:moveTo>
                      <a:pt x="3" y="0"/>
                    </a:moveTo>
                    <a:lnTo>
                      <a:pt x="3" y="0"/>
                    </a:lnTo>
                    <a:lnTo>
                      <a:pt x="3" y="0"/>
                    </a:lnTo>
                    <a:lnTo>
                      <a:pt x="0" y="0"/>
                    </a:lnTo>
                    <a:lnTo>
                      <a:pt x="3" y="0"/>
                    </a:lnTo>
                    <a:lnTo>
                      <a:pt x="3" y="0"/>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21"/>
              <p:cNvSpPr>
                <a:spLocks noEditPoints="1"/>
              </p:cNvSpPr>
              <p:nvPr/>
            </p:nvSpPr>
            <p:spPr bwMode="auto">
              <a:xfrm>
                <a:off x="1431" y="2336"/>
                <a:ext cx="12" cy="5"/>
              </a:xfrm>
              <a:custGeom>
                <a:avLst/>
                <a:gdLst>
                  <a:gd name="T0" fmla="*/ 2 w 12"/>
                  <a:gd name="T1" fmla="*/ 2 h 5"/>
                  <a:gd name="T2" fmla="*/ 0 w 12"/>
                  <a:gd name="T3" fmla="*/ 2 h 5"/>
                  <a:gd name="T4" fmla="*/ 0 w 12"/>
                  <a:gd name="T5" fmla="*/ 2 h 5"/>
                  <a:gd name="T6" fmla="*/ 0 w 12"/>
                  <a:gd name="T7" fmla="*/ 5 h 5"/>
                  <a:gd name="T8" fmla="*/ 0 w 12"/>
                  <a:gd name="T9" fmla="*/ 5 h 5"/>
                  <a:gd name="T10" fmla="*/ 2 w 12"/>
                  <a:gd name="T11" fmla="*/ 5 h 5"/>
                  <a:gd name="T12" fmla="*/ 2 w 12"/>
                  <a:gd name="T13" fmla="*/ 5 h 5"/>
                  <a:gd name="T14" fmla="*/ 2 w 12"/>
                  <a:gd name="T15" fmla="*/ 2 h 5"/>
                  <a:gd name="T16" fmla="*/ 2 w 12"/>
                  <a:gd name="T17" fmla="*/ 2 h 5"/>
                  <a:gd name="T18" fmla="*/ 2 w 12"/>
                  <a:gd name="T19" fmla="*/ 2 h 5"/>
                  <a:gd name="T20" fmla="*/ 12 w 12"/>
                  <a:gd name="T21" fmla="*/ 2 h 5"/>
                  <a:gd name="T22" fmla="*/ 9 w 12"/>
                  <a:gd name="T23" fmla="*/ 2 h 5"/>
                  <a:gd name="T24" fmla="*/ 9 w 12"/>
                  <a:gd name="T25" fmla="*/ 2 h 5"/>
                  <a:gd name="T26" fmla="*/ 9 w 12"/>
                  <a:gd name="T27" fmla="*/ 2 h 5"/>
                  <a:gd name="T28" fmla="*/ 12 w 12"/>
                  <a:gd name="T29" fmla="*/ 2 h 5"/>
                  <a:gd name="T30" fmla="*/ 12 w 12"/>
                  <a:gd name="T31" fmla="*/ 5 h 5"/>
                  <a:gd name="T32" fmla="*/ 12 w 12"/>
                  <a:gd name="T33" fmla="*/ 5 h 5"/>
                  <a:gd name="T34" fmla="*/ 12 w 12"/>
                  <a:gd name="T35" fmla="*/ 5 h 5"/>
                  <a:gd name="T36" fmla="*/ 12 w 12"/>
                  <a:gd name="T37" fmla="*/ 2 h 5"/>
                  <a:gd name="T38" fmla="*/ 7 w 12"/>
                  <a:gd name="T39" fmla="*/ 0 h 5"/>
                  <a:gd name="T40" fmla="*/ 7 w 12"/>
                  <a:gd name="T41" fmla="*/ 0 h 5"/>
                  <a:gd name="T42" fmla="*/ 7 w 12"/>
                  <a:gd name="T43" fmla="*/ 0 h 5"/>
                  <a:gd name="T44" fmla="*/ 7 w 12"/>
                  <a:gd name="T45" fmla="*/ 2 h 5"/>
                  <a:gd name="T46" fmla="*/ 7 w 12"/>
                  <a:gd name="T47" fmla="*/ 2 h 5"/>
                  <a:gd name="T48" fmla="*/ 7 w 12"/>
                  <a:gd name="T49" fmla="*/ 2 h 5"/>
                  <a:gd name="T50" fmla="*/ 7 w 12"/>
                  <a:gd name="T51" fmla="*/ 2 h 5"/>
                  <a:gd name="T52" fmla="*/ 9 w 12"/>
                  <a:gd name="T53" fmla="*/ 2 h 5"/>
                  <a:gd name="T54" fmla="*/ 7 w 12"/>
                  <a:gd name="T55" fmla="*/ 2 h 5"/>
                  <a:gd name="T56" fmla="*/ 7 w 12"/>
                  <a:gd name="T5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 h="5">
                    <a:moveTo>
                      <a:pt x="2" y="2"/>
                    </a:moveTo>
                    <a:lnTo>
                      <a:pt x="0" y="2"/>
                    </a:lnTo>
                    <a:lnTo>
                      <a:pt x="0" y="2"/>
                    </a:lnTo>
                    <a:lnTo>
                      <a:pt x="0" y="5"/>
                    </a:lnTo>
                    <a:lnTo>
                      <a:pt x="0" y="5"/>
                    </a:lnTo>
                    <a:lnTo>
                      <a:pt x="2" y="5"/>
                    </a:lnTo>
                    <a:lnTo>
                      <a:pt x="2" y="5"/>
                    </a:lnTo>
                    <a:lnTo>
                      <a:pt x="2" y="2"/>
                    </a:lnTo>
                    <a:lnTo>
                      <a:pt x="2" y="2"/>
                    </a:lnTo>
                    <a:lnTo>
                      <a:pt x="2" y="2"/>
                    </a:lnTo>
                    <a:close/>
                    <a:moveTo>
                      <a:pt x="12" y="2"/>
                    </a:moveTo>
                    <a:lnTo>
                      <a:pt x="9" y="2"/>
                    </a:lnTo>
                    <a:lnTo>
                      <a:pt x="9" y="2"/>
                    </a:lnTo>
                    <a:lnTo>
                      <a:pt x="9" y="2"/>
                    </a:lnTo>
                    <a:lnTo>
                      <a:pt x="12" y="2"/>
                    </a:lnTo>
                    <a:lnTo>
                      <a:pt x="12" y="5"/>
                    </a:lnTo>
                    <a:lnTo>
                      <a:pt x="12" y="5"/>
                    </a:lnTo>
                    <a:lnTo>
                      <a:pt x="12" y="5"/>
                    </a:lnTo>
                    <a:lnTo>
                      <a:pt x="12" y="2"/>
                    </a:lnTo>
                    <a:close/>
                    <a:moveTo>
                      <a:pt x="7" y="0"/>
                    </a:moveTo>
                    <a:lnTo>
                      <a:pt x="7" y="0"/>
                    </a:lnTo>
                    <a:lnTo>
                      <a:pt x="7" y="0"/>
                    </a:lnTo>
                    <a:lnTo>
                      <a:pt x="7" y="2"/>
                    </a:lnTo>
                    <a:lnTo>
                      <a:pt x="7" y="2"/>
                    </a:lnTo>
                    <a:lnTo>
                      <a:pt x="7" y="2"/>
                    </a:lnTo>
                    <a:lnTo>
                      <a:pt x="7" y="2"/>
                    </a:lnTo>
                    <a:lnTo>
                      <a:pt x="9" y="2"/>
                    </a:lnTo>
                    <a:lnTo>
                      <a:pt x="7" y="2"/>
                    </a:lnTo>
                    <a:lnTo>
                      <a:pt x="7" y="0"/>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22"/>
              <p:cNvSpPr>
                <a:spLocks noEditPoints="1"/>
              </p:cNvSpPr>
              <p:nvPr/>
            </p:nvSpPr>
            <p:spPr bwMode="auto">
              <a:xfrm>
                <a:off x="3662" y="1898"/>
                <a:ext cx="260" cy="159"/>
              </a:xfrm>
              <a:custGeom>
                <a:avLst/>
                <a:gdLst>
                  <a:gd name="T0" fmla="*/ 21 w 260"/>
                  <a:gd name="T1" fmla="*/ 80 h 159"/>
                  <a:gd name="T2" fmla="*/ 258 w 260"/>
                  <a:gd name="T3" fmla="*/ 97 h 159"/>
                  <a:gd name="T4" fmla="*/ 246 w 260"/>
                  <a:gd name="T5" fmla="*/ 92 h 159"/>
                  <a:gd name="T6" fmla="*/ 229 w 260"/>
                  <a:gd name="T7" fmla="*/ 85 h 159"/>
                  <a:gd name="T8" fmla="*/ 208 w 260"/>
                  <a:gd name="T9" fmla="*/ 76 h 159"/>
                  <a:gd name="T10" fmla="*/ 182 w 260"/>
                  <a:gd name="T11" fmla="*/ 59 h 159"/>
                  <a:gd name="T12" fmla="*/ 168 w 260"/>
                  <a:gd name="T13" fmla="*/ 43 h 159"/>
                  <a:gd name="T14" fmla="*/ 153 w 260"/>
                  <a:gd name="T15" fmla="*/ 31 h 159"/>
                  <a:gd name="T16" fmla="*/ 144 w 260"/>
                  <a:gd name="T17" fmla="*/ 31 h 159"/>
                  <a:gd name="T18" fmla="*/ 130 w 260"/>
                  <a:gd name="T19" fmla="*/ 28 h 159"/>
                  <a:gd name="T20" fmla="*/ 127 w 260"/>
                  <a:gd name="T21" fmla="*/ 19 h 159"/>
                  <a:gd name="T22" fmla="*/ 125 w 260"/>
                  <a:gd name="T23" fmla="*/ 16 h 159"/>
                  <a:gd name="T24" fmla="*/ 125 w 260"/>
                  <a:gd name="T25" fmla="*/ 12 h 159"/>
                  <a:gd name="T26" fmla="*/ 111 w 260"/>
                  <a:gd name="T27" fmla="*/ 5 h 159"/>
                  <a:gd name="T28" fmla="*/ 99 w 260"/>
                  <a:gd name="T29" fmla="*/ 0 h 159"/>
                  <a:gd name="T30" fmla="*/ 92 w 260"/>
                  <a:gd name="T31" fmla="*/ 2 h 159"/>
                  <a:gd name="T32" fmla="*/ 99 w 260"/>
                  <a:gd name="T33" fmla="*/ 9 h 159"/>
                  <a:gd name="T34" fmla="*/ 94 w 260"/>
                  <a:gd name="T35" fmla="*/ 7 h 159"/>
                  <a:gd name="T36" fmla="*/ 87 w 260"/>
                  <a:gd name="T37" fmla="*/ 12 h 159"/>
                  <a:gd name="T38" fmla="*/ 75 w 260"/>
                  <a:gd name="T39" fmla="*/ 16 h 159"/>
                  <a:gd name="T40" fmla="*/ 80 w 260"/>
                  <a:gd name="T41" fmla="*/ 28 h 159"/>
                  <a:gd name="T42" fmla="*/ 64 w 260"/>
                  <a:gd name="T43" fmla="*/ 31 h 159"/>
                  <a:gd name="T44" fmla="*/ 52 w 260"/>
                  <a:gd name="T45" fmla="*/ 31 h 159"/>
                  <a:gd name="T46" fmla="*/ 40 w 260"/>
                  <a:gd name="T47" fmla="*/ 19 h 159"/>
                  <a:gd name="T48" fmla="*/ 23 w 260"/>
                  <a:gd name="T49" fmla="*/ 9 h 159"/>
                  <a:gd name="T50" fmla="*/ 7 w 260"/>
                  <a:gd name="T51" fmla="*/ 12 h 159"/>
                  <a:gd name="T52" fmla="*/ 7 w 260"/>
                  <a:gd name="T53" fmla="*/ 31 h 159"/>
                  <a:gd name="T54" fmla="*/ 7 w 260"/>
                  <a:gd name="T55" fmla="*/ 16 h 159"/>
                  <a:gd name="T56" fmla="*/ 19 w 260"/>
                  <a:gd name="T57" fmla="*/ 14 h 159"/>
                  <a:gd name="T58" fmla="*/ 30 w 260"/>
                  <a:gd name="T59" fmla="*/ 28 h 159"/>
                  <a:gd name="T60" fmla="*/ 40 w 260"/>
                  <a:gd name="T61" fmla="*/ 38 h 159"/>
                  <a:gd name="T62" fmla="*/ 35 w 260"/>
                  <a:gd name="T63" fmla="*/ 43 h 159"/>
                  <a:gd name="T64" fmla="*/ 21 w 260"/>
                  <a:gd name="T65" fmla="*/ 40 h 159"/>
                  <a:gd name="T66" fmla="*/ 12 w 260"/>
                  <a:gd name="T67" fmla="*/ 38 h 159"/>
                  <a:gd name="T68" fmla="*/ 12 w 260"/>
                  <a:gd name="T69" fmla="*/ 57 h 159"/>
                  <a:gd name="T70" fmla="*/ 19 w 260"/>
                  <a:gd name="T71" fmla="*/ 57 h 159"/>
                  <a:gd name="T72" fmla="*/ 26 w 260"/>
                  <a:gd name="T73" fmla="*/ 64 h 159"/>
                  <a:gd name="T74" fmla="*/ 19 w 260"/>
                  <a:gd name="T75" fmla="*/ 66 h 159"/>
                  <a:gd name="T76" fmla="*/ 26 w 260"/>
                  <a:gd name="T77" fmla="*/ 71 h 159"/>
                  <a:gd name="T78" fmla="*/ 33 w 260"/>
                  <a:gd name="T79" fmla="*/ 78 h 159"/>
                  <a:gd name="T80" fmla="*/ 35 w 260"/>
                  <a:gd name="T81" fmla="*/ 99 h 159"/>
                  <a:gd name="T82" fmla="*/ 49 w 260"/>
                  <a:gd name="T83" fmla="*/ 109 h 159"/>
                  <a:gd name="T84" fmla="*/ 59 w 260"/>
                  <a:gd name="T85" fmla="*/ 97 h 159"/>
                  <a:gd name="T86" fmla="*/ 78 w 260"/>
                  <a:gd name="T87" fmla="*/ 97 h 159"/>
                  <a:gd name="T88" fmla="*/ 85 w 260"/>
                  <a:gd name="T89" fmla="*/ 92 h 159"/>
                  <a:gd name="T90" fmla="*/ 97 w 260"/>
                  <a:gd name="T91" fmla="*/ 97 h 159"/>
                  <a:gd name="T92" fmla="*/ 109 w 260"/>
                  <a:gd name="T93" fmla="*/ 102 h 159"/>
                  <a:gd name="T94" fmla="*/ 120 w 260"/>
                  <a:gd name="T95" fmla="*/ 104 h 159"/>
                  <a:gd name="T96" fmla="*/ 132 w 260"/>
                  <a:gd name="T97" fmla="*/ 109 h 159"/>
                  <a:gd name="T98" fmla="*/ 149 w 260"/>
                  <a:gd name="T99" fmla="*/ 121 h 159"/>
                  <a:gd name="T100" fmla="*/ 170 w 260"/>
                  <a:gd name="T101" fmla="*/ 132 h 159"/>
                  <a:gd name="T102" fmla="*/ 172 w 260"/>
                  <a:gd name="T103" fmla="*/ 142 h 159"/>
                  <a:gd name="T104" fmla="*/ 175 w 260"/>
                  <a:gd name="T105" fmla="*/ 149 h 159"/>
                  <a:gd name="T106" fmla="*/ 187 w 260"/>
                  <a:gd name="T107" fmla="*/ 154 h 159"/>
                  <a:gd name="T108" fmla="*/ 196 w 260"/>
                  <a:gd name="T109" fmla="*/ 156 h 159"/>
                  <a:gd name="T110" fmla="*/ 206 w 260"/>
                  <a:gd name="T111" fmla="*/ 154 h 159"/>
                  <a:gd name="T112" fmla="*/ 206 w 260"/>
                  <a:gd name="T113" fmla="*/ 144 h 159"/>
                  <a:gd name="T114" fmla="*/ 220 w 260"/>
                  <a:gd name="T115" fmla="*/ 140 h 159"/>
                  <a:gd name="T116" fmla="*/ 229 w 260"/>
                  <a:gd name="T117" fmla="*/ 132 h 159"/>
                  <a:gd name="T118" fmla="*/ 234 w 260"/>
                  <a:gd name="T119" fmla="*/ 114 h 159"/>
                  <a:gd name="T120" fmla="*/ 246 w 260"/>
                  <a:gd name="T121" fmla="*/ 106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0" h="159">
                    <a:moveTo>
                      <a:pt x="19" y="76"/>
                    </a:moveTo>
                    <a:lnTo>
                      <a:pt x="19" y="73"/>
                    </a:lnTo>
                    <a:lnTo>
                      <a:pt x="19" y="73"/>
                    </a:lnTo>
                    <a:lnTo>
                      <a:pt x="19" y="76"/>
                    </a:lnTo>
                    <a:lnTo>
                      <a:pt x="19" y="78"/>
                    </a:lnTo>
                    <a:lnTo>
                      <a:pt x="21" y="80"/>
                    </a:lnTo>
                    <a:lnTo>
                      <a:pt x="21" y="80"/>
                    </a:lnTo>
                    <a:lnTo>
                      <a:pt x="19" y="76"/>
                    </a:lnTo>
                    <a:close/>
                    <a:moveTo>
                      <a:pt x="258" y="109"/>
                    </a:moveTo>
                    <a:lnTo>
                      <a:pt x="258" y="106"/>
                    </a:lnTo>
                    <a:lnTo>
                      <a:pt x="258" y="102"/>
                    </a:lnTo>
                    <a:lnTo>
                      <a:pt x="258" y="99"/>
                    </a:lnTo>
                    <a:lnTo>
                      <a:pt x="258" y="99"/>
                    </a:lnTo>
                    <a:lnTo>
                      <a:pt x="258" y="97"/>
                    </a:lnTo>
                    <a:lnTo>
                      <a:pt x="258" y="97"/>
                    </a:lnTo>
                    <a:lnTo>
                      <a:pt x="253" y="97"/>
                    </a:lnTo>
                    <a:lnTo>
                      <a:pt x="253" y="97"/>
                    </a:lnTo>
                    <a:lnTo>
                      <a:pt x="250" y="95"/>
                    </a:lnTo>
                    <a:lnTo>
                      <a:pt x="248" y="95"/>
                    </a:lnTo>
                    <a:lnTo>
                      <a:pt x="248" y="92"/>
                    </a:lnTo>
                    <a:lnTo>
                      <a:pt x="246" y="92"/>
                    </a:lnTo>
                    <a:lnTo>
                      <a:pt x="243" y="92"/>
                    </a:lnTo>
                    <a:lnTo>
                      <a:pt x="241" y="92"/>
                    </a:lnTo>
                    <a:lnTo>
                      <a:pt x="241" y="92"/>
                    </a:lnTo>
                    <a:lnTo>
                      <a:pt x="241" y="92"/>
                    </a:lnTo>
                    <a:lnTo>
                      <a:pt x="239" y="92"/>
                    </a:lnTo>
                    <a:lnTo>
                      <a:pt x="234" y="90"/>
                    </a:lnTo>
                    <a:lnTo>
                      <a:pt x="229" y="85"/>
                    </a:lnTo>
                    <a:lnTo>
                      <a:pt x="224" y="83"/>
                    </a:lnTo>
                    <a:lnTo>
                      <a:pt x="220" y="83"/>
                    </a:lnTo>
                    <a:lnTo>
                      <a:pt x="220" y="80"/>
                    </a:lnTo>
                    <a:lnTo>
                      <a:pt x="217" y="80"/>
                    </a:lnTo>
                    <a:lnTo>
                      <a:pt x="213" y="76"/>
                    </a:lnTo>
                    <a:lnTo>
                      <a:pt x="210" y="78"/>
                    </a:lnTo>
                    <a:lnTo>
                      <a:pt x="208" y="76"/>
                    </a:lnTo>
                    <a:lnTo>
                      <a:pt x="203" y="73"/>
                    </a:lnTo>
                    <a:lnTo>
                      <a:pt x="203" y="73"/>
                    </a:lnTo>
                    <a:lnTo>
                      <a:pt x="198" y="69"/>
                    </a:lnTo>
                    <a:lnTo>
                      <a:pt x="194" y="66"/>
                    </a:lnTo>
                    <a:lnTo>
                      <a:pt x="189" y="64"/>
                    </a:lnTo>
                    <a:lnTo>
                      <a:pt x="187" y="61"/>
                    </a:lnTo>
                    <a:lnTo>
                      <a:pt x="182" y="59"/>
                    </a:lnTo>
                    <a:lnTo>
                      <a:pt x="177" y="57"/>
                    </a:lnTo>
                    <a:lnTo>
                      <a:pt x="177" y="57"/>
                    </a:lnTo>
                    <a:lnTo>
                      <a:pt x="177" y="57"/>
                    </a:lnTo>
                    <a:lnTo>
                      <a:pt x="175" y="50"/>
                    </a:lnTo>
                    <a:lnTo>
                      <a:pt x="172" y="47"/>
                    </a:lnTo>
                    <a:lnTo>
                      <a:pt x="170" y="45"/>
                    </a:lnTo>
                    <a:lnTo>
                      <a:pt x="168" y="43"/>
                    </a:lnTo>
                    <a:lnTo>
                      <a:pt x="165" y="38"/>
                    </a:lnTo>
                    <a:lnTo>
                      <a:pt x="163" y="35"/>
                    </a:lnTo>
                    <a:lnTo>
                      <a:pt x="163" y="33"/>
                    </a:lnTo>
                    <a:lnTo>
                      <a:pt x="161" y="33"/>
                    </a:lnTo>
                    <a:lnTo>
                      <a:pt x="158" y="31"/>
                    </a:lnTo>
                    <a:lnTo>
                      <a:pt x="153" y="31"/>
                    </a:lnTo>
                    <a:lnTo>
                      <a:pt x="153" y="31"/>
                    </a:lnTo>
                    <a:lnTo>
                      <a:pt x="153" y="31"/>
                    </a:lnTo>
                    <a:lnTo>
                      <a:pt x="153" y="31"/>
                    </a:lnTo>
                    <a:lnTo>
                      <a:pt x="151" y="33"/>
                    </a:lnTo>
                    <a:lnTo>
                      <a:pt x="151" y="33"/>
                    </a:lnTo>
                    <a:lnTo>
                      <a:pt x="149" y="33"/>
                    </a:lnTo>
                    <a:lnTo>
                      <a:pt x="149" y="31"/>
                    </a:lnTo>
                    <a:lnTo>
                      <a:pt x="144" y="31"/>
                    </a:lnTo>
                    <a:lnTo>
                      <a:pt x="144" y="31"/>
                    </a:lnTo>
                    <a:lnTo>
                      <a:pt x="142" y="31"/>
                    </a:lnTo>
                    <a:lnTo>
                      <a:pt x="137" y="31"/>
                    </a:lnTo>
                    <a:lnTo>
                      <a:pt x="137" y="31"/>
                    </a:lnTo>
                    <a:lnTo>
                      <a:pt x="132" y="28"/>
                    </a:lnTo>
                    <a:lnTo>
                      <a:pt x="130" y="28"/>
                    </a:lnTo>
                    <a:lnTo>
                      <a:pt x="130" y="28"/>
                    </a:lnTo>
                    <a:lnTo>
                      <a:pt x="130" y="26"/>
                    </a:lnTo>
                    <a:lnTo>
                      <a:pt x="130" y="24"/>
                    </a:lnTo>
                    <a:lnTo>
                      <a:pt x="130" y="24"/>
                    </a:lnTo>
                    <a:lnTo>
                      <a:pt x="130" y="24"/>
                    </a:lnTo>
                    <a:lnTo>
                      <a:pt x="127" y="21"/>
                    </a:lnTo>
                    <a:lnTo>
                      <a:pt x="127" y="21"/>
                    </a:lnTo>
                    <a:lnTo>
                      <a:pt x="127" y="19"/>
                    </a:lnTo>
                    <a:lnTo>
                      <a:pt x="130" y="19"/>
                    </a:lnTo>
                    <a:lnTo>
                      <a:pt x="130" y="19"/>
                    </a:lnTo>
                    <a:lnTo>
                      <a:pt x="130" y="19"/>
                    </a:lnTo>
                    <a:lnTo>
                      <a:pt x="130" y="19"/>
                    </a:lnTo>
                    <a:lnTo>
                      <a:pt x="127" y="16"/>
                    </a:lnTo>
                    <a:lnTo>
                      <a:pt x="125" y="16"/>
                    </a:lnTo>
                    <a:lnTo>
                      <a:pt x="125" y="16"/>
                    </a:lnTo>
                    <a:lnTo>
                      <a:pt x="125" y="16"/>
                    </a:lnTo>
                    <a:lnTo>
                      <a:pt x="125" y="14"/>
                    </a:lnTo>
                    <a:lnTo>
                      <a:pt x="125" y="14"/>
                    </a:lnTo>
                    <a:lnTo>
                      <a:pt x="125" y="12"/>
                    </a:lnTo>
                    <a:lnTo>
                      <a:pt x="125" y="12"/>
                    </a:lnTo>
                    <a:lnTo>
                      <a:pt x="125" y="12"/>
                    </a:lnTo>
                    <a:lnTo>
                      <a:pt x="125" y="12"/>
                    </a:lnTo>
                    <a:lnTo>
                      <a:pt x="123" y="9"/>
                    </a:lnTo>
                    <a:lnTo>
                      <a:pt x="123" y="9"/>
                    </a:lnTo>
                    <a:lnTo>
                      <a:pt x="120" y="9"/>
                    </a:lnTo>
                    <a:lnTo>
                      <a:pt x="116" y="9"/>
                    </a:lnTo>
                    <a:lnTo>
                      <a:pt x="113" y="9"/>
                    </a:lnTo>
                    <a:lnTo>
                      <a:pt x="111" y="7"/>
                    </a:lnTo>
                    <a:lnTo>
                      <a:pt x="111" y="5"/>
                    </a:lnTo>
                    <a:lnTo>
                      <a:pt x="109" y="5"/>
                    </a:lnTo>
                    <a:lnTo>
                      <a:pt x="109" y="5"/>
                    </a:lnTo>
                    <a:lnTo>
                      <a:pt x="106" y="5"/>
                    </a:lnTo>
                    <a:lnTo>
                      <a:pt x="104" y="5"/>
                    </a:lnTo>
                    <a:lnTo>
                      <a:pt x="104" y="5"/>
                    </a:lnTo>
                    <a:lnTo>
                      <a:pt x="101" y="2"/>
                    </a:lnTo>
                    <a:lnTo>
                      <a:pt x="99" y="0"/>
                    </a:lnTo>
                    <a:lnTo>
                      <a:pt x="97" y="2"/>
                    </a:lnTo>
                    <a:lnTo>
                      <a:pt x="97" y="2"/>
                    </a:lnTo>
                    <a:lnTo>
                      <a:pt x="94" y="2"/>
                    </a:lnTo>
                    <a:lnTo>
                      <a:pt x="92" y="2"/>
                    </a:lnTo>
                    <a:lnTo>
                      <a:pt x="92" y="2"/>
                    </a:lnTo>
                    <a:lnTo>
                      <a:pt x="92" y="2"/>
                    </a:lnTo>
                    <a:lnTo>
                      <a:pt x="92" y="2"/>
                    </a:lnTo>
                    <a:lnTo>
                      <a:pt x="92" y="5"/>
                    </a:lnTo>
                    <a:lnTo>
                      <a:pt x="94" y="5"/>
                    </a:lnTo>
                    <a:lnTo>
                      <a:pt x="97" y="7"/>
                    </a:lnTo>
                    <a:lnTo>
                      <a:pt x="99" y="9"/>
                    </a:lnTo>
                    <a:lnTo>
                      <a:pt x="99" y="9"/>
                    </a:lnTo>
                    <a:lnTo>
                      <a:pt x="99" y="9"/>
                    </a:lnTo>
                    <a:lnTo>
                      <a:pt x="99" y="9"/>
                    </a:lnTo>
                    <a:lnTo>
                      <a:pt x="97" y="9"/>
                    </a:lnTo>
                    <a:lnTo>
                      <a:pt x="97" y="9"/>
                    </a:lnTo>
                    <a:lnTo>
                      <a:pt x="97" y="9"/>
                    </a:lnTo>
                    <a:lnTo>
                      <a:pt x="97" y="9"/>
                    </a:lnTo>
                    <a:lnTo>
                      <a:pt x="94" y="7"/>
                    </a:lnTo>
                    <a:lnTo>
                      <a:pt x="94" y="7"/>
                    </a:lnTo>
                    <a:lnTo>
                      <a:pt x="94" y="7"/>
                    </a:lnTo>
                    <a:lnTo>
                      <a:pt x="92" y="7"/>
                    </a:lnTo>
                    <a:lnTo>
                      <a:pt x="90" y="5"/>
                    </a:lnTo>
                    <a:lnTo>
                      <a:pt x="90" y="5"/>
                    </a:lnTo>
                    <a:lnTo>
                      <a:pt x="90" y="7"/>
                    </a:lnTo>
                    <a:lnTo>
                      <a:pt x="90" y="7"/>
                    </a:lnTo>
                    <a:lnTo>
                      <a:pt x="90" y="9"/>
                    </a:lnTo>
                    <a:lnTo>
                      <a:pt x="87" y="12"/>
                    </a:lnTo>
                    <a:lnTo>
                      <a:pt x="87" y="12"/>
                    </a:lnTo>
                    <a:lnTo>
                      <a:pt x="85" y="12"/>
                    </a:lnTo>
                    <a:lnTo>
                      <a:pt x="80" y="12"/>
                    </a:lnTo>
                    <a:lnTo>
                      <a:pt x="78" y="12"/>
                    </a:lnTo>
                    <a:lnTo>
                      <a:pt x="78" y="14"/>
                    </a:lnTo>
                    <a:lnTo>
                      <a:pt x="78" y="16"/>
                    </a:lnTo>
                    <a:lnTo>
                      <a:pt x="75" y="16"/>
                    </a:lnTo>
                    <a:lnTo>
                      <a:pt x="75" y="19"/>
                    </a:lnTo>
                    <a:lnTo>
                      <a:pt x="75" y="21"/>
                    </a:lnTo>
                    <a:lnTo>
                      <a:pt x="78" y="26"/>
                    </a:lnTo>
                    <a:lnTo>
                      <a:pt x="78" y="28"/>
                    </a:lnTo>
                    <a:lnTo>
                      <a:pt x="80" y="28"/>
                    </a:lnTo>
                    <a:lnTo>
                      <a:pt x="80" y="28"/>
                    </a:lnTo>
                    <a:lnTo>
                      <a:pt x="80" y="28"/>
                    </a:lnTo>
                    <a:lnTo>
                      <a:pt x="78" y="31"/>
                    </a:lnTo>
                    <a:lnTo>
                      <a:pt x="78" y="31"/>
                    </a:lnTo>
                    <a:lnTo>
                      <a:pt x="78" y="31"/>
                    </a:lnTo>
                    <a:lnTo>
                      <a:pt x="75" y="31"/>
                    </a:lnTo>
                    <a:lnTo>
                      <a:pt x="73" y="31"/>
                    </a:lnTo>
                    <a:lnTo>
                      <a:pt x="68" y="31"/>
                    </a:lnTo>
                    <a:lnTo>
                      <a:pt x="64" y="31"/>
                    </a:lnTo>
                    <a:lnTo>
                      <a:pt x="59" y="28"/>
                    </a:lnTo>
                    <a:lnTo>
                      <a:pt x="59" y="28"/>
                    </a:lnTo>
                    <a:lnTo>
                      <a:pt x="56" y="31"/>
                    </a:lnTo>
                    <a:lnTo>
                      <a:pt x="54" y="31"/>
                    </a:lnTo>
                    <a:lnTo>
                      <a:pt x="52" y="31"/>
                    </a:lnTo>
                    <a:lnTo>
                      <a:pt x="52" y="31"/>
                    </a:lnTo>
                    <a:lnTo>
                      <a:pt x="52" y="31"/>
                    </a:lnTo>
                    <a:lnTo>
                      <a:pt x="49" y="28"/>
                    </a:lnTo>
                    <a:lnTo>
                      <a:pt x="49" y="28"/>
                    </a:lnTo>
                    <a:lnTo>
                      <a:pt x="47" y="26"/>
                    </a:lnTo>
                    <a:lnTo>
                      <a:pt x="45" y="24"/>
                    </a:lnTo>
                    <a:lnTo>
                      <a:pt x="45" y="24"/>
                    </a:lnTo>
                    <a:lnTo>
                      <a:pt x="40" y="19"/>
                    </a:lnTo>
                    <a:lnTo>
                      <a:pt x="40" y="19"/>
                    </a:lnTo>
                    <a:lnTo>
                      <a:pt x="40" y="16"/>
                    </a:lnTo>
                    <a:lnTo>
                      <a:pt x="38" y="16"/>
                    </a:lnTo>
                    <a:lnTo>
                      <a:pt x="35" y="14"/>
                    </a:lnTo>
                    <a:lnTo>
                      <a:pt x="30" y="12"/>
                    </a:lnTo>
                    <a:lnTo>
                      <a:pt x="28" y="9"/>
                    </a:lnTo>
                    <a:lnTo>
                      <a:pt x="26" y="9"/>
                    </a:lnTo>
                    <a:lnTo>
                      <a:pt x="23" y="9"/>
                    </a:lnTo>
                    <a:lnTo>
                      <a:pt x="23" y="9"/>
                    </a:lnTo>
                    <a:lnTo>
                      <a:pt x="21" y="9"/>
                    </a:lnTo>
                    <a:lnTo>
                      <a:pt x="16" y="9"/>
                    </a:lnTo>
                    <a:lnTo>
                      <a:pt x="14" y="9"/>
                    </a:lnTo>
                    <a:lnTo>
                      <a:pt x="9" y="12"/>
                    </a:lnTo>
                    <a:lnTo>
                      <a:pt x="7" y="12"/>
                    </a:lnTo>
                    <a:lnTo>
                      <a:pt x="7" y="12"/>
                    </a:lnTo>
                    <a:lnTo>
                      <a:pt x="4" y="14"/>
                    </a:lnTo>
                    <a:lnTo>
                      <a:pt x="2" y="16"/>
                    </a:lnTo>
                    <a:lnTo>
                      <a:pt x="0" y="19"/>
                    </a:lnTo>
                    <a:lnTo>
                      <a:pt x="2" y="26"/>
                    </a:lnTo>
                    <a:lnTo>
                      <a:pt x="4" y="28"/>
                    </a:lnTo>
                    <a:lnTo>
                      <a:pt x="7" y="31"/>
                    </a:lnTo>
                    <a:lnTo>
                      <a:pt x="7" y="31"/>
                    </a:lnTo>
                    <a:lnTo>
                      <a:pt x="7" y="31"/>
                    </a:lnTo>
                    <a:lnTo>
                      <a:pt x="7" y="28"/>
                    </a:lnTo>
                    <a:lnTo>
                      <a:pt x="7" y="24"/>
                    </a:lnTo>
                    <a:lnTo>
                      <a:pt x="7" y="24"/>
                    </a:lnTo>
                    <a:lnTo>
                      <a:pt x="4" y="21"/>
                    </a:lnTo>
                    <a:lnTo>
                      <a:pt x="4" y="16"/>
                    </a:lnTo>
                    <a:lnTo>
                      <a:pt x="7" y="16"/>
                    </a:lnTo>
                    <a:lnTo>
                      <a:pt x="9" y="14"/>
                    </a:lnTo>
                    <a:lnTo>
                      <a:pt x="9" y="14"/>
                    </a:lnTo>
                    <a:lnTo>
                      <a:pt x="12" y="14"/>
                    </a:lnTo>
                    <a:lnTo>
                      <a:pt x="14" y="12"/>
                    </a:lnTo>
                    <a:lnTo>
                      <a:pt x="16" y="12"/>
                    </a:lnTo>
                    <a:lnTo>
                      <a:pt x="19" y="12"/>
                    </a:lnTo>
                    <a:lnTo>
                      <a:pt x="19" y="14"/>
                    </a:lnTo>
                    <a:lnTo>
                      <a:pt x="21" y="14"/>
                    </a:lnTo>
                    <a:lnTo>
                      <a:pt x="23" y="19"/>
                    </a:lnTo>
                    <a:lnTo>
                      <a:pt x="23" y="21"/>
                    </a:lnTo>
                    <a:lnTo>
                      <a:pt x="26" y="24"/>
                    </a:lnTo>
                    <a:lnTo>
                      <a:pt x="28" y="26"/>
                    </a:lnTo>
                    <a:lnTo>
                      <a:pt x="28" y="26"/>
                    </a:lnTo>
                    <a:lnTo>
                      <a:pt x="30" y="28"/>
                    </a:lnTo>
                    <a:lnTo>
                      <a:pt x="38" y="33"/>
                    </a:lnTo>
                    <a:lnTo>
                      <a:pt x="38" y="33"/>
                    </a:lnTo>
                    <a:lnTo>
                      <a:pt x="40" y="35"/>
                    </a:lnTo>
                    <a:lnTo>
                      <a:pt x="40" y="35"/>
                    </a:lnTo>
                    <a:lnTo>
                      <a:pt x="40" y="38"/>
                    </a:lnTo>
                    <a:lnTo>
                      <a:pt x="40" y="38"/>
                    </a:lnTo>
                    <a:lnTo>
                      <a:pt x="40" y="38"/>
                    </a:lnTo>
                    <a:lnTo>
                      <a:pt x="40" y="38"/>
                    </a:lnTo>
                    <a:lnTo>
                      <a:pt x="38" y="40"/>
                    </a:lnTo>
                    <a:lnTo>
                      <a:pt x="35" y="38"/>
                    </a:lnTo>
                    <a:lnTo>
                      <a:pt x="33" y="40"/>
                    </a:lnTo>
                    <a:lnTo>
                      <a:pt x="35" y="40"/>
                    </a:lnTo>
                    <a:lnTo>
                      <a:pt x="35" y="43"/>
                    </a:lnTo>
                    <a:lnTo>
                      <a:pt x="35" y="43"/>
                    </a:lnTo>
                    <a:lnTo>
                      <a:pt x="33" y="43"/>
                    </a:lnTo>
                    <a:lnTo>
                      <a:pt x="33" y="43"/>
                    </a:lnTo>
                    <a:lnTo>
                      <a:pt x="30" y="43"/>
                    </a:lnTo>
                    <a:lnTo>
                      <a:pt x="26" y="43"/>
                    </a:lnTo>
                    <a:lnTo>
                      <a:pt x="26" y="43"/>
                    </a:lnTo>
                    <a:lnTo>
                      <a:pt x="23" y="40"/>
                    </a:lnTo>
                    <a:lnTo>
                      <a:pt x="21" y="40"/>
                    </a:lnTo>
                    <a:lnTo>
                      <a:pt x="21" y="40"/>
                    </a:lnTo>
                    <a:lnTo>
                      <a:pt x="19" y="40"/>
                    </a:lnTo>
                    <a:lnTo>
                      <a:pt x="16" y="40"/>
                    </a:lnTo>
                    <a:lnTo>
                      <a:pt x="14" y="40"/>
                    </a:lnTo>
                    <a:lnTo>
                      <a:pt x="14" y="40"/>
                    </a:lnTo>
                    <a:lnTo>
                      <a:pt x="12" y="38"/>
                    </a:lnTo>
                    <a:lnTo>
                      <a:pt x="12" y="38"/>
                    </a:lnTo>
                    <a:lnTo>
                      <a:pt x="9" y="35"/>
                    </a:lnTo>
                    <a:lnTo>
                      <a:pt x="9" y="38"/>
                    </a:lnTo>
                    <a:lnTo>
                      <a:pt x="9" y="43"/>
                    </a:lnTo>
                    <a:lnTo>
                      <a:pt x="9" y="45"/>
                    </a:lnTo>
                    <a:lnTo>
                      <a:pt x="9" y="50"/>
                    </a:lnTo>
                    <a:lnTo>
                      <a:pt x="9" y="52"/>
                    </a:lnTo>
                    <a:lnTo>
                      <a:pt x="12" y="57"/>
                    </a:lnTo>
                    <a:lnTo>
                      <a:pt x="12" y="57"/>
                    </a:lnTo>
                    <a:lnTo>
                      <a:pt x="14" y="59"/>
                    </a:lnTo>
                    <a:lnTo>
                      <a:pt x="16" y="59"/>
                    </a:lnTo>
                    <a:lnTo>
                      <a:pt x="14" y="57"/>
                    </a:lnTo>
                    <a:lnTo>
                      <a:pt x="14" y="54"/>
                    </a:lnTo>
                    <a:lnTo>
                      <a:pt x="16" y="57"/>
                    </a:lnTo>
                    <a:lnTo>
                      <a:pt x="19" y="57"/>
                    </a:lnTo>
                    <a:lnTo>
                      <a:pt x="21" y="57"/>
                    </a:lnTo>
                    <a:lnTo>
                      <a:pt x="21" y="57"/>
                    </a:lnTo>
                    <a:lnTo>
                      <a:pt x="23" y="57"/>
                    </a:lnTo>
                    <a:lnTo>
                      <a:pt x="23" y="59"/>
                    </a:lnTo>
                    <a:lnTo>
                      <a:pt x="23" y="61"/>
                    </a:lnTo>
                    <a:lnTo>
                      <a:pt x="23" y="61"/>
                    </a:lnTo>
                    <a:lnTo>
                      <a:pt x="26" y="64"/>
                    </a:lnTo>
                    <a:lnTo>
                      <a:pt x="26" y="64"/>
                    </a:lnTo>
                    <a:lnTo>
                      <a:pt x="26" y="64"/>
                    </a:lnTo>
                    <a:lnTo>
                      <a:pt x="23" y="64"/>
                    </a:lnTo>
                    <a:lnTo>
                      <a:pt x="23" y="64"/>
                    </a:lnTo>
                    <a:lnTo>
                      <a:pt x="21" y="64"/>
                    </a:lnTo>
                    <a:lnTo>
                      <a:pt x="19" y="64"/>
                    </a:lnTo>
                    <a:lnTo>
                      <a:pt x="19" y="66"/>
                    </a:lnTo>
                    <a:lnTo>
                      <a:pt x="19" y="69"/>
                    </a:lnTo>
                    <a:lnTo>
                      <a:pt x="19" y="71"/>
                    </a:lnTo>
                    <a:lnTo>
                      <a:pt x="21" y="69"/>
                    </a:lnTo>
                    <a:lnTo>
                      <a:pt x="21" y="69"/>
                    </a:lnTo>
                    <a:lnTo>
                      <a:pt x="23" y="69"/>
                    </a:lnTo>
                    <a:lnTo>
                      <a:pt x="26" y="71"/>
                    </a:lnTo>
                    <a:lnTo>
                      <a:pt x="26" y="71"/>
                    </a:lnTo>
                    <a:lnTo>
                      <a:pt x="28" y="71"/>
                    </a:lnTo>
                    <a:lnTo>
                      <a:pt x="28" y="71"/>
                    </a:lnTo>
                    <a:lnTo>
                      <a:pt x="30" y="73"/>
                    </a:lnTo>
                    <a:lnTo>
                      <a:pt x="30" y="73"/>
                    </a:lnTo>
                    <a:lnTo>
                      <a:pt x="33" y="76"/>
                    </a:lnTo>
                    <a:lnTo>
                      <a:pt x="33" y="78"/>
                    </a:lnTo>
                    <a:lnTo>
                      <a:pt x="33" y="78"/>
                    </a:lnTo>
                    <a:lnTo>
                      <a:pt x="33" y="83"/>
                    </a:lnTo>
                    <a:lnTo>
                      <a:pt x="33" y="85"/>
                    </a:lnTo>
                    <a:lnTo>
                      <a:pt x="33" y="87"/>
                    </a:lnTo>
                    <a:lnTo>
                      <a:pt x="35" y="90"/>
                    </a:lnTo>
                    <a:lnTo>
                      <a:pt x="35" y="92"/>
                    </a:lnTo>
                    <a:lnTo>
                      <a:pt x="35" y="97"/>
                    </a:lnTo>
                    <a:lnTo>
                      <a:pt x="35" y="99"/>
                    </a:lnTo>
                    <a:lnTo>
                      <a:pt x="38" y="104"/>
                    </a:lnTo>
                    <a:lnTo>
                      <a:pt x="38" y="111"/>
                    </a:lnTo>
                    <a:lnTo>
                      <a:pt x="40" y="111"/>
                    </a:lnTo>
                    <a:lnTo>
                      <a:pt x="45" y="111"/>
                    </a:lnTo>
                    <a:lnTo>
                      <a:pt x="47" y="111"/>
                    </a:lnTo>
                    <a:lnTo>
                      <a:pt x="49" y="111"/>
                    </a:lnTo>
                    <a:lnTo>
                      <a:pt x="49" y="109"/>
                    </a:lnTo>
                    <a:lnTo>
                      <a:pt x="52" y="109"/>
                    </a:lnTo>
                    <a:lnTo>
                      <a:pt x="52" y="109"/>
                    </a:lnTo>
                    <a:lnTo>
                      <a:pt x="54" y="109"/>
                    </a:lnTo>
                    <a:lnTo>
                      <a:pt x="54" y="104"/>
                    </a:lnTo>
                    <a:lnTo>
                      <a:pt x="54" y="102"/>
                    </a:lnTo>
                    <a:lnTo>
                      <a:pt x="56" y="99"/>
                    </a:lnTo>
                    <a:lnTo>
                      <a:pt x="59" y="97"/>
                    </a:lnTo>
                    <a:lnTo>
                      <a:pt x="61" y="97"/>
                    </a:lnTo>
                    <a:lnTo>
                      <a:pt x="66" y="95"/>
                    </a:lnTo>
                    <a:lnTo>
                      <a:pt x="71" y="95"/>
                    </a:lnTo>
                    <a:lnTo>
                      <a:pt x="73" y="97"/>
                    </a:lnTo>
                    <a:lnTo>
                      <a:pt x="75" y="97"/>
                    </a:lnTo>
                    <a:lnTo>
                      <a:pt x="78" y="97"/>
                    </a:lnTo>
                    <a:lnTo>
                      <a:pt x="78" y="97"/>
                    </a:lnTo>
                    <a:lnTo>
                      <a:pt x="78" y="95"/>
                    </a:lnTo>
                    <a:lnTo>
                      <a:pt x="78" y="95"/>
                    </a:lnTo>
                    <a:lnTo>
                      <a:pt x="78" y="92"/>
                    </a:lnTo>
                    <a:lnTo>
                      <a:pt x="80" y="92"/>
                    </a:lnTo>
                    <a:lnTo>
                      <a:pt x="83" y="92"/>
                    </a:lnTo>
                    <a:lnTo>
                      <a:pt x="85" y="92"/>
                    </a:lnTo>
                    <a:lnTo>
                      <a:pt x="85" y="92"/>
                    </a:lnTo>
                    <a:lnTo>
                      <a:pt x="87" y="92"/>
                    </a:lnTo>
                    <a:lnTo>
                      <a:pt x="92" y="92"/>
                    </a:lnTo>
                    <a:lnTo>
                      <a:pt x="92" y="92"/>
                    </a:lnTo>
                    <a:lnTo>
                      <a:pt x="94" y="95"/>
                    </a:lnTo>
                    <a:lnTo>
                      <a:pt x="94" y="95"/>
                    </a:lnTo>
                    <a:lnTo>
                      <a:pt x="97" y="95"/>
                    </a:lnTo>
                    <a:lnTo>
                      <a:pt x="97" y="97"/>
                    </a:lnTo>
                    <a:lnTo>
                      <a:pt x="97" y="97"/>
                    </a:lnTo>
                    <a:lnTo>
                      <a:pt x="97" y="99"/>
                    </a:lnTo>
                    <a:lnTo>
                      <a:pt x="99" y="99"/>
                    </a:lnTo>
                    <a:lnTo>
                      <a:pt x="99" y="99"/>
                    </a:lnTo>
                    <a:lnTo>
                      <a:pt x="104" y="99"/>
                    </a:lnTo>
                    <a:lnTo>
                      <a:pt x="106" y="102"/>
                    </a:lnTo>
                    <a:lnTo>
                      <a:pt x="109" y="102"/>
                    </a:lnTo>
                    <a:lnTo>
                      <a:pt x="111" y="102"/>
                    </a:lnTo>
                    <a:lnTo>
                      <a:pt x="113" y="104"/>
                    </a:lnTo>
                    <a:lnTo>
                      <a:pt x="116" y="104"/>
                    </a:lnTo>
                    <a:lnTo>
                      <a:pt x="116" y="106"/>
                    </a:lnTo>
                    <a:lnTo>
                      <a:pt x="118" y="106"/>
                    </a:lnTo>
                    <a:lnTo>
                      <a:pt x="118" y="104"/>
                    </a:lnTo>
                    <a:lnTo>
                      <a:pt x="120" y="104"/>
                    </a:lnTo>
                    <a:lnTo>
                      <a:pt x="120" y="104"/>
                    </a:lnTo>
                    <a:lnTo>
                      <a:pt x="123" y="104"/>
                    </a:lnTo>
                    <a:lnTo>
                      <a:pt x="125" y="104"/>
                    </a:lnTo>
                    <a:lnTo>
                      <a:pt x="132" y="109"/>
                    </a:lnTo>
                    <a:lnTo>
                      <a:pt x="132" y="109"/>
                    </a:lnTo>
                    <a:lnTo>
                      <a:pt x="132" y="109"/>
                    </a:lnTo>
                    <a:lnTo>
                      <a:pt x="132" y="109"/>
                    </a:lnTo>
                    <a:lnTo>
                      <a:pt x="135" y="109"/>
                    </a:lnTo>
                    <a:lnTo>
                      <a:pt x="135" y="111"/>
                    </a:lnTo>
                    <a:lnTo>
                      <a:pt x="137" y="114"/>
                    </a:lnTo>
                    <a:lnTo>
                      <a:pt x="139" y="116"/>
                    </a:lnTo>
                    <a:lnTo>
                      <a:pt x="142" y="116"/>
                    </a:lnTo>
                    <a:lnTo>
                      <a:pt x="146" y="118"/>
                    </a:lnTo>
                    <a:lnTo>
                      <a:pt x="149" y="121"/>
                    </a:lnTo>
                    <a:lnTo>
                      <a:pt x="151" y="123"/>
                    </a:lnTo>
                    <a:lnTo>
                      <a:pt x="153" y="128"/>
                    </a:lnTo>
                    <a:lnTo>
                      <a:pt x="153" y="128"/>
                    </a:lnTo>
                    <a:lnTo>
                      <a:pt x="161" y="128"/>
                    </a:lnTo>
                    <a:lnTo>
                      <a:pt x="168" y="128"/>
                    </a:lnTo>
                    <a:lnTo>
                      <a:pt x="168" y="128"/>
                    </a:lnTo>
                    <a:lnTo>
                      <a:pt x="170" y="132"/>
                    </a:lnTo>
                    <a:lnTo>
                      <a:pt x="170" y="135"/>
                    </a:lnTo>
                    <a:lnTo>
                      <a:pt x="170" y="137"/>
                    </a:lnTo>
                    <a:lnTo>
                      <a:pt x="170" y="140"/>
                    </a:lnTo>
                    <a:lnTo>
                      <a:pt x="170" y="140"/>
                    </a:lnTo>
                    <a:lnTo>
                      <a:pt x="170" y="140"/>
                    </a:lnTo>
                    <a:lnTo>
                      <a:pt x="170" y="142"/>
                    </a:lnTo>
                    <a:lnTo>
                      <a:pt x="172" y="142"/>
                    </a:lnTo>
                    <a:lnTo>
                      <a:pt x="172" y="144"/>
                    </a:lnTo>
                    <a:lnTo>
                      <a:pt x="172" y="147"/>
                    </a:lnTo>
                    <a:lnTo>
                      <a:pt x="172" y="147"/>
                    </a:lnTo>
                    <a:lnTo>
                      <a:pt x="172" y="149"/>
                    </a:lnTo>
                    <a:lnTo>
                      <a:pt x="175" y="149"/>
                    </a:lnTo>
                    <a:lnTo>
                      <a:pt x="175" y="149"/>
                    </a:lnTo>
                    <a:lnTo>
                      <a:pt x="175" y="149"/>
                    </a:lnTo>
                    <a:lnTo>
                      <a:pt x="177" y="151"/>
                    </a:lnTo>
                    <a:lnTo>
                      <a:pt x="180" y="151"/>
                    </a:lnTo>
                    <a:lnTo>
                      <a:pt x="182" y="154"/>
                    </a:lnTo>
                    <a:lnTo>
                      <a:pt x="182" y="154"/>
                    </a:lnTo>
                    <a:lnTo>
                      <a:pt x="184" y="154"/>
                    </a:lnTo>
                    <a:lnTo>
                      <a:pt x="187" y="151"/>
                    </a:lnTo>
                    <a:lnTo>
                      <a:pt x="187" y="154"/>
                    </a:lnTo>
                    <a:lnTo>
                      <a:pt x="189" y="154"/>
                    </a:lnTo>
                    <a:lnTo>
                      <a:pt x="191" y="156"/>
                    </a:lnTo>
                    <a:lnTo>
                      <a:pt x="191" y="156"/>
                    </a:lnTo>
                    <a:lnTo>
                      <a:pt x="194" y="159"/>
                    </a:lnTo>
                    <a:lnTo>
                      <a:pt x="194" y="159"/>
                    </a:lnTo>
                    <a:lnTo>
                      <a:pt x="196" y="156"/>
                    </a:lnTo>
                    <a:lnTo>
                      <a:pt x="196" y="156"/>
                    </a:lnTo>
                    <a:lnTo>
                      <a:pt x="198" y="156"/>
                    </a:lnTo>
                    <a:lnTo>
                      <a:pt x="198" y="156"/>
                    </a:lnTo>
                    <a:lnTo>
                      <a:pt x="201" y="156"/>
                    </a:lnTo>
                    <a:lnTo>
                      <a:pt x="201" y="156"/>
                    </a:lnTo>
                    <a:lnTo>
                      <a:pt x="203" y="154"/>
                    </a:lnTo>
                    <a:lnTo>
                      <a:pt x="206" y="154"/>
                    </a:lnTo>
                    <a:lnTo>
                      <a:pt x="206" y="154"/>
                    </a:lnTo>
                    <a:lnTo>
                      <a:pt x="206" y="149"/>
                    </a:lnTo>
                    <a:lnTo>
                      <a:pt x="206" y="149"/>
                    </a:lnTo>
                    <a:lnTo>
                      <a:pt x="208" y="147"/>
                    </a:lnTo>
                    <a:lnTo>
                      <a:pt x="206" y="147"/>
                    </a:lnTo>
                    <a:lnTo>
                      <a:pt x="206" y="147"/>
                    </a:lnTo>
                    <a:lnTo>
                      <a:pt x="206" y="144"/>
                    </a:lnTo>
                    <a:lnTo>
                      <a:pt x="206" y="144"/>
                    </a:lnTo>
                    <a:lnTo>
                      <a:pt x="206" y="144"/>
                    </a:lnTo>
                    <a:lnTo>
                      <a:pt x="208" y="144"/>
                    </a:lnTo>
                    <a:lnTo>
                      <a:pt x="213" y="142"/>
                    </a:lnTo>
                    <a:lnTo>
                      <a:pt x="215" y="142"/>
                    </a:lnTo>
                    <a:lnTo>
                      <a:pt x="217" y="140"/>
                    </a:lnTo>
                    <a:lnTo>
                      <a:pt x="220" y="140"/>
                    </a:lnTo>
                    <a:lnTo>
                      <a:pt x="220" y="140"/>
                    </a:lnTo>
                    <a:lnTo>
                      <a:pt x="222" y="140"/>
                    </a:lnTo>
                    <a:lnTo>
                      <a:pt x="222" y="140"/>
                    </a:lnTo>
                    <a:lnTo>
                      <a:pt x="222" y="137"/>
                    </a:lnTo>
                    <a:lnTo>
                      <a:pt x="222" y="137"/>
                    </a:lnTo>
                    <a:lnTo>
                      <a:pt x="227" y="135"/>
                    </a:lnTo>
                    <a:lnTo>
                      <a:pt x="227" y="132"/>
                    </a:lnTo>
                    <a:lnTo>
                      <a:pt x="229" y="132"/>
                    </a:lnTo>
                    <a:lnTo>
                      <a:pt x="229" y="128"/>
                    </a:lnTo>
                    <a:lnTo>
                      <a:pt x="229" y="125"/>
                    </a:lnTo>
                    <a:lnTo>
                      <a:pt x="229" y="121"/>
                    </a:lnTo>
                    <a:lnTo>
                      <a:pt x="229" y="118"/>
                    </a:lnTo>
                    <a:lnTo>
                      <a:pt x="229" y="116"/>
                    </a:lnTo>
                    <a:lnTo>
                      <a:pt x="232" y="116"/>
                    </a:lnTo>
                    <a:lnTo>
                      <a:pt x="234" y="114"/>
                    </a:lnTo>
                    <a:lnTo>
                      <a:pt x="239" y="114"/>
                    </a:lnTo>
                    <a:lnTo>
                      <a:pt x="243" y="114"/>
                    </a:lnTo>
                    <a:lnTo>
                      <a:pt x="243" y="111"/>
                    </a:lnTo>
                    <a:lnTo>
                      <a:pt x="243" y="109"/>
                    </a:lnTo>
                    <a:lnTo>
                      <a:pt x="243" y="109"/>
                    </a:lnTo>
                    <a:lnTo>
                      <a:pt x="243" y="106"/>
                    </a:lnTo>
                    <a:lnTo>
                      <a:pt x="246" y="106"/>
                    </a:lnTo>
                    <a:lnTo>
                      <a:pt x="248" y="109"/>
                    </a:lnTo>
                    <a:lnTo>
                      <a:pt x="250" y="111"/>
                    </a:lnTo>
                    <a:lnTo>
                      <a:pt x="255" y="111"/>
                    </a:lnTo>
                    <a:lnTo>
                      <a:pt x="258" y="111"/>
                    </a:lnTo>
                    <a:lnTo>
                      <a:pt x="260" y="111"/>
                    </a:lnTo>
                    <a:lnTo>
                      <a:pt x="258" y="109"/>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23"/>
              <p:cNvSpPr>
                <a:spLocks noEditPoints="1"/>
              </p:cNvSpPr>
              <p:nvPr/>
            </p:nvSpPr>
            <p:spPr bwMode="auto">
              <a:xfrm>
                <a:off x="3205" y="1912"/>
                <a:ext cx="338" cy="130"/>
              </a:xfrm>
              <a:custGeom>
                <a:avLst/>
                <a:gdLst>
                  <a:gd name="T0" fmla="*/ 336 w 338"/>
                  <a:gd name="T1" fmla="*/ 100 h 130"/>
                  <a:gd name="T2" fmla="*/ 331 w 338"/>
                  <a:gd name="T3" fmla="*/ 92 h 130"/>
                  <a:gd name="T4" fmla="*/ 327 w 338"/>
                  <a:gd name="T5" fmla="*/ 83 h 130"/>
                  <a:gd name="T6" fmla="*/ 327 w 338"/>
                  <a:gd name="T7" fmla="*/ 76 h 130"/>
                  <a:gd name="T8" fmla="*/ 322 w 338"/>
                  <a:gd name="T9" fmla="*/ 62 h 130"/>
                  <a:gd name="T10" fmla="*/ 320 w 338"/>
                  <a:gd name="T11" fmla="*/ 55 h 130"/>
                  <a:gd name="T12" fmla="*/ 327 w 338"/>
                  <a:gd name="T13" fmla="*/ 45 h 130"/>
                  <a:gd name="T14" fmla="*/ 322 w 338"/>
                  <a:gd name="T15" fmla="*/ 43 h 130"/>
                  <a:gd name="T16" fmla="*/ 308 w 338"/>
                  <a:gd name="T17" fmla="*/ 36 h 130"/>
                  <a:gd name="T18" fmla="*/ 305 w 338"/>
                  <a:gd name="T19" fmla="*/ 24 h 130"/>
                  <a:gd name="T20" fmla="*/ 298 w 338"/>
                  <a:gd name="T21" fmla="*/ 17 h 130"/>
                  <a:gd name="T22" fmla="*/ 291 w 338"/>
                  <a:gd name="T23" fmla="*/ 10 h 130"/>
                  <a:gd name="T24" fmla="*/ 282 w 338"/>
                  <a:gd name="T25" fmla="*/ 12 h 130"/>
                  <a:gd name="T26" fmla="*/ 263 w 338"/>
                  <a:gd name="T27" fmla="*/ 17 h 130"/>
                  <a:gd name="T28" fmla="*/ 234 w 338"/>
                  <a:gd name="T29" fmla="*/ 19 h 130"/>
                  <a:gd name="T30" fmla="*/ 189 w 338"/>
                  <a:gd name="T31" fmla="*/ 14 h 130"/>
                  <a:gd name="T32" fmla="*/ 173 w 338"/>
                  <a:gd name="T33" fmla="*/ 7 h 130"/>
                  <a:gd name="T34" fmla="*/ 154 w 338"/>
                  <a:gd name="T35" fmla="*/ 2 h 130"/>
                  <a:gd name="T36" fmla="*/ 97 w 338"/>
                  <a:gd name="T37" fmla="*/ 19 h 130"/>
                  <a:gd name="T38" fmla="*/ 57 w 338"/>
                  <a:gd name="T39" fmla="*/ 21 h 130"/>
                  <a:gd name="T40" fmla="*/ 59 w 338"/>
                  <a:gd name="T41" fmla="*/ 29 h 130"/>
                  <a:gd name="T42" fmla="*/ 52 w 338"/>
                  <a:gd name="T43" fmla="*/ 36 h 130"/>
                  <a:gd name="T44" fmla="*/ 36 w 338"/>
                  <a:gd name="T45" fmla="*/ 33 h 130"/>
                  <a:gd name="T46" fmla="*/ 24 w 338"/>
                  <a:gd name="T47" fmla="*/ 36 h 130"/>
                  <a:gd name="T48" fmla="*/ 10 w 338"/>
                  <a:gd name="T49" fmla="*/ 52 h 130"/>
                  <a:gd name="T50" fmla="*/ 19 w 338"/>
                  <a:gd name="T51" fmla="*/ 57 h 130"/>
                  <a:gd name="T52" fmla="*/ 24 w 338"/>
                  <a:gd name="T53" fmla="*/ 66 h 130"/>
                  <a:gd name="T54" fmla="*/ 29 w 338"/>
                  <a:gd name="T55" fmla="*/ 76 h 130"/>
                  <a:gd name="T56" fmla="*/ 19 w 338"/>
                  <a:gd name="T57" fmla="*/ 71 h 130"/>
                  <a:gd name="T58" fmla="*/ 14 w 338"/>
                  <a:gd name="T59" fmla="*/ 78 h 130"/>
                  <a:gd name="T60" fmla="*/ 29 w 338"/>
                  <a:gd name="T61" fmla="*/ 83 h 130"/>
                  <a:gd name="T62" fmla="*/ 33 w 338"/>
                  <a:gd name="T63" fmla="*/ 97 h 130"/>
                  <a:gd name="T64" fmla="*/ 33 w 338"/>
                  <a:gd name="T65" fmla="*/ 107 h 130"/>
                  <a:gd name="T66" fmla="*/ 38 w 338"/>
                  <a:gd name="T67" fmla="*/ 109 h 130"/>
                  <a:gd name="T68" fmla="*/ 45 w 338"/>
                  <a:gd name="T69" fmla="*/ 114 h 130"/>
                  <a:gd name="T70" fmla="*/ 64 w 338"/>
                  <a:gd name="T71" fmla="*/ 111 h 130"/>
                  <a:gd name="T72" fmla="*/ 83 w 338"/>
                  <a:gd name="T73" fmla="*/ 121 h 130"/>
                  <a:gd name="T74" fmla="*/ 92 w 338"/>
                  <a:gd name="T75" fmla="*/ 109 h 130"/>
                  <a:gd name="T76" fmla="*/ 126 w 338"/>
                  <a:gd name="T77" fmla="*/ 126 h 130"/>
                  <a:gd name="T78" fmla="*/ 156 w 338"/>
                  <a:gd name="T79" fmla="*/ 114 h 130"/>
                  <a:gd name="T80" fmla="*/ 180 w 338"/>
                  <a:gd name="T81" fmla="*/ 111 h 130"/>
                  <a:gd name="T82" fmla="*/ 187 w 338"/>
                  <a:gd name="T83" fmla="*/ 116 h 130"/>
                  <a:gd name="T84" fmla="*/ 189 w 338"/>
                  <a:gd name="T85" fmla="*/ 128 h 130"/>
                  <a:gd name="T86" fmla="*/ 194 w 338"/>
                  <a:gd name="T87" fmla="*/ 116 h 130"/>
                  <a:gd name="T88" fmla="*/ 206 w 338"/>
                  <a:gd name="T89" fmla="*/ 114 h 130"/>
                  <a:gd name="T90" fmla="*/ 227 w 338"/>
                  <a:gd name="T91" fmla="*/ 107 h 130"/>
                  <a:gd name="T92" fmla="*/ 251 w 338"/>
                  <a:gd name="T93" fmla="*/ 111 h 130"/>
                  <a:gd name="T94" fmla="*/ 282 w 338"/>
                  <a:gd name="T95" fmla="*/ 104 h 130"/>
                  <a:gd name="T96" fmla="*/ 296 w 338"/>
                  <a:gd name="T97" fmla="*/ 102 h 130"/>
                  <a:gd name="T98" fmla="*/ 310 w 338"/>
                  <a:gd name="T99" fmla="*/ 97 h 130"/>
                  <a:gd name="T100" fmla="*/ 327 w 338"/>
                  <a:gd name="T101" fmla="*/ 100 h 130"/>
                  <a:gd name="T102" fmla="*/ 331 w 338"/>
                  <a:gd name="T103" fmla="*/ 104 h 130"/>
                  <a:gd name="T104" fmla="*/ 12 w 338"/>
                  <a:gd name="T105" fmla="*/ 31 h 130"/>
                  <a:gd name="T106" fmla="*/ 10 w 338"/>
                  <a:gd name="T107" fmla="*/ 40 h 130"/>
                  <a:gd name="T108" fmla="*/ 31 w 338"/>
                  <a:gd name="T109" fmla="*/ 21 h 130"/>
                  <a:gd name="T110" fmla="*/ 57 w 338"/>
                  <a:gd name="T111" fmla="*/ 19 h 130"/>
                  <a:gd name="T112" fmla="*/ 36 w 338"/>
                  <a:gd name="T113" fmla="*/ 2 h 130"/>
                  <a:gd name="T114" fmla="*/ 26 w 338"/>
                  <a:gd name="T115" fmla="*/ 0 h 130"/>
                  <a:gd name="T116" fmla="*/ 14 w 338"/>
                  <a:gd name="T117" fmla="*/ 2 h 130"/>
                  <a:gd name="T118" fmla="*/ 12 w 338"/>
                  <a:gd name="T119" fmla="*/ 10 h 130"/>
                  <a:gd name="T120" fmla="*/ 12 w 338"/>
                  <a:gd name="T121" fmla="*/ 19 h 130"/>
                  <a:gd name="T122" fmla="*/ 7 w 338"/>
                  <a:gd name="T123" fmla="*/ 29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38" h="130">
                    <a:moveTo>
                      <a:pt x="5" y="38"/>
                    </a:moveTo>
                    <a:lnTo>
                      <a:pt x="3" y="38"/>
                    </a:lnTo>
                    <a:lnTo>
                      <a:pt x="0" y="40"/>
                    </a:lnTo>
                    <a:lnTo>
                      <a:pt x="3" y="40"/>
                    </a:lnTo>
                    <a:lnTo>
                      <a:pt x="5" y="40"/>
                    </a:lnTo>
                    <a:lnTo>
                      <a:pt x="7" y="38"/>
                    </a:lnTo>
                    <a:lnTo>
                      <a:pt x="5" y="38"/>
                    </a:lnTo>
                    <a:lnTo>
                      <a:pt x="5" y="38"/>
                    </a:lnTo>
                    <a:close/>
                    <a:moveTo>
                      <a:pt x="336" y="100"/>
                    </a:moveTo>
                    <a:lnTo>
                      <a:pt x="338" y="100"/>
                    </a:lnTo>
                    <a:lnTo>
                      <a:pt x="338" y="100"/>
                    </a:lnTo>
                    <a:lnTo>
                      <a:pt x="336" y="97"/>
                    </a:lnTo>
                    <a:lnTo>
                      <a:pt x="334" y="97"/>
                    </a:lnTo>
                    <a:lnTo>
                      <a:pt x="334" y="95"/>
                    </a:lnTo>
                    <a:lnTo>
                      <a:pt x="334" y="95"/>
                    </a:lnTo>
                    <a:lnTo>
                      <a:pt x="334" y="92"/>
                    </a:lnTo>
                    <a:lnTo>
                      <a:pt x="334" y="92"/>
                    </a:lnTo>
                    <a:lnTo>
                      <a:pt x="331" y="92"/>
                    </a:lnTo>
                    <a:lnTo>
                      <a:pt x="331" y="90"/>
                    </a:lnTo>
                    <a:lnTo>
                      <a:pt x="334" y="90"/>
                    </a:lnTo>
                    <a:lnTo>
                      <a:pt x="331" y="90"/>
                    </a:lnTo>
                    <a:lnTo>
                      <a:pt x="329" y="88"/>
                    </a:lnTo>
                    <a:lnTo>
                      <a:pt x="329" y="85"/>
                    </a:lnTo>
                    <a:lnTo>
                      <a:pt x="327" y="85"/>
                    </a:lnTo>
                    <a:lnTo>
                      <a:pt x="327" y="85"/>
                    </a:lnTo>
                    <a:lnTo>
                      <a:pt x="327" y="85"/>
                    </a:lnTo>
                    <a:lnTo>
                      <a:pt x="327" y="83"/>
                    </a:lnTo>
                    <a:lnTo>
                      <a:pt x="327" y="81"/>
                    </a:lnTo>
                    <a:lnTo>
                      <a:pt x="327" y="81"/>
                    </a:lnTo>
                    <a:lnTo>
                      <a:pt x="327" y="78"/>
                    </a:lnTo>
                    <a:lnTo>
                      <a:pt x="327" y="78"/>
                    </a:lnTo>
                    <a:lnTo>
                      <a:pt x="329" y="76"/>
                    </a:lnTo>
                    <a:lnTo>
                      <a:pt x="329" y="76"/>
                    </a:lnTo>
                    <a:lnTo>
                      <a:pt x="329" y="76"/>
                    </a:lnTo>
                    <a:lnTo>
                      <a:pt x="327" y="76"/>
                    </a:lnTo>
                    <a:lnTo>
                      <a:pt x="327" y="76"/>
                    </a:lnTo>
                    <a:lnTo>
                      <a:pt x="327" y="76"/>
                    </a:lnTo>
                    <a:lnTo>
                      <a:pt x="327" y="73"/>
                    </a:lnTo>
                    <a:lnTo>
                      <a:pt x="327" y="71"/>
                    </a:lnTo>
                    <a:lnTo>
                      <a:pt x="324" y="69"/>
                    </a:lnTo>
                    <a:lnTo>
                      <a:pt x="324" y="69"/>
                    </a:lnTo>
                    <a:lnTo>
                      <a:pt x="324" y="66"/>
                    </a:lnTo>
                    <a:lnTo>
                      <a:pt x="324" y="64"/>
                    </a:lnTo>
                    <a:lnTo>
                      <a:pt x="322" y="64"/>
                    </a:lnTo>
                    <a:lnTo>
                      <a:pt x="322" y="62"/>
                    </a:lnTo>
                    <a:lnTo>
                      <a:pt x="322" y="62"/>
                    </a:lnTo>
                    <a:lnTo>
                      <a:pt x="322" y="62"/>
                    </a:lnTo>
                    <a:lnTo>
                      <a:pt x="322" y="59"/>
                    </a:lnTo>
                    <a:lnTo>
                      <a:pt x="322" y="59"/>
                    </a:lnTo>
                    <a:lnTo>
                      <a:pt x="322" y="59"/>
                    </a:lnTo>
                    <a:lnTo>
                      <a:pt x="320" y="57"/>
                    </a:lnTo>
                    <a:lnTo>
                      <a:pt x="320" y="57"/>
                    </a:lnTo>
                    <a:lnTo>
                      <a:pt x="320" y="55"/>
                    </a:lnTo>
                    <a:lnTo>
                      <a:pt x="320" y="55"/>
                    </a:lnTo>
                    <a:lnTo>
                      <a:pt x="320" y="55"/>
                    </a:lnTo>
                    <a:lnTo>
                      <a:pt x="320" y="55"/>
                    </a:lnTo>
                    <a:lnTo>
                      <a:pt x="320" y="55"/>
                    </a:lnTo>
                    <a:lnTo>
                      <a:pt x="322" y="55"/>
                    </a:lnTo>
                    <a:lnTo>
                      <a:pt x="324" y="55"/>
                    </a:lnTo>
                    <a:lnTo>
                      <a:pt x="324" y="52"/>
                    </a:lnTo>
                    <a:lnTo>
                      <a:pt x="324" y="47"/>
                    </a:lnTo>
                    <a:lnTo>
                      <a:pt x="327" y="47"/>
                    </a:lnTo>
                    <a:lnTo>
                      <a:pt x="327" y="45"/>
                    </a:lnTo>
                    <a:lnTo>
                      <a:pt x="329" y="47"/>
                    </a:lnTo>
                    <a:lnTo>
                      <a:pt x="331" y="47"/>
                    </a:lnTo>
                    <a:lnTo>
                      <a:pt x="331" y="47"/>
                    </a:lnTo>
                    <a:lnTo>
                      <a:pt x="331" y="47"/>
                    </a:lnTo>
                    <a:lnTo>
                      <a:pt x="331" y="47"/>
                    </a:lnTo>
                    <a:lnTo>
                      <a:pt x="329" y="47"/>
                    </a:lnTo>
                    <a:lnTo>
                      <a:pt x="327" y="43"/>
                    </a:lnTo>
                    <a:lnTo>
                      <a:pt x="324" y="40"/>
                    </a:lnTo>
                    <a:lnTo>
                      <a:pt x="322" y="43"/>
                    </a:lnTo>
                    <a:lnTo>
                      <a:pt x="320" y="43"/>
                    </a:lnTo>
                    <a:lnTo>
                      <a:pt x="317" y="43"/>
                    </a:lnTo>
                    <a:lnTo>
                      <a:pt x="315" y="43"/>
                    </a:lnTo>
                    <a:lnTo>
                      <a:pt x="312" y="40"/>
                    </a:lnTo>
                    <a:lnTo>
                      <a:pt x="310" y="40"/>
                    </a:lnTo>
                    <a:lnTo>
                      <a:pt x="310" y="40"/>
                    </a:lnTo>
                    <a:lnTo>
                      <a:pt x="310" y="40"/>
                    </a:lnTo>
                    <a:lnTo>
                      <a:pt x="310" y="38"/>
                    </a:lnTo>
                    <a:lnTo>
                      <a:pt x="308" y="36"/>
                    </a:lnTo>
                    <a:lnTo>
                      <a:pt x="308" y="36"/>
                    </a:lnTo>
                    <a:lnTo>
                      <a:pt x="308" y="33"/>
                    </a:lnTo>
                    <a:lnTo>
                      <a:pt x="308" y="33"/>
                    </a:lnTo>
                    <a:lnTo>
                      <a:pt x="310" y="31"/>
                    </a:lnTo>
                    <a:lnTo>
                      <a:pt x="310" y="29"/>
                    </a:lnTo>
                    <a:lnTo>
                      <a:pt x="310" y="29"/>
                    </a:lnTo>
                    <a:lnTo>
                      <a:pt x="308" y="26"/>
                    </a:lnTo>
                    <a:lnTo>
                      <a:pt x="308" y="24"/>
                    </a:lnTo>
                    <a:lnTo>
                      <a:pt x="305" y="24"/>
                    </a:lnTo>
                    <a:lnTo>
                      <a:pt x="305" y="21"/>
                    </a:lnTo>
                    <a:lnTo>
                      <a:pt x="303" y="21"/>
                    </a:lnTo>
                    <a:lnTo>
                      <a:pt x="303" y="19"/>
                    </a:lnTo>
                    <a:lnTo>
                      <a:pt x="303" y="19"/>
                    </a:lnTo>
                    <a:lnTo>
                      <a:pt x="303" y="19"/>
                    </a:lnTo>
                    <a:lnTo>
                      <a:pt x="303" y="19"/>
                    </a:lnTo>
                    <a:lnTo>
                      <a:pt x="303" y="19"/>
                    </a:lnTo>
                    <a:lnTo>
                      <a:pt x="301" y="19"/>
                    </a:lnTo>
                    <a:lnTo>
                      <a:pt x="298" y="17"/>
                    </a:lnTo>
                    <a:lnTo>
                      <a:pt x="298" y="17"/>
                    </a:lnTo>
                    <a:lnTo>
                      <a:pt x="298" y="17"/>
                    </a:lnTo>
                    <a:lnTo>
                      <a:pt x="298" y="17"/>
                    </a:lnTo>
                    <a:lnTo>
                      <a:pt x="298" y="17"/>
                    </a:lnTo>
                    <a:lnTo>
                      <a:pt x="296" y="14"/>
                    </a:lnTo>
                    <a:lnTo>
                      <a:pt x="293" y="12"/>
                    </a:lnTo>
                    <a:lnTo>
                      <a:pt x="291" y="12"/>
                    </a:lnTo>
                    <a:lnTo>
                      <a:pt x="291" y="10"/>
                    </a:lnTo>
                    <a:lnTo>
                      <a:pt x="291" y="10"/>
                    </a:lnTo>
                    <a:lnTo>
                      <a:pt x="289" y="10"/>
                    </a:lnTo>
                    <a:lnTo>
                      <a:pt x="289" y="10"/>
                    </a:lnTo>
                    <a:lnTo>
                      <a:pt x="289" y="10"/>
                    </a:lnTo>
                    <a:lnTo>
                      <a:pt x="286" y="10"/>
                    </a:lnTo>
                    <a:lnTo>
                      <a:pt x="286" y="12"/>
                    </a:lnTo>
                    <a:lnTo>
                      <a:pt x="286" y="12"/>
                    </a:lnTo>
                    <a:lnTo>
                      <a:pt x="284" y="12"/>
                    </a:lnTo>
                    <a:lnTo>
                      <a:pt x="282" y="12"/>
                    </a:lnTo>
                    <a:lnTo>
                      <a:pt x="282" y="12"/>
                    </a:lnTo>
                    <a:lnTo>
                      <a:pt x="279" y="12"/>
                    </a:lnTo>
                    <a:lnTo>
                      <a:pt x="277" y="12"/>
                    </a:lnTo>
                    <a:lnTo>
                      <a:pt x="275" y="12"/>
                    </a:lnTo>
                    <a:lnTo>
                      <a:pt x="275" y="12"/>
                    </a:lnTo>
                    <a:lnTo>
                      <a:pt x="272" y="12"/>
                    </a:lnTo>
                    <a:lnTo>
                      <a:pt x="270" y="12"/>
                    </a:lnTo>
                    <a:lnTo>
                      <a:pt x="270" y="12"/>
                    </a:lnTo>
                    <a:lnTo>
                      <a:pt x="267" y="14"/>
                    </a:lnTo>
                    <a:lnTo>
                      <a:pt x="263" y="17"/>
                    </a:lnTo>
                    <a:lnTo>
                      <a:pt x="260" y="17"/>
                    </a:lnTo>
                    <a:lnTo>
                      <a:pt x="258" y="19"/>
                    </a:lnTo>
                    <a:lnTo>
                      <a:pt x="256" y="19"/>
                    </a:lnTo>
                    <a:lnTo>
                      <a:pt x="249" y="24"/>
                    </a:lnTo>
                    <a:lnTo>
                      <a:pt x="246" y="24"/>
                    </a:lnTo>
                    <a:lnTo>
                      <a:pt x="244" y="21"/>
                    </a:lnTo>
                    <a:lnTo>
                      <a:pt x="244" y="24"/>
                    </a:lnTo>
                    <a:lnTo>
                      <a:pt x="241" y="21"/>
                    </a:lnTo>
                    <a:lnTo>
                      <a:pt x="234" y="19"/>
                    </a:lnTo>
                    <a:lnTo>
                      <a:pt x="225" y="21"/>
                    </a:lnTo>
                    <a:lnTo>
                      <a:pt x="220" y="24"/>
                    </a:lnTo>
                    <a:lnTo>
                      <a:pt x="218" y="24"/>
                    </a:lnTo>
                    <a:lnTo>
                      <a:pt x="208" y="21"/>
                    </a:lnTo>
                    <a:lnTo>
                      <a:pt x="206" y="21"/>
                    </a:lnTo>
                    <a:lnTo>
                      <a:pt x="201" y="19"/>
                    </a:lnTo>
                    <a:lnTo>
                      <a:pt x="194" y="19"/>
                    </a:lnTo>
                    <a:lnTo>
                      <a:pt x="192" y="17"/>
                    </a:lnTo>
                    <a:lnTo>
                      <a:pt x="189" y="14"/>
                    </a:lnTo>
                    <a:lnTo>
                      <a:pt x="187" y="14"/>
                    </a:lnTo>
                    <a:lnTo>
                      <a:pt x="185" y="14"/>
                    </a:lnTo>
                    <a:lnTo>
                      <a:pt x="185" y="17"/>
                    </a:lnTo>
                    <a:lnTo>
                      <a:pt x="182" y="17"/>
                    </a:lnTo>
                    <a:lnTo>
                      <a:pt x="180" y="14"/>
                    </a:lnTo>
                    <a:lnTo>
                      <a:pt x="178" y="14"/>
                    </a:lnTo>
                    <a:lnTo>
                      <a:pt x="175" y="7"/>
                    </a:lnTo>
                    <a:lnTo>
                      <a:pt x="175" y="7"/>
                    </a:lnTo>
                    <a:lnTo>
                      <a:pt x="173" y="7"/>
                    </a:lnTo>
                    <a:lnTo>
                      <a:pt x="168" y="10"/>
                    </a:lnTo>
                    <a:lnTo>
                      <a:pt x="163" y="7"/>
                    </a:lnTo>
                    <a:lnTo>
                      <a:pt x="161" y="5"/>
                    </a:lnTo>
                    <a:lnTo>
                      <a:pt x="159" y="2"/>
                    </a:lnTo>
                    <a:lnTo>
                      <a:pt x="159" y="2"/>
                    </a:lnTo>
                    <a:lnTo>
                      <a:pt x="159" y="2"/>
                    </a:lnTo>
                    <a:lnTo>
                      <a:pt x="159" y="0"/>
                    </a:lnTo>
                    <a:lnTo>
                      <a:pt x="156" y="0"/>
                    </a:lnTo>
                    <a:lnTo>
                      <a:pt x="154" y="2"/>
                    </a:lnTo>
                    <a:lnTo>
                      <a:pt x="144" y="2"/>
                    </a:lnTo>
                    <a:lnTo>
                      <a:pt x="130" y="0"/>
                    </a:lnTo>
                    <a:lnTo>
                      <a:pt x="128" y="0"/>
                    </a:lnTo>
                    <a:lnTo>
                      <a:pt x="123" y="2"/>
                    </a:lnTo>
                    <a:lnTo>
                      <a:pt x="116" y="5"/>
                    </a:lnTo>
                    <a:lnTo>
                      <a:pt x="111" y="7"/>
                    </a:lnTo>
                    <a:lnTo>
                      <a:pt x="109" y="10"/>
                    </a:lnTo>
                    <a:lnTo>
                      <a:pt x="97" y="14"/>
                    </a:lnTo>
                    <a:lnTo>
                      <a:pt x="97" y="19"/>
                    </a:lnTo>
                    <a:lnTo>
                      <a:pt x="95" y="19"/>
                    </a:lnTo>
                    <a:lnTo>
                      <a:pt x="88" y="19"/>
                    </a:lnTo>
                    <a:lnTo>
                      <a:pt x="78" y="19"/>
                    </a:lnTo>
                    <a:lnTo>
                      <a:pt x="71" y="19"/>
                    </a:lnTo>
                    <a:lnTo>
                      <a:pt x="62" y="17"/>
                    </a:lnTo>
                    <a:lnTo>
                      <a:pt x="59" y="17"/>
                    </a:lnTo>
                    <a:lnTo>
                      <a:pt x="57" y="19"/>
                    </a:lnTo>
                    <a:lnTo>
                      <a:pt x="57" y="19"/>
                    </a:lnTo>
                    <a:lnTo>
                      <a:pt x="57" y="21"/>
                    </a:lnTo>
                    <a:lnTo>
                      <a:pt x="59" y="24"/>
                    </a:lnTo>
                    <a:lnTo>
                      <a:pt x="59" y="24"/>
                    </a:lnTo>
                    <a:lnTo>
                      <a:pt x="62" y="26"/>
                    </a:lnTo>
                    <a:lnTo>
                      <a:pt x="64" y="26"/>
                    </a:lnTo>
                    <a:lnTo>
                      <a:pt x="71" y="26"/>
                    </a:lnTo>
                    <a:lnTo>
                      <a:pt x="71" y="26"/>
                    </a:lnTo>
                    <a:lnTo>
                      <a:pt x="71" y="29"/>
                    </a:lnTo>
                    <a:lnTo>
                      <a:pt x="66" y="29"/>
                    </a:lnTo>
                    <a:lnTo>
                      <a:pt x="59" y="29"/>
                    </a:lnTo>
                    <a:lnTo>
                      <a:pt x="57" y="29"/>
                    </a:lnTo>
                    <a:lnTo>
                      <a:pt x="55" y="31"/>
                    </a:lnTo>
                    <a:lnTo>
                      <a:pt x="55" y="33"/>
                    </a:lnTo>
                    <a:lnTo>
                      <a:pt x="55" y="33"/>
                    </a:lnTo>
                    <a:lnTo>
                      <a:pt x="57" y="33"/>
                    </a:lnTo>
                    <a:lnTo>
                      <a:pt x="59" y="33"/>
                    </a:lnTo>
                    <a:lnTo>
                      <a:pt x="57" y="36"/>
                    </a:lnTo>
                    <a:lnTo>
                      <a:pt x="52" y="36"/>
                    </a:lnTo>
                    <a:lnTo>
                      <a:pt x="52" y="36"/>
                    </a:lnTo>
                    <a:lnTo>
                      <a:pt x="45" y="33"/>
                    </a:lnTo>
                    <a:lnTo>
                      <a:pt x="40" y="36"/>
                    </a:lnTo>
                    <a:lnTo>
                      <a:pt x="40" y="36"/>
                    </a:lnTo>
                    <a:lnTo>
                      <a:pt x="40" y="33"/>
                    </a:lnTo>
                    <a:lnTo>
                      <a:pt x="40" y="33"/>
                    </a:lnTo>
                    <a:lnTo>
                      <a:pt x="40" y="33"/>
                    </a:lnTo>
                    <a:lnTo>
                      <a:pt x="38" y="33"/>
                    </a:lnTo>
                    <a:lnTo>
                      <a:pt x="36" y="33"/>
                    </a:lnTo>
                    <a:lnTo>
                      <a:pt x="36" y="33"/>
                    </a:lnTo>
                    <a:lnTo>
                      <a:pt x="38" y="36"/>
                    </a:lnTo>
                    <a:lnTo>
                      <a:pt x="38" y="36"/>
                    </a:lnTo>
                    <a:lnTo>
                      <a:pt x="36" y="36"/>
                    </a:lnTo>
                    <a:lnTo>
                      <a:pt x="31" y="36"/>
                    </a:lnTo>
                    <a:lnTo>
                      <a:pt x="29" y="36"/>
                    </a:lnTo>
                    <a:lnTo>
                      <a:pt x="29" y="33"/>
                    </a:lnTo>
                    <a:lnTo>
                      <a:pt x="29" y="33"/>
                    </a:lnTo>
                    <a:lnTo>
                      <a:pt x="26" y="33"/>
                    </a:lnTo>
                    <a:lnTo>
                      <a:pt x="24" y="36"/>
                    </a:lnTo>
                    <a:lnTo>
                      <a:pt x="19" y="36"/>
                    </a:lnTo>
                    <a:lnTo>
                      <a:pt x="14" y="38"/>
                    </a:lnTo>
                    <a:lnTo>
                      <a:pt x="12" y="43"/>
                    </a:lnTo>
                    <a:lnTo>
                      <a:pt x="10" y="40"/>
                    </a:lnTo>
                    <a:lnTo>
                      <a:pt x="10" y="43"/>
                    </a:lnTo>
                    <a:lnTo>
                      <a:pt x="10" y="47"/>
                    </a:lnTo>
                    <a:lnTo>
                      <a:pt x="10" y="50"/>
                    </a:lnTo>
                    <a:lnTo>
                      <a:pt x="10" y="52"/>
                    </a:lnTo>
                    <a:lnTo>
                      <a:pt x="10" y="52"/>
                    </a:lnTo>
                    <a:lnTo>
                      <a:pt x="14" y="52"/>
                    </a:lnTo>
                    <a:lnTo>
                      <a:pt x="17" y="52"/>
                    </a:lnTo>
                    <a:lnTo>
                      <a:pt x="21" y="50"/>
                    </a:lnTo>
                    <a:lnTo>
                      <a:pt x="24" y="50"/>
                    </a:lnTo>
                    <a:lnTo>
                      <a:pt x="24" y="52"/>
                    </a:lnTo>
                    <a:lnTo>
                      <a:pt x="21" y="52"/>
                    </a:lnTo>
                    <a:lnTo>
                      <a:pt x="19" y="55"/>
                    </a:lnTo>
                    <a:lnTo>
                      <a:pt x="19" y="57"/>
                    </a:lnTo>
                    <a:lnTo>
                      <a:pt x="19" y="57"/>
                    </a:lnTo>
                    <a:lnTo>
                      <a:pt x="21" y="59"/>
                    </a:lnTo>
                    <a:lnTo>
                      <a:pt x="21" y="62"/>
                    </a:lnTo>
                    <a:lnTo>
                      <a:pt x="21" y="62"/>
                    </a:lnTo>
                    <a:lnTo>
                      <a:pt x="21" y="64"/>
                    </a:lnTo>
                    <a:lnTo>
                      <a:pt x="24" y="64"/>
                    </a:lnTo>
                    <a:lnTo>
                      <a:pt x="24" y="64"/>
                    </a:lnTo>
                    <a:lnTo>
                      <a:pt x="24" y="64"/>
                    </a:lnTo>
                    <a:lnTo>
                      <a:pt x="26" y="64"/>
                    </a:lnTo>
                    <a:lnTo>
                      <a:pt x="24" y="66"/>
                    </a:lnTo>
                    <a:lnTo>
                      <a:pt x="21" y="69"/>
                    </a:lnTo>
                    <a:lnTo>
                      <a:pt x="21" y="69"/>
                    </a:lnTo>
                    <a:lnTo>
                      <a:pt x="21" y="69"/>
                    </a:lnTo>
                    <a:lnTo>
                      <a:pt x="21" y="71"/>
                    </a:lnTo>
                    <a:lnTo>
                      <a:pt x="24" y="71"/>
                    </a:lnTo>
                    <a:lnTo>
                      <a:pt x="24" y="73"/>
                    </a:lnTo>
                    <a:lnTo>
                      <a:pt x="26" y="73"/>
                    </a:lnTo>
                    <a:lnTo>
                      <a:pt x="29" y="73"/>
                    </a:lnTo>
                    <a:lnTo>
                      <a:pt x="29" y="76"/>
                    </a:lnTo>
                    <a:lnTo>
                      <a:pt x="24" y="76"/>
                    </a:lnTo>
                    <a:lnTo>
                      <a:pt x="21" y="76"/>
                    </a:lnTo>
                    <a:lnTo>
                      <a:pt x="21" y="73"/>
                    </a:lnTo>
                    <a:lnTo>
                      <a:pt x="21" y="76"/>
                    </a:lnTo>
                    <a:lnTo>
                      <a:pt x="21" y="76"/>
                    </a:lnTo>
                    <a:lnTo>
                      <a:pt x="19" y="76"/>
                    </a:lnTo>
                    <a:lnTo>
                      <a:pt x="19" y="73"/>
                    </a:lnTo>
                    <a:lnTo>
                      <a:pt x="19" y="73"/>
                    </a:lnTo>
                    <a:lnTo>
                      <a:pt x="19" y="71"/>
                    </a:lnTo>
                    <a:lnTo>
                      <a:pt x="17" y="71"/>
                    </a:lnTo>
                    <a:lnTo>
                      <a:pt x="17" y="69"/>
                    </a:lnTo>
                    <a:lnTo>
                      <a:pt x="14" y="71"/>
                    </a:lnTo>
                    <a:lnTo>
                      <a:pt x="14" y="71"/>
                    </a:lnTo>
                    <a:lnTo>
                      <a:pt x="17" y="73"/>
                    </a:lnTo>
                    <a:lnTo>
                      <a:pt x="17" y="76"/>
                    </a:lnTo>
                    <a:lnTo>
                      <a:pt x="14" y="76"/>
                    </a:lnTo>
                    <a:lnTo>
                      <a:pt x="14" y="78"/>
                    </a:lnTo>
                    <a:lnTo>
                      <a:pt x="14" y="78"/>
                    </a:lnTo>
                    <a:lnTo>
                      <a:pt x="17" y="78"/>
                    </a:lnTo>
                    <a:lnTo>
                      <a:pt x="19" y="81"/>
                    </a:lnTo>
                    <a:lnTo>
                      <a:pt x="19" y="81"/>
                    </a:lnTo>
                    <a:lnTo>
                      <a:pt x="19" y="81"/>
                    </a:lnTo>
                    <a:lnTo>
                      <a:pt x="21" y="78"/>
                    </a:lnTo>
                    <a:lnTo>
                      <a:pt x="24" y="81"/>
                    </a:lnTo>
                    <a:lnTo>
                      <a:pt x="24" y="83"/>
                    </a:lnTo>
                    <a:lnTo>
                      <a:pt x="26" y="83"/>
                    </a:lnTo>
                    <a:lnTo>
                      <a:pt x="29" y="83"/>
                    </a:lnTo>
                    <a:lnTo>
                      <a:pt x="31" y="83"/>
                    </a:lnTo>
                    <a:lnTo>
                      <a:pt x="31" y="85"/>
                    </a:lnTo>
                    <a:lnTo>
                      <a:pt x="31" y="90"/>
                    </a:lnTo>
                    <a:lnTo>
                      <a:pt x="29" y="90"/>
                    </a:lnTo>
                    <a:lnTo>
                      <a:pt x="29" y="90"/>
                    </a:lnTo>
                    <a:lnTo>
                      <a:pt x="29" y="92"/>
                    </a:lnTo>
                    <a:lnTo>
                      <a:pt x="31" y="95"/>
                    </a:lnTo>
                    <a:lnTo>
                      <a:pt x="31" y="97"/>
                    </a:lnTo>
                    <a:lnTo>
                      <a:pt x="33" y="97"/>
                    </a:lnTo>
                    <a:lnTo>
                      <a:pt x="33" y="97"/>
                    </a:lnTo>
                    <a:lnTo>
                      <a:pt x="33" y="100"/>
                    </a:lnTo>
                    <a:lnTo>
                      <a:pt x="36" y="100"/>
                    </a:lnTo>
                    <a:lnTo>
                      <a:pt x="38" y="102"/>
                    </a:lnTo>
                    <a:lnTo>
                      <a:pt x="33" y="102"/>
                    </a:lnTo>
                    <a:lnTo>
                      <a:pt x="33" y="102"/>
                    </a:lnTo>
                    <a:lnTo>
                      <a:pt x="33" y="104"/>
                    </a:lnTo>
                    <a:lnTo>
                      <a:pt x="33" y="107"/>
                    </a:lnTo>
                    <a:lnTo>
                      <a:pt x="33" y="107"/>
                    </a:lnTo>
                    <a:lnTo>
                      <a:pt x="33" y="104"/>
                    </a:lnTo>
                    <a:lnTo>
                      <a:pt x="40" y="104"/>
                    </a:lnTo>
                    <a:lnTo>
                      <a:pt x="47" y="104"/>
                    </a:lnTo>
                    <a:lnTo>
                      <a:pt x="50" y="104"/>
                    </a:lnTo>
                    <a:lnTo>
                      <a:pt x="50" y="104"/>
                    </a:lnTo>
                    <a:lnTo>
                      <a:pt x="47" y="107"/>
                    </a:lnTo>
                    <a:lnTo>
                      <a:pt x="45" y="109"/>
                    </a:lnTo>
                    <a:lnTo>
                      <a:pt x="45" y="109"/>
                    </a:lnTo>
                    <a:lnTo>
                      <a:pt x="38" y="109"/>
                    </a:lnTo>
                    <a:lnTo>
                      <a:pt x="38" y="111"/>
                    </a:lnTo>
                    <a:lnTo>
                      <a:pt x="36" y="111"/>
                    </a:lnTo>
                    <a:lnTo>
                      <a:pt x="36" y="111"/>
                    </a:lnTo>
                    <a:lnTo>
                      <a:pt x="38" y="111"/>
                    </a:lnTo>
                    <a:lnTo>
                      <a:pt x="40" y="111"/>
                    </a:lnTo>
                    <a:lnTo>
                      <a:pt x="43" y="111"/>
                    </a:lnTo>
                    <a:lnTo>
                      <a:pt x="47" y="111"/>
                    </a:lnTo>
                    <a:lnTo>
                      <a:pt x="45" y="111"/>
                    </a:lnTo>
                    <a:lnTo>
                      <a:pt x="45" y="114"/>
                    </a:lnTo>
                    <a:lnTo>
                      <a:pt x="47" y="114"/>
                    </a:lnTo>
                    <a:lnTo>
                      <a:pt x="50" y="111"/>
                    </a:lnTo>
                    <a:lnTo>
                      <a:pt x="50" y="109"/>
                    </a:lnTo>
                    <a:lnTo>
                      <a:pt x="55" y="109"/>
                    </a:lnTo>
                    <a:lnTo>
                      <a:pt x="59" y="111"/>
                    </a:lnTo>
                    <a:lnTo>
                      <a:pt x="59" y="111"/>
                    </a:lnTo>
                    <a:lnTo>
                      <a:pt x="62" y="111"/>
                    </a:lnTo>
                    <a:lnTo>
                      <a:pt x="62" y="111"/>
                    </a:lnTo>
                    <a:lnTo>
                      <a:pt x="64" y="111"/>
                    </a:lnTo>
                    <a:lnTo>
                      <a:pt x="64" y="114"/>
                    </a:lnTo>
                    <a:lnTo>
                      <a:pt x="64" y="114"/>
                    </a:lnTo>
                    <a:lnTo>
                      <a:pt x="66" y="116"/>
                    </a:lnTo>
                    <a:lnTo>
                      <a:pt x="66" y="118"/>
                    </a:lnTo>
                    <a:lnTo>
                      <a:pt x="69" y="121"/>
                    </a:lnTo>
                    <a:lnTo>
                      <a:pt x="69" y="121"/>
                    </a:lnTo>
                    <a:lnTo>
                      <a:pt x="76" y="123"/>
                    </a:lnTo>
                    <a:lnTo>
                      <a:pt x="78" y="123"/>
                    </a:lnTo>
                    <a:lnTo>
                      <a:pt x="83" y="121"/>
                    </a:lnTo>
                    <a:lnTo>
                      <a:pt x="85" y="121"/>
                    </a:lnTo>
                    <a:lnTo>
                      <a:pt x="85" y="121"/>
                    </a:lnTo>
                    <a:lnTo>
                      <a:pt x="88" y="121"/>
                    </a:lnTo>
                    <a:lnTo>
                      <a:pt x="90" y="121"/>
                    </a:lnTo>
                    <a:lnTo>
                      <a:pt x="90" y="121"/>
                    </a:lnTo>
                    <a:lnTo>
                      <a:pt x="90" y="116"/>
                    </a:lnTo>
                    <a:lnTo>
                      <a:pt x="90" y="116"/>
                    </a:lnTo>
                    <a:lnTo>
                      <a:pt x="90" y="109"/>
                    </a:lnTo>
                    <a:lnTo>
                      <a:pt x="92" y="109"/>
                    </a:lnTo>
                    <a:lnTo>
                      <a:pt x="97" y="109"/>
                    </a:lnTo>
                    <a:lnTo>
                      <a:pt x="102" y="109"/>
                    </a:lnTo>
                    <a:lnTo>
                      <a:pt x="104" y="109"/>
                    </a:lnTo>
                    <a:lnTo>
                      <a:pt x="111" y="114"/>
                    </a:lnTo>
                    <a:lnTo>
                      <a:pt x="116" y="116"/>
                    </a:lnTo>
                    <a:lnTo>
                      <a:pt x="118" y="116"/>
                    </a:lnTo>
                    <a:lnTo>
                      <a:pt x="121" y="121"/>
                    </a:lnTo>
                    <a:lnTo>
                      <a:pt x="123" y="123"/>
                    </a:lnTo>
                    <a:lnTo>
                      <a:pt x="126" y="126"/>
                    </a:lnTo>
                    <a:lnTo>
                      <a:pt x="130" y="126"/>
                    </a:lnTo>
                    <a:lnTo>
                      <a:pt x="133" y="126"/>
                    </a:lnTo>
                    <a:lnTo>
                      <a:pt x="135" y="126"/>
                    </a:lnTo>
                    <a:lnTo>
                      <a:pt x="142" y="123"/>
                    </a:lnTo>
                    <a:lnTo>
                      <a:pt x="142" y="123"/>
                    </a:lnTo>
                    <a:lnTo>
                      <a:pt x="147" y="123"/>
                    </a:lnTo>
                    <a:lnTo>
                      <a:pt x="152" y="121"/>
                    </a:lnTo>
                    <a:lnTo>
                      <a:pt x="152" y="118"/>
                    </a:lnTo>
                    <a:lnTo>
                      <a:pt x="156" y="114"/>
                    </a:lnTo>
                    <a:lnTo>
                      <a:pt x="161" y="109"/>
                    </a:lnTo>
                    <a:lnTo>
                      <a:pt x="163" y="109"/>
                    </a:lnTo>
                    <a:lnTo>
                      <a:pt x="163" y="109"/>
                    </a:lnTo>
                    <a:lnTo>
                      <a:pt x="166" y="111"/>
                    </a:lnTo>
                    <a:lnTo>
                      <a:pt x="170" y="114"/>
                    </a:lnTo>
                    <a:lnTo>
                      <a:pt x="175" y="114"/>
                    </a:lnTo>
                    <a:lnTo>
                      <a:pt x="178" y="114"/>
                    </a:lnTo>
                    <a:lnTo>
                      <a:pt x="180" y="114"/>
                    </a:lnTo>
                    <a:lnTo>
                      <a:pt x="180" y="111"/>
                    </a:lnTo>
                    <a:lnTo>
                      <a:pt x="180" y="111"/>
                    </a:lnTo>
                    <a:lnTo>
                      <a:pt x="182" y="109"/>
                    </a:lnTo>
                    <a:lnTo>
                      <a:pt x="182" y="109"/>
                    </a:lnTo>
                    <a:lnTo>
                      <a:pt x="187" y="107"/>
                    </a:lnTo>
                    <a:lnTo>
                      <a:pt x="187" y="109"/>
                    </a:lnTo>
                    <a:lnTo>
                      <a:pt x="189" y="109"/>
                    </a:lnTo>
                    <a:lnTo>
                      <a:pt x="189" y="111"/>
                    </a:lnTo>
                    <a:lnTo>
                      <a:pt x="189" y="111"/>
                    </a:lnTo>
                    <a:lnTo>
                      <a:pt x="187" y="116"/>
                    </a:lnTo>
                    <a:lnTo>
                      <a:pt x="185" y="118"/>
                    </a:lnTo>
                    <a:lnTo>
                      <a:pt x="182" y="121"/>
                    </a:lnTo>
                    <a:lnTo>
                      <a:pt x="185" y="123"/>
                    </a:lnTo>
                    <a:lnTo>
                      <a:pt x="187" y="126"/>
                    </a:lnTo>
                    <a:lnTo>
                      <a:pt x="185" y="128"/>
                    </a:lnTo>
                    <a:lnTo>
                      <a:pt x="187" y="128"/>
                    </a:lnTo>
                    <a:lnTo>
                      <a:pt x="189" y="130"/>
                    </a:lnTo>
                    <a:lnTo>
                      <a:pt x="189" y="130"/>
                    </a:lnTo>
                    <a:lnTo>
                      <a:pt x="189" y="128"/>
                    </a:lnTo>
                    <a:lnTo>
                      <a:pt x="192" y="128"/>
                    </a:lnTo>
                    <a:lnTo>
                      <a:pt x="192" y="126"/>
                    </a:lnTo>
                    <a:lnTo>
                      <a:pt x="194" y="123"/>
                    </a:lnTo>
                    <a:lnTo>
                      <a:pt x="194" y="123"/>
                    </a:lnTo>
                    <a:lnTo>
                      <a:pt x="194" y="121"/>
                    </a:lnTo>
                    <a:lnTo>
                      <a:pt x="197" y="121"/>
                    </a:lnTo>
                    <a:lnTo>
                      <a:pt x="197" y="121"/>
                    </a:lnTo>
                    <a:lnTo>
                      <a:pt x="197" y="121"/>
                    </a:lnTo>
                    <a:lnTo>
                      <a:pt x="194" y="116"/>
                    </a:lnTo>
                    <a:lnTo>
                      <a:pt x="197" y="116"/>
                    </a:lnTo>
                    <a:lnTo>
                      <a:pt x="197" y="111"/>
                    </a:lnTo>
                    <a:lnTo>
                      <a:pt x="197" y="109"/>
                    </a:lnTo>
                    <a:lnTo>
                      <a:pt x="197" y="109"/>
                    </a:lnTo>
                    <a:lnTo>
                      <a:pt x="199" y="109"/>
                    </a:lnTo>
                    <a:lnTo>
                      <a:pt x="201" y="111"/>
                    </a:lnTo>
                    <a:lnTo>
                      <a:pt x="204" y="111"/>
                    </a:lnTo>
                    <a:lnTo>
                      <a:pt x="204" y="114"/>
                    </a:lnTo>
                    <a:lnTo>
                      <a:pt x="206" y="114"/>
                    </a:lnTo>
                    <a:lnTo>
                      <a:pt x="208" y="114"/>
                    </a:lnTo>
                    <a:lnTo>
                      <a:pt x="211" y="114"/>
                    </a:lnTo>
                    <a:lnTo>
                      <a:pt x="213" y="111"/>
                    </a:lnTo>
                    <a:lnTo>
                      <a:pt x="215" y="111"/>
                    </a:lnTo>
                    <a:lnTo>
                      <a:pt x="218" y="111"/>
                    </a:lnTo>
                    <a:lnTo>
                      <a:pt x="218" y="109"/>
                    </a:lnTo>
                    <a:lnTo>
                      <a:pt x="223" y="107"/>
                    </a:lnTo>
                    <a:lnTo>
                      <a:pt x="225" y="107"/>
                    </a:lnTo>
                    <a:lnTo>
                      <a:pt x="227" y="107"/>
                    </a:lnTo>
                    <a:lnTo>
                      <a:pt x="227" y="109"/>
                    </a:lnTo>
                    <a:lnTo>
                      <a:pt x="230" y="109"/>
                    </a:lnTo>
                    <a:lnTo>
                      <a:pt x="232" y="111"/>
                    </a:lnTo>
                    <a:lnTo>
                      <a:pt x="234" y="111"/>
                    </a:lnTo>
                    <a:lnTo>
                      <a:pt x="237" y="111"/>
                    </a:lnTo>
                    <a:lnTo>
                      <a:pt x="239" y="111"/>
                    </a:lnTo>
                    <a:lnTo>
                      <a:pt x="244" y="111"/>
                    </a:lnTo>
                    <a:lnTo>
                      <a:pt x="246" y="111"/>
                    </a:lnTo>
                    <a:lnTo>
                      <a:pt x="251" y="111"/>
                    </a:lnTo>
                    <a:lnTo>
                      <a:pt x="256" y="109"/>
                    </a:lnTo>
                    <a:lnTo>
                      <a:pt x="263" y="104"/>
                    </a:lnTo>
                    <a:lnTo>
                      <a:pt x="267" y="102"/>
                    </a:lnTo>
                    <a:lnTo>
                      <a:pt x="267" y="102"/>
                    </a:lnTo>
                    <a:lnTo>
                      <a:pt x="272" y="102"/>
                    </a:lnTo>
                    <a:lnTo>
                      <a:pt x="275" y="104"/>
                    </a:lnTo>
                    <a:lnTo>
                      <a:pt x="277" y="104"/>
                    </a:lnTo>
                    <a:lnTo>
                      <a:pt x="277" y="104"/>
                    </a:lnTo>
                    <a:lnTo>
                      <a:pt x="282" y="104"/>
                    </a:lnTo>
                    <a:lnTo>
                      <a:pt x="284" y="102"/>
                    </a:lnTo>
                    <a:lnTo>
                      <a:pt x="286" y="102"/>
                    </a:lnTo>
                    <a:lnTo>
                      <a:pt x="291" y="100"/>
                    </a:lnTo>
                    <a:lnTo>
                      <a:pt x="291" y="100"/>
                    </a:lnTo>
                    <a:lnTo>
                      <a:pt x="293" y="100"/>
                    </a:lnTo>
                    <a:lnTo>
                      <a:pt x="293" y="100"/>
                    </a:lnTo>
                    <a:lnTo>
                      <a:pt x="293" y="100"/>
                    </a:lnTo>
                    <a:lnTo>
                      <a:pt x="293" y="100"/>
                    </a:lnTo>
                    <a:lnTo>
                      <a:pt x="296" y="102"/>
                    </a:lnTo>
                    <a:lnTo>
                      <a:pt x="298" y="102"/>
                    </a:lnTo>
                    <a:lnTo>
                      <a:pt x="301" y="100"/>
                    </a:lnTo>
                    <a:lnTo>
                      <a:pt x="301" y="97"/>
                    </a:lnTo>
                    <a:lnTo>
                      <a:pt x="303" y="97"/>
                    </a:lnTo>
                    <a:lnTo>
                      <a:pt x="303" y="97"/>
                    </a:lnTo>
                    <a:lnTo>
                      <a:pt x="305" y="97"/>
                    </a:lnTo>
                    <a:lnTo>
                      <a:pt x="308" y="97"/>
                    </a:lnTo>
                    <a:lnTo>
                      <a:pt x="310" y="97"/>
                    </a:lnTo>
                    <a:lnTo>
                      <a:pt x="310" y="97"/>
                    </a:lnTo>
                    <a:lnTo>
                      <a:pt x="312" y="100"/>
                    </a:lnTo>
                    <a:lnTo>
                      <a:pt x="315" y="100"/>
                    </a:lnTo>
                    <a:lnTo>
                      <a:pt x="317" y="100"/>
                    </a:lnTo>
                    <a:lnTo>
                      <a:pt x="317" y="100"/>
                    </a:lnTo>
                    <a:lnTo>
                      <a:pt x="322" y="100"/>
                    </a:lnTo>
                    <a:lnTo>
                      <a:pt x="322" y="100"/>
                    </a:lnTo>
                    <a:lnTo>
                      <a:pt x="324" y="100"/>
                    </a:lnTo>
                    <a:lnTo>
                      <a:pt x="324" y="100"/>
                    </a:lnTo>
                    <a:lnTo>
                      <a:pt x="327" y="100"/>
                    </a:lnTo>
                    <a:lnTo>
                      <a:pt x="327" y="100"/>
                    </a:lnTo>
                    <a:lnTo>
                      <a:pt x="327" y="100"/>
                    </a:lnTo>
                    <a:lnTo>
                      <a:pt x="327" y="102"/>
                    </a:lnTo>
                    <a:lnTo>
                      <a:pt x="329" y="104"/>
                    </a:lnTo>
                    <a:lnTo>
                      <a:pt x="329" y="104"/>
                    </a:lnTo>
                    <a:lnTo>
                      <a:pt x="329" y="107"/>
                    </a:lnTo>
                    <a:lnTo>
                      <a:pt x="329" y="107"/>
                    </a:lnTo>
                    <a:lnTo>
                      <a:pt x="329" y="104"/>
                    </a:lnTo>
                    <a:lnTo>
                      <a:pt x="331" y="104"/>
                    </a:lnTo>
                    <a:lnTo>
                      <a:pt x="334" y="102"/>
                    </a:lnTo>
                    <a:lnTo>
                      <a:pt x="334" y="102"/>
                    </a:lnTo>
                    <a:lnTo>
                      <a:pt x="334" y="102"/>
                    </a:lnTo>
                    <a:lnTo>
                      <a:pt x="336" y="102"/>
                    </a:lnTo>
                    <a:lnTo>
                      <a:pt x="336" y="102"/>
                    </a:lnTo>
                    <a:lnTo>
                      <a:pt x="338" y="102"/>
                    </a:lnTo>
                    <a:lnTo>
                      <a:pt x="338" y="102"/>
                    </a:lnTo>
                    <a:lnTo>
                      <a:pt x="336" y="100"/>
                    </a:lnTo>
                    <a:close/>
                    <a:moveTo>
                      <a:pt x="12" y="31"/>
                    </a:moveTo>
                    <a:lnTo>
                      <a:pt x="17" y="31"/>
                    </a:lnTo>
                    <a:lnTo>
                      <a:pt x="19" y="31"/>
                    </a:lnTo>
                    <a:lnTo>
                      <a:pt x="19" y="31"/>
                    </a:lnTo>
                    <a:lnTo>
                      <a:pt x="14" y="33"/>
                    </a:lnTo>
                    <a:lnTo>
                      <a:pt x="12" y="36"/>
                    </a:lnTo>
                    <a:lnTo>
                      <a:pt x="10" y="36"/>
                    </a:lnTo>
                    <a:lnTo>
                      <a:pt x="10" y="38"/>
                    </a:lnTo>
                    <a:lnTo>
                      <a:pt x="12" y="38"/>
                    </a:lnTo>
                    <a:lnTo>
                      <a:pt x="10" y="40"/>
                    </a:lnTo>
                    <a:lnTo>
                      <a:pt x="10" y="40"/>
                    </a:lnTo>
                    <a:lnTo>
                      <a:pt x="12" y="40"/>
                    </a:lnTo>
                    <a:lnTo>
                      <a:pt x="12" y="40"/>
                    </a:lnTo>
                    <a:lnTo>
                      <a:pt x="14" y="38"/>
                    </a:lnTo>
                    <a:lnTo>
                      <a:pt x="19" y="33"/>
                    </a:lnTo>
                    <a:lnTo>
                      <a:pt x="24" y="31"/>
                    </a:lnTo>
                    <a:lnTo>
                      <a:pt x="29" y="29"/>
                    </a:lnTo>
                    <a:lnTo>
                      <a:pt x="31" y="26"/>
                    </a:lnTo>
                    <a:lnTo>
                      <a:pt x="31" y="21"/>
                    </a:lnTo>
                    <a:lnTo>
                      <a:pt x="36" y="21"/>
                    </a:lnTo>
                    <a:lnTo>
                      <a:pt x="38" y="21"/>
                    </a:lnTo>
                    <a:lnTo>
                      <a:pt x="40" y="21"/>
                    </a:lnTo>
                    <a:lnTo>
                      <a:pt x="43" y="21"/>
                    </a:lnTo>
                    <a:lnTo>
                      <a:pt x="45" y="21"/>
                    </a:lnTo>
                    <a:lnTo>
                      <a:pt x="52" y="21"/>
                    </a:lnTo>
                    <a:lnTo>
                      <a:pt x="57" y="21"/>
                    </a:lnTo>
                    <a:lnTo>
                      <a:pt x="57" y="21"/>
                    </a:lnTo>
                    <a:lnTo>
                      <a:pt x="57" y="19"/>
                    </a:lnTo>
                    <a:lnTo>
                      <a:pt x="57" y="17"/>
                    </a:lnTo>
                    <a:lnTo>
                      <a:pt x="55" y="17"/>
                    </a:lnTo>
                    <a:lnTo>
                      <a:pt x="45" y="12"/>
                    </a:lnTo>
                    <a:lnTo>
                      <a:pt x="43" y="10"/>
                    </a:lnTo>
                    <a:lnTo>
                      <a:pt x="40" y="7"/>
                    </a:lnTo>
                    <a:lnTo>
                      <a:pt x="38" y="5"/>
                    </a:lnTo>
                    <a:lnTo>
                      <a:pt x="38" y="2"/>
                    </a:lnTo>
                    <a:lnTo>
                      <a:pt x="36" y="2"/>
                    </a:lnTo>
                    <a:lnTo>
                      <a:pt x="36" y="2"/>
                    </a:lnTo>
                    <a:lnTo>
                      <a:pt x="36" y="2"/>
                    </a:lnTo>
                    <a:lnTo>
                      <a:pt x="33" y="2"/>
                    </a:lnTo>
                    <a:lnTo>
                      <a:pt x="33" y="2"/>
                    </a:lnTo>
                    <a:lnTo>
                      <a:pt x="31" y="2"/>
                    </a:lnTo>
                    <a:lnTo>
                      <a:pt x="31" y="2"/>
                    </a:lnTo>
                    <a:lnTo>
                      <a:pt x="29" y="2"/>
                    </a:lnTo>
                    <a:lnTo>
                      <a:pt x="26" y="0"/>
                    </a:lnTo>
                    <a:lnTo>
                      <a:pt x="26" y="0"/>
                    </a:lnTo>
                    <a:lnTo>
                      <a:pt x="26" y="0"/>
                    </a:lnTo>
                    <a:lnTo>
                      <a:pt x="24" y="0"/>
                    </a:lnTo>
                    <a:lnTo>
                      <a:pt x="21" y="0"/>
                    </a:lnTo>
                    <a:lnTo>
                      <a:pt x="21" y="0"/>
                    </a:lnTo>
                    <a:lnTo>
                      <a:pt x="19" y="2"/>
                    </a:lnTo>
                    <a:lnTo>
                      <a:pt x="17" y="2"/>
                    </a:lnTo>
                    <a:lnTo>
                      <a:pt x="17" y="2"/>
                    </a:lnTo>
                    <a:lnTo>
                      <a:pt x="14" y="2"/>
                    </a:lnTo>
                    <a:lnTo>
                      <a:pt x="14" y="2"/>
                    </a:lnTo>
                    <a:lnTo>
                      <a:pt x="14" y="2"/>
                    </a:lnTo>
                    <a:lnTo>
                      <a:pt x="14" y="5"/>
                    </a:lnTo>
                    <a:lnTo>
                      <a:pt x="12" y="5"/>
                    </a:lnTo>
                    <a:lnTo>
                      <a:pt x="10" y="5"/>
                    </a:lnTo>
                    <a:lnTo>
                      <a:pt x="10" y="5"/>
                    </a:lnTo>
                    <a:lnTo>
                      <a:pt x="10" y="7"/>
                    </a:lnTo>
                    <a:lnTo>
                      <a:pt x="10" y="7"/>
                    </a:lnTo>
                    <a:lnTo>
                      <a:pt x="12" y="7"/>
                    </a:lnTo>
                    <a:lnTo>
                      <a:pt x="12" y="7"/>
                    </a:lnTo>
                    <a:lnTo>
                      <a:pt x="12" y="10"/>
                    </a:lnTo>
                    <a:lnTo>
                      <a:pt x="14" y="10"/>
                    </a:lnTo>
                    <a:lnTo>
                      <a:pt x="14" y="10"/>
                    </a:lnTo>
                    <a:lnTo>
                      <a:pt x="14" y="12"/>
                    </a:lnTo>
                    <a:lnTo>
                      <a:pt x="14" y="14"/>
                    </a:lnTo>
                    <a:lnTo>
                      <a:pt x="14" y="14"/>
                    </a:lnTo>
                    <a:lnTo>
                      <a:pt x="14" y="14"/>
                    </a:lnTo>
                    <a:lnTo>
                      <a:pt x="10" y="17"/>
                    </a:lnTo>
                    <a:lnTo>
                      <a:pt x="10" y="19"/>
                    </a:lnTo>
                    <a:lnTo>
                      <a:pt x="12" y="19"/>
                    </a:lnTo>
                    <a:lnTo>
                      <a:pt x="12" y="21"/>
                    </a:lnTo>
                    <a:lnTo>
                      <a:pt x="12" y="21"/>
                    </a:lnTo>
                    <a:lnTo>
                      <a:pt x="12" y="21"/>
                    </a:lnTo>
                    <a:lnTo>
                      <a:pt x="12" y="24"/>
                    </a:lnTo>
                    <a:lnTo>
                      <a:pt x="10" y="24"/>
                    </a:lnTo>
                    <a:lnTo>
                      <a:pt x="10" y="26"/>
                    </a:lnTo>
                    <a:lnTo>
                      <a:pt x="7" y="26"/>
                    </a:lnTo>
                    <a:lnTo>
                      <a:pt x="7" y="29"/>
                    </a:lnTo>
                    <a:lnTo>
                      <a:pt x="7" y="29"/>
                    </a:lnTo>
                    <a:lnTo>
                      <a:pt x="7" y="29"/>
                    </a:lnTo>
                    <a:lnTo>
                      <a:pt x="7" y="31"/>
                    </a:lnTo>
                    <a:lnTo>
                      <a:pt x="10" y="31"/>
                    </a:lnTo>
                    <a:lnTo>
                      <a:pt x="12" y="31"/>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24"/>
              <p:cNvSpPr>
                <a:spLocks noEditPoints="1"/>
              </p:cNvSpPr>
              <p:nvPr/>
            </p:nvSpPr>
            <p:spPr bwMode="auto">
              <a:xfrm>
                <a:off x="2893" y="2009"/>
                <a:ext cx="71" cy="152"/>
              </a:xfrm>
              <a:custGeom>
                <a:avLst/>
                <a:gdLst>
                  <a:gd name="T0" fmla="*/ 57 w 71"/>
                  <a:gd name="T1" fmla="*/ 76 h 152"/>
                  <a:gd name="T2" fmla="*/ 57 w 71"/>
                  <a:gd name="T3" fmla="*/ 78 h 152"/>
                  <a:gd name="T4" fmla="*/ 59 w 71"/>
                  <a:gd name="T5" fmla="*/ 78 h 152"/>
                  <a:gd name="T6" fmla="*/ 61 w 71"/>
                  <a:gd name="T7" fmla="*/ 76 h 152"/>
                  <a:gd name="T8" fmla="*/ 59 w 71"/>
                  <a:gd name="T9" fmla="*/ 74 h 152"/>
                  <a:gd name="T10" fmla="*/ 66 w 71"/>
                  <a:gd name="T11" fmla="*/ 55 h 152"/>
                  <a:gd name="T12" fmla="*/ 66 w 71"/>
                  <a:gd name="T13" fmla="*/ 57 h 152"/>
                  <a:gd name="T14" fmla="*/ 69 w 71"/>
                  <a:gd name="T15" fmla="*/ 97 h 152"/>
                  <a:gd name="T16" fmla="*/ 69 w 71"/>
                  <a:gd name="T17" fmla="*/ 90 h 152"/>
                  <a:gd name="T18" fmla="*/ 66 w 71"/>
                  <a:gd name="T19" fmla="*/ 90 h 152"/>
                  <a:gd name="T20" fmla="*/ 64 w 71"/>
                  <a:gd name="T21" fmla="*/ 88 h 152"/>
                  <a:gd name="T22" fmla="*/ 64 w 71"/>
                  <a:gd name="T23" fmla="*/ 85 h 152"/>
                  <a:gd name="T24" fmla="*/ 59 w 71"/>
                  <a:gd name="T25" fmla="*/ 83 h 152"/>
                  <a:gd name="T26" fmla="*/ 57 w 71"/>
                  <a:gd name="T27" fmla="*/ 81 h 152"/>
                  <a:gd name="T28" fmla="*/ 50 w 71"/>
                  <a:gd name="T29" fmla="*/ 78 h 152"/>
                  <a:gd name="T30" fmla="*/ 45 w 71"/>
                  <a:gd name="T31" fmla="*/ 69 h 152"/>
                  <a:gd name="T32" fmla="*/ 47 w 71"/>
                  <a:gd name="T33" fmla="*/ 64 h 152"/>
                  <a:gd name="T34" fmla="*/ 59 w 71"/>
                  <a:gd name="T35" fmla="*/ 55 h 152"/>
                  <a:gd name="T36" fmla="*/ 61 w 71"/>
                  <a:gd name="T37" fmla="*/ 45 h 152"/>
                  <a:gd name="T38" fmla="*/ 61 w 71"/>
                  <a:gd name="T39" fmla="*/ 38 h 152"/>
                  <a:gd name="T40" fmla="*/ 54 w 71"/>
                  <a:gd name="T41" fmla="*/ 31 h 152"/>
                  <a:gd name="T42" fmla="*/ 52 w 71"/>
                  <a:gd name="T43" fmla="*/ 24 h 152"/>
                  <a:gd name="T44" fmla="*/ 57 w 71"/>
                  <a:gd name="T45" fmla="*/ 19 h 152"/>
                  <a:gd name="T46" fmla="*/ 64 w 71"/>
                  <a:gd name="T47" fmla="*/ 12 h 152"/>
                  <a:gd name="T48" fmla="*/ 59 w 71"/>
                  <a:gd name="T49" fmla="*/ 7 h 152"/>
                  <a:gd name="T50" fmla="*/ 52 w 71"/>
                  <a:gd name="T51" fmla="*/ 12 h 152"/>
                  <a:gd name="T52" fmla="*/ 50 w 71"/>
                  <a:gd name="T53" fmla="*/ 12 h 152"/>
                  <a:gd name="T54" fmla="*/ 45 w 71"/>
                  <a:gd name="T55" fmla="*/ 3 h 152"/>
                  <a:gd name="T56" fmla="*/ 40 w 71"/>
                  <a:gd name="T57" fmla="*/ 3 h 152"/>
                  <a:gd name="T58" fmla="*/ 40 w 71"/>
                  <a:gd name="T59" fmla="*/ 3 h 152"/>
                  <a:gd name="T60" fmla="*/ 40 w 71"/>
                  <a:gd name="T61" fmla="*/ 0 h 152"/>
                  <a:gd name="T62" fmla="*/ 26 w 71"/>
                  <a:gd name="T63" fmla="*/ 5 h 152"/>
                  <a:gd name="T64" fmla="*/ 19 w 71"/>
                  <a:gd name="T65" fmla="*/ 10 h 152"/>
                  <a:gd name="T66" fmla="*/ 16 w 71"/>
                  <a:gd name="T67" fmla="*/ 14 h 152"/>
                  <a:gd name="T68" fmla="*/ 12 w 71"/>
                  <a:gd name="T69" fmla="*/ 19 h 152"/>
                  <a:gd name="T70" fmla="*/ 14 w 71"/>
                  <a:gd name="T71" fmla="*/ 21 h 152"/>
                  <a:gd name="T72" fmla="*/ 14 w 71"/>
                  <a:gd name="T73" fmla="*/ 29 h 152"/>
                  <a:gd name="T74" fmla="*/ 14 w 71"/>
                  <a:gd name="T75" fmla="*/ 36 h 152"/>
                  <a:gd name="T76" fmla="*/ 14 w 71"/>
                  <a:gd name="T77" fmla="*/ 43 h 152"/>
                  <a:gd name="T78" fmla="*/ 14 w 71"/>
                  <a:gd name="T79" fmla="*/ 50 h 152"/>
                  <a:gd name="T80" fmla="*/ 12 w 71"/>
                  <a:gd name="T81" fmla="*/ 57 h 152"/>
                  <a:gd name="T82" fmla="*/ 9 w 71"/>
                  <a:gd name="T83" fmla="*/ 62 h 152"/>
                  <a:gd name="T84" fmla="*/ 2 w 71"/>
                  <a:gd name="T85" fmla="*/ 66 h 152"/>
                  <a:gd name="T86" fmla="*/ 0 w 71"/>
                  <a:gd name="T87" fmla="*/ 74 h 152"/>
                  <a:gd name="T88" fmla="*/ 0 w 71"/>
                  <a:gd name="T89" fmla="*/ 83 h 152"/>
                  <a:gd name="T90" fmla="*/ 2 w 71"/>
                  <a:gd name="T91" fmla="*/ 88 h 152"/>
                  <a:gd name="T92" fmla="*/ 9 w 71"/>
                  <a:gd name="T93" fmla="*/ 93 h 152"/>
                  <a:gd name="T94" fmla="*/ 14 w 71"/>
                  <a:gd name="T95" fmla="*/ 104 h 152"/>
                  <a:gd name="T96" fmla="*/ 24 w 71"/>
                  <a:gd name="T97" fmla="*/ 111 h 152"/>
                  <a:gd name="T98" fmla="*/ 26 w 71"/>
                  <a:gd name="T99" fmla="*/ 119 h 152"/>
                  <a:gd name="T100" fmla="*/ 31 w 71"/>
                  <a:gd name="T101" fmla="*/ 133 h 152"/>
                  <a:gd name="T102" fmla="*/ 33 w 71"/>
                  <a:gd name="T103" fmla="*/ 147 h 152"/>
                  <a:gd name="T104" fmla="*/ 40 w 71"/>
                  <a:gd name="T105" fmla="*/ 149 h 152"/>
                  <a:gd name="T106" fmla="*/ 45 w 71"/>
                  <a:gd name="T107" fmla="*/ 145 h 152"/>
                  <a:gd name="T108" fmla="*/ 47 w 71"/>
                  <a:gd name="T109" fmla="*/ 138 h 152"/>
                  <a:gd name="T110" fmla="*/ 45 w 71"/>
                  <a:gd name="T111" fmla="*/ 130 h 152"/>
                  <a:gd name="T112" fmla="*/ 47 w 71"/>
                  <a:gd name="T113" fmla="*/ 123 h 152"/>
                  <a:gd name="T114" fmla="*/ 52 w 71"/>
                  <a:gd name="T115" fmla="*/ 121 h 152"/>
                  <a:gd name="T116" fmla="*/ 54 w 71"/>
                  <a:gd name="T117" fmla="*/ 116 h 152"/>
                  <a:gd name="T118" fmla="*/ 57 w 71"/>
                  <a:gd name="T119" fmla="*/ 114 h 152"/>
                  <a:gd name="T120" fmla="*/ 66 w 71"/>
                  <a:gd name="T121" fmla="*/ 107 h 152"/>
                  <a:gd name="T122" fmla="*/ 71 w 71"/>
                  <a:gd name="T123" fmla="*/ 10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1" h="152">
                    <a:moveTo>
                      <a:pt x="59" y="74"/>
                    </a:moveTo>
                    <a:lnTo>
                      <a:pt x="57" y="76"/>
                    </a:lnTo>
                    <a:lnTo>
                      <a:pt x="57" y="76"/>
                    </a:lnTo>
                    <a:lnTo>
                      <a:pt x="57" y="78"/>
                    </a:lnTo>
                    <a:lnTo>
                      <a:pt x="57" y="78"/>
                    </a:lnTo>
                    <a:lnTo>
                      <a:pt x="57" y="78"/>
                    </a:lnTo>
                    <a:lnTo>
                      <a:pt x="59" y="78"/>
                    </a:lnTo>
                    <a:lnTo>
                      <a:pt x="59" y="78"/>
                    </a:lnTo>
                    <a:lnTo>
                      <a:pt x="59" y="78"/>
                    </a:lnTo>
                    <a:lnTo>
                      <a:pt x="59" y="78"/>
                    </a:lnTo>
                    <a:lnTo>
                      <a:pt x="61" y="78"/>
                    </a:lnTo>
                    <a:lnTo>
                      <a:pt x="61" y="76"/>
                    </a:lnTo>
                    <a:lnTo>
                      <a:pt x="61" y="76"/>
                    </a:lnTo>
                    <a:lnTo>
                      <a:pt x="61" y="76"/>
                    </a:lnTo>
                    <a:lnTo>
                      <a:pt x="59" y="74"/>
                    </a:lnTo>
                    <a:close/>
                    <a:moveTo>
                      <a:pt x="66" y="57"/>
                    </a:moveTo>
                    <a:lnTo>
                      <a:pt x="66" y="55"/>
                    </a:lnTo>
                    <a:lnTo>
                      <a:pt x="66" y="55"/>
                    </a:lnTo>
                    <a:lnTo>
                      <a:pt x="64" y="57"/>
                    </a:lnTo>
                    <a:lnTo>
                      <a:pt x="64" y="57"/>
                    </a:lnTo>
                    <a:lnTo>
                      <a:pt x="66" y="57"/>
                    </a:lnTo>
                    <a:close/>
                    <a:moveTo>
                      <a:pt x="71" y="104"/>
                    </a:moveTo>
                    <a:lnTo>
                      <a:pt x="69" y="102"/>
                    </a:lnTo>
                    <a:lnTo>
                      <a:pt x="69" y="97"/>
                    </a:lnTo>
                    <a:lnTo>
                      <a:pt x="69" y="95"/>
                    </a:lnTo>
                    <a:lnTo>
                      <a:pt x="69" y="95"/>
                    </a:lnTo>
                    <a:lnTo>
                      <a:pt x="69" y="90"/>
                    </a:lnTo>
                    <a:lnTo>
                      <a:pt x="69" y="90"/>
                    </a:lnTo>
                    <a:lnTo>
                      <a:pt x="69" y="88"/>
                    </a:lnTo>
                    <a:lnTo>
                      <a:pt x="66" y="90"/>
                    </a:lnTo>
                    <a:lnTo>
                      <a:pt x="64" y="88"/>
                    </a:lnTo>
                    <a:lnTo>
                      <a:pt x="64" y="88"/>
                    </a:lnTo>
                    <a:lnTo>
                      <a:pt x="64" y="88"/>
                    </a:lnTo>
                    <a:lnTo>
                      <a:pt x="66" y="88"/>
                    </a:lnTo>
                    <a:lnTo>
                      <a:pt x="66" y="88"/>
                    </a:lnTo>
                    <a:lnTo>
                      <a:pt x="64" y="85"/>
                    </a:lnTo>
                    <a:lnTo>
                      <a:pt x="61" y="81"/>
                    </a:lnTo>
                    <a:lnTo>
                      <a:pt x="59" y="81"/>
                    </a:lnTo>
                    <a:lnTo>
                      <a:pt x="59" y="83"/>
                    </a:lnTo>
                    <a:lnTo>
                      <a:pt x="57" y="83"/>
                    </a:lnTo>
                    <a:lnTo>
                      <a:pt x="57" y="83"/>
                    </a:lnTo>
                    <a:lnTo>
                      <a:pt x="57" y="81"/>
                    </a:lnTo>
                    <a:lnTo>
                      <a:pt x="57" y="78"/>
                    </a:lnTo>
                    <a:lnTo>
                      <a:pt x="52" y="81"/>
                    </a:lnTo>
                    <a:lnTo>
                      <a:pt x="50" y="78"/>
                    </a:lnTo>
                    <a:lnTo>
                      <a:pt x="45" y="76"/>
                    </a:lnTo>
                    <a:lnTo>
                      <a:pt x="45" y="71"/>
                    </a:lnTo>
                    <a:lnTo>
                      <a:pt x="45" y="69"/>
                    </a:lnTo>
                    <a:lnTo>
                      <a:pt x="45" y="69"/>
                    </a:lnTo>
                    <a:lnTo>
                      <a:pt x="45" y="66"/>
                    </a:lnTo>
                    <a:lnTo>
                      <a:pt x="47" y="64"/>
                    </a:lnTo>
                    <a:lnTo>
                      <a:pt x="52" y="62"/>
                    </a:lnTo>
                    <a:lnTo>
                      <a:pt x="54" y="57"/>
                    </a:lnTo>
                    <a:lnTo>
                      <a:pt x="59" y="55"/>
                    </a:lnTo>
                    <a:lnTo>
                      <a:pt x="59" y="50"/>
                    </a:lnTo>
                    <a:lnTo>
                      <a:pt x="64" y="45"/>
                    </a:lnTo>
                    <a:lnTo>
                      <a:pt x="61" y="45"/>
                    </a:lnTo>
                    <a:lnTo>
                      <a:pt x="61" y="40"/>
                    </a:lnTo>
                    <a:lnTo>
                      <a:pt x="61" y="40"/>
                    </a:lnTo>
                    <a:lnTo>
                      <a:pt x="61" y="38"/>
                    </a:lnTo>
                    <a:lnTo>
                      <a:pt x="57" y="36"/>
                    </a:lnTo>
                    <a:lnTo>
                      <a:pt x="54" y="33"/>
                    </a:lnTo>
                    <a:lnTo>
                      <a:pt x="54" y="31"/>
                    </a:lnTo>
                    <a:lnTo>
                      <a:pt x="52" y="29"/>
                    </a:lnTo>
                    <a:lnTo>
                      <a:pt x="52" y="26"/>
                    </a:lnTo>
                    <a:lnTo>
                      <a:pt x="52" y="24"/>
                    </a:lnTo>
                    <a:lnTo>
                      <a:pt x="52" y="24"/>
                    </a:lnTo>
                    <a:lnTo>
                      <a:pt x="54" y="21"/>
                    </a:lnTo>
                    <a:lnTo>
                      <a:pt x="57" y="19"/>
                    </a:lnTo>
                    <a:lnTo>
                      <a:pt x="59" y="14"/>
                    </a:lnTo>
                    <a:lnTo>
                      <a:pt x="61" y="12"/>
                    </a:lnTo>
                    <a:lnTo>
                      <a:pt x="64" y="12"/>
                    </a:lnTo>
                    <a:lnTo>
                      <a:pt x="61" y="10"/>
                    </a:lnTo>
                    <a:lnTo>
                      <a:pt x="61" y="7"/>
                    </a:lnTo>
                    <a:lnTo>
                      <a:pt x="59" y="7"/>
                    </a:lnTo>
                    <a:lnTo>
                      <a:pt x="57" y="10"/>
                    </a:lnTo>
                    <a:lnTo>
                      <a:pt x="54" y="10"/>
                    </a:lnTo>
                    <a:lnTo>
                      <a:pt x="52" y="12"/>
                    </a:lnTo>
                    <a:lnTo>
                      <a:pt x="50" y="14"/>
                    </a:lnTo>
                    <a:lnTo>
                      <a:pt x="50" y="12"/>
                    </a:lnTo>
                    <a:lnTo>
                      <a:pt x="50" y="12"/>
                    </a:lnTo>
                    <a:lnTo>
                      <a:pt x="47" y="7"/>
                    </a:lnTo>
                    <a:lnTo>
                      <a:pt x="47" y="5"/>
                    </a:lnTo>
                    <a:lnTo>
                      <a:pt x="45" y="3"/>
                    </a:lnTo>
                    <a:lnTo>
                      <a:pt x="43" y="3"/>
                    </a:lnTo>
                    <a:lnTo>
                      <a:pt x="40" y="3"/>
                    </a:lnTo>
                    <a:lnTo>
                      <a:pt x="40" y="3"/>
                    </a:lnTo>
                    <a:lnTo>
                      <a:pt x="43" y="5"/>
                    </a:lnTo>
                    <a:lnTo>
                      <a:pt x="40" y="5"/>
                    </a:lnTo>
                    <a:lnTo>
                      <a:pt x="40" y="3"/>
                    </a:lnTo>
                    <a:lnTo>
                      <a:pt x="40" y="3"/>
                    </a:lnTo>
                    <a:lnTo>
                      <a:pt x="40" y="3"/>
                    </a:lnTo>
                    <a:lnTo>
                      <a:pt x="40" y="0"/>
                    </a:lnTo>
                    <a:lnTo>
                      <a:pt x="38" y="0"/>
                    </a:lnTo>
                    <a:lnTo>
                      <a:pt x="28" y="5"/>
                    </a:lnTo>
                    <a:lnTo>
                      <a:pt x="26" y="5"/>
                    </a:lnTo>
                    <a:lnTo>
                      <a:pt x="24" y="7"/>
                    </a:lnTo>
                    <a:lnTo>
                      <a:pt x="19" y="10"/>
                    </a:lnTo>
                    <a:lnTo>
                      <a:pt x="19" y="10"/>
                    </a:lnTo>
                    <a:lnTo>
                      <a:pt x="19" y="12"/>
                    </a:lnTo>
                    <a:lnTo>
                      <a:pt x="16" y="12"/>
                    </a:lnTo>
                    <a:lnTo>
                      <a:pt x="16" y="14"/>
                    </a:lnTo>
                    <a:lnTo>
                      <a:pt x="14" y="17"/>
                    </a:lnTo>
                    <a:lnTo>
                      <a:pt x="12" y="19"/>
                    </a:lnTo>
                    <a:lnTo>
                      <a:pt x="12" y="19"/>
                    </a:lnTo>
                    <a:lnTo>
                      <a:pt x="12" y="19"/>
                    </a:lnTo>
                    <a:lnTo>
                      <a:pt x="14" y="19"/>
                    </a:lnTo>
                    <a:lnTo>
                      <a:pt x="14" y="21"/>
                    </a:lnTo>
                    <a:lnTo>
                      <a:pt x="14" y="21"/>
                    </a:lnTo>
                    <a:lnTo>
                      <a:pt x="14" y="26"/>
                    </a:lnTo>
                    <a:lnTo>
                      <a:pt x="14" y="29"/>
                    </a:lnTo>
                    <a:lnTo>
                      <a:pt x="12" y="33"/>
                    </a:lnTo>
                    <a:lnTo>
                      <a:pt x="12" y="33"/>
                    </a:lnTo>
                    <a:lnTo>
                      <a:pt x="14" y="36"/>
                    </a:lnTo>
                    <a:lnTo>
                      <a:pt x="14" y="38"/>
                    </a:lnTo>
                    <a:lnTo>
                      <a:pt x="14" y="38"/>
                    </a:lnTo>
                    <a:lnTo>
                      <a:pt x="14" y="43"/>
                    </a:lnTo>
                    <a:lnTo>
                      <a:pt x="14" y="45"/>
                    </a:lnTo>
                    <a:lnTo>
                      <a:pt x="14" y="48"/>
                    </a:lnTo>
                    <a:lnTo>
                      <a:pt x="14" y="50"/>
                    </a:lnTo>
                    <a:lnTo>
                      <a:pt x="12" y="52"/>
                    </a:lnTo>
                    <a:lnTo>
                      <a:pt x="12" y="55"/>
                    </a:lnTo>
                    <a:lnTo>
                      <a:pt x="12" y="57"/>
                    </a:lnTo>
                    <a:lnTo>
                      <a:pt x="12" y="59"/>
                    </a:lnTo>
                    <a:lnTo>
                      <a:pt x="9" y="59"/>
                    </a:lnTo>
                    <a:lnTo>
                      <a:pt x="9" y="62"/>
                    </a:lnTo>
                    <a:lnTo>
                      <a:pt x="7" y="62"/>
                    </a:lnTo>
                    <a:lnTo>
                      <a:pt x="5" y="64"/>
                    </a:lnTo>
                    <a:lnTo>
                      <a:pt x="2" y="66"/>
                    </a:lnTo>
                    <a:lnTo>
                      <a:pt x="0" y="69"/>
                    </a:lnTo>
                    <a:lnTo>
                      <a:pt x="0" y="71"/>
                    </a:lnTo>
                    <a:lnTo>
                      <a:pt x="0" y="74"/>
                    </a:lnTo>
                    <a:lnTo>
                      <a:pt x="0" y="76"/>
                    </a:lnTo>
                    <a:lnTo>
                      <a:pt x="0" y="78"/>
                    </a:lnTo>
                    <a:lnTo>
                      <a:pt x="0" y="83"/>
                    </a:lnTo>
                    <a:lnTo>
                      <a:pt x="2" y="85"/>
                    </a:lnTo>
                    <a:lnTo>
                      <a:pt x="2" y="88"/>
                    </a:lnTo>
                    <a:lnTo>
                      <a:pt x="2" y="88"/>
                    </a:lnTo>
                    <a:lnTo>
                      <a:pt x="5" y="90"/>
                    </a:lnTo>
                    <a:lnTo>
                      <a:pt x="9" y="93"/>
                    </a:lnTo>
                    <a:lnTo>
                      <a:pt x="9" y="93"/>
                    </a:lnTo>
                    <a:lnTo>
                      <a:pt x="12" y="95"/>
                    </a:lnTo>
                    <a:lnTo>
                      <a:pt x="12" y="100"/>
                    </a:lnTo>
                    <a:lnTo>
                      <a:pt x="14" y="104"/>
                    </a:lnTo>
                    <a:lnTo>
                      <a:pt x="16" y="107"/>
                    </a:lnTo>
                    <a:lnTo>
                      <a:pt x="19" y="109"/>
                    </a:lnTo>
                    <a:lnTo>
                      <a:pt x="24" y="111"/>
                    </a:lnTo>
                    <a:lnTo>
                      <a:pt x="26" y="111"/>
                    </a:lnTo>
                    <a:lnTo>
                      <a:pt x="26" y="114"/>
                    </a:lnTo>
                    <a:lnTo>
                      <a:pt x="26" y="119"/>
                    </a:lnTo>
                    <a:lnTo>
                      <a:pt x="28" y="123"/>
                    </a:lnTo>
                    <a:lnTo>
                      <a:pt x="28" y="128"/>
                    </a:lnTo>
                    <a:lnTo>
                      <a:pt x="31" y="133"/>
                    </a:lnTo>
                    <a:lnTo>
                      <a:pt x="31" y="140"/>
                    </a:lnTo>
                    <a:lnTo>
                      <a:pt x="33" y="142"/>
                    </a:lnTo>
                    <a:lnTo>
                      <a:pt x="33" y="147"/>
                    </a:lnTo>
                    <a:lnTo>
                      <a:pt x="35" y="152"/>
                    </a:lnTo>
                    <a:lnTo>
                      <a:pt x="35" y="152"/>
                    </a:lnTo>
                    <a:lnTo>
                      <a:pt x="40" y="149"/>
                    </a:lnTo>
                    <a:lnTo>
                      <a:pt x="40" y="149"/>
                    </a:lnTo>
                    <a:lnTo>
                      <a:pt x="43" y="147"/>
                    </a:lnTo>
                    <a:lnTo>
                      <a:pt x="45" y="145"/>
                    </a:lnTo>
                    <a:lnTo>
                      <a:pt x="45" y="142"/>
                    </a:lnTo>
                    <a:lnTo>
                      <a:pt x="47" y="140"/>
                    </a:lnTo>
                    <a:lnTo>
                      <a:pt x="47" y="138"/>
                    </a:lnTo>
                    <a:lnTo>
                      <a:pt x="47" y="138"/>
                    </a:lnTo>
                    <a:lnTo>
                      <a:pt x="47" y="135"/>
                    </a:lnTo>
                    <a:lnTo>
                      <a:pt x="45" y="130"/>
                    </a:lnTo>
                    <a:lnTo>
                      <a:pt x="45" y="126"/>
                    </a:lnTo>
                    <a:lnTo>
                      <a:pt x="45" y="123"/>
                    </a:lnTo>
                    <a:lnTo>
                      <a:pt x="47" y="123"/>
                    </a:lnTo>
                    <a:lnTo>
                      <a:pt x="47" y="121"/>
                    </a:lnTo>
                    <a:lnTo>
                      <a:pt x="47" y="121"/>
                    </a:lnTo>
                    <a:lnTo>
                      <a:pt x="52" y="121"/>
                    </a:lnTo>
                    <a:lnTo>
                      <a:pt x="52" y="119"/>
                    </a:lnTo>
                    <a:lnTo>
                      <a:pt x="54" y="116"/>
                    </a:lnTo>
                    <a:lnTo>
                      <a:pt x="54" y="116"/>
                    </a:lnTo>
                    <a:lnTo>
                      <a:pt x="54" y="116"/>
                    </a:lnTo>
                    <a:lnTo>
                      <a:pt x="57" y="114"/>
                    </a:lnTo>
                    <a:lnTo>
                      <a:pt x="57" y="114"/>
                    </a:lnTo>
                    <a:lnTo>
                      <a:pt x="61" y="111"/>
                    </a:lnTo>
                    <a:lnTo>
                      <a:pt x="64" y="109"/>
                    </a:lnTo>
                    <a:lnTo>
                      <a:pt x="66" y="107"/>
                    </a:lnTo>
                    <a:lnTo>
                      <a:pt x="71" y="107"/>
                    </a:lnTo>
                    <a:lnTo>
                      <a:pt x="71" y="104"/>
                    </a:lnTo>
                    <a:lnTo>
                      <a:pt x="71" y="104"/>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25"/>
              <p:cNvSpPr>
                <a:spLocks noEditPoints="1"/>
              </p:cNvSpPr>
              <p:nvPr/>
            </p:nvSpPr>
            <p:spPr bwMode="auto">
              <a:xfrm>
                <a:off x="1599" y="2561"/>
                <a:ext cx="28" cy="26"/>
              </a:xfrm>
              <a:custGeom>
                <a:avLst/>
                <a:gdLst>
                  <a:gd name="T0" fmla="*/ 19 w 28"/>
                  <a:gd name="T1" fmla="*/ 9 h 26"/>
                  <a:gd name="T2" fmla="*/ 17 w 28"/>
                  <a:gd name="T3" fmla="*/ 9 h 26"/>
                  <a:gd name="T4" fmla="*/ 14 w 28"/>
                  <a:gd name="T5" fmla="*/ 12 h 26"/>
                  <a:gd name="T6" fmla="*/ 12 w 28"/>
                  <a:gd name="T7" fmla="*/ 12 h 26"/>
                  <a:gd name="T8" fmla="*/ 9 w 28"/>
                  <a:gd name="T9" fmla="*/ 12 h 26"/>
                  <a:gd name="T10" fmla="*/ 7 w 28"/>
                  <a:gd name="T11" fmla="*/ 12 h 26"/>
                  <a:gd name="T12" fmla="*/ 7 w 28"/>
                  <a:gd name="T13" fmla="*/ 12 h 26"/>
                  <a:gd name="T14" fmla="*/ 7 w 28"/>
                  <a:gd name="T15" fmla="*/ 14 h 26"/>
                  <a:gd name="T16" fmla="*/ 7 w 28"/>
                  <a:gd name="T17" fmla="*/ 14 h 26"/>
                  <a:gd name="T18" fmla="*/ 9 w 28"/>
                  <a:gd name="T19" fmla="*/ 14 h 26"/>
                  <a:gd name="T20" fmla="*/ 9 w 28"/>
                  <a:gd name="T21" fmla="*/ 14 h 26"/>
                  <a:gd name="T22" fmla="*/ 9 w 28"/>
                  <a:gd name="T23" fmla="*/ 16 h 26"/>
                  <a:gd name="T24" fmla="*/ 9 w 28"/>
                  <a:gd name="T25" fmla="*/ 21 h 26"/>
                  <a:gd name="T26" fmla="*/ 7 w 28"/>
                  <a:gd name="T27" fmla="*/ 21 h 26"/>
                  <a:gd name="T28" fmla="*/ 5 w 28"/>
                  <a:gd name="T29" fmla="*/ 24 h 26"/>
                  <a:gd name="T30" fmla="*/ 5 w 28"/>
                  <a:gd name="T31" fmla="*/ 24 h 26"/>
                  <a:gd name="T32" fmla="*/ 0 w 28"/>
                  <a:gd name="T33" fmla="*/ 26 h 26"/>
                  <a:gd name="T34" fmla="*/ 2 w 28"/>
                  <a:gd name="T35" fmla="*/ 26 h 26"/>
                  <a:gd name="T36" fmla="*/ 7 w 28"/>
                  <a:gd name="T37" fmla="*/ 26 h 26"/>
                  <a:gd name="T38" fmla="*/ 14 w 28"/>
                  <a:gd name="T39" fmla="*/ 26 h 26"/>
                  <a:gd name="T40" fmla="*/ 17 w 28"/>
                  <a:gd name="T41" fmla="*/ 26 h 26"/>
                  <a:gd name="T42" fmla="*/ 17 w 28"/>
                  <a:gd name="T43" fmla="*/ 24 h 26"/>
                  <a:gd name="T44" fmla="*/ 17 w 28"/>
                  <a:gd name="T45" fmla="*/ 21 h 26"/>
                  <a:gd name="T46" fmla="*/ 19 w 28"/>
                  <a:gd name="T47" fmla="*/ 21 h 26"/>
                  <a:gd name="T48" fmla="*/ 17 w 28"/>
                  <a:gd name="T49" fmla="*/ 19 h 26"/>
                  <a:gd name="T50" fmla="*/ 17 w 28"/>
                  <a:gd name="T51" fmla="*/ 16 h 26"/>
                  <a:gd name="T52" fmla="*/ 17 w 28"/>
                  <a:gd name="T53" fmla="*/ 16 h 26"/>
                  <a:gd name="T54" fmla="*/ 17 w 28"/>
                  <a:gd name="T55" fmla="*/ 14 h 26"/>
                  <a:gd name="T56" fmla="*/ 19 w 28"/>
                  <a:gd name="T57" fmla="*/ 12 h 26"/>
                  <a:gd name="T58" fmla="*/ 19 w 28"/>
                  <a:gd name="T59" fmla="*/ 9 h 26"/>
                  <a:gd name="T60" fmla="*/ 26 w 28"/>
                  <a:gd name="T61" fmla="*/ 0 h 26"/>
                  <a:gd name="T62" fmla="*/ 24 w 28"/>
                  <a:gd name="T63" fmla="*/ 0 h 26"/>
                  <a:gd name="T64" fmla="*/ 21 w 28"/>
                  <a:gd name="T65" fmla="*/ 2 h 26"/>
                  <a:gd name="T66" fmla="*/ 21 w 28"/>
                  <a:gd name="T67" fmla="*/ 2 h 26"/>
                  <a:gd name="T68" fmla="*/ 24 w 28"/>
                  <a:gd name="T69" fmla="*/ 2 h 26"/>
                  <a:gd name="T70" fmla="*/ 28 w 28"/>
                  <a:gd name="T71" fmla="*/ 0 h 26"/>
                  <a:gd name="T72" fmla="*/ 28 w 28"/>
                  <a:gd name="T73" fmla="*/ 0 h 26"/>
                  <a:gd name="T74" fmla="*/ 26 w 28"/>
                  <a:gd name="T7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 h="26">
                    <a:moveTo>
                      <a:pt x="19" y="9"/>
                    </a:moveTo>
                    <a:lnTo>
                      <a:pt x="17" y="9"/>
                    </a:lnTo>
                    <a:lnTo>
                      <a:pt x="14" y="12"/>
                    </a:lnTo>
                    <a:lnTo>
                      <a:pt x="12" y="12"/>
                    </a:lnTo>
                    <a:lnTo>
                      <a:pt x="9" y="12"/>
                    </a:lnTo>
                    <a:lnTo>
                      <a:pt x="7" y="12"/>
                    </a:lnTo>
                    <a:lnTo>
                      <a:pt x="7" y="12"/>
                    </a:lnTo>
                    <a:lnTo>
                      <a:pt x="7" y="14"/>
                    </a:lnTo>
                    <a:lnTo>
                      <a:pt x="7" y="14"/>
                    </a:lnTo>
                    <a:lnTo>
                      <a:pt x="9" y="14"/>
                    </a:lnTo>
                    <a:lnTo>
                      <a:pt x="9" y="14"/>
                    </a:lnTo>
                    <a:lnTo>
                      <a:pt x="9" y="16"/>
                    </a:lnTo>
                    <a:lnTo>
                      <a:pt x="9" y="21"/>
                    </a:lnTo>
                    <a:lnTo>
                      <a:pt x="7" y="21"/>
                    </a:lnTo>
                    <a:lnTo>
                      <a:pt x="5" y="24"/>
                    </a:lnTo>
                    <a:lnTo>
                      <a:pt x="5" y="24"/>
                    </a:lnTo>
                    <a:lnTo>
                      <a:pt x="0" y="26"/>
                    </a:lnTo>
                    <a:lnTo>
                      <a:pt x="2" y="26"/>
                    </a:lnTo>
                    <a:lnTo>
                      <a:pt x="7" y="26"/>
                    </a:lnTo>
                    <a:lnTo>
                      <a:pt x="14" y="26"/>
                    </a:lnTo>
                    <a:lnTo>
                      <a:pt x="17" y="26"/>
                    </a:lnTo>
                    <a:lnTo>
                      <a:pt x="17" y="24"/>
                    </a:lnTo>
                    <a:lnTo>
                      <a:pt x="17" y="21"/>
                    </a:lnTo>
                    <a:lnTo>
                      <a:pt x="19" y="21"/>
                    </a:lnTo>
                    <a:lnTo>
                      <a:pt x="17" y="19"/>
                    </a:lnTo>
                    <a:lnTo>
                      <a:pt x="17" y="16"/>
                    </a:lnTo>
                    <a:lnTo>
                      <a:pt x="17" y="16"/>
                    </a:lnTo>
                    <a:lnTo>
                      <a:pt x="17" y="14"/>
                    </a:lnTo>
                    <a:lnTo>
                      <a:pt x="19" y="12"/>
                    </a:lnTo>
                    <a:lnTo>
                      <a:pt x="19" y="9"/>
                    </a:lnTo>
                    <a:close/>
                    <a:moveTo>
                      <a:pt x="26" y="0"/>
                    </a:moveTo>
                    <a:lnTo>
                      <a:pt x="24" y="0"/>
                    </a:lnTo>
                    <a:lnTo>
                      <a:pt x="21" y="2"/>
                    </a:lnTo>
                    <a:lnTo>
                      <a:pt x="21" y="2"/>
                    </a:lnTo>
                    <a:lnTo>
                      <a:pt x="24" y="2"/>
                    </a:lnTo>
                    <a:lnTo>
                      <a:pt x="28" y="0"/>
                    </a:lnTo>
                    <a:lnTo>
                      <a:pt x="28" y="0"/>
                    </a:lnTo>
                    <a:lnTo>
                      <a:pt x="26" y="0"/>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26"/>
              <p:cNvSpPr>
                <a:spLocks/>
              </p:cNvSpPr>
              <p:nvPr/>
            </p:nvSpPr>
            <p:spPr bwMode="auto">
              <a:xfrm>
                <a:off x="2749" y="2566"/>
                <a:ext cx="33" cy="106"/>
              </a:xfrm>
              <a:custGeom>
                <a:avLst/>
                <a:gdLst>
                  <a:gd name="T0" fmla="*/ 30 w 33"/>
                  <a:gd name="T1" fmla="*/ 94 h 106"/>
                  <a:gd name="T2" fmla="*/ 30 w 33"/>
                  <a:gd name="T3" fmla="*/ 92 h 106"/>
                  <a:gd name="T4" fmla="*/ 28 w 33"/>
                  <a:gd name="T5" fmla="*/ 87 h 106"/>
                  <a:gd name="T6" fmla="*/ 30 w 33"/>
                  <a:gd name="T7" fmla="*/ 71 h 106"/>
                  <a:gd name="T8" fmla="*/ 30 w 33"/>
                  <a:gd name="T9" fmla="*/ 54 h 106"/>
                  <a:gd name="T10" fmla="*/ 30 w 33"/>
                  <a:gd name="T11" fmla="*/ 40 h 106"/>
                  <a:gd name="T12" fmla="*/ 26 w 33"/>
                  <a:gd name="T13" fmla="*/ 35 h 106"/>
                  <a:gd name="T14" fmla="*/ 26 w 33"/>
                  <a:gd name="T15" fmla="*/ 23 h 106"/>
                  <a:gd name="T16" fmla="*/ 19 w 33"/>
                  <a:gd name="T17" fmla="*/ 19 h 106"/>
                  <a:gd name="T18" fmla="*/ 14 w 33"/>
                  <a:gd name="T19" fmla="*/ 14 h 106"/>
                  <a:gd name="T20" fmla="*/ 16 w 33"/>
                  <a:gd name="T21" fmla="*/ 4 h 106"/>
                  <a:gd name="T22" fmla="*/ 11 w 33"/>
                  <a:gd name="T23" fmla="*/ 2 h 106"/>
                  <a:gd name="T24" fmla="*/ 9 w 33"/>
                  <a:gd name="T25" fmla="*/ 2 h 106"/>
                  <a:gd name="T26" fmla="*/ 0 w 33"/>
                  <a:gd name="T27" fmla="*/ 0 h 106"/>
                  <a:gd name="T28" fmla="*/ 0 w 33"/>
                  <a:gd name="T29" fmla="*/ 7 h 106"/>
                  <a:gd name="T30" fmla="*/ 0 w 33"/>
                  <a:gd name="T31" fmla="*/ 9 h 106"/>
                  <a:gd name="T32" fmla="*/ 4 w 33"/>
                  <a:gd name="T33" fmla="*/ 14 h 106"/>
                  <a:gd name="T34" fmla="*/ 7 w 33"/>
                  <a:gd name="T35" fmla="*/ 16 h 106"/>
                  <a:gd name="T36" fmla="*/ 7 w 33"/>
                  <a:gd name="T37" fmla="*/ 23 h 106"/>
                  <a:gd name="T38" fmla="*/ 7 w 33"/>
                  <a:gd name="T39" fmla="*/ 30 h 106"/>
                  <a:gd name="T40" fmla="*/ 4 w 33"/>
                  <a:gd name="T41" fmla="*/ 30 h 106"/>
                  <a:gd name="T42" fmla="*/ 7 w 33"/>
                  <a:gd name="T43" fmla="*/ 30 h 106"/>
                  <a:gd name="T44" fmla="*/ 4 w 33"/>
                  <a:gd name="T45" fmla="*/ 33 h 106"/>
                  <a:gd name="T46" fmla="*/ 4 w 33"/>
                  <a:gd name="T47" fmla="*/ 35 h 106"/>
                  <a:gd name="T48" fmla="*/ 7 w 33"/>
                  <a:gd name="T49" fmla="*/ 33 h 106"/>
                  <a:gd name="T50" fmla="*/ 9 w 33"/>
                  <a:gd name="T51" fmla="*/ 35 h 106"/>
                  <a:gd name="T52" fmla="*/ 9 w 33"/>
                  <a:gd name="T53" fmla="*/ 42 h 106"/>
                  <a:gd name="T54" fmla="*/ 9 w 33"/>
                  <a:gd name="T55" fmla="*/ 47 h 106"/>
                  <a:gd name="T56" fmla="*/ 7 w 33"/>
                  <a:gd name="T57" fmla="*/ 49 h 106"/>
                  <a:gd name="T58" fmla="*/ 11 w 33"/>
                  <a:gd name="T59" fmla="*/ 54 h 106"/>
                  <a:gd name="T60" fmla="*/ 11 w 33"/>
                  <a:gd name="T61" fmla="*/ 59 h 106"/>
                  <a:gd name="T62" fmla="*/ 11 w 33"/>
                  <a:gd name="T63" fmla="*/ 71 h 106"/>
                  <a:gd name="T64" fmla="*/ 9 w 33"/>
                  <a:gd name="T65" fmla="*/ 78 h 106"/>
                  <a:gd name="T66" fmla="*/ 11 w 33"/>
                  <a:gd name="T67" fmla="*/ 78 h 106"/>
                  <a:gd name="T68" fmla="*/ 11 w 33"/>
                  <a:gd name="T69" fmla="*/ 85 h 106"/>
                  <a:gd name="T70" fmla="*/ 9 w 33"/>
                  <a:gd name="T71" fmla="*/ 87 h 106"/>
                  <a:gd name="T72" fmla="*/ 9 w 33"/>
                  <a:gd name="T73" fmla="*/ 90 h 106"/>
                  <a:gd name="T74" fmla="*/ 14 w 33"/>
                  <a:gd name="T75" fmla="*/ 94 h 106"/>
                  <a:gd name="T76" fmla="*/ 14 w 33"/>
                  <a:gd name="T77" fmla="*/ 97 h 106"/>
                  <a:gd name="T78" fmla="*/ 19 w 33"/>
                  <a:gd name="T79" fmla="*/ 101 h 106"/>
                  <a:gd name="T80" fmla="*/ 21 w 33"/>
                  <a:gd name="T81" fmla="*/ 104 h 106"/>
                  <a:gd name="T82" fmla="*/ 21 w 33"/>
                  <a:gd name="T83" fmla="*/ 106 h 106"/>
                  <a:gd name="T84" fmla="*/ 30 w 33"/>
                  <a:gd name="T85" fmla="*/ 101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 h="106">
                    <a:moveTo>
                      <a:pt x="33" y="101"/>
                    </a:moveTo>
                    <a:lnTo>
                      <a:pt x="33" y="99"/>
                    </a:lnTo>
                    <a:lnTo>
                      <a:pt x="30" y="94"/>
                    </a:lnTo>
                    <a:lnTo>
                      <a:pt x="30" y="94"/>
                    </a:lnTo>
                    <a:lnTo>
                      <a:pt x="30" y="92"/>
                    </a:lnTo>
                    <a:lnTo>
                      <a:pt x="30" y="92"/>
                    </a:lnTo>
                    <a:lnTo>
                      <a:pt x="30" y="92"/>
                    </a:lnTo>
                    <a:lnTo>
                      <a:pt x="30" y="90"/>
                    </a:lnTo>
                    <a:lnTo>
                      <a:pt x="28" y="87"/>
                    </a:lnTo>
                    <a:lnTo>
                      <a:pt x="30" y="87"/>
                    </a:lnTo>
                    <a:lnTo>
                      <a:pt x="30" y="78"/>
                    </a:lnTo>
                    <a:lnTo>
                      <a:pt x="30" y="71"/>
                    </a:lnTo>
                    <a:lnTo>
                      <a:pt x="30" y="64"/>
                    </a:lnTo>
                    <a:lnTo>
                      <a:pt x="30" y="59"/>
                    </a:lnTo>
                    <a:lnTo>
                      <a:pt x="30" y="54"/>
                    </a:lnTo>
                    <a:lnTo>
                      <a:pt x="30" y="49"/>
                    </a:lnTo>
                    <a:lnTo>
                      <a:pt x="30" y="42"/>
                    </a:lnTo>
                    <a:lnTo>
                      <a:pt x="30" y="40"/>
                    </a:lnTo>
                    <a:lnTo>
                      <a:pt x="26" y="37"/>
                    </a:lnTo>
                    <a:lnTo>
                      <a:pt x="26" y="35"/>
                    </a:lnTo>
                    <a:lnTo>
                      <a:pt x="26" y="35"/>
                    </a:lnTo>
                    <a:lnTo>
                      <a:pt x="26" y="33"/>
                    </a:lnTo>
                    <a:lnTo>
                      <a:pt x="26" y="28"/>
                    </a:lnTo>
                    <a:lnTo>
                      <a:pt x="26" y="23"/>
                    </a:lnTo>
                    <a:lnTo>
                      <a:pt x="26" y="23"/>
                    </a:lnTo>
                    <a:lnTo>
                      <a:pt x="23" y="21"/>
                    </a:lnTo>
                    <a:lnTo>
                      <a:pt x="19" y="19"/>
                    </a:lnTo>
                    <a:lnTo>
                      <a:pt x="16" y="16"/>
                    </a:lnTo>
                    <a:lnTo>
                      <a:pt x="14" y="16"/>
                    </a:lnTo>
                    <a:lnTo>
                      <a:pt x="14" y="14"/>
                    </a:lnTo>
                    <a:lnTo>
                      <a:pt x="16" y="7"/>
                    </a:lnTo>
                    <a:lnTo>
                      <a:pt x="16" y="7"/>
                    </a:lnTo>
                    <a:lnTo>
                      <a:pt x="16" y="4"/>
                    </a:lnTo>
                    <a:lnTo>
                      <a:pt x="16" y="2"/>
                    </a:lnTo>
                    <a:lnTo>
                      <a:pt x="11" y="2"/>
                    </a:lnTo>
                    <a:lnTo>
                      <a:pt x="11" y="2"/>
                    </a:lnTo>
                    <a:lnTo>
                      <a:pt x="9" y="2"/>
                    </a:lnTo>
                    <a:lnTo>
                      <a:pt x="9" y="2"/>
                    </a:lnTo>
                    <a:lnTo>
                      <a:pt x="9" y="2"/>
                    </a:lnTo>
                    <a:lnTo>
                      <a:pt x="4" y="0"/>
                    </a:lnTo>
                    <a:lnTo>
                      <a:pt x="0" y="0"/>
                    </a:lnTo>
                    <a:lnTo>
                      <a:pt x="0" y="0"/>
                    </a:lnTo>
                    <a:lnTo>
                      <a:pt x="0" y="2"/>
                    </a:lnTo>
                    <a:lnTo>
                      <a:pt x="0" y="4"/>
                    </a:lnTo>
                    <a:lnTo>
                      <a:pt x="0" y="7"/>
                    </a:lnTo>
                    <a:lnTo>
                      <a:pt x="0" y="7"/>
                    </a:lnTo>
                    <a:lnTo>
                      <a:pt x="0" y="9"/>
                    </a:lnTo>
                    <a:lnTo>
                      <a:pt x="0" y="9"/>
                    </a:lnTo>
                    <a:lnTo>
                      <a:pt x="2" y="11"/>
                    </a:lnTo>
                    <a:lnTo>
                      <a:pt x="2" y="11"/>
                    </a:lnTo>
                    <a:lnTo>
                      <a:pt x="4" y="14"/>
                    </a:lnTo>
                    <a:lnTo>
                      <a:pt x="4" y="14"/>
                    </a:lnTo>
                    <a:lnTo>
                      <a:pt x="7" y="16"/>
                    </a:lnTo>
                    <a:lnTo>
                      <a:pt x="7" y="16"/>
                    </a:lnTo>
                    <a:lnTo>
                      <a:pt x="7" y="16"/>
                    </a:lnTo>
                    <a:lnTo>
                      <a:pt x="7" y="19"/>
                    </a:lnTo>
                    <a:lnTo>
                      <a:pt x="7" y="23"/>
                    </a:lnTo>
                    <a:lnTo>
                      <a:pt x="7" y="26"/>
                    </a:lnTo>
                    <a:lnTo>
                      <a:pt x="7" y="26"/>
                    </a:lnTo>
                    <a:lnTo>
                      <a:pt x="7" y="30"/>
                    </a:lnTo>
                    <a:lnTo>
                      <a:pt x="7" y="30"/>
                    </a:lnTo>
                    <a:lnTo>
                      <a:pt x="7" y="30"/>
                    </a:lnTo>
                    <a:lnTo>
                      <a:pt x="4" y="30"/>
                    </a:lnTo>
                    <a:lnTo>
                      <a:pt x="4" y="30"/>
                    </a:lnTo>
                    <a:lnTo>
                      <a:pt x="4" y="30"/>
                    </a:lnTo>
                    <a:lnTo>
                      <a:pt x="7" y="30"/>
                    </a:lnTo>
                    <a:lnTo>
                      <a:pt x="7" y="30"/>
                    </a:lnTo>
                    <a:lnTo>
                      <a:pt x="4" y="33"/>
                    </a:lnTo>
                    <a:lnTo>
                      <a:pt x="4" y="33"/>
                    </a:lnTo>
                    <a:lnTo>
                      <a:pt x="4" y="33"/>
                    </a:lnTo>
                    <a:lnTo>
                      <a:pt x="4" y="35"/>
                    </a:lnTo>
                    <a:lnTo>
                      <a:pt x="4" y="35"/>
                    </a:lnTo>
                    <a:lnTo>
                      <a:pt x="4" y="35"/>
                    </a:lnTo>
                    <a:lnTo>
                      <a:pt x="7" y="35"/>
                    </a:lnTo>
                    <a:lnTo>
                      <a:pt x="7" y="33"/>
                    </a:lnTo>
                    <a:lnTo>
                      <a:pt x="7" y="33"/>
                    </a:lnTo>
                    <a:lnTo>
                      <a:pt x="9" y="33"/>
                    </a:lnTo>
                    <a:lnTo>
                      <a:pt x="9" y="35"/>
                    </a:lnTo>
                    <a:lnTo>
                      <a:pt x="9" y="35"/>
                    </a:lnTo>
                    <a:lnTo>
                      <a:pt x="9" y="40"/>
                    </a:lnTo>
                    <a:lnTo>
                      <a:pt x="9" y="42"/>
                    </a:lnTo>
                    <a:lnTo>
                      <a:pt x="9" y="45"/>
                    </a:lnTo>
                    <a:lnTo>
                      <a:pt x="9" y="47"/>
                    </a:lnTo>
                    <a:lnTo>
                      <a:pt x="9" y="47"/>
                    </a:lnTo>
                    <a:lnTo>
                      <a:pt x="9" y="47"/>
                    </a:lnTo>
                    <a:lnTo>
                      <a:pt x="7" y="49"/>
                    </a:lnTo>
                    <a:lnTo>
                      <a:pt x="7" y="49"/>
                    </a:lnTo>
                    <a:lnTo>
                      <a:pt x="9" y="52"/>
                    </a:lnTo>
                    <a:lnTo>
                      <a:pt x="9" y="52"/>
                    </a:lnTo>
                    <a:lnTo>
                      <a:pt x="11" y="54"/>
                    </a:lnTo>
                    <a:lnTo>
                      <a:pt x="14" y="56"/>
                    </a:lnTo>
                    <a:lnTo>
                      <a:pt x="14" y="59"/>
                    </a:lnTo>
                    <a:lnTo>
                      <a:pt x="11" y="59"/>
                    </a:lnTo>
                    <a:lnTo>
                      <a:pt x="11" y="61"/>
                    </a:lnTo>
                    <a:lnTo>
                      <a:pt x="11" y="61"/>
                    </a:lnTo>
                    <a:lnTo>
                      <a:pt x="11" y="71"/>
                    </a:lnTo>
                    <a:lnTo>
                      <a:pt x="9" y="75"/>
                    </a:lnTo>
                    <a:lnTo>
                      <a:pt x="9" y="75"/>
                    </a:lnTo>
                    <a:lnTo>
                      <a:pt x="9" y="78"/>
                    </a:lnTo>
                    <a:lnTo>
                      <a:pt x="9" y="78"/>
                    </a:lnTo>
                    <a:lnTo>
                      <a:pt x="11" y="78"/>
                    </a:lnTo>
                    <a:lnTo>
                      <a:pt x="11" y="78"/>
                    </a:lnTo>
                    <a:lnTo>
                      <a:pt x="11" y="82"/>
                    </a:lnTo>
                    <a:lnTo>
                      <a:pt x="11" y="85"/>
                    </a:lnTo>
                    <a:lnTo>
                      <a:pt x="11" y="85"/>
                    </a:lnTo>
                    <a:lnTo>
                      <a:pt x="11" y="85"/>
                    </a:lnTo>
                    <a:lnTo>
                      <a:pt x="9" y="87"/>
                    </a:lnTo>
                    <a:lnTo>
                      <a:pt x="9" y="87"/>
                    </a:lnTo>
                    <a:lnTo>
                      <a:pt x="9" y="90"/>
                    </a:lnTo>
                    <a:lnTo>
                      <a:pt x="9" y="90"/>
                    </a:lnTo>
                    <a:lnTo>
                      <a:pt x="9" y="90"/>
                    </a:lnTo>
                    <a:lnTo>
                      <a:pt x="11" y="92"/>
                    </a:lnTo>
                    <a:lnTo>
                      <a:pt x="11" y="94"/>
                    </a:lnTo>
                    <a:lnTo>
                      <a:pt x="14" y="94"/>
                    </a:lnTo>
                    <a:lnTo>
                      <a:pt x="14" y="97"/>
                    </a:lnTo>
                    <a:lnTo>
                      <a:pt x="14" y="97"/>
                    </a:lnTo>
                    <a:lnTo>
                      <a:pt x="14" y="97"/>
                    </a:lnTo>
                    <a:lnTo>
                      <a:pt x="16" y="99"/>
                    </a:lnTo>
                    <a:lnTo>
                      <a:pt x="16" y="101"/>
                    </a:lnTo>
                    <a:lnTo>
                      <a:pt x="19" y="101"/>
                    </a:lnTo>
                    <a:lnTo>
                      <a:pt x="19" y="101"/>
                    </a:lnTo>
                    <a:lnTo>
                      <a:pt x="19" y="104"/>
                    </a:lnTo>
                    <a:lnTo>
                      <a:pt x="21" y="104"/>
                    </a:lnTo>
                    <a:lnTo>
                      <a:pt x="21" y="104"/>
                    </a:lnTo>
                    <a:lnTo>
                      <a:pt x="21" y="104"/>
                    </a:lnTo>
                    <a:lnTo>
                      <a:pt x="21" y="106"/>
                    </a:lnTo>
                    <a:lnTo>
                      <a:pt x="23" y="104"/>
                    </a:lnTo>
                    <a:lnTo>
                      <a:pt x="30" y="104"/>
                    </a:lnTo>
                    <a:lnTo>
                      <a:pt x="30" y="101"/>
                    </a:lnTo>
                    <a:lnTo>
                      <a:pt x="33" y="101"/>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27"/>
              <p:cNvSpPr>
                <a:spLocks noEditPoints="1"/>
              </p:cNvSpPr>
              <p:nvPr/>
            </p:nvSpPr>
            <p:spPr bwMode="auto">
              <a:xfrm>
                <a:off x="4542" y="2369"/>
                <a:ext cx="158" cy="313"/>
              </a:xfrm>
              <a:custGeom>
                <a:avLst/>
                <a:gdLst>
                  <a:gd name="T0" fmla="*/ 52 w 158"/>
                  <a:gd name="T1" fmla="*/ 272 h 313"/>
                  <a:gd name="T2" fmla="*/ 35 w 158"/>
                  <a:gd name="T3" fmla="*/ 258 h 313"/>
                  <a:gd name="T4" fmla="*/ 38 w 158"/>
                  <a:gd name="T5" fmla="*/ 261 h 313"/>
                  <a:gd name="T6" fmla="*/ 66 w 158"/>
                  <a:gd name="T7" fmla="*/ 232 h 313"/>
                  <a:gd name="T8" fmla="*/ 66 w 158"/>
                  <a:gd name="T9" fmla="*/ 225 h 313"/>
                  <a:gd name="T10" fmla="*/ 111 w 158"/>
                  <a:gd name="T11" fmla="*/ 185 h 313"/>
                  <a:gd name="T12" fmla="*/ 106 w 158"/>
                  <a:gd name="T13" fmla="*/ 178 h 313"/>
                  <a:gd name="T14" fmla="*/ 158 w 158"/>
                  <a:gd name="T15" fmla="*/ 100 h 313"/>
                  <a:gd name="T16" fmla="*/ 146 w 158"/>
                  <a:gd name="T17" fmla="*/ 90 h 313"/>
                  <a:gd name="T18" fmla="*/ 132 w 158"/>
                  <a:gd name="T19" fmla="*/ 59 h 313"/>
                  <a:gd name="T20" fmla="*/ 109 w 158"/>
                  <a:gd name="T21" fmla="*/ 43 h 313"/>
                  <a:gd name="T22" fmla="*/ 104 w 158"/>
                  <a:gd name="T23" fmla="*/ 50 h 313"/>
                  <a:gd name="T24" fmla="*/ 97 w 158"/>
                  <a:gd name="T25" fmla="*/ 52 h 313"/>
                  <a:gd name="T26" fmla="*/ 80 w 158"/>
                  <a:gd name="T27" fmla="*/ 50 h 313"/>
                  <a:gd name="T28" fmla="*/ 68 w 158"/>
                  <a:gd name="T29" fmla="*/ 59 h 313"/>
                  <a:gd name="T30" fmla="*/ 66 w 158"/>
                  <a:gd name="T31" fmla="*/ 40 h 313"/>
                  <a:gd name="T32" fmla="*/ 66 w 158"/>
                  <a:gd name="T33" fmla="*/ 17 h 313"/>
                  <a:gd name="T34" fmla="*/ 52 w 158"/>
                  <a:gd name="T35" fmla="*/ 10 h 313"/>
                  <a:gd name="T36" fmla="*/ 47 w 158"/>
                  <a:gd name="T37" fmla="*/ 0 h 313"/>
                  <a:gd name="T38" fmla="*/ 38 w 158"/>
                  <a:gd name="T39" fmla="*/ 2 h 313"/>
                  <a:gd name="T40" fmla="*/ 30 w 158"/>
                  <a:gd name="T41" fmla="*/ 7 h 313"/>
                  <a:gd name="T42" fmla="*/ 23 w 158"/>
                  <a:gd name="T43" fmla="*/ 14 h 313"/>
                  <a:gd name="T44" fmla="*/ 7 w 158"/>
                  <a:gd name="T45" fmla="*/ 14 h 313"/>
                  <a:gd name="T46" fmla="*/ 4 w 158"/>
                  <a:gd name="T47" fmla="*/ 38 h 313"/>
                  <a:gd name="T48" fmla="*/ 4 w 158"/>
                  <a:gd name="T49" fmla="*/ 45 h 313"/>
                  <a:gd name="T50" fmla="*/ 12 w 158"/>
                  <a:gd name="T51" fmla="*/ 59 h 313"/>
                  <a:gd name="T52" fmla="*/ 28 w 158"/>
                  <a:gd name="T53" fmla="*/ 85 h 313"/>
                  <a:gd name="T54" fmla="*/ 28 w 158"/>
                  <a:gd name="T55" fmla="*/ 97 h 313"/>
                  <a:gd name="T56" fmla="*/ 21 w 158"/>
                  <a:gd name="T57" fmla="*/ 111 h 313"/>
                  <a:gd name="T58" fmla="*/ 42 w 158"/>
                  <a:gd name="T59" fmla="*/ 140 h 313"/>
                  <a:gd name="T60" fmla="*/ 47 w 158"/>
                  <a:gd name="T61" fmla="*/ 161 h 313"/>
                  <a:gd name="T62" fmla="*/ 54 w 158"/>
                  <a:gd name="T63" fmla="*/ 182 h 313"/>
                  <a:gd name="T64" fmla="*/ 40 w 158"/>
                  <a:gd name="T65" fmla="*/ 206 h 313"/>
                  <a:gd name="T66" fmla="*/ 35 w 158"/>
                  <a:gd name="T67" fmla="*/ 234 h 313"/>
                  <a:gd name="T68" fmla="*/ 40 w 158"/>
                  <a:gd name="T69" fmla="*/ 256 h 313"/>
                  <a:gd name="T70" fmla="*/ 54 w 158"/>
                  <a:gd name="T71" fmla="*/ 270 h 313"/>
                  <a:gd name="T72" fmla="*/ 64 w 158"/>
                  <a:gd name="T73" fmla="*/ 287 h 313"/>
                  <a:gd name="T74" fmla="*/ 80 w 158"/>
                  <a:gd name="T75" fmla="*/ 294 h 313"/>
                  <a:gd name="T76" fmla="*/ 90 w 158"/>
                  <a:gd name="T77" fmla="*/ 303 h 313"/>
                  <a:gd name="T78" fmla="*/ 92 w 158"/>
                  <a:gd name="T79" fmla="*/ 308 h 313"/>
                  <a:gd name="T80" fmla="*/ 106 w 158"/>
                  <a:gd name="T81" fmla="*/ 306 h 313"/>
                  <a:gd name="T82" fmla="*/ 90 w 158"/>
                  <a:gd name="T83" fmla="*/ 287 h 313"/>
                  <a:gd name="T84" fmla="*/ 71 w 158"/>
                  <a:gd name="T85" fmla="*/ 268 h 313"/>
                  <a:gd name="T86" fmla="*/ 78 w 158"/>
                  <a:gd name="T87" fmla="*/ 279 h 313"/>
                  <a:gd name="T88" fmla="*/ 66 w 158"/>
                  <a:gd name="T89" fmla="*/ 249 h 313"/>
                  <a:gd name="T90" fmla="*/ 52 w 158"/>
                  <a:gd name="T91" fmla="*/ 232 h 313"/>
                  <a:gd name="T92" fmla="*/ 54 w 158"/>
                  <a:gd name="T93" fmla="*/ 197 h 313"/>
                  <a:gd name="T94" fmla="*/ 61 w 158"/>
                  <a:gd name="T95" fmla="*/ 161 h 313"/>
                  <a:gd name="T96" fmla="*/ 75 w 158"/>
                  <a:gd name="T97" fmla="*/ 147 h 313"/>
                  <a:gd name="T98" fmla="*/ 80 w 158"/>
                  <a:gd name="T99" fmla="*/ 163 h 313"/>
                  <a:gd name="T100" fmla="*/ 104 w 158"/>
                  <a:gd name="T101" fmla="*/ 168 h 313"/>
                  <a:gd name="T102" fmla="*/ 116 w 158"/>
                  <a:gd name="T103" fmla="*/ 185 h 313"/>
                  <a:gd name="T104" fmla="*/ 106 w 158"/>
                  <a:gd name="T105" fmla="*/ 159 h 313"/>
                  <a:gd name="T106" fmla="*/ 106 w 158"/>
                  <a:gd name="T107" fmla="*/ 142 h 313"/>
                  <a:gd name="T108" fmla="*/ 123 w 158"/>
                  <a:gd name="T109" fmla="*/ 126 h 313"/>
                  <a:gd name="T110" fmla="*/ 146 w 158"/>
                  <a:gd name="T111" fmla="*/ 126 h 313"/>
                  <a:gd name="T112" fmla="*/ 153 w 158"/>
                  <a:gd name="T113" fmla="*/ 128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8" h="313">
                    <a:moveTo>
                      <a:pt x="61" y="291"/>
                    </a:moveTo>
                    <a:lnTo>
                      <a:pt x="61" y="294"/>
                    </a:lnTo>
                    <a:lnTo>
                      <a:pt x="64" y="294"/>
                    </a:lnTo>
                    <a:lnTo>
                      <a:pt x="64" y="291"/>
                    </a:lnTo>
                    <a:lnTo>
                      <a:pt x="61" y="289"/>
                    </a:lnTo>
                    <a:lnTo>
                      <a:pt x="61" y="291"/>
                    </a:lnTo>
                    <a:close/>
                    <a:moveTo>
                      <a:pt x="49" y="270"/>
                    </a:moveTo>
                    <a:lnTo>
                      <a:pt x="49" y="270"/>
                    </a:lnTo>
                    <a:lnTo>
                      <a:pt x="49" y="272"/>
                    </a:lnTo>
                    <a:lnTo>
                      <a:pt x="52" y="272"/>
                    </a:lnTo>
                    <a:lnTo>
                      <a:pt x="52" y="272"/>
                    </a:lnTo>
                    <a:lnTo>
                      <a:pt x="52" y="270"/>
                    </a:lnTo>
                    <a:lnTo>
                      <a:pt x="49" y="270"/>
                    </a:lnTo>
                    <a:close/>
                    <a:moveTo>
                      <a:pt x="42" y="263"/>
                    </a:moveTo>
                    <a:lnTo>
                      <a:pt x="42" y="263"/>
                    </a:lnTo>
                    <a:lnTo>
                      <a:pt x="42" y="261"/>
                    </a:lnTo>
                    <a:lnTo>
                      <a:pt x="40" y="261"/>
                    </a:lnTo>
                    <a:lnTo>
                      <a:pt x="42" y="263"/>
                    </a:lnTo>
                    <a:close/>
                    <a:moveTo>
                      <a:pt x="38" y="261"/>
                    </a:moveTo>
                    <a:lnTo>
                      <a:pt x="35" y="258"/>
                    </a:lnTo>
                    <a:lnTo>
                      <a:pt x="35" y="258"/>
                    </a:lnTo>
                    <a:lnTo>
                      <a:pt x="35" y="263"/>
                    </a:lnTo>
                    <a:lnTo>
                      <a:pt x="35" y="268"/>
                    </a:lnTo>
                    <a:lnTo>
                      <a:pt x="38" y="268"/>
                    </a:lnTo>
                    <a:lnTo>
                      <a:pt x="38" y="265"/>
                    </a:lnTo>
                    <a:lnTo>
                      <a:pt x="38" y="265"/>
                    </a:lnTo>
                    <a:lnTo>
                      <a:pt x="38" y="263"/>
                    </a:lnTo>
                    <a:lnTo>
                      <a:pt x="38" y="263"/>
                    </a:lnTo>
                    <a:lnTo>
                      <a:pt x="38" y="261"/>
                    </a:lnTo>
                    <a:lnTo>
                      <a:pt x="38" y="261"/>
                    </a:lnTo>
                    <a:close/>
                    <a:moveTo>
                      <a:pt x="35" y="239"/>
                    </a:moveTo>
                    <a:lnTo>
                      <a:pt x="35" y="237"/>
                    </a:lnTo>
                    <a:lnTo>
                      <a:pt x="35" y="239"/>
                    </a:lnTo>
                    <a:lnTo>
                      <a:pt x="33" y="239"/>
                    </a:lnTo>
                    <a:lnTo>
                      <a:pt x="33" y="239"/>
                    </a:lnTo>
                    <a:lnTo>
                      <a:pt x="35" y="239"/>
                    </a:lnTo>
                    <a:lnTo>
                      <a:pt x="35" y="239"/>
                    </a:lnTo>
                    <a:close/>
                    <a:moveTo>
                      <a:pt x="64" y="230"/>
                    </a:moveTo>
                    <a:lnTo>
                      <a:pt x="64" y="230"/>
                    </a:lnTo>
                    <a:lnTo>
                      <a:pt x="66" y="232"/>
                    </a:lnTo>
                    <a:lnTo>
                      <a:pt x="66" y="232"/>
                    </a:lnTo>
                    <a:lnTo>
                      <a:pt x="66" y="230"/>
                    </a:lnTo>
                    <a:lnTo>
                      <a:pt x="66" y="227"/>
                    </a:lnTo>
                    <a:lnTo>
                      <a:pt x="66" y="230"/>
                    </a:lnTo>
                    <a:lnTo>
                      <a:pt x="64" y="227"/>
                    </a:lnTo>
                    <a:lnTo>
                      <a:pt x="64" y="230"/>
                    </a:lnTo>
                    <a:close/>
                    <a:moveTo>
                      <a:pt x="66" y="227"/>
                    </a:moveTo>
                    <a:lnTo>
                      <a:pt x="66" y="225"/>
                    </a:lnTo>
                    <a:lnTo>
                      <a:pt x="66" y="225"/>
                    </a:lnTo>
                    <a:lnTo>
                      <a:pt x="66" y="225"/>
                    </a:lnTo>
                    <a:lnTo>
                      <a:pt x="66" y="225"/>
                    </a:lnTo>
                    <a:lnTo>
                      <a:pt x="66" y="225"/>
                    </a:lnTo>
                    <a:lnTo>
                      <a:pt x="66" y="225"/>
                    </a:lnTo>
                    <a:lnTo>
                      <a:pt x="66" y="227"/>
                    </a:lnTo>
                    <a:close/>
                    <a:moveTo>
                      <a:pt x="111" y="185"/>
                    </a:moveTo>
                    <a:lnTo>
                      <a:pt x="109" y="185"/>
                    </a:lnTo>
                    <a:lnTo>
                      <a:pt x="111" y="187"/>
                    </a:lnTo>
                    <a:lnTo>
                      <a:pt x="111" y="185"/>
                    </a:lnTo>
                    <a:lnTo>
                      <a:pt x="111" y="185"/>
                    </a:lnTo>
                    <a:lnTo>
                      <a:pt x="111" y="185"/>
                    </a:lnTo>
                    <a:close/>
                    <a:moveTo>
                      <a:pt x="106" y="175"/>
                    </a:moveTo>
                    <a:lnTo>
                      <a:pt x="104" y="175"/>
                    </a:lnTo>
                    <a:lnTo>
                      <a:pt x="104" y="175"/>
                    </a:lnTo>
                    <a:lnTo>
                      <a:pt x="104" y="175"/>
                    </a:lnTo>
                    <a:lnTo>
                      <a:pt x="104" y="178"/>
                    </a:lnTo>
                    <a:lnTo>
                      <a:pt x="106" y="178"/>
                    </a:lnTo>
                    <a:lnTo>
                      <a:pt x="106" y="178"/>
                    </a:lnTo>
                    <a:lnTo>
                      <a:pt x="106" y="178"/>
                    </a:lnTo>
                    <a:lnTo>
                      <a:pt x="106" y="178"/>
                    </a:lnTo>
                    <a:lnTo>
                      <a:pt x="106" y="178"/>
                    </a:lnTo>
                    <a:lnTo>
                      <a:pt x="106" y="175"/>
                    </a:lnTo>
                    <a:close/>
                    <a:moveTo>
                      <a:pt x="158" y="114"/>
                    </a:moveTo>
                    <a:lnTo>
                      <a:pt x="158" y="111"/>
                    </a:lnTo>
                    <a:lnTo>
                      <a:pt x="156" y="109"/>
                    </a:lnTo>
                    <a:lnTo>
                      <a:pt x="156" y="107"/>
                    </a:lnTo>
                    <a:lnTo>
                      <a:pt x="158" y="107"/>
                    </a:lnTo>
                    <a:lnTo>
                      <a:pt x="158" y="104"/>
                    </a:lnTo>
                    <a:lnTo>
                      <a:pt x="158" y="104"/>
                    </a:lnTo>
                    <a:lnTo>
                      <a:pt x="158" y="102"/>
                    </a:lnTo>
                    <a:lnTo>
                      <a:pt x="158" y="100"/>
                    </a:lnTo>
                    <a:lnTo>
                      <a:pt x="158" y="100"/>
                    </a:lnTo>
                    <a:lnTo>
                      <a:pt x="156" y="97"/>
                    </a:lnTo>
                    <a:lnTo>
                      <a:pt x="156" y="97"/>
                    </a:lnTo>
                    <a:lnTo>
                      <a:pt x="153" y="97"/>
                    </a:lnTo>
                    <a:lnTo>
                      <a:pt x="153" y="95"/>
                    </a:lnTo>
                    <a:lnTo>
                      <a:pt x="153" y="95"/>
                    </a:lnTo>
                    <a:lnTo>
                      <a:pt x="153" y="92"/>
                    </a:lnTo>
                    <a:lnTo>
                      <a:pt x="151" y="92"/>
                    </a:lnTo>
                    <a:lnTo>
                      <a:pt x="149" y="90"/>
                    </a:lnTo>
                    <a:lnTo>
                      <a:pt x="146" y="90"/>
                    </a:lnTo>
                    <a:lnTo>
                      <a:pt x="146" y="88"/>
                    </a:lnTo>
                    <a:lnTo>
                      <a:pt x="144" y="85"/>
                    </a:lnTo>
                    <a:lnTo>
                      <a:pt x="142" y="83"/>
                    </a:lnTo>
                    <a:lnTo>
                      <a:pt x="139" y="78"/>
                    </a:lnTo>
                    <a:lnTo>
                      <a:pt x="139" y="73"/>
                    </a:lnTo>
                    <a:lnTo>
                      <a:pt x="139" y="71"/>
                    </a:lnTo>
                    <a:lnTo>
                      <a:pt x="139" y="66"/>
                    </a:lnTo>
                    <a:lnTo>
                      <a:pt x="137" y="62"/>
                    </a:lnTo>
                    <a:lnTo>
                      <a:pt x="135" y="59"/>
                    </a:lnTo>
                    <a:lnTo>
                      <a:pt x="132" y="59"/>
                    </a:lnTo>
                    <a:lnTo>
                      <a:pt x="130" y="57"/>
                    </a:lnTo>
                    <a:lnTo>
                      <a:pt x="127" y="55"/>
                    </a:lnTo>
                    <a:lnTo>
                      <a:pt x="125" y="50"/>
                    </a:lnTo>
                    <a:lnTo>
                      <a:pt x="123" y="45"/>
                    </a:lnTo>
                    <a:lnTo>
                      <a:pt x="120" y="43"/>
                    </a:lnTo>
                    <a:lnTo>
                      <a:pt x="120" y="45"/>
                    </a:lnTo>
                    <a:lnTo>
                      <a:pt x="118" y="43"/>
                    </a:lnTo>
                    <a:lnTo>
                      <a:pt x="113" y="43"/>
                    </a:lnTo>
                    <a:lnTo>
                      <a:pt x="111" y="43"/>
                    </a:lnTo>
                    <a:lnTo>
                      <a:pt x="109" y="43"/>
                    </a:lnTo>
                    <a:lnTo>
                      <a:pt x="109" y="43"/>
                    </a:lnTo>
                    <a:lnTo>
                      <a:pt x="106" y="43"/>
                    </a:lnTo>
                    <a:lnTo>
                      <a:pt x="109" y="43"/>
                    </a:lnTo>
                    <a:lnTo>
                      <a:pt x="109" y="45"/>
                    </a:lnTo>
                    <a:lnTo>
                      <a:pt x="109" y="45"/>
                    </a:lnTo>
                    <a:lnTo>
                      <a:pt x="106" y="45"/>
                    </a:lnTo>
                    <a:lnTo>
                      <a:pt x="106" y="45"/>
                    </a:lnTo>
                    <a:lnTo>
                      <a:pt x="106" y="47"/>
                    </a:lnTo>
                    <a:lnTo>
                      <a:pt x="104" y="50"/>
                    </a:lnTo>
                    <a:lnTo>
                      <a:pt x="104" y="50"/>
                    </a:lnTo>
                    <a:lnTo>
                      <a:pt x="101" y="52"/>
                    </a:lnTo>
                    <a:lnTo>
                      <a:pt x="101" y="52"/>
                    </a:lnTo>
                    <a:lnTo>
                      <a:pt x="99" y="52"/>
                    </a:lnTo>
                    <a:lnTo>
                      <a:pt x="99" y="55"/>
                    </a:lnTo>
                    <a:lnTo>
                      <a:pt x="99" y="55"/>
                    </a:lnTo>
                    <a:lnTo>
                      <a:pt x="99" y="55"/>
                    </a:lnTo>
                    <a:lnTo>
                      <a:pt x="97" y="55"/>
                    </a:lnTo>
                    <a:lnTo>
                      <a:pt x="97" y="52"/>
                    </a:lnTo>
                    <a:lnTo>
                      <a:pt x="97" y="52"/>
                    </a:lnTo>
                    <a:lnTo>
                      <a:pt x="97" y="52"/>
                    </a:lnTo>
                    <a:lnTo>
                      <a:pt x="94" y="50"/>
                    </a:lnTo>
                    <a:lnTo>
                      <a:pt x="92" y="50"/>
                    </a:lnTo>
                    <a:lnTo>
                      <a:pt x="90" y="47"/>
                    </a:lnTo>
                    <a:lnTo>
                      <a:pt x="87" y="45"/>
                    </a:lnTo>
                    <a:lnTo>
                      <a:pt x="87" y="45"/>
                    </a:lnTo>
                    <a:lnTo>
                      <a:pt x="85" y="47"/>
                    </a:lnTo>
                    <a:lnTo>
                      <a:pt x="85" y="50"/>
                    </a:lnTo>
                    <a:lnTo>
                      <a:pt x="82" y="50"/>
                    </a:lnTo>
                    <a:lnTo>
                      <a:pt x="82" y="50"/>
                    </a:lnTo>
                    <a:lnTo>
                      <a:pt x="80" y="50"/>
                    </a:lnTo>
                    <a:lnTo>
                      <a:pt x="80" y="52"/>
                    </a:lnTo>
                    <a:lnTo>
                      <a:pt x="80" y="52"/>
                    </a:lnTo>
                    <a:lnTo>
                      <a:pt x="78" y="55"/>
                    </a:lnTo>
                    <a:lnTo>
                      <a:pt x="78" y="55"/>
                    </a:lnTo>
                    <a:lnTo>
                      <a:pt x="75" y="57"/>
                    </a:lnTo>
                    <a:lnTo>
                      <a:pt x="73" y="59"/>
                    </a:lnTo>
                    <a:lnTo>
                      <a:pt x="71" y="62"/>
                    </a:lnTo>
                    <a:lnTo>
                      <a:pt x="71" y="62"/>
                    </a:lnTo>
                    <a:lnTo>
                      <a:pt x="68" y="62"/>
                    </a:lnTo>
                    <a:lnTo>
                      <a:pt x="68" y="59"/>
                    </a:lnTo>
                    <a:lnTo>
                      <a:pt x="66" y="59"/>
                    </a:lnTo>
                    <a:lnTo>
                      <a:pt x="68" y="55"/>
                    </a:lnTo>
                    <a:lnTo>
                      <a:pt x="68" y="50"/>
                    </a:lnTo>
                    <a:lnTo>
                      <a:pt x="68" y="47"/>
                    </a:lnTo>
                    <a:lnTo>
                      <a:pt x="68" y="45"/>
                    </a:lnTo>
                    <a:lnTo>
                      <a:pt x="68" y="45"/>
                    </a:lnTo>
                    <a:lnTo>
                      <a:pt x="68" y="43"/>
                    </a:lnTo>
                    <a:lnTo>
                      <a:pt x="66" y="43"/>
                    </a:lnTo>
                    <a:lnTo>
                      <a:pt x="66" y="40"/>
                    </a:lnTo>
                    <a:lnTo>
                      <a:pt x="66" y="40"/>
                    </a:lnTo>
                    <a:lnTo>
                      <a:pt x="68" y="40"/>
                    </a:lnTo>
                    <a:lnTo>
                      <a:pt x="68" y="38"/>
                    </a:lnTo>
                    <a:lnTo>
                      <a:pt x="68" y="33"/>
                    </a:lnTo>
                    <a:lnTo>
                      <a:pt x="71" y="31"/>
                    </a:lnTo>
                    <a:lnTo>
                      <a:pt x="68" y="28"/>
                    </a:lnTo>
                    <a:lnTo>
                      <a:pt x="68" y="26"/>
                    </a:lnTo>
                    <a:lnTo>
                      <a:pt x="66" y="21"/>
                    </a:lnTo>
                    <a:lnTo>
                      <a:pt x="66" y="19"/>
                    </a:lnTo>
                    <a:lnTo>
                      <a:pt x="66" y="17"/>
                    </a:lnTo>
                    <a:lnTo>
                      <a:pt x="66" y="17"/>
                    </a:lnTo>
                    <a:lnTo>
                      <a:pt x="61" y="17"/>
                    </a:lnTo>
                    <a:lnTo>
                      <a:pt x="61" y="17"/>
                    </a:lnTo>
                    <a:lnTo>
                      <a:pt x="59" y="17"/>
                    </a:lnTo>
                    <a:lnTo>
                      <a:pt x="59" y="19"/>
                    </a:lnTo>
                    <a:lnTo>
                      <a:pt x="59" y="19"/>
                    </a:lnTo>
                    <a:lnTo>
                      <a:pt x="56" y="19"/>
                    </a:lnTo>
                    <a:lnTo>
                      <a:pt x="54" y="17"/>
                    </a:lnTo>
                    <a:lnTo>
                      <a:pt x="52" y="17"/>
                    </a:lnTo>
                    <a:lnTo>
                      <a:pt x="52" y="14"/>
                    </a:lnTo>
                    <a:lnTo>
                      <a:pt x="52" y="10"/>
                    </a:lnTo>
                    <a:lnTo>
                      <a:pt x="52" y="7"/>
                    </a:lnTo>
                    <a:lnTo>
                      <a:pt x="52" y="7"/>
                    </a:lnTo>
                    <a:lnTo>
                      <a:pt x="52" y="5"/>
                    </a:lnTo>
                    <a:lnTo>
                      <a:pt x="52" y="5"/>
                    </a:lnTo>
                    <a:lnTo>
                      <a:pt x="52" y="5"/>
                    </a:lnTo>
                    <a:lnTo>
                      <a:pt x="49" y="2"/>
                    </a:lnTo>
                    <a:lnTo>
                      <a:pt x="49" y="0"/>
                    </a:lnTo>
                    <a:lnTo>
                      <a:pt x="47" y="0"/>
                    </a:lnTo>
                    <a:lnTo>
                      <a:pt x="47" y="0"/>
                    </a:lnTo>
                    <a:lnTo>
                      <a:pt x="47" y="0"/>
                    </a:lnTo>
                    <a:lnTo>
                      <a:pt x="45" y="2"/>
                    </a:lnTo>
                    <a:lnTo>
                      <a:pt x="45" y="2"/>
                    </a:lnTo>
                    <a:lnTo>
                      <a:pt x="45" y="2"/>
                    </a:lnTo>
                    <a:lnTo>
                      <a:pt x="45" y="2"/>
                    </a:lnTo>
                    <a:lnTo>
                      <a:pt x="42" y="0"/>
                    </a:lnTo>
                    <a:lnTo>
                      <a:pt x="40" y="0"/>
                    </a:lnTo>
                    <a:lnTo>
                      <a:pt x="40" y="0"/>
                    </a:lnTo>
                    <a:lnTo>
                      <a:pt x="40" y="0"/>
                    </a:lnTo>
                    <a:lnTo>
                      <a:pt x="38" y="0"/>
                    </a:lnTo>
                    <a:lnTo>
                      <a:pt x="38" y="2"/>
                    </a:lnTo>
                    <a:lnTo>
                      <a:pt x="35" y="2"/>
                    </a:lnTo>
                    <a:lnTo>
                      <a:pt x="33" y="0"/>
                    </a:lnTo>
                    <a:lnTo>
                      <a:pt x="33" y="0"/>
                    </a:lnTo>
                    <a:lnTo>
                      <a:pt x="33" y="0"/>
                    </a:lnTo>
                    <a:lnTo>
                      <a:pt x="33" y="2"/>
                    </a:lnTo>
                    <a:lnTo>
                      <a:pt x="33" y="5"/>
                    </a:lnTo>
                    <a:lnTo>
                      <a:pt x="33" y="5"/>
                    </a:lnTo>
                    <a:lnTo>
                      <a:pt x="33" y="5"/>
                    </a:lnTo>
                    <a:lnTo>
                      <a:pt x="33" y="7"/>
                    </a:lnTo>
                    <a:lnTo>
                      <a:pt x="30" y="7"/>
                    </a:lnTo>
                    <a:lnTo>
                      <a:pt x="30" y="7"/>
                    </a:lnTo>
                    <a:lnTo>
                      <a:pt x="28" y="5"/>
                    </a:lnTo>
                    <a:lnTo>
                      <a:pt x="26" y="5"/>
                    </a:lnTo>
                    <a:lnTo>
                      <a:pt x="26" y="7"/>
                    </a:lnTo>
                    <a:lnTo>
                      <a:pt x="26" y="7"/>
                    </a:lnTo>
                    <a:lnTo>
                      <a:pt x="26" y="7"/>
                    </a:lnTo>
                    <a:lnTo>
                      <a:pt x="26" y="12"/>
                    </a:lnTo>
                    <a:lnTo>
                      <a:pt x="23" y="12"/>
                    </a:lnTo>
                    <a:lnTo>
                      <a:pt x="23" y="12"/>
                    </a:lnTo>
                    <a:lnTo>
                      <a:pt x="23" y="14"/>
                    </a:lnTo>
                    <a:lnTo>
                      <a:pt x="21" y="12"/>
                    </a:lnTo>
                    <a:lnTo>
                      <a:pt x="21" y="14"/>
                    </a:lnTo>
                    <a:lnTo>
                      <a:pt x="16" y="14"/>
                    </a:lnTo>
                    <a:lnTo>
                      <a:pt x="16" y="14"/>
                    </a:lnTo>
                    <a:lnTo>
                      <a:pt x="14" y="14"/>
                    </a:lnTo>
                    <a:lnTo>
                      <a:pt x="12" y="14"/>
                    </a:lnTo>
                    <a:lnTo>
                      <a:pt x="12" y="14"/>
                    </a:lnTo>
                    <a:lnTo>
                      <a:pt x="9" y="14"/>
                    </a:lnTo>
                    <a:lnTo>
                      <a:pt x="7" y="14"/>
                    </a:lnTo>
                    <a:lnTo>
                      <a:pt x="7" y="14"/>
                    </a:lnTo>
                    <a:lnTo>
                      <a:pt x="7" y="17"/>
                    </a:lnTo>
                    <a:lnTo>
                      <a:pt x="7" y="17"/>
                    </a:lnTo>
                    <a:lnTo>
                      <a:pt x="4" y="19"/>
                    </a:lnTo>
                    <a:lnTo>
                      <a:pt x="4" y="24"/>
                    </a:lnTo>
                    <a:lnTo>
                      <a:pt x="4" y="26"/>
                    </a:lnTo>
                    <a:lnTo>
                      <a:pt x="4" y="28"/>
                    </a:lnTo>
                    <a:lnTo>
                      <a:pt x="4" y="31"/>
                    </a:lnTo>
                    <a:lnTo>
                      <a:pt x="7" y="38"/>
                    </a:lnTo>
                    <a:lnTo>
                      <a:pt x="4" y="38"/>
                    </a:lnTo>
                    <a:lnTo>
                      <a:pt x="4" y="38"/>
                    </a:lnTo>
                    <a:lnTo>
                      <a:pt x="4" y="38"/>
                    </a:lnTo>
                    <a:lnTo>
                      <a:pt x="2" y="40"/>
                    </a:lnTo>
                    <a:lnTo>
                      <a:pt x="2" y="40"/>
                    </a:lnTo>
                    <a:lnTo>
                      <a:pt x="2" y="40"/>
                    </a:lnTo>
                    <a:lnTo>
                      <a:pt x="0" y="40"/>
                    </a:lnTo>
                    <a:lnTo>
                      <a:pt x="0" y="40"/>
                    </a:lnTo>
                    <a:lnTo>
                      <a:pt x="0" y="40"/>
                    </a:lnTo>
                    <a:lnTo>
                      <a:pt x="0" y="43"/>
                    </a:lnTo>
                    <a:lnTo>
                      <a:pt x="2" y="45"/>
                    </a:lnTo>
                    <a:lnTo>
                      <a:pt x="4" y="45"/>
                    </a:lnTo>
                    <a:lnTo>
                      <a:pt x="4" y="45"/>
                    </a:lnTo>
                    <a:lnTo>
                      <a:pt x="4" y="45"/>
                    </a:lnTo>
                    <a:lnTo>
                      <a:pt x="4" y="47"/>
                    </a:lnTo>
                    <a:lnTo>
                      <a:pt x="7" y="50"/>
                    </a:lnTo>
                    <a:lnTo>
                      <a:pt x="7" y="52"/>
                    </a:lnTo>
                    <a:lnTo>
                      <a:pt x="7" y="55"/>
                    </a:lnTo>
                    <a:lnTo>
                      <a:pt x="7" y="55"/>
                    </a:lnTo>
                    <a:lnTo>
                      <a:pt x="7" y="55"/>
                    </a:lnTo>
                    <a:lnTo>
                      <a:pt x="9" y="57"/>
                    </a:lnTo>
                    <a:lnTo>
                      <a:pt x="12" y="59"/>
                    </a:lnTo>
                    <a:lnTo>
                      <a:pt x="14" y="64"/>
                    </a:lnTo>
                    <a:lnTo>
                      <a:pt x="16" y="66"/>
                    </a:lnTo>
                    <a:lnTo>
                      <a:pt x="19" y="69"/>
                    </a:lnTo>
                    <a:lnTo>
                      <a:pt x="23" y="71"/>
                    </a:lnTo>
                    <a:lnTo>
                      <a:pt x="23" y="73"/>
                    </a:lnTo>
                    <a:lnTo>
                      <a:pt x="23" y="78"/>
                    </a:lnTo>
                    <a:lnTo>
                      <a:pt x="26" y="78"/>
                    </a:lnTo>
                    <a:lnTo>
                      <a:pt x="26" y="81"/>
                    </a:lnTo>
                    <a:lnTo>
                      <a:pt x="26" y="83"/>
                    </a:lnTo>
                    <a:lnTo>
                      <a:pt x="28" y="85"/>
                    </a:lnTo>
                    <a:lnTo>
                      <a:pt x="28" y="85"/>
                    </a:lnTo>
                    <a:lnTo>
                      <a:pt x="30" y="83"/>
                    </a:lnTo>
                    <a:lnTo>
                      <a:pt x="33" y="85"/>
                    </a:lnTo>
                    <a:lnTo>
                      <a:pt x="33" y="85"/>
                    </a:lnTo>
                    <a:lnTo>
                      <a:pt x="33" y="88"/>
                    </a:lnTo>
                    <a:lnTo>
                      <a:pt x="33" y="88"/>
                    </a:lnTo>
                    <a:lnTo>
                      <a:pt x="30" y="90"/>
                    </a:lnTo>
                    <a:lnTo>
                      <a:pt x="28" y="92"/>
                    </a:lnTo>
                    <a:lnTo>
                      <a:pt x="28" y="95"/>
                    </a:lnTo>
                    <a:lnTo>
                      <a:pt x="28" y="97"/>
                    </a:lnTo>
                    <a:lnTo>
                      <a:pt x="28" y="102"/>
                    </a:lnTo>
                    <a:lnTo>
                      <a:pt x="28" y="107"/>
                    </a:lnTo>
                    <a:lnTo>
                      <a:pt x="28" y="107"/>
                    </a:lnTo>
                    <a:lnTo>
                      <a:pt x="28" y="107"/>
                    </a:lnTo>
                    <a:lnTo>
                      <a:pt x="26" y="107"/>
                    </a:lnTo>
                    <a:lnTo>
                      <a:pt x="26" y="109"/>
                    </a:lnTo>
                    <a:lnTo>
                      <a:pt x="23" y="109"/>
                    </a:lnTo>
                    <a:lnTo>
                      <a:pt x="23" y="109"/>
                    </a:lnTo>
                    <a:lnTo>
                      <a:pt x="21" y="109"/>
                    </a:lnTo>
                    <a:lnTo>
                      <a:pt x="21" y="111"/>
                    </a:lnTo>
                    <a:lnTo>
                      <a:pt x="23" y="114"/>
                    </a:lnTo>
                    <a:lnTo>
                      <a:pt x="23" y="118"/>
                    </a:lnTo>
                    <a:lnTo>
                      <a:pt x="26" y="121"/>
                    </a:lnTo>
                    <a:lnTo>
                      <a:pt x="28" y="123"/>
                    </a:lnTo>
                    <a:lnTo>
                      <a:pt x="30" y="126"/>
                    </a:lnTo>
                    <a:lnTo>
                      <a:pt x="30" y="128"/>
                    </a:lnTo>
                    <a:lnTo>
                      <a:pt x="35" y="130"/>
                    </a:lnTo>
                    <a:lnTo>
                      <a:pt x="38" y="135"/>
                    </a:lnTo>
                    <a:lnTo>
                      <a:pt x="40" y="137"/>
                    </a:lnTo>
                    <a:lnTo>
                      <a:pt x="42" y="140"/>
                    </a:lnTo>
                    <a:lnTo>
                      <a:pt x="42" y="142"/>
                    </a:lnTo>
                    <a:lnTo>
                      <a:pt x="42" y="145"/>
                    </a:lnTo>
                    <a:lnTo>
                      <a:pt x="45" y="147"/>
                    </a:lnTo>
                    <a:lnTo>
                      <a:pt x="45" y="152"/>
                    </a:lnTo>
                    <a:lnTo>
                      <a:pt x="45" y="152"/>
                    </a:lnTo>
                    <a:lnTo>
                      <a:pt x="42" y="154"/>
                    </a:lnTo>
                    <a:lnTo>
                      <a:pt x="45" y="156"/>
                    </a:lnTo>
                    <a:lnTo>
                      <a:pt x="45" y="156"/>
                    </a:lnTo>
                    <a:lnTo>
                      <a:pt x="45" y="159"/>
                    </a:lnTo>
                    <a:lnTo>
                      <a:pt x="47" y="161"/>
                    </a:lnTo>
                    <a:lnTo>
                      <a:pt x="47" y="163"/>
                    </a:lnTo>
                    <a:lnTo>
                      <a:pt x="49" y="166"/>
                    </a:lnTo>
                    <a:lnTo>
                      <a:pt x="49" y="166"/>
                    </a:lnTo>
                    <a:lnTo>
                      <a:pt x="49" y="168"/>
                    </a:lnTo>
                    <a:lnTo>
                      <a:pt x="49" y="168"/>
                    </a:lnTo>
                    <a:lnTo>
                      <a:pt x="52" y="171"/>
                    </a:lnTo>
                    <a:lnTo>
                      <a:pt x="52" y="173"/>
                    </a:lnTo>
                    <a:lnTo>
                      <a:pt x="54" y="175"/>
                    </a:lnTo>
                    <a:lnTo>
                      <a:pt x="54" y="182"/>
                    </a:lnTo>
                    <a:lnTo>
                      <a:pt x="54" y="182"/>
                    </a:lnTo>
                    <a:lnTo>
                      <a:pt x="54" y="185"/>
                    </a:lnTo>
                    <a:lnTo>
                      <a:pt x="54" y="185"/>
                    </a:lnTo>
                    <a:lnTo>
                      <a:pt x="52" y="185"/>
                    </a:lnTo>
                    <a:lnTo>
                      <a:pt x="52" y="187"/>
                    </a:lnTo>
                    <a:lnTo>
                      <a:pt x="52" y="190"/>
                    </a:lnTo>
                    <a:lnTo>
                      <a:pt x="49" y="197"/>
                    </a:lnTo>
                    <a:lnTo>
                      <a:pt x="45" y="201"/>
                    </a:lnTo>
                    <a:lnTo>
                      <a:pt x="42" y="204"/>
                    </a:lnTo>
                    <a:lnTo>
                      <a:pt x="42" y="204"/>
                    </a:lnTo>
                    <a:lnTo>
                      <a:pt x="40" y="206"/>
                    </a:lnTo>
                    <a:lnTo>
                      <a:pt x="40" y="206"/>
                    </a:lnTo>
                    <a:lnTo>
                      <a:pt x="42" y="208"/>
                    </a:lnTo>
                    <a:lnTo>
                      <a:pt x="42" y="211"/>
                    </a:lnTo>
                    <a:lnTo>
                      <a:pt x="42" y="213"/>
                    </a:lnTo>
                    <a:lnTo>
                      <a:pt x="40" y="213"/>
                    </a:lnTo>
                    <a:lnTo>
                      <a:pt x="40" y="216"/>
                    </a:lnTo>
                    <a:lnTo>
                      <a:pt x="38" y="223"/>
                    </a:lnTo>
                    <a:lnTo>
                      <a:pt x="38" y="230"/>
                    </a:lnTo>
                    <a:lnTo>
                      <a:pt x="38" y="230"/>
                    </a:lnTo>
                    <a:lnTo>
                      <a:pt x="35" y="234"/>
                    </a:lnTo>
                    <a:lnTo>
                      <a:pt x="35" y="242"/>
                    </a:lnTo>
                    <a:lnTo>
                      <a:pt x="33" y="246"/>
                    </a:lnTo>
                    <a:lnTo>
                      <a:pt x="33" y="251"/>
                    </a:lnTo>
                    <a:lnTo>
                      <a:pt x="35" y="253"/>
                    </a:lnTo>
                    <a:lnTo>
                      <a:pt x="35" y="258"/>
                    </a:lnTo>
                    <a:lnTo>
                      <a:pt x="38" y="258"/>
                    </a:lnTo>
                    <a:lnTo>
                      <a:pt x="38" y="258"/>
                    </a:lnTo>
                    <a:lnTo>
                      <a:pt x="40" y="256"/>
                    </a:lnTo>
                    <a:lnTo>
                      <a:pt x="40" y="256"/>
                    </a:lnTo>
                    <a:lnTo>
                      <a:pt x="40" y="256"/>
                    </a:lnTo>
                    <a:lnTo>
                      <a:pt x="42" y="256"/>
                    </a:lnTo>
                    <a:lnTo>
                      <a:pt x="42" y="256"/>
                    </a:lnTo>
                    <a:lnTo>
                      <a:pt x="45" y="261"/>
                    </a:lnTo>
                    <a:lnTo>
                      <a:pt x="47" y="261"/>
                    </a:lnTo>
                    <a:lnTo>
                      <a:pt x="49" y="263"/>
                    </a:lnTo>
                    <a:lnTo>
                      <a:pt x="49" y="265"/>
                    </a:lnTo>
                    <a:lnTo>
                      <a:pt x="49" y="268"/>
                    </a:lnTo>
                    <a:lnTo>
                      <a:pt x="52" y="268"/>
                    </a:lnTo>
                    <a:lnTo>
                      <a:pt x="52" y="268"/>
                    </a:lnTo>
                    <a:lnTo>
                      <a:pt x="54" y="270"/>
                    </a:lnTo>
                    <a:lnTo>
                      <a:pt x="54" y="272"/>
                    </a:lnTo>
                    <a:lnTo>
                      <a:pt x="56" y="275"/>
                    </a:lnTo>
                    <a:lnTo>
                      <a:pt x="59" y="277"/>
                    </a:lnTo>
                    <a:lnTo>
                      <a:pt x="59" y="277"/>
                    </a:lnTo>
                    <a:lnTo>
                      <a:pt x="61" y="275"/>
                    </a:lnTo>
                    <a:lnTo>
                      <a:pt x="59" y="279"/>
                    </a:lnTo>
                    <a:lnTo>
                      <a:pt x="61" y="279"/>
                    </a:lnTo>
                    <a:lnTo>
                      <a:pt x="61" y="279"/>
                    </a:lnTo>
                    <a:lnTo>
                      <a:pt x="64" y="282"/>
                    </a:lnTo>
                    <a:lnTo>
                      <a:pt x="64" y="287"/>
                    </a:lnTo>
                    <a:lnTo>
                      <a:pt x="66" y="289"/>
                    </a:lnTo>
                    <a:lnTo>
                      <a:pt x="71" y="296"/>
                    </a:lnTo>
                    <a:lnTo>
                      <a:pt x="71" y="294"/>
                    </a:lnTo>
                    <a:lnTo>
                      <a:pt x="73" y="291"/>
                    </a:lnTo>
                    <a:lnTo>
                      <a:pt x="73" y="289"/>
                    </a:lnTo>
                    <a:lnTo>
                      <a:pt x="73" y="289"/>
                    </a:lnTo>
                    <a:lnTo>
                      <a:pt x="73" y="289"/>
                    </a:lnTo>
                    <a:lnTo>
                      <a:pt x="75" y="294"/>
                    </a:lnTo>
                    <a:lnTo>
                      <a:pt x="80" y="294"/>
                    </a:lnTo>
                    <a:lnTo>
                      <a:pt x="80" y="294"/>
                    </a:lnTo>
                    <a:lnTo>
                      <a:pt x="82" y="294"/>
                    </a:lnTo>
                    <a:lnTo>
                      <a:pt x="82" y="294"/>
                    </a:lnTo>
                    <a:lnTo>
                      <a:pt x="85" y="296"/>
                    </a:lnTo>
                    <a:lnTo>
                      <a:pt x="85" y="296"/>
                    </a:lnTo>
                    <a:lnTo>
                      <a:pt x="85" y="298"/>
                    </a:lnTo>
                    <a:lnTo>
                      <a:pt x="87" y="298"/>
                    </a:lnTo>
                    <a:lnTo>
                      <a:pt x="90" y="298"/>
                    </a:lnTo>
                    <a:lnTo>
                      <a:pt x="90" y="298"/>
                    </a:lnTo>
                    <a:lnTo>
                      <a:pt x="90" y="301"/>
                    </a:lnTo>
                    <a:lnTo>
                      <a:pt x="90" y="303"/>
                    </a:lnTo>
                    <a:lnTo>
                      <a:pt x="90" y="306"/>
                    </a:lnTo>
                    <a:lnTo>
                      <a:pt x="87" y="308"/>
                    </a:lnTo>
                    <a:lnTo>
                      <a:pt x="87" y="310"/>
                    </a:lnTo>
                    <a:lnTo>
                      <a:pt x="90" y="310"/>
                    </a:lnTo>
                    <a:lnTo>
                      <a:pt x="90" y="310"/>
                    </a:lnTo>
                    <a:lnTo>
                      <a:pt x="90" y="313"/>
                    </a:lnTo>
                    <a:lnTo>
                      <a:pt x="92" y="313"/>
                    </a:lnTo>
                    <a:lnTo>
                      <a:pt x="92" y="310"/>
                    </a:lnTo>
                    <a:lnTo>
                      <a:pt x="92" y="310"/>
                    </a:lnTo>
                    <a:lnTo>
                      <a:pt x="92" y="308"/>
                    </a:lnTo>
                    <a:lnTo>
                      <a:pt x="97" y="308"/>
                    </a:lnTo>
                    <a:lnTo>
                      <a:pt x="99" y="306"/>
                    </a:lnTo>
                    <a:lnTo>
                      <a:pt x="99" y="306"/>
                    </a:lnTo>
                    <a:lnTo>
                      <a:pt x="99" y="308"/>
                    </a:lnTo>
                    <a:lnTo>
                      <a:pt x="101" y="308"/>
                    </a:lnTo>
                    <a:lnTo>
                      <a:pt x="101" y="308"/>
                    </a:lnTo>
                    <a:lnTo>
                      <a:pt x="101" y="310"/>
                    </a:lnTo>
                    <a:lnTo>
                      <a:pt x="104" y="308"/>
                    </a:lnTo>
                    <a:lnTo>
                      <a:pt x="104" y="308"/>
                    </a:lnTo>
                    <a:lnTo>
                      <a:pt x="106" y="306"/>
                    </a:lnTo>
                    <a:lnTo>
                      <a:pt x="106" y="306"/>
                    </a:lnTo>
                    <a:lnTo>
                      <a:pt x="109" y="303"/>
                    </a:lnTo>
                    <a:lnTo>
                      <a:pt x="109" y="301"/>
                    </a:lnTo>
                    <a:lnTo>
                      <a:pt x="109" y="298"/>
                    </a:lnTo>
                    <a:lnTo>
                      <a:pt x="101" y="294"/>
                    </a:lnTo>
                    <a:lnTo>
                      <a:pt x="99" y="289"/>
                    </a:lnTo>
                    <a:lnTo>
                      <a:pt x="97" y="287"/>
                    </a:lnTo>
                    <a:lnTo>
                      <a:pt x="94" y="284"/>
                    </a:lnTo>
                    <a:lnTo>
                      <a:pt x="92" y="284"/>
                    </a:lnTo>
                    <a:lnTo>
                      <a:pt x="90" y="287"/>
                    </a:lnTo>
                    <a:lnTo>
                      <a:pt x="87" y="287"/>
                    </a:lnTo>
                    <a:lnTo>
                      <a:pt x="82" y="284"/>
                    </a:lnTo>
                    <a:lnTo>
                      <a:pt x="82" y="282"/>
                    </a:lnTo>
                    <a:lnTo>
                      <a:pt x="80" y="279"/>
                    </a:lnTo>
                    <a:lnTo>
                      <a:pt x="78" y="279"/>
                    </a:lnTo>
                    <a:lnTo>
                      <a:pt x="75" y="279"/>
                    </a:lnTo>
                    <a:lnTo>
                      <a:pt x="75" y="277"/>
                    </a:lnTo>
                    <a:lnTo>
                      <a:pt x="71" y="272"/>
                    </a:lnTo>
                    <a:lnTo>
                      <a:pt x="71" y="270"/>
                    </a:lnTo>
                    <a:lnTo>
                      <a:pt x="71" y="268"/>
                    </a:lnTo>
                    <a:lnTo>
                      <a:pt x="73" y="268"/>
                    </a:lnTo>
                    <a:lnTo>
                      <a:pt x="73" y="268"/>
                    </a:lnTo>
                    <a:lnTo>
                      <a:pt x="73" y="270"/>
                    </a:lnTo>
                    <a:lnTo>
                      <a:pt x="73" y="270"/>
                    </a:lnTo>
                    <a:lnTo>
                      <a:pt x="73" y="272"/>
                    </a:lnTo>
                    <a:lnTo>
                      <a:pt x="75" y="272"/>
                    </a:lnTo>
                    <a:lnTo>
                      <a:pt x="75" y="272"/>
                    </a:lnTo>
                    <a:lnTo>
                      <a:pt x="75" y="272"/>
                    </a:lnTo>
                    <a:lnTo>
                      <a:pt x="75" y="277"/>
                    </a:lnTo>
                    <a:lnTo>
                      <a:pt x="78" y="279"/>
                    </a:lnTo>
                    <a:lnTo>
                      <a:pt x="78" y="277"/>
                    </a:lnTo>
                    <a:lnTo>
                      <a:pt x="75" y="275"/>
                    </a:lnTo>
                    <a:lnTo>
                      <a:pt x="73" y="256"/>
                    </a:lnTo>
                    <a:lnTo>
                      <a:pt x="71" y="253"/>
                    </a:lnTo>
                    <a:lnTo>
                      <a:pt x="71" y="251"/>
                    </a:lnTo>
                    <a:lnTo>
                      <a:pt x="71" y="251"/>
                    </a:lnTo>
                    <a:lnTo>
                      <a:pt x="71" y="253"/>
                    </a:lnTo>
                    <a:lnTo>
                      <a:pt x="68" y="253"/>
                    </a:lnTo>
                    <a:lnTo>
                      <a:pt x="68" y="251"/>
                    </a:lnTo>
                    <a:lnTo>
                      <a:pt x="66" y="249"/>
                    </a:lnTo>
                    <a:lnTo>
                      <a:pt x="66" y="249"/>
                    </a:lnTo>
                    <a:lnTo>
                      <a:pt x="64" y="239"/>
                    </a:lnTo>
                    <a:lnTo>
                      <a:pt x="64" y="237"/>
                    </a:lnTo>
                    <a:lnTo>
                      <a:pt x="64" y="234"/>
                    </a:lnTo>
                    <a:lnTo>
                      <a:pt x="61" y="234"/>
                    </a:lnTo>
                    <a:lnTo>
                      <a:pt x="54" y="237"/>
                    </a:lnTo>
                    <a:lnTo>
                      <a:pt x="54" y="237"/>
                    </a:lnTo>
                    <a:lnTo>
                      <a:pt x="52" y="234"/>
                    </a:lnTo>
                    <a:lnTo>
                      <a:pt x="52" y="234"/>
                    </a:lnTo>
                    <a:lnTo>
                      <a:pt x="52" y="232"/>
                    </a:lnTo>
                    <a:lnTo>
                      <a:pt x="49" y="227"/>
                    </a:lnTo>
                    <a:lnTo>
                      <a:pt x="49" y="225"/>
                    </a:lnTo>
                    <a:lnTo>
                      <a:pt x="49" y="220"/>
                    </a:lnTo>
                    <a:lnTo>
                      <a:pt x="49" y="216"/>
                    </a:lnTo>
                    <a:lnTo>
                      <a:pt x="49" y="213"/>
                    </a:lnTo>
                    <a:lnTo>
                      <a:pt x="49" y="213"/>
                    </a:lnTo>
                    <a:lnTo>
                      <a:pt x="49" y="211"/>
                    </a:lnTo>
                    <a:lnTo>
                      <a:pt x="52" y="208"/>
                    </a:lnTo>
                    <a:lnTo>
                      <a:pt x="54" y="201"/>
                    </a:lnTo>
                    <a:lnTo>
                      <a:pt x="54" y="197"/>
                    </a:lnTo>
                    <a:lnTo>
                      <a:pt x="54" y="194"/>
                    </a:lnTo>
                    <a:lnTo>
                      <a:pt x="56" y="190"/>
                    </a:lnTo>
                    <a:lnTo>
                      <a:pt x="56" y="185"/>
                    </a:lnTo>
                    <a:lnTo>
                      <a:pt x="59" y="182"/>
                    </a:lnTo>
                    <a:lnTo>
                      <a:pt x="59" y="178"/>
                    </a:lnTo>
                    <a:lnTo>
                      <a:pt x="61" y="175"/>
                    </a:lnTo>
                    <a:lnTo>
                      <a:pt x="61" y="173"/>
                    </a:lnTo>
                    <a:lnTo>
                      <a:pt x="61" y="171"/>
                    </a:lnTo>
                    <a:lnTo>
                      <a:pt x="61" y="163"/>
                    </a:lnTo>
                    <a:lnTo>
                      <a:pt x="61" y="161"/>
                    </a:lnTo>
                    <a:lnTo>
                      <a:pt x="61" y="156"/>
                    </a:lnTo>
                    <a:lnTo>
                      <a:pt x="61" y="152"/>
                    </a:lnTo>
                    <a:lnTo>
                      <a:pt x="59" y="152"/>
                    </a:lnTo>
                    <a:lnTo>
                      <a:pt x="59" y="149"/>
                    </a:lnTo>
                    <a:lnTo>
                      <a:pt x="61" y="147"/>
                    </a:lnTo>
                    <a:lnTo>
                      <a:pt x="64" y="147"/>
                    </a:lnTo>
                    <a:lnTo>
                      <a:pt x="68" y="145"/>
                    </a:lnTo>
                    <a:lnTo>
                      <a:pt x="71" y="145"/>
                    </a:lnTo>
                    <a:lnTo>
                      <a:pt x="71" y="145"/>
                    </a:lnTo>
                    <a:lnTo>
                      <a:pt x="75" y="147"/>
                    </a:lnTo>
                    <a:lnTo>
                      <a:pt x="78" y="147"/>
                    </a:lnTo>
                    <a:lnTo>
                      <a:pt x="78" y="149"/>
                    </a:lnTo>
                    <a:lnTo>
                      <a:pt x="78" y="149"/>
                    </a:lnTo>
                    <a:lnTo>
                      <a:pt x="78" y="152"/>
                    </a:lnTo>
                    <a:lnTo>
                      <a:pt x="78" y="156"/>
                    </a:lnTo>
                    <a:lnTo>
                      <a:pt x="78" y="161"/>
                    </a:lnTo>
                    <a:lnTo>
                      <a:pt x="78" y="163"/>
                    </a:lnTo>
                    <a:lnTo>
                      <a:pt x="78" y="163"/>
                    </a:lnTo>
                    <a:lnTo>
                      <a:pt x="78" y="163"/>
                    </a:lnTo>
                    <a:lnTo>
                      <a:pt x="80" y="163"/>
                    </a:lnTo>
                    <a:lnTo>
                      <a:pt x="87" y="163"/>
                    </a:lnTo>
                    <a:lnTo>
                      <a:pt x="92" y="163"/>
                    </a:lnTo>
                    <a:lnTo>
                      <a:pt x="94" y="163"/>
                    </a:lnTo>
                    <a:lnTo>
                      <a:pt x="97" y="166"/>
                    </a:lnTo>
                    <a:lnTo>
                      <a:pt x="97" y="166"/>
                    </a:lnTo>
                    <a:lnTo>
                      <a:pt x="99" y="166"/>
                    </a:lnTo>
                    <a:lnTo>
                      <a:pt x="101" y="168"/>
                    </a:lnTo>
                    <a:lnTo>
                      <a:pt x="104" y="171"/>
                    </a:lnTo>
                    <a:lnTo>
                      <a:pt x="104" y="171"/>
                    </a:lnTo>
                    <a:lnTo>
                      <a:pt x="104" y="168"/>
                    </a:lnTo>
                    <a:lnTo>
                      <a:pt x="104" y="173"/>
                    </a:lnTo>
                    <a:lnTo>
                      <a:pt x="106" y="173"/>
                    </a:lnTo>
                    <a:lnTo>
                      <a:pt x="109" y="175"/>
                    </a:lnTo>
                    <a:lnTo>
                      <a:pt x="109" y="173"/>
                    </a:lnTo>
                    <a:lnTo>
                      <a:pt x="109" y="173"/>
                    </a:lnTo>
                    <a:lnTo>
                      <a:pt x="111" y="175"/>
                    </a:lnTo>
                    <a:lnTo>
                      <a:pt x="113" y="178"/>
                    </a:lnTo>
                    <a:lnTo>
                      <a:pt x="113" y="180"/>
                    </a:lnTo>
                    <a:lnTo>
                      <a:pt x="116" y="182"/>
                    </a:lnTo>
                    <a:lnTo>
                      <a:pt x="116" y="185"/>
                    </a:lnTo>
                    <a:lnTo>
                      <a:pt x="118" y="185"/>
                    </a:lnTo>
                    <a:lnTo>
                      <a:pt x="116" y="182"/>
                    </a:lnTo>
                    <a:lnTo>
                      <a:pt x="113" y="175"/>
                    </a:lnTo>
                    <a:lnTo>
                      <a:pt x="111" y="173"/>
                    </a:lnTo>
                    <a:lnTo>
                      <a:pt x="111" y="168"/>
                    </a:lnTo>
                    <a:lnTo>
                      <a:pt x="113" y="168"/>
                    </a:lnTo>
                    <a:lnTo>
                      <a:pt x="111" y="166"/>
                    </a:lnTo>
                    <a:lnTo>
                      <a:pt x="109" y="166"/>
                    </a:lnTo>
                    <a:lnTo>
                      <a:pt x="106" y="163"/>
                    </a:lnTo>
                    <a:lnTo>
                      <a:pt x="106" y="159"/>
                    </a:lnTo>
                    <a:lnTo>
                      <a:pt x="106" y="156"/>
                    </a:lnTo>
                    <a:lnTo>
                      <a:pt x="104" y="154"/>
                    </a:lnTo>
                    <a:lnTo>
                      <a:pt x="104" y="152"/>
                    </a:lnTo>
                    <a:lnTo>
                      <a:pt x="104" y="149"/>
                    </a:lnTo>
                    <a:lnTo>
                      <a:pt x="101" y="145"/>
                    </a:lnTo>
                    <a:lnTo>
                      <a:pt x="101" y="145"/>
                    </a:lnTo>
                    <a:lnTo>
                      <a:pt x="104" y="145"/>
                    </a:lnTo>
                    <a:lnTo>
                      <a:pt x="106" y="145"/>
                    </a:lnTo>
                    <a:lnTo>
                      <a:pt x="106" y="142"/>
                    </a:lnTo>
                    <a:lnTo>
                      <a:pt x="106" y="142"/>
                    </a:lnTo>
                    <a:lnTo>
                      <a:pt x="106" y="142"/>
                    </a:lnTo>
                    <a:lnTo>
                      <a:pt x="109" y="137"/>
                    </a:lnTo>
                    <a:lnTo>
                      <a:pt x="111" y="135"/>
                    </a:lnTo>
                    <a:lnTo>
                      <a:pt x="111" y="135"/>
                    </a:lnTo>
                    <a:lnTo>
                      <a:pt x="111" y="133"/>
                    </a:lnTo>
                    <a:lnTo>
                      <a:pt x="113" y="130"/>
                    </a:lnTo>
                    <a:lnTo>
                      <a:pt x="116" y="128"/>
                    </a:lnTo>
                    <a:lnTo>
                      <a:pt x="118" y="128"/>
                    </a:lnTo>
                    <a:lnTo>
                      <a:pt x="120" y="128"/>
                    </a:lnTo>
                    <a:lnTo>
                      <a:pt x="123" y="126"/>
                    </a:lnTo>
                    <a:lnTo>
                      <a:pt x="123" y="126"/>
                    </a:lnTo>
                    <a:lnTo>
                      <a:pt x="127" y="128"/>
                    </a:lnTo>
                    <a:lnTo>
                      <a:pt x="127" y="128"/>
                    </a:lnTo>
                    <a:lnTo>
                      <a:pt x="130" y="128"/>
                    </a:lnTo>
                    <a:lnTo>
                      <a:pt x="132" y="128"/>
                    </a:lnTo>
                    <a:lnTo>
                      <a:pt x="132" y="128"/>
                    </a:lnTo>
                    <a:lnTo>
                      <a:pt x="135" y="128"/>
                    </a:lnTo>
                    <a:lnTo>
                      <a:pt x="139" y="128"/>
                    </a:lnTo>
                    <a:lnTo>
                      <a:pt x="142" y="128"/>
                    </a:lnTo>
                    <a:lnTo>
                      <a:pt x="146" y="126"/>
                    </a:lnTo>
                    <a:lnTo>
                      <a:pt x="149" y="126"/>
                    </a:lnTo>
                    <a:lnTo>
                      <a:pt x="149" y="128"/>
                    </a:lnTo>
                    <a:lnTo>
                      <a:pt x="149" y="128"/>
                    </a:lnTo>
                    <a:lnTo>
                      <a:pt x="151" y="130"/>
                    </a:lnTo>
                    <a:lnTo>
                      <a:pt x="151" y="130"/>
                    </a:lnTo>
                    <a:lnTo>
                      <a:pt x="151" y="130"/>
                    </a:lnTo>
                    <a:lnTo>
                      <a:pt x="153" y="130"/>
                    </a:lnTo>
                    <a:lnTo>
                      <a:pt x="153" y="128"/>
                    </a:lnTo>
                    <a:lnTo>
                      <a:pt x="153" y="128"/>
                    </a:lnTo>
                    <a:lnTo>
                      <a:pt x="153" y="128"/>
                    </a:lnTo>
                    <a:lnTo>
                      <a:pt x="156" y="126"/>
                    </a:lnTo>
                    <a:lnTo>
                      <a:pt x="158" y="126"/>
                    </a:lnTo>
                    <a:lnTo>
                      <a:pt x="158" y="123"/>
                    </a:lnTo>
                    <a:lnTo>
                      <a:pt x="158" y="123"/>
                    </a:lnTo>
                    <a:lnTo>
                      <a:pt x="158" y="121"/>
                    </a:lnTo>
                    <a:lnTo>
                      <a:pt x="158" y="118"/>
                    </a:lnTo>
                    <a:lnTo>
                      <a:pt x="158" y="116"/>
                    </a:lnTo>
                    <a:lnTo>
                      <a:pt x="158" y="114"/>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28"/>
              <p:cNvSpPr>
                <a:spLocks noEditPoints="1"/>
              </p:cNvSpPr>
              <p:nvPr/>
            </p:nvSpPr>
            <p:spPr bwMode="auto">
              <a:xfrm>
                <a:off x="3295" y="2821"/>
                <a:ext cx="206" cy="228"/>
              </a:xfrm>
              <a:custGeom>
                <a:avLst/>
                <a:gdLst>
                  <a:gd name="T0" fmla="*/ 196 w 206"/>
                  <a:gd name="T1" fmla="*/ 140 h 228"/>
                  <a:gd name="T2" fmla="*/ 192 w 206"/>
                  <a:gd name="T3" fmla="*/ 147 h 228"/>
                  <a:gd name="T4" fmla="*/ 187 w 206"/>
                  <a:gd name="T5" fmla="*/ 114 h 228"/>
                  <a:gd name="T6" fmla="*/ 192 w 206"/>
                  <a:gd name="T7" fmla="*/ 114 h 228"/>
                  <a:gd name="T8" fmla="*/ 187 w 206"/>
                  <a:gd name="T9" fmla="*/ 100 h 228"/>
                  <a:gd name="T10" fmla="*/ 194 w 206"/>
                  <a:gd name="T11" fmla="*/ 95 h 228"/>
                  <a:gd name="T12" fmla="*/ 196 w 206"/>
                  <a:gd name="T13" fmla="*/ 83 h 228"/>
                  <a:gd name="T14" fmla="*/ 206 w 206"/>
                  <a:gd name="T15" fmla="*/ 199 h 228"/>
                  <a:gd name="T16" fmla="*/ 196 w 206"/>
                  <a:gd name="T17" fmla="*/ 194 h 228"/>
                  <a:gd name="T18" fmla="*/ 192 w 206"/>
                  <a:gd name="T19" fmla="*/ 185 h 228"/>
                  <a:gd name="T20" fmla="*/ 189 w 206"/>
                  <a:gd name="T21" fmla="*/ 166 h 228"/>
                  <a:gd name="T22" fmla="*/ 187 w 206"/>
                  <a:gd name="T23" fmla="*/ 145 h 228"/>
                  <a:gd name="T24" fmla="*/ 189 w 206"/>
                  <a:gd name="T25" fmla="*/ 131 h 228"/>
                  <a:gd name="T26" fmla="*/ 182 w 206"/>
                  <a:gd name="T27" fmla="*/ 116 h 228"/>
                  <a:gd name="T28" fmla="*/ 180 w 206"/>
                  <a:gd name="T29" fmla="*/ 97 h 228"/>
                  <a:gd name="T30" fmla="*/ 185 w 206"/>
                  <a:gd name="T31" fmla="*/ 81 h 228"/>
                  <a:gd name="T32" fmla="*/ 175 w 206"/>
                  <a:gd name="T33" fmla="*/ 69 h 228"/>
                  <a:gd name="T34" fmla="*/ 159 w 206"/>
                  <a:gd name="T35" fmla="*/ 55 h 228"/>
                  <a:gd name="T36" fmla="*/ 154 w 206"/>
                  <a:gd name="T37" fmla="*/ 52 h 228"/>
                  <a:gd name="T38" fmla="*/ 156 w 206"/>
                  <a:gd name="T39" fmla="*/ 43 h 228"/>
                  <a:gd name="T40" fmla="*/ 135 w 206"/>
                  <a:gd name="T41" fmla="*/ 29 h 228"/>
                  <a:gd name="T42" fmla="*/ 111 w 206"/>
                  <a:gd name="T43" fmla="*/ 15 h 228"/>
                  <a:gd name="T44" fmla="*/ 90 w 206"/>
                  <a:gd name="T45" fmla="*/ 0 h 228"/>
                  <a:gd name="T46" fmla="*/ 26 w 206"/>
                  <a:gd name="T47" fmla="*/ 0 h 228"/>
                  <a:gd name="T48" fmla="*/ 24 w 206"/>
                  <a:gd name="T49" fmla="*/ 5 h 228"/>
                  <a:gd name="T50" fmla="*/ 28 w 206"/>
                  <a:gd name="T51" fmla="*/ 19 h 228"/>
                  <a:gd name="T52" fmla="*/ 28 w 206"/>
                  <a:gd name="T53" fmla="*/ 29 h 228"/>
                  <a:gd name="T54" fmla="*/ 24 w 206"/>
                  <a:gd name="T55" fmla="*/ 31 h 228"/>
                  <a:gd name="T56" fmla="*/ 21 w 206"/>
                  <a:gd name="T57" fmla="*/ 38 h 228"/>
                  <a:gd name="T58" fmla="*/ 26 w 206"/>
                  <a:gd name="T59" fmla="*/ 43 h 228"/>
                  <a:gd name="T60" fmla="*/ 28 w 206"/>
                  <a:gd name="T61" fmla="*/ 48 h 228"/>
                  <a:gd name="T62" fmla="*/ 24 w 206"/>
                  <a:gd name="T63" fmla="*/ 52 h 228"/>
                  <a:gd name="T64" fmla="*/ 17 w 206"/>
                  <a:gd name="T65" fmla="*/ 64 h 228"/>
                  <a:gd name="T66" fmla="*/ 2 w 206"/>
                  <a:gd name="T67" fmla="*/ 74 h 228"/>
                  <a:gd name="T68" fmla="*/ 2 w 206"/>
                  <a:gd name="T69" fmla="*/ 90 h 228"/>
                  <a:gd name="T70" fmla="*/ 2 w 206"/>
                  <a:gd name="T71" fmla="*/ 105 h 228"/>
                  <a:gd name="T72" fmla="*/ 10 w 206"/>
                  <a:gd name="T73" fmla="*/ 121 h 228"/>
                  <a:gd name="T74" fmla="*/ 19 w 206"/>
                  <a:gd name="T75" fmla="*/ 135 h 228"/>
                  <a:gd name="T76" fmla="*/ 26 w 206"/>
                  <a:gd name="T77" fmla="*/ 152 h 228"/>
                  <a:gd name="T78" fmla="*/ 33 w 206"/>
                  <a:gd name="T79" fmla="*/ 161 h 228"/>
                  <a:gd name="T80" fmla="*/ 43 w 206"/>
                  <a:gd name="T81" fmla="*/ 168 h 228"/>
                  <a:gd name="T82" fmla="*/ 47 w 206"/>
                  <a:gd name="T83" fmla="*/ 171 h 228"/>
                  <a:gd name="T84" fmla="*/ 57 w 206"/>
                  <a:gd name="T85" fmla="*/ 173 h 228"/>
                  <a:gd name="T86" fmla="*/ 66 w 206"/>
                  <a:gd name="T87" fmla="*/ 178 h 228"/>
                  <a:gd name="T88" fmla="*/ 76 w 206"/>
                  <a:gd name="T89" fmla="*/ 183 h 228"/>
                  <a:gd name="T90" fmla="*/ 85 w 206"/>
                  <a:gd name="T91" fmla="*/ 183 h 228"/>
                  <a:gd name="T92" fmla="*/ 88 w 206"/>
                  <a:gd name="T93" fmla="*/ 180 h 228"/>
                  <a:gd name="T94" fmla="*/ 97 w 206"/>
                  <a:gd name="T95" fmla="*/ 194 h 228"/>
                  <a:gd name="T96" fmla="*/ 97 w 206"/>
                  <a:gd name="T97" fmla="*/ 204 h 228"/>
                  <a:gd name="T98" fmla="*/ 97 w 206"/>
                  <a:gd name="T99" fmla="*/ 213 h 228"/>
                  <a:gd name="T100" fmla="*/ 99 w 206"/>
                  <a:gd name="T101" fmla="*/ 218 h 228"/>
                  <a:gd name="T102" fmla="*/ 107 w 206"/>
                  <a:gd name="T103" fmla="*/ 223 h 228"/>
                  <a:gd name="T104" fmla="*/ 116 w 206"/>
                  <a:gd name="T105" fmla="*/ 223 h 228"/>
                  <a:gd name="T106" fmla="*/ 128 w 206"/>
                  <a:gd name="T107" fmla="*/ 228 h 228"/>
                  <a:gd name="T108" fmla="*/ 142 w 206"/>
                  <a:gd name="T109" fmla="*/ 225 h 228"/>
                  <a:gd name="T110" fmla="*/ 156 w 206"/>
                  <a:gd name="T111" fmla="*/ 223 h 228"/>
                  <a:gd name="T112" fmla="*/ 166 w 206"/>
                  <a:gd name="T113" fmla="*/ 218 h 228"/>
                  <a:gd name="T114" fmla="*/ 185 w 206"/>
                  <a:gd name="T115" fmla="*/ 213 h 228"/>
                  <a:gd name="T116" fmla="*/ 201 w 206"/>
                  <a:gd name="T117" fmla="*/ 204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6" h="228">
                    <a:moveTo>
                      <a:pt x="192" y="147"/>
                    </a:moveTo>
                    <a:lnTo>
                      <a:pt x="194" y="147"/>
                    </a:lnTo>
                    <a:lnTo>
                      <a:pt x="194" y="147"/>
                    </a:lnTo>
                    <a:lnTo>
                      <a:pt x="194" y="147"/>
                    </a:lnTo>
                    <a:lnTo>
                      <a:pt x="196" y="142"/>
                    </a:lnTo>
                    <a:lnTo>
                      <a:pt x="196" y="140"/>
                    </a:lnTo>
                    <a:lnTo>
                      <a:pt x="196" y="140"/>
                    </a:lnTo>
                    <a:lnTo>
                      <a:pt x="196" y="142"/>
                    </a:lnTo>
                    <a:lnTo>
                      <a:pt x="194" y="145"/>
                    </a:lnTo>
                    <a:lnTo>
                      <a:pt x="192" y="147"/>
                    </a:lnTo>
                    <a:lnTo>
                      <a:pt x="192" y="147"/>
                    </a:lnTo>
                    <a:lnTo>
                      <a:pt x="192" y="147"/>
                    </a:lnTo>
                    <a:lnTo>
                      <a:pt x="192" y="147"/>
                    </a:lnTo>
                    <a:close/>
                    <a:moveTo>
                      <a:pt x="185" y="107"/>
                    </a:moveTo>
                    <a:lnTo>
                      <a:pt x="185" y="109"/>
                    </a:lnTo>
                    <a:lnTo>
                      <a:pt x="185" y="112"/>
                    </a:lnTo>
                    <a:lnTo>
                      <a:pt x="187" y="112"/>
                    </a:lnTo>
                    <a:lnTo>
                      <a:pt x="187" y="114"/>
                    </a:lnTo>
                    <a:lnTo>
                      <a:pt x="187" y="114"/>
                    </a:lnTo>
                    <a:lnTo>
                      <a:pt x="189" y="114"/>
                    </a:lnTo>
                    <a:lnTo>
                      <a:pt x="189" y="116"/>
                    </a:lnTo>
                    <a:lnTo>
                      <a:pt x="189" y="116"/>
                    </a:lnTo>
                    <a:lnTo>
                      <a:pt x="192" y="114"/>
                    </a:lnTo>
                    <a:lnTo>
                      <a:pt x="192" y="114"/>
                    </a:lnTo>
                    <a:lnTo>
                      <a:pt x="189" y="109"/>
                    </a:lnTo>
                    <a:lnTo>
                      <a:pt x="189" y="109"/>
                    </a:lnTo>
                    <a:lnTo>
                      <a:pt x="189" y="109"/>
                    </a:lnTo>
                    <a:lnTo>
                      <a:pt x="187" y="105"/>
                    </a:lnTo>
                    <a:lnTo>
                      <a:pt x="187" y="102"/>
                    </a:lnTo>
                    <a:lnTo>
                      <a:pt x="187" y="100"/>
                    </a:lnTo>
                    <a:lnTo>
                      <a:pt x="185" y="102"/>
                    </a:lnTo>
                    <a:lnTo>
                      <a:pt x="185" y="105"/>
                    </a:lnTo>
                    <a:lnTo>
                      <a:pt x="185" y="107"/>
                    </a:lnTo>
                    <a:close/>
                    <a:moveTo>
                      <a:pt x="194" y="93"/>
                    </a:moveTo>
                    <a:lnTo>
                      <a:pt x="194" y="95"/>
                    </a:lnTo>
                    <a:lnTo>
                      <a:pt x="194" y="95"/>
                    </a:lnTo>
                    <a:lnTo>
                      <a:pt x="196" y="93"/>
                    </a:lnTo>
                    <a:lnTo>
                      <a:pt x="196" y="90"/>
                    </a:lnTo>
                    <a:lnTo>
                      <a:pt x="196" y="88"/>
                    </a:lnTo>
                    <a:lnTo>
                      <a:pt x="196" y="86"/>
                    </a:lnTo>
                    <a:lnTo>
                      <a:pt x="196" y="83"/>
                    </a:lnTo>
                    <a:lnTo>
                      <a:pt x="196" y="83"/>
                    </a:lnTo>
                    <a:lnTo>
                      <a:pt x="194" y="83"/>
                    </a:lnTo>
                    <a:lnTo>
                      <a:pt x="194" y="83"/>
                    </a:lnTo>
                    <a:lnTo>
                      <a:pt x="194" y="88"/>
                    </a:lnTo>
                    <a:lnTo>
                      <a:pt x="192" y="93"/>
                    </a:lnTo>
                    <a:lnTo>
                      <a:pt x="194" y="93"/>
                    </a:lnTo>
                    <a:close/>
                    <a:moveTo>
                      <a:pt x="206" y="199"/>
                    </a:moveTo>
                    <a:lnTo>
                      <a:pt x="206" y="199"/>
                    </a:lnTo>
                    <a:lnTo>
                      <a:pt x="203" y="197"/>
                    </a:lnTo>
                    <a:lnTo>
                      <a:pt x="201" y="194"/>
                    </a:lnTo>
                    <a:lnTo>
                      <a:pt x="199" y="194"/>
                    </a:lnTo>
                    <a:lnTo>
                      <a:pt x="199" y="194"/>
                    </a:lnTo>
                    <a:lnTo>
                      <a:pt x="196" y="194"/>
                    </a:lnTo>
                    <a:lnTo>
                      <a:pt x="196" y="192"/>
                    </a:lnTo>
                    <a:lnTo>
                      <a:pt x="194" y="192"/>
                    </a:lnTo>
                    <a:lnTo>
                      <a:pt x="192" y="190"/>
                    </a:lnTo>
                    <a:lnTo>
                      <a:pt x="194" y="190"/>
                    </a:lnTo>
                    <a:lnTo>
                      <a:pt x="194" y="187"/>
                    </a:lnTo>
                    <a:lnTo>
                      <a:pt x="192" y="185"/>
                    </a:lnTo>
                    <a:lnTo>
                      <a:pt x="192" y="183"/>
                    </a:lnTo>
                    <a:lnTo>
                      <a:pt x="192" y="178"/>
                    </a:lnTo>
                    <a:lnTo>
                      <a:pt x="192" y="173"/>
                    </a:lnTo>
                    <a:lnTo>
                      <a:pt x="187" y="168"/>
                    </a:lnTo>
                    <a:lnTo>
                      <a:pt x="189" y="168"/>
                    </a:lnTo>
                    <a:lnTo>
                      <a:pt x="189" y="166"/>
                    </a:lnTo>
                    <a:lnTo>
                      <a:pt x="187" y="164"/>
                    </a:lnTo>
                    <a:lnTo>
                      <a:pt x="185" y="157"/>
                    </a:lnTo>
                    <a:lnTo>
                      <a:pt x="185" y="157"/>
                    </a:lnTo>
                    <a:lnTo>
                      <a:pt x="187" y="154"/>
                    </a:lnTo>
                    <a:lnTo>
                      <a:pt x="187" y="149"/>
                    </a:lnTo>
                    <a:lnTo>
                      <a:pt x="187" y="145"/>
                    </a:lnTo>
                    <a:lnTo>
                      <a:pt x="187" y="142"/>
                    </a:lnTo>
                    <a:lnTo>
                      <a:pt x="185" y="145"/>
                    </a:lnTo>
                    <a:lnTo>
                      <a:pt x="185" y="138"/>
                    </a:lnTo>
                    <a:lnTo>
                      <a:pt x="187" y="135"/>
                    </a:lnTo>
                    <a:lnTo>
                      <a:pt x="187" y="131"/>
                    </a:lnTo>
                    <a:lnTo>
                      <a:pt x="189" y="131"/>
                    </a:lnTo>
                    <a:lnTo>
                      <a:pt x="189" y="128"/>
                    </a:lnTo>
                    <a:lnTo>
                      <a:pt x="189" y="123"/>
                    </a:lnTo>
                    <a:lnTo>
                      <a:pt x="185" y="123"/>
                    </a:lnTo>
                    <a:lnTo>
                      <a:pt x="185" y="121"/>
                    </a:lnTo>
                    <a:lnTo>
                      <a:pt x="182" y="119"/>
                    </a:lnTo>
                    <a:lnTo>
                      <a:pt x="182" y="116"/>
                    </a:lnTo>
                    <a:lnTo>
                      <a:pt x="180" y="116"/>
                    </a:lnTo>
                    <a:lnTo>
                      <a:pt x="177" y="114"/>
                    </a:lnTo>
                    <a:lnTo>
                      <a:pt x="177" y="109"/>
                    </a:lnTo>
                    <a:lnTo>
                      <a:pt x="177" y="107"/>
                    </a:lnTo>
                    <a:lnTo>
                      <a:pt x="177" y="105"/>
                    </a:lnTo>
                    <a:lnTo>
                      <a:pt x="180" y="97"/>
                    </a:lnTo>
                    <a:lnTo>
                      <a:pt x="180" y="95"/>
                    </a:lnTo>
                    <a:lnTo>
                      <a:pt x="182" y="90"/>
                    </a:lnTo>
                    <a:lnTo>
                      <a:pt x="182" y="88"/>
                    </a:lnTo>
                    <a:lnTo>
                      <a:pt x="182" y="86"/>
                    </a:lnTo>
                    <a:lnTo>
                      <a:pt x="182" y="83"/>
                    </a:lnTo>
                    <a:lnTo>
                      <a:pt x="185" y="81"/>
                    </a:lnTo>
                    <a:lnTo>
                      <a:pt x="185" y="78"/>
                    </a:lnTo>
                    <a:lnTo>
                      <a:pt x="185" y="78"/>
                    </a:lnTo>
                    <a:lnTo>
                      <a:pt x="182" y="76"/>
                    </a:lnTo>
                    <a:lnTo>
                      <a:pt x="180" y="74"/>
                    </a:lnTo>
                    <a:lnTo>
                      <a:pt x="177" y="71"/>
                    </a:lnTo>
                    <a:lnTo>
                      <a:pt x="175" y="69"/>
                    </a:lnTo>
                    <a:lnTo>
                      <a:pt x="170" y="67"/>
                    </a:lnTo>
                    <a:lnTo>
                      <a:pt x="168" y="64"/>
                    </a:lnTo>
                    <a:lnTo>
                      <a:pt x="163" y="60"/>
                    </a:lnTo>
                    <a:lnTo>
                      <a:pt x="161" y="57"/>
                    </a:lnTo>
                    <a:lnTo>
                      <a:pt x="159" y="57"/>
                    </a:lnTo>
                    <a:lnTo>
                      <a:pt x="159" y="55"/>
                    </a:lnTo>
                    <a:lnTo>
                      <a:pt x="156" y="55"/>
                    </a:lnTo>
                    <a:lnTo>
                      <a:pt x="156" y="55"/>
                    </a:lnTo>
                    <a:lnTo>
                      <a:pt x="156" y="52"/>
                    </a:lnTo>
                    <a:lnTo>
                      <a:pt x="156" y="52"/>
                    </a:lnTo>
                    <a:lnTo>
                      <a:pt x="154" y="52"/>
                    </a:lnTo>
                    <a:lnTo>
                      <a:pt x="154" y="52"/>
                    </a:lnTo>
                    <a:lnTo>
                      <a:pt x="156" y="50"/>
                    </a:lnTo>
                    <a:lnTo>
                      <a:pt x="156" y="50"/>
                    </a:lnTo>
                    <a:lnTo>
                      <a:pt x="156" y="48"/>
                    </a:lnTo>
                    <a:lnTo>
                      <a:pt x="156" y="45"/>
                    </a:lnTo>
                    <a:lnTo>
                      <a:pt x="156" y="43"/>
                    </a:lnTo>
                    <a:lnTo>
                      <a:pt x="156" y="43"/>
                    </a:lnTo>
                    <a:lnTo>
                      <a:pt x="154" y="43"/>
                    </a:lnTo>
                    <a:lnTo>
                      <a:pt x="149" y="41"/>
                    </a:lnTo>
                    <a:lnTo>
                      <a:pt x="147" y="38"/>
                    </a:lnTo>
                    <a:lnTo>
                      <a:pt x="142" y="36"/>
                    </a:lnTo>
                    <a:lnTo>
                      <a:pt x="137" y="31"/>
                    </a:lnTo>
                    <a:lnTo>
                      <a:pt x="135" y="29"/>
                    </a:lnTo>
                    <a:lnTo>
                      <a:pt x="130" y="26"/>
                    </a:lnTo>
                    <a:lnTo>
                      <a:pt x="125" y="24"/>
                    </a:lnTo>
                    <a:lnTo>
                      <a:pt x="123" y="22"/>
                    </a:lnTo>
                    <a:lnTo>
                      <a:pt x="118" y="19"/>
                    </a:lnTo>
                    <a:lnTo>
                      <a:pt x="114" y="17"/>
                    </a:lnTo>
                    <a:lnTo>
                      <a:pt x="111" y="15"/>
                    </a:lnTo>
                    <a:lnTo>
                      <a:pt x="107" y="12"/>
                    </a:lnTo>
                    <a:lnTo>
                      <a:pt x="102" y="10"/>
                    </a:lnTo>
                    <a:lnTo>
                      <a:pt x="99" y="7"/>
                    </a:lnTo>
                    <a:lnTo>
                      <a:pt x="95" y="5"/>
                    </a:lnTo>
                    <a:lnTo>
                      <a:pt x="90" y="3"/>
                    </a:lnTo>
                    <a:lnTo>
                      <a:pt x="90" y="0"/>
                    </a:lnTo>
                    <a:lnTo>
                      <a:pt x="88" y="0"/>
                    </a:lnTo>
                    <a:lnTo>
                      <a:pt x="28" y="0"/>
                    </a:lnTo>
                    <a:lnTo>
                      <a:pt x="28" y="0"/>
                    </a:lnTo>
                    <a:lnTo>
                      <a:pt x="28" y="0"/>
                    </a:lnTo>
                    <a:lnTo>
                      <a:pt x="26" y="0"/>
                    </a:lnTo>
                    <a:lnTo>
                      <a:pt x="26" y="0"/>
                    </a:lnTo>
                    <a:lnTo>
                      <a:pt x="24" y="3"/>
                    </a:lnTo>
                    <a:lnTo>
                      <a:pt x="24" y="3"/>
                    </a:lnTo>
                    <a:lnTo>
                      <a:pt x="24" y="3"/>
                    </a:lnTo>
                    <a:lnTo>
                      <a:pt x="21" y="3"/>
                    </a:lnTo>
                    <a:lnTo>
                      <a:pt x="21" y="3"/>
                    </a:lnTo>
                    <a:lnTo>
                      <a:pt x="24" y="5"/>
                    </a:lnTo>
                    <a:lnTo>
                      <a:pt x="26" y="7"/>
                    </a:lnTo>
                    <a:lnTo>
                      <a:pt x="26" y="7"/>
                    </a:lnTo>
                    <a:lnTo>
                      <a:pt x="28" y="10"/>
                    </a:lnTo>
                    <a:lnTo>
                      <a:pt x="28" y="12"/>
                    </a:lnTo>
                    <a:lnTo>
                      <a:pt x="28" y="15"/>
                    </a:lnTo>
                    <a:lnTo>
                      <a:pt x="28" y="19"/>
                    </a:lnTo>
                    <a:lnTo>
                      <a:pt x="28" y="22"/>
                    </a:lnTo>
                    <a:lnTo>
                      <a:pt x="28" y="22"/>
                    </a:lnTo>
                    <a:lnTo>
                      <a:pt x="28" y="24"/>
                    </a:lnTo>
                    <a:lnTo>
                      <a:pt x="28" y="26"/>
                    </a:lnTo>
                    <a:lnTo>
                      <a:pt x="28" y="29"/>
                    </a:lnTo>
                    <a:lnTo>
                      <a:pt x="28" y="29"/>
                    </a:lnTo>
                    <a:lnTo>
                      <a:pt x="28" y="29"/>
                    </a:lnTo>
                    <a:lnTo>
                      <a:pt x="26" y="29"/>
                    </a:lnTo>
                    <a:lnTo>
                      <a:pt x="26" y="29"/>
                    </a:lnTo>
                    <a:lnTo>
                      <a:pt x="24" y="29"/>
                    </a:lnTo>
                    <a:lnTo>
                      <a:pt x="24" y="29"/>
                    </a:lnTo>
                    <a:lnTo>
                      <a:pt x="24" y="31"/>
                    </a:lnTo>
                    <a:lnTo>
                      <a:pt x="21" y="33"/>
                    </a:lnTo>
                    <a:lnTo>
                      <a:pt x="21" y="36"/>
                    </a:lnTo>
                    <a:lnTo>
                      <a:pt x="21" y="36"/>
                    </a:lnTo>
                    <a:lnTo>
                      <a:pt x="21" y="36"/>
                    </a:lnTo>
                    <a:lnTo>
                      <a:pt x="21" y="38"/>
                    </a:lnTo>
                    <a:lnTo>
                      <a:pt x="21" y="38"/>
                    </a:lnTo>
                    <a:lnTo>
                      <a:pt x="21" y="38"/>
                    </a:lnTo>
                    <a:lnTo>
                      <a:pt x="21" y="41"/>
                    </a:lnTo>
                    <a:lnTo>
                      <a:pt x="21" y="41"/>
                    </a:lnTo>
                    <a:lnTo>
                      <a:pt x="24" y="41"/>
                    </a:lnTo>
                    <a:lnTo>
                      <a:pt x="24" y="41"/>
                    </a:lnTo>
                    <a:lnTo>
                      <a:pt x="26" y="43"/>
                    </a:lnTo>
                    <a:lnTo>
                      <a:pt x="28" y="43"/>
                    </a:lnTo>
                    <a:lnTo>
                      <a:pt x="28" y="43"/>
                    </a:lnTo>
                    <a:lnTo>
                      <a:pt x="28" y="43"/>
                    </a:lnTo>
                    <a:lnTo>
                      <a:pt x="28" y="45"/>
                    </a:lnTo>
                    <a:lnTo>
                      <a:pt x="28" y="48"/>
                    </a:lnTo>
                    <a:lnTo>
                      <a:pt x="28" y="48"/>
                    </a:lnTo>
                    <a:lnTo>
                      <a:pt x="26" y="50"/>
                    </a:lnTo>
                    <a:lnTo>
                      <a:pt x="24" y="50"/>
                    </a:lnTo>
                    <a:lnTo>
                      <a:pt x="24" y="50"/>
                    </a:lnTo>
                    <a:lnTo>
                      <a:pt x="24" y="50"/>
                    </a:lnTo>
                    <a:lnTo>
                      <a:pt x="24" y="52"/>
                    </a:lnTo>
                    <a:lnTo>
                      <a:pt x="24" y="52"/>
                    </a:lnTo>
                    <a:lnTo>
                      <a:pt x="21" y="55"/>
                    </a:lnTo>
                    <a:lnTo>
                      <a:pt x="21" y="57"/>
                    </a:lnTo>
                    <a:lnTo>
                      <a:pt x="19" y="57"/>
                    </a:lnTo>
                    <a:lnTo>
                      <a:pt x="19" y="60"/>
                    </a:lnTo>
                    <a:lnTo>
                      <a:pt x="19" y="60"/>
                    </a:lnTo>
                    <a:lnTo>
                      <a:pt x="17" y="64"/>
                    </a:lnTo>
                    <a:lnTo>
                      <a:pt x="17" y="67"/>
                    </a:lnTo>
                    <a:lnTo>
                      <a:pt x="12" y="69"/>
                    </a:lnTo>
                    <a:lnTo>
                      <a:pt x="10" y="71"/>
                    </a:lnTo>
                    <a:lnTo>
                      <a:pt x="7" y="74"/>
                    </a:lnTo>
                    <a:lnTo>
                      <a:pt x="2" y="74"/>
                    </a:lnTo>
                    <a:lnTo>
                      <a:pt x="2" y="74"/>
                    </a:lnTo>
                    <a:lnTo>
                      <a:pt x="0" y="78"/>
                    </a:lnTo>
                    <a:lnTo>
                      <a:pt x="0" y="81"/>
                    </a:lnTo>
                    <a:lnTo>
                      <a:pt x="0" y="83"/>
                    </a:lnTo>
                    <a:lnTo>
                      <a:pt x="0" y="86"/>
                    </a:lnTo>
                    <a:lnTo>
                      <a:pt x="2" y="88"/>
                    </a:lnTo>
                    <a:lnTo>
                      <a:pt x="2" y="90"/>
                    </a:lnTo>
                    <a:lnTo>
                      <a:pt x="2" y="93"/>
                    </a:lnTo>
                    <a:lnTo>
                      <a:pt x="5" y="95"/>
                    </a:lnTo>
                    <a:lnTo>
                      <a:pt x="5" y="97"/>
                    </a:lnTo>
                    <a:lnTo>
                      <a:pt x="5" y="100"/>
                    </a:lnTo>
                    <a:lnTo>
                      <a:pt x="5" y="102"/>
                    </a:lnTo>
                    <a:lnTo>
                      <a:pt x="2" y="105"/>
                    </a:lnTo>
                    <a:lnTo>
                      <a:pt x="2" y="107"/>
                    </a:lnTo>
                    <a:lnTo>
                      <a:pt x="2" y="109"/>
                    </a:lnTo>
                    <a:lnTo>
                      <a:pt x="5" y="112"/>
                    </a:lnTo>
                    <a:lnTo>
                      <a:pt x="5" y="114"/>
                    </a:lnTo>
                    <a:lnTo>
                      <a:pt x="7" y="119"/>
                    </a:lnTo>
                    <a:lnTo>
                      <a:pt x="10" y="121"/>
                    </a:lnTo>
                    <a:lnTo>
                      <a:pt x="12" y="123"/>
                    </a:lnTo>
                    <a:lnTo>
                      <a:pt x="14" y="126"/>
                    </a:lnTo>
                    <a:lnTo>
                      <a:pt x="17" y="126"/>
                    </a:lnTo>
                    <a:lnTo>
                      <a:pt x="17" y="128"/>
                    </a:lnTo>
                    <a:lnTo>
                      <a:pt x="19" y="131"/>
                    </a:lnTo>
                    <a:lnTo>
                      <a:pt x="19" y="135"/>
                    </a:lnTo>
                    <a:lnTo>
                      <a:pt x="19" y="138"/>
                    </a:lnTo>
                    <a:lnTo>
                      <a:pt x="21" y="140"/>
                    </a:lnTo>
                    <a:lnTo>
                      <a:pt x="24" y="145"/>
                    </a:lnTo>
                    <a:lnTo>
                      <a:pt x="24" y="147"/>
                    </a:lnTo>
                    <a:lnTo>
                      <a:pt x="26" y="149"/>
                    </a:lnTo>
                    <a:lnTo>
                      <a:pt x="26" y="152"/>
                    </a:lnTo>
                    <a:lnTo>
                      <a:pt x="26" y="154"/>
                    </a:lnTo>
                    <a:lnTo>
                      <a:pt x="28" y="157"/>
                    </a:lnTo>
                    <a:lnTo>
                      <a:pt x="28" y="159"/>
                    </a:lnTo>
                    <a:lnTo>
                      <a:pt x="31" y="159"/>
                    </a:lnTo>
                    <a:lnTo>
                      <a:pt x="31" y="161"/>
                    </a:lnTo>
                    <a:lnTo>
                      <a:pt x="33" y="161"/>
                    </a:lnTo>
                    <a:lnTo>
                      <a:pt x="38" y="161"/>
                    </a:lnTo>
                    <a:lnTo>
                      <a:pt x="38" y="161"/>
                    </a:lnTo>
                    <a:lnTo>
                      <a:pt x="40" y="164"/>
                    </a:lnTo>
                    <a:lnTo>
                      <a:pt x="40" y="166"/>
                    </a:lnTo>
                    <a:lnTo>
                      <a:pt x="43" y="166"/>
                    </a:lnTo>
                    <a:lnTo>
                      <a:pt x="43" y="168"/>
                    </a:lnTo>
                    <a:lnTo>
                      <a:pt x="43" y="168"/>
                    </a:lnTo>
                    <a:lnTo>
                      <a:pt x="45" y="168"/>
                    </a:lnTo>
                    <a:lnTo>
                      <a:pt x="45" y="168"/>
                    </a:lnTo>
                    <a:lnTo>
                      <a:pt x="47" y="168"/>
                    </a:lnTo>
                    <a:lnTo>
                      <a:pt x="47" y="168"/>
                    </a:lnTo>
                    <a:lnTo>
                      <a:pt x="47" y="171"/>
                    </a:lnTo>
                    <a:lnTo>
                      <a:pt x="47" y="171"/>
                    </a:lnTo>
                    <a:lnTo>
                      <a:pt x="50" y="171"/>
                    </a:lnTo>
                    <a:lnTo>
                      <a:pt x="52" y="171"/>
                    </a:lnTo>
                    <a:lnTo>
                      <a:pt x="52" y="173"/>
                    </a:lnTo>
                    <a:lnTo>
                      <a:pt x="54" y="173"/>
                    </a:lnTo>
                    <a:lnTo>
                      <a:pt x="57" y="173"/>
                    </a:lnTo>
                    <a:lnTo>
                      <a:pt x="59" y="173"/>
                    </a:lnTo>
                    <a:lnTo>
                      <a:pt x="62" y="176"/>
                    </a:lnTo>
                    <a:lnTo>
                      <a:pt x="64" y="176"/>
                    </a:lnTo>
                    <a:lnTo>
                      <a:pt x="64" y="178"/>
                    </a:lnTo>
                    <a:lnTo>
                      <a:pt x="66" y="178"/>
                    </a:lnTo>
                    <a:lnTo>
                      <a:pt x="66" y="178"/>
                    </a:lnTo>
                    <a:lnTo>
                      <a:pt x="66" y="178"/>
                    </a:lnTo>
                    <a:lnTo>
                      <a:pt x="71" y="180"/>
                    </a:lnTo>
                    <a:lnTo>
                      <a:pt x="71" y="180"/>
                    </a:lnTo>
                    <a:lnTo>
                      <a:pt x="73" y="180"/>
                    </a:lnTo>
                    <a:lnTo>
                      <a:pt x="76" y="183"/>
                    </a:lnTo>
                    <a:lnTo>
                      <a:pt x="76" y="183"/>
                    </a:lnTo>
                    <a:lnTo>
                      <a:pt x="78" y="183"/>
                    </a:lnTo>
                    <a:lnTo>
                      <a:pt x="80" y="183"/>
                    </a:lnTo>
                    <a:lnTo>
                      <a:pt x="83" y="183"/>
                    </a:lnTo>
                    <a:lnTo>
                      <a:pt x="83" y="183"/>
                    </a:lnTo>
                    <a:lnTo>
                      <a:pt x="85" y="183"/>
                    </a:lnTo>
                    <a:lnTo>
                      <a:pt x="85" y="183"/>
                    </a:lnTo>
                    <a:lnTo>
                      <a:pt x="85" y="183"/>
                    </a:lnTo>
                    <a:lnTo>
                      <a:pt x="85" y="183"/>
                    </a:lnTo>
                    <a:lnTo>
                      <a:pt x="85" y="180"/>
                    </a:lnTo>
                    <a:lnTo>
                      <a:pt x="85" y="180"/>
                    </a:lnTo>
                    <a:lnTo>
                      <a:pt x="85" y="180"/>
                    </a:lnTo>
                    <a:lnTo>
                      <a:pt x="88" y="180"/>
                    </a:lnTo>
                    <a:lnTo>
                      <a:pt x="92" y="185"/>
                    </a:lnTo>
                    <a:lnTo>
                      <a:pt x="92" y="185"/>
                    </a:lnTo>
                    <a:lnTo>
                      <a:pt x="95" y="190"/>
                    </a:lnTo>
                    <a:lnTo>
                      <a:pt x="95" y="192"/>
                    </a:lnTo>
                    <a:lnTo>
                      <a:pt x="95" y="192"/>
                    </a:lnTo>
                    <a:lnTo>
                      <a:pt x="97" y="194"/>
                    </a:lnTo>
                    <a:lnTo>
                      <a:pt x="97" y="197"/>
                    </a:lnTo>
                    <a:lnTo>
                      <a:pt x="97" y="199"/>
                    </a:lnTo>
                    <a:lnTo>
                      <a:pt x="97" y="199"/>
                    </a:lnTo>
                    <a:lnTo>
                      <a:pt x="97" y="202"/>
                    </a:lnTo>
                    <a:lnTo>
                      <a:pt x="97" y="202"/>
                    </a:lnTo>
                    <a:lnTo>
                      <a:pt x="97" y="204"/>
                    </a:lnTo>
                    <a:lnTo>
                      <a:pt x="97" y="206"/>
                    </a:lnTo>
                    <a:lnTo>
                      <a:pt x="97" y="206"/>
                    </a:lnTo>
                    <a:lnTo>
                      <a:pt x="97" y="209"/>
                    </a:lnTo>
                    <a:lnTo>
                      <a:pt x="97" y="211"/>
                    </a:lnTo>
                    <a:lnTo>
                      <a:pt x="97" y="213"/>
                    </a:lnTo>
                    <a:lnTo>
                      <a:pt x="97" y="213"/>
                    </a:lnTo>
                    <a:lnTo>
                      <a:pt x="97" y="213"/>
                    </a:lnTo>
                    <a:lnTo>
                      <a:pt x="99" y="216"/>
                    </a:lnTo>
                    <a:lnTo>
                      <a:pt x="99" y="216"/>
                    </a:lnTo>
                    <a:lnTo>
                      <a:pt x="99" y="218"/>
                    </a:lnTo>
                    <a:lnTo>
                      <a:pt x="99" y="218"/>
                    </a:lnTo>
                    <a:lnTo>
                      <a:pt x="99" y="218"/>
                    </a:lnTo>
                    <a:lnTo>
                      <a:pt x="102" y="218"/>
                    </a:lnTo>
                    <a:lnTo>
                      <a:pt x="102" y="221"/>
                    </a:lnTo>
                    <a:lnTo>
                      <a:pt x="102" y="221"/>
                    </a:lnTo>
                    <a:lnTo>
                      <a:pt x="104" y="223"/>
                    </a:lnTo>
                    <a:lnTo>
                      <a:pt x="104" y="223"/>
                    </a:lnTo>
                    <a:lnTo>
                      <a:pt x="107" y="223"/>
                    </a:lnTo>
                    <a:lnTo>
                      <a:pt x="111" y="223"/>
                    </a:lnTo>
                    <a:lnTo>
                      <a:pt x="111" y="225"/>
                    </a:lnTo>
                    <a:lnTo>
                      <a:pt x="114" y="225"/>
                    </a:lnTo>
                    <a:lnTo>
                      <a:pt x="114" y="225"/>
                    </a:lnTo>
                    <a:lnTo>
                      <a:pt x="116" y="223"/>
                    </a:lnTo>
                    <a:lnTo>
                      <a:pt x="116" y="223"/>
                    </a:lnTo>
                    <a:lnTo>
                      <a:pt x="118" y="221"/>
                    </a:lnTo>
                    <a:lnTo>
                      <a:pt x="121" y="221"/>
                    </a:lnTo>
                    <a:lnTo>
                      <a:pt x="123" y="223"/>
                    </a:lnTo>
                    <a:lnTo>
                      <a:pt x="125" y="225"/>
                    </a:lnTo>
                    <a:lnTo>
                      <a:pt x="125" y="225"/>
                    </a:lnTo>
                    <a:lnTo>
                      <a:pt x="128" y="228"/>
                    </a:lnTo>
                    <a:lnTo>
                      <a:pt x="133" y="228"/>
                    </a:lnTo>
                    <a:lnTo>
                      <a:pt x="135" y="225"/>
                    </a:lnTo>
                    <a:lnTo>
                      <a:pt x="137" y="225"/>
                    </a:lnTo>
                    <a:lnTo>
                      <a:pt x="140" y="223"/>
                    </a:lnTo>
                    <a:lnTo>
                      <a:pt x="140" y="223"/>
                    </a:lnTo>
                    <a:lnTo>
                      <a:pt x="142" y="225"/>
                    </a:lnTo>
                    <a:lnTo>
                      <a:pt x="142" y="225"/>
                    </a:lnTo>
                    <a:lnTo>
                      <a:pt x="144" y="225"/>
                    </a:lnTo>
                    <a:lnTo>
                      <a:pt x="147" y="228"/>
                    </a:lnTo>
                    <a:lnTo>
                      <a:pt x="151" y="225"/>
                    </a:lnTo>
                    <a:lnTo>
                      <a:pt x="154" y="223"/>
                    </a:lnTo>
                    <a:lnTo>
                      <a:pt x="156" y="223"/>
                    </a:lnTo>
                    <a:lnTo>
                      <a:pt x="156" y="221"/>
                    </a:lnTo>
                    <a:lnTo>
                      <a:pt x="159" y="218"/>
                    </a:lnTo>
                    <a:lnTo>
                      <a:pt x="159" y="218"/>
                    </a:lnTo>
                    <a:lnTo>
                      <a:pt x="161" y="218"/>
                    </a:lnTo>
                    <a:lnTo>
                      <a:pt x="163" y="218"/>
                    </a:lnTo>
                    <a:lnTo>
                      <a:pt x="166" y="218"/>
                    </a:lnTo>
                    <a:lnTo>
                      <a:pt x="168" y="221"/>
                    </a:lnTo>
                    <a:lnTo>
                      <a:pt x="170" y="218"/>
                    </a:lnTo>
                    <a:lnTo>
                      <a:pt x="175" y="216"/>
                    </a:lnTo>
                    <a:lnTo>
                      <a:pt x="177" y="216"/>
                    </a:lnTo>
                    <a:lnTo>
                      <a:pt x="182" y="216"/>
                    </a:lnTo>
                    <a:lnTo>
                      <a:pt x="185" y="213"/>
                    </a:lnTo>
                    <a:lnTo>
                      <a:pt x="187" y="213"/>
                    </a:lnTo>
                    <a:lnTo>
                      <a:pt x="189" y="211"/>
                    </a:lnTo>
                    <a:lnTo>
                      <a:pt x="192" y="211"/>
                    </a:lnTo>
                    <a:lnTo>
                      <a:pt x="194" y="209"/>
                    </a:lnTo>
                    <a:lnTo>
                      <a:pt x="196" y="209"/>
                    </a:lnTo>
                    <a:lnTo>
                      <a:pt x="201" y="204"/>
                    </a:lnTo>
                    <a:lnTo>
                      <a:pt x="203" y="202"/>
                    </a:lnTo>
                    <a:lnTo>
                      <a:pt x="206" y="199"/>
                    </a:lnTo>
                    <a:lnTo>
                      <a:pt x="206" y="199"/>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29"/>
              <p:cNvSpPr>
                <a:spLocks noEditPoints="1"/>
              </p:cNvSpPr>
              <p:nvPr/>
            </p:nvSpPr>
            <p:spPr bwMode="auto">
              <a:xfrm>
                <a:off x="3927" y="1933"/>
                <a:ext cx="144" cy="90"/>
              </a:xfrm>
              <a:custGeom>
                <a:avLst/>
                <a:gdLst>
                  <a:gd name="T0" fmla="*/ 52 w 144"/>
                  <a:gd name="T1" fmla="*/ 24 h 90"/>
                  <a:gd name="T2" fmla="*/ 47 w 144"/>
                  <a:gd name="T3" fmla="*/ 3 h 90"/>
                  <a:gd name="T4" fmla="*/ 47 w 144"/>
                  <a:gd name="T5" fmla="*/ 0 h 90"/>
                  <a:gd name="T6" fmla="*/ 139 w 144"/>
                  <a:gd name="T7" fmla="*/ 69 h 90"/>
                  <a:gd name="T8" fmla="*/ 134 w 144"/>
                  <a:gd name="T9" fmla="*/ 60 h 90"/>
                  <a:gd name="T10" fmla="*/ 127 w 144"/>
                  <a:gd name="T11" fmla="*/ 50 h 90"/>
                  <a:gd name="T12" fmla="*/ 118 w 144"/>
                  <a:gd name="T13" fmla="*/ 50 h 90"/>
                  <a:gd name="T14" fmla="*/ 111 w 144"/>
                  <a:gd name="T15" fmla="*/ 43 h 90"/>
                  <a:gd name="T16" fmla="*/ 111 w 144"/>
                  <a:gd name="T17" fmla="*/ 38 h 90"/>
                  <a:gd name="T18" fmla="*/ 104 w 144"/>
                  <a:gd name="T19" fmla="*/ 31 h 90"/>
                  <a:gd name="T20" fmla="*/ 94 w 144"/>
                  <a:gd name="T21" fmla="*/ 34 h 90"/>
                  <a:gd name="T22" fmla="*/ 85 w 144"/>
                  <a:gd name="T23" fmla="*/ 36 h 90"/>
                  <a:gd name="T24" fmla="*/ 75 w 144"/>
                  <a:gd name="T25" fmla="*/ 36 h 90"/>
                  <a:gd name="T26" fmla="*/ 71 w 144"/>
                  <a:gd name="T27" fmla="*/ 31 h 90"/>
                  <a:gd name="T28" fmla="*/ 68 w 144"/>
                  <a:gd name="T29" fmla="*/ 29 h 90"/>
                  <a:gd name="T30" fmla="*/ 61 w 144"/>
                  <a:gd name="T31" fmla="*/ 34 h 90"/>
                  <a:gd name="T32" fmla="*/ 52 w 144"/>
                  <a:gd name="T33" fmla="*/ 29 h 90"/>
                  <a:gd name="T34" fmla="*/ 45 w 144"/>
                  <a:gd name="T35" fmla="*/ 29 h 90"/>
                  <a:gd name="T36" fmla="*/ 33 w 144"/>
                  <a:gd name="T37" fmla="*/ 29 h 90"/>
                  <a:gd name="T38" fmla="*/ 30 w 144"/>
                  <a:gd name="T39" fmla="*/ 22 h 90"/>
                  <a:gd name="T40" fmla="*/ 33 w 144"/>
                  <a:gd name="T41" fmla="*/ 22 h 90"/>
                  <a:gd name="T42" fmla="*/ 40 w 144"/>
                  <a:gd name="T43" fmla="*/ 17 h 90"/>
                  <a:gd name="T44" fmla="*/ 52 w 144"/>
                  <a:gd name="T45" fmla="*/ 22 h 90"/>
                  <a:gd name="T46" fmla="*/ 56 w 144"/>
                  <a:gd name="T47" fmla="*/ 17 h 90"/>
                  <a:gd name="T48" fmla="*/ 49 w 144"/>
                  <a:gd name="T49" fmla="*/ 15 h 90"/>
                  <a:gd name="T50" fmla="*/ 45 w 144"/>
                  <a:gd name="T51" fmla="*/ 12 h 90"/>
                  <a:gd name="T52" fmla="*/ 49 w 144"/>
                  <a:gd name="T53" fmla="*/ 8 h 90"/>
                  <a:gd name="T54" fmla="*/ 45 w 144"/>
                  <a:gd name="T55" fmla="*/ 0 h 90"/>
                  <a:gd name="T56" fmla="*/ 38 w 144"/>
                  <a:gd name="T57" fmla="*/ 5 h 90"/>
                  <a:gd name="T58" fmla="*/ 28 w 144"/>
                  <a:gd name="T59" fmla="*/ 5 h 90"/>
                  <a:gd name="T60" fmla="*/ 28 w 144"/>
                  <a:gd name="T61" fmla="*/ 15 h 90"/>
                  <a:gd name="T62" fmla="*/ 23 w 144"/>
                  <a:gd name="T63" fmla="*/ 17 h 90"/>
                  <a:gd name="T64" fmla="*/ 23 w 144"/>
                  <a:gd name="T65" fmla="*/ 19 h 90"/>
                  <a:gd name="T66" fmla="*/ 21 w 144"/>
                  <a:gd name="T67" fmla="*/ 22 h 90"/>
                  <a:gd name="T68" fmla="*/ 21 w 144"/>
                  <a:gd name="T69" fmla="*/ 22 h 90"/>
                  <a:gd name="T70" fmla="*/ 19 w 144"/>
                  <a:gd name="T71" fmla="*/ 24 h 90"/>
                  <a:gd name="T72" fmla="*/ 16 w 144"/>
                  <a:gd name="T73" fmla="*/ 31 h 90"/>
                  <a:gd name="T74" fmla="*/ 2 w 144"/>
                  <a:gd name="T75" fmla="*/ 29 h 90"/>
                  <a:gd name="T76" fmla="*/ 0 w 144"/>
                  <a:gd name="T77" fmla="*/ 36 h 90"/>
                  <a:gd name="T78" fmla="*/ 9 w 144"/>
                  <a:gd name="T79" fmla="*/ 41 h 90"/>
                  <a:gd name="T80" fmla="*/ 14 w 144"/>
                  <a:gd name="T81" fmla="*/ 43 h 90"/>
                  <a:gd name="T82" fmla="*/ 21 w 144"/>
                  <a:gd name="T83" fmla="*/ 57 h 90"/>
                  <a:gd name="T84" fmla="*/ 21 w 144"/>
                  <a:gd name="T85" fmla="*/ 64 h 90"/>
                  <a:gd name="T86" fmla="*/ 16 w 144"/>
                  <a:gd name="T87" fmla="*/ 81 h 90"/>
                  <a:gd name="T88" fmla="*/ 26 w 144"/>
                  <a:gd name="T89" fmla="*/ 83 h 90"/>
                  <a:gd name="T90" fmla="*/ 33 w 144"/>
                  <a:gd name="T91" fmla="*/ 79 h 90"/>
                  <a:gd name="T92" fmla="*/ 35 w 144"/>
                  <a:gd name="T93" fmla="*/ 76 h 90"/>
                  <a:gd name="T94" fmla="*/ 42 w 144"/>
                  <a:gd name="T95" fmla="*/ 81 h 90"/>
                  <a:gd name="T96" fmla="*/ 45 w 144"/>
                  <a:gd name="T97" fmla="*/ 71 h 90"/>
                  <a:gd name="T98" fmla="*/ 56 w 144"/>
                  <a:gd name="T99" fmla="*/ 71 h 90"/>
                  <a:gd name="T100" fmla="*/ 56 w 144"/>
                  <a:gd name="T101" fmla="*/ 64 h 90"/>
                  <a:gd name="T102" fmla="*/ 64 w 144"/>
                  <a:gd name="T103" fmla="*/ 52 h 90"/>
                  <a:gd name="T104" fmla="*/ 75 w 144"/>
                  <a:gd name="T105" fmla="*/ 64 h 90"/>
                  <a:gd name="T106" fmla="*/ 80 w 144"/>
                  <a:gd name="T107" fmla="*/ 67 h 90"/>
                  <a:gd name="T108" fmla="*/ 82 w 144"/>
                  <a:gd name="T109" fmla="*/ 88 h 90"/>
                  <a:gd name="T110" fmla="*/ 94 w 144"/>
                  <a:gd name="T111" fmla="*/ 86 h 90"/>
                  <a:gd name="T112" fmla="*/ 113 w 144"/>
                  <a:gd name="T113" fmla="*/ 74 h 90"/>
                  <a:gd name="T114" fmla="*/ 120 w 144"/>
                  <a:gd name="T115" fmla="*/ 76 h 90"/>
                  <a:gd name="T116" fmla="*/ 123 w 144"/>
                  <a:gd name="T117" fmla="*/ 79 h 90"/>
                  <a:gd name="T118" fmla="*/ 132 w 144"/>
                  <a:gd name="T119" fmla="*/ 76 h 90"/>
                  <a:gd name="T120" fmla="*/ 139 w 144"/>
                  <a:gd name="T121" fmla="*/ 7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4" h="90">
                    <a:moveTo>
                      <a:pt x="52" y="24"/>
                    </a:moveTo>
                    <a:lnTo>
                      <a:pt x="52" y="22"/>
                    </a:lnTo>
                    <a:lnTo>
                      <a:pt x="49" y="22"/>
                    </a:lnTo>
                    <a:lnTo>
                      <a:pt x="52" y="24"/>
                    </a:lnTo>
                    <a:lnTo>
                      <a:pt x="52" y="24"/>
                    </a:lnTo>
                    <a:lnTo>
                      <a:pt x="52" y="24"/>
                    </a:lnTo>
                    <a:lnTo>
                      <a:pt x="54" y="24"/>
                    </a:lnTo>
                    <a:lnTo>
                      <a:pt x="54" y="24"/>
                    </a:lnTo>
                    <a:lnTo>
                      <a:pt x="54" y="24"/>
                    </a:lnTo>
                    <a:lnTo>
                      <a:pt x="54" y="24"/>
                    </a:lnTo>
                    <a:lnTo>
                      <a:pt x="52" y="24"/>
                    </a:lnTo>
                    <a:close/>
                    <a:moveTo>
                      <a:pt x="47" y="3"/>
                    </a:moveTo>
                    <a:lnTo>
                      <a:pt x="47" y="3"/>
                    </a:lnTo>
                    <a:lnTo>
                      <a:pt x="47" y="3"/>
                    </a:lnTo>
                    <a:lnTo>
                      <a:pt x="47" y="0"/>
                    </a:lnTo>
                    <a:lnTo>
                      <a:pt x="47" y="0"/>
                    </a:lnTo>
                    <a:lnTo>
                      <a:pt x="45" y="0"/>
                    </a:lnTo>
                    <a:lnTo>
                      <a:pt x="47" y="0"/>
                    </a:lnTo>
                    <a:lnTo>
                      <a:pt x="47" y="3"/>
                    </a:lnTo>
                    <a:close/>
                    <a:moveTo>
                      <a:pt x="142" y="74"/>
                    </a:moveTo>
                    <a:lnTo>
                      <a:pt x="139" y="74"/>
                    </a:lnTo>
                    <a:lnTo>
                      <a:pt x="139" y="71"/>
                    </a:lnTo>
                    <a:lnTo>
                      <a:pt x="139" y="71"/>
                    </a:lnTo>
                    <a:lnTo>
                      <a:pt x="139" y="69"/>
                    </a:lnTo>
                    <a:lnTo>
                      <a:pt x="139" y="67"/>
                    </a:lnTo>
                    <a:lnTo>
                      <a:pt x="137" y="67"/>
                    </a:lnTo>
                    <a:lnTo>
                      <a:pt x="137" y="67"/>
                    </a:lnTo>
                    <a:lnTo>
                      <a:pt x="137" y="64"/>
                    </a:lnTo>
                    <a:lnTo>
                      <a:pt x="134" y="62"/>
                    </a:lnTo>
                    <a:lnTo>
                      <a:pt x="134" y="60"/>
                    </a:lnTo>
                    <a:lnTo>
                      <a:pt x="132" y="60"/>
                    </a:lnTo>
                    <a:lnTo>
                      <a:pt x="132" y="57"/>
                    </a:lnTo>
                    <a:lnTo>
                      <a:pt x="132" y="55"/>
                    </a:lnTo>
                    <a:lnTo>
                      <a:pt x="132" y="52"/>
                    </a:lnTo>
                    <a:lnTo>
                      <a:pt x="132" y="52"/>
                    </a:lnTo>
                    <a:lnTo>
                      <a:pt x="127" y="50"/>
                    </a:lnTo>
                    <a:lnTo>
                      <a:pt x="123" y="48"/>
                    </a:lnTo>
                    <a:lnTo>
                      <a:pt x="120" y="48"/>
                    </a:lnTo>
                    <a:lnTo>
                      <a:pt x="120" y="48"/>
                    </a:lnTo>
                    <a:lnTo>
                      <a:pt x="118" y="50"/>
                    </a:lnTo>
                    <a:lnTo>
                      <a:pt x="118" y="50"/>
                    </a:lnTo>
                    <a:lnTo>
                      <a:pt x="118" y="50"/>
                    </a:lnTo>
                    <a:lnTo>
                      <a:pt x="116" y="50"/>
                    </a:lnTo>
                    <a:lnTo>
                      <a:pt x="113" y="50"/>
                    </a:lnTo>
                    <a:lnTo>
                      <a:pt x="113" y="48"/>
                    </a:lnTo>
                    <a:lnTo>
                      <a:pt x="111" y="45"/>
                    </a:lnTo>
                    <a:lnTo>
                      <a:pt x="111" y="45"/>
                    </a:lnTo>
                    <a:lnTo>
                      <a:pt x="111" y="43"/>
                    </a:lnTo>
                    <a:lnTo>
                      <a:pt x="111" y="43"/>
                    </a:lnTo>
                    <a:lnTo>
                      <a:pt x="113" y="43"/>
                    </a:lnTo>
                    <a:lnTo>
                      <a:pt x="113" y="43"/>
                    </a:lnTo>
                    <a:lnTo>
                      <a:pt x="113" y="41"/>
                    </a:lnTo>
                    <a:lnTo>
                      <a:pt x="111" y="41"/>
                    </a:lnTo>
                    <a:lnTo>
                      <a:pt x="111" y="38"/>
                    </a:lnTo>
                    <a:lnTo>
                      <a:pt x="108" y="36"/>
                    </a:lnTo>
                    <a:lnTo>
                      <a:pt x="108" y="36"/>
                    </a:lnTo>
                    <a:lnTo>
                      <a:pt x="106" y="34"/>
                    </a:lnTo>
                    <a:lnTo>
                      <a:pt x="106" y="31"/>
                    </a:lnTo>
                    <a:lnTo>
                      <a:pt x="106" y="31"/>
                    </a:lnTo>
                    <a:lnTo>
                      <a:pt x="104" y="31"/>
                    </a:lnTo>
                    <a:lnTo>
                      <a:pt x="104" y="31"/>
                    </a:lnTo>
                    <a:lnTo>
                      <a:pt x="101" y="34"/>
                    </a:lnTo>
                    <a:lnTo>
                      <a:pt x="101" y="34"/>
                    </a:lnTo>
                    <a:lnTo>
                      <a:pt x="99" y="34"/>
                    </a:lnTo>
                    <a:lnTo>
                      <a:pt x="97" y="34"/>
                    </a:lnTo>
                    <a:lnTo>
                      <a:pt x="94" y="34"/>
                    </a:lnTo>
                    <a:lnTo>
                      <a:pt x="90" y="34"/>
                    </a:lnTo>
                    <a:lnTo>
                      <a:pt x="90" y="34"/>
                    </a:lnTo>
                    <a:lnTo>
                      <a:pt x="87" y="34"/>
                    </a:lnTo>
                    <a:lnTo>
                      <a:pt x="85" y="34"/>
                    </a:lnTo>
                    <a:lnTo>
                      <a:pt x="85" y="36"/>
                    </a:lnTo>
                    <a:lnTo>
                      <a:pt x="85" y="36"/>
                    </a:lnTo>
                    <a:lnTo>
                      <a:pt x="85" y="36"/>
                    </a:lnTo>
                    <a:lnTo>
                      <a:pt x="82" y="36"/>
                    </a:lnTo>
                    <a:lnTo>
                      <a:pt x="80" y="34"/>
                    </a:lnTo>
                    <a:lnTo>
                      <a:pt x="80" y="34"/>
                    </a:lnTo>
                    <a:lnTo>
                      <a:pt x="80" y="34"/>
                    </a:lnTo>
                    <a:lnTo>
                      <a:pt x="75" y="36"/>
                    </a:lnTo>
                    <a:lnTo>
                      <a:pt x="75" y="36"/>
                    </a:lnTo>
                    <a:lnTo>
                      <a:pt x="75" y="36"/>
                    </a:lnTo>
                    <a:lnTo>
                      <a:pt x="75" y="34"/>
                    </a:lnTo>
                    <a:lnTo>
                      <a:pt x="75" y="31"/>
                    </a:lnTo>
                    <a:lnTo>
                      <a:pt x="73" y="31"/>
                    </a:lnTo>
                    <a:lnTo>
                      <a:pt x="71" y="31"/>
                    </a:lnTo>
                    <a:lnTo>
                      <a:pt x="71" y="31"/>
                    </a:lnTo>
                    <a:lnTo>
                      <a:pt x="71" y="31"/>
                    </a:lnTo>
                    <a:lnTo>
                      <a:pt x="71" y="29"/>
                    </a:lnTo>
                    <a:lnTo>
                      <a:pt x="71" y="29"/>
                    </a:lnTo>
                    <a:lnTo>
                      <a:pt x="68" y="29"/>
                    </a:lnTo>
                    <a:lnTo>
                      <a:pt x="68" y="29"/>
                    </a:lnTo>
                    <a:lnTo>
                      <a:pt x="66" y="29"/>
                    </a:lnTo>
                    <a:lnTo>
                      <a:pt x="66" y="29"/>
                    </a:lnTo>
                    <a:lnTo>
                      <a:pt x="64" y="31"/>
                    </a:lnTo>
                    <a:lnTo>
                      <a:pt x="64" y="31"/>
                    </a:lnTo>
                    <a:lnTo>
                      <a:pt x="64" y="31"/>
                    </a:lnTo>
                    <a:lnTo>
                      <a:pt x="61" y="34"/>
                    </a:lnTo>
                    <a:lnTo>
                      <a:pt x="59" y="34"/>
                    </a:lnTo>
                    <a:lnTo>
                      <a:pt x="56" y="34"/>
                    </a:lnTo>
                    <a:lnTo>
                      <a:pt x="56" y="31"/>
                    </a:lnTo>
                    <a:lnTo>
                      <a:pt x="54" y="29"/>
                    </a:lnTo>
                    <a:lnTo>
                      <a:pt x="54" y="29"/>
                    </a:lnTo>
                    <a:lnTo>
                      <a:pt x="52" y="29"/>
                    </a:lnTo>
                    <a:lnTo>
                      <a:pt x="49" y="29"/>
                    </a:lnTo>
                    <a:lnTo>
                      <a:pt x="47" y="29"/>
                    </a:lnTo>
                    <a:lnTo>
                      <a:pt x="47" y="29"/>
                    </a:lnTo>
                    <a:lnTo>
                      <a:pt x="47" y="29"/>
                    </a:lnTo>
                    <a:lnTo>
                      <a:pt x="47" y="29"/>
                    </a:lnTo>
                    <a:lnTo>
                      <a:pt x="45" y="29"/>
                    </a:lnTo>
                    <a:lnTo>
                      <a:pt x="42" y="29"/>
                    </a:lnTo>
                    <a:lnTo>
                      <a:pt x="40" y="29"/>
                    </a:lnTo>
                    <a:lnTo>
                      <a:pt x="38" y="29"/>
                    </a:lnTo>
                    <a:lnTo>
                      <a:pt x="38" y="29"/>
                    </a:lnTo>
                    <a:lnTo>
                      <a:pt x="35" y="29"/>
                    </a:lnTo>
                    <a:lnTo>
                      <a:pt x="33" y="29"/>
                    </a:lnTo>
                    <a:lnTo>
                      <a:pt x="33" y="31"/>
                    </a:lnTo>
                    <a:lnTo>
                      <a:pt x="30" y="26"/>
                    </a:lnTo>
                    <a:lnTo>
                      <a:pt x="30" y="24"/>
                    </a:lnTo>
                    <a:lnTo>
                      <a:pt x="30" y="24"/>
                    </a:lnTo>
                    <a:lnTo>
                      <a:pt x="30" y="22"/>
                    </a:lnTo>
                    <a:lnTo>
                      <a:pt x="30" y="22"/>
                    </a:lnTo>
                    <a:lnTo>
                      <a:pt x="30" y="22"/>
                    </a:lnTo>
                    <a:lnTo>
                      <a:pt x="33" y="22"/>
                    </a:lnTo>
                    <a:lnTo>
                      <a:pt x="33" y="22"/>
                    </a:lnTo>
                    <a:lnTo>
                      <a:pt x="33" y="22"/>
                    </a:lnTo>
                    <a:lnTo>
                      <a:pt x="33" y="19"/>
                    </a:lnTo>
                    <a:lnTo>
                      <a:pt x="33" y="22"/>
                    </a:lnTo>
                    <a:lnTo>
                      <a:pt x="33" y="22"/>
                    </a:lnTo>
                    <a:lnTo>
                      <a:pt x="33" y="19"/>
                    </a:lnTo>
                    <a:lnTo>
                      <a:pt x="33" y="19"/>
                    </a:lnTo>
                    <a:lnTo>
                      <a:pt x="33" y="19"/>
                    </a:lnTo>
                    <a:lnTo>
                      <a:pt x="38" y="19"/>
                    </a:lnTo>
                    <a:lnTo>
                      <a:pt x="40" y="17"/>
                    </a:lnTo>
                    <a:lnTo>
                      <a:pt x="42" y="19"/>
                    </a:lnTo>
                    <a:lnTo>
                      <a:pt x="45" y="19"/>
                    </a:lnTo>
                    <a:lnTo>
                      <a:pt x="47" y="19"/>
                    </a:lnTo>
                    <a:lnTo>
                      <a:pt x="49" y="22"/>
                    </a:lnTo>
                    <a:lnTo>
                      <a:pt x="52" y="22"/>
                    </a:lnTo>
                    <a:lnTo>
                      <a:pt x="52" y="22"/>
                    </a:lnTo>
                    <a:lnTo>
                      <a:pt x="52" y="22"/>
                    </a:lnTo>
                    <a:lnTo>
                      <a:pt x="52" y="19"/>
                    </a:lnTo>
                    <a:lnTo>
                      <a:pt x="52" y="19"/>
                    </a:lnTo>
                    <a:lnTo>
                      <a:pt x="54" y="19"/>
                    </a:lnTo>
                    <a:lnTo>
                      <a:pt x="56" y="17"/>
                    </a:lnTo>
                    <a:lnTo>
                      <a:pt x="56" y="17"/>
                    </a:lnTo>
                    <a:lnTo>
                      <a:pt x="56" y="17"/>
                    </a:lnTo>
                    <a:lnTo>
                      <a:pt x="56" y="17"/>
                    </a:lnTo>
                    <a:lnTo>
                      <a:pt x="52" y="17"/>
                    </a:lnTo>
                    <a:lnTo>
                      <a:pt x="52" y="17"/>
                    </a:lnTo>
                    <a:lnTo>
                      <a:pt x="49" y="17"/>
                    </a:lnTo>
                    <a:lnTo>
                      <a:pt x="49" y="15"/>
                    </a:lnTo>
                    <a:lnTo>
                      <a:pt x="47" y="15"/>
                    </a:lnTo>
                    <a:lnTo>
                      <a:pt x="47" y="15"/>
                    </a:lnTo>
                    <a:lnTo>
                      <a:pt x="47" y="15"/>
                    </a:lnTo>
                    <a:lnTo>
                      <a:pt x="45" y="12"/>
                    </a:lnTo>
                    <a:lnTo>
                      <a:pt x="45" y="12"/>
                    </a:lnTo>
                    <a:lnTo>
                      <a:pt x="45" y="12"/>
                    </a:lnTo>
                    <a:lnTo>
                      <a:pt x="47" y="10"/>
                    </a:lnTo>
                    <a:lnTo>
                      <a:pt x="49" y="8"/>
                    </a:lnTo>
                    <a:lnTo>
                      <a:pt x="49" y="8"/>
                    </a:lnTo>
                    <a:lnTo>
                      <a:pt x="49" y="8"/>
                    </a:lnTo>
                    <a:lnTo>
                      <a:pt x="52" y="8"/>
                    </a:lnTo>
                    <a:lnTo>
                      <a:pt x="49" y="8"/>
                    </a:lnTo>
                    <a:lnTo>
                      <a:pt x="49" y="5"/>
                    </a:lnTo>
                    <a:lnTo>
                      <a:pt x="49" y="5"/>
                    </a:lnTo>
                    <a:lnTo>
                      <a:pt x="49" y="5"/>
                    </a:lnTo>
                    <a:lnTo>
                      <a:pt x="49" y="5"/>
                    </a:lnTo>
                    <a:lnTo>
                      <a:pt x="47" y="3"/>
                    </a:lnTo>
                    <a:lnTo>
                      <a:pt x="45" y="0"/>
                    </a:lnTo>
                    <a:lnTo>
                      <a:pt x="42" y="0"/>
                    </a:lnTo>
                    <a:lnTo>
                      <a:pt x="42" y="0"/>
                    </a:lnTo>
                    <a:lnTo>
                      <a:pt x="42" y="3"/>
                    </a:lnTo>
                    <a:lnTo>
                      <a:pt x="42" y="3"/>
                    </a:lnTo>
                    <a:lnTo>
                      <a:pt x="40" y="5"/>
                    </a:lnTo>
                    <a:lnTo>
                      <a:pt x="38" y="5"/>
                    </a:lnTo>
                    <a:lnTo>
                      <a:pt x="35" y="8"/>
                    </a:lnTo>
                    <a:lnTo>
                      <a:pt x="33" y="8"/>
                    </a:lnTo>
                    <a:lnTo>
                      <a:pt x="33" y="8"/>
                    </a:lnTo>
                    <a:lnTo>
                      <a:pt x="30" y="8"/>
                    </a:lnTo>
                    <a:lnTo>
                      <a:pt x="28" y="5"/>
                    </a:lnTo>
                    <a:lnTo>
                      <a:pt x="28" y="5"/>
                    </a:lnTo>
                    <a:lnTo>
                      <a:pt x="26" y="5"/>
                    </a:lnTo>
                    <a:lnTo>
                      <a:pt x="26" y="8"/>
                    </a:lnTo>
                    <a:lnTo>
                      <a:pt x="26" y="8"/>
                    </a:lnTo>
                    <a:lnTo>
                      <a:pt x="26" y="10"/>
                    </a:lnTo>
                    <a:lnTo>
                      <a:pt x="26" y="10"/>
                    </a:lnTo>
                    <a:lnTo>
                      <a:pt x="28" y="15"/>
                    </a:lnTo>
                    <a:lnTo>
                      <a:pt x="28" y="15"/>
                    </a:lnTo>
                    <a:lnTo>
                      <a:pt x="26" y="15"/>
                    </a:lnTo>
                    <a:lnTo>
                      <a:pt x="28" y="17"/>
                    </a:lnTo>
                    <a:lnTo>
                      <a:pt x="28" y="17"/>
                    </a:lnTo>
                    <a:lnTo>
                      <a:pt x="26" y="17"/>
                    </a:lnTo>
                    <a:lnTo>
                      <a:pt x="23" y="17"/>
                    </a:lnTo>
                    <a:lnTo>
                      <a:pt x="16" y="17"/>
                    </a:lnTo>
                    <a:lnTo>
                      <a:pt x="16" y="19"/>
                    </a:lnTo>
                    <a:lnTo>
                      <a:pt x="16" y="19"/>
                    </a:lnTo>
                    <a:lnTo>
                      <a:pt x="19" y="19"/>
                    </a:lnTo>
                    <a:lnTo>
                      <a:pt x="21" y="19"/>
                    </a:lnTo>
                    <a:lnTo>
                      <a:pt x="23" y="19"/>
                    </a:lnTo>
                    <a:lnTo>
                      <a:pt x="23" y="19"/>
                    </a:lnTo>
                    <a:lnTo>
                      <a:pt x="23" y="19"/>
                    </a:lnTo>
                    <a:lnTo>
                      <a:pt x="23" y="19"/>
                    </a:lnTo>
                    <a:lnTo>
                      <a:pt x="23" y="19"/>
                    </a:lnTo>
                    <a:lnTo>
                      <a:pt x="21" y="22"/>
                    </a:lnTo>
                    <a:lnTo>
                      <a:pt x="21" y="22"/>
                    </a:lnTo>
                    <a:lnTo>
                      <a:pt x="21" y="22"/>
                    </a:lnTo>
                    <a:lnTo>
                      <a:pt x="21" y="22"/>
                    </a:lnTo>
                    <a:lnTo>
                      <a:pt x="23" y="22"/>
                    </a:lnTo>
                    <a:lnTo>
                      <a:pt x="23" y="22"/>
                    </a:lnTo>
                    <a:lnTo>
                      <a:pt x="23" y="22"/>
                    </a:lnTo>
                    <a:lnTo>
                      <a:pt x="21" y="22"/>
                    </a:lnTo>
                    <a:lnTo>
                      <a:pt x="21" y="22"/>
                    </a:lnTo>
                    <a:lnTo>
                      <a:pt x="21" y="22"/>
                    </a:lnTo>
                    <a:lnTo>
                      <a:pt x="21" y="22"/>
                    </a:lnTo>
                    <a:lnTo>
                      <a:pt x="21" y="24"/>
                    </a:lnTo>
                    <a:lnTo>
                      <a:pt x="21" y="24"/>
                    </a:lnTo>
                    <a:lnTo>
                      <a:pt x="19" y="24"/>
                    </a:lnTo>
                    <a:lnTo>
                      <a:pt x="19" y="24"/>
                    </a:lnTo>
                    <a:lnTo>
                      <a:pt x="19" y="26"/>
                    </a:lnTo>
                    <a:lnTo>
                      <a:pt x="19" y="29"/>
                    </a:lnTo>
                    <a:lnTo>
                      <a:pt x="19" y="29"/>
                    </a:lnTo>
                    <a:lnTo>
                      <a:pt x="16" y="29"/>
                    </a:lnTo>
                    <a:lnTo>
                      <a:pt x="16" y="31"/>
                    </a:lnTo>
                    <a:lnTo>
                      <a:pt x="14" y="29"/>
                    </a:lnTo>
                    <a:lnTo>
                      <a:pt x="14" y="29"/>
                    </a:lnTo>
                    <a:lnTo>
                      <a:pt x="11" y="29"/>
                    </a:lnTo>
                    <a:lnTo>
                      <a:pt x="7" y="29"/>
                    </a:lnTo>
                    <a:lnTo>
                      <a:pt x="4" y="29"/>
                    </a:lnTo>
                    <a:lnTo>
                      <a:pt x="2" y="29"/>
                    </a:lnTo>
                    <a:lnTo>
                      <a:pt x="0" y="31"/>
                    </a:lnTo>
                    <a:lnTo>
                      <a:pt x="0" y="31"/>
                    </a:lnTo>
                    <a:lnTo>
                      <a:pt x="0" y="31"/>
                    </a:lnTo>
                    <a:lnTo>
                      <a:pt x="0" y="36"/>
                    </a:lnTo>
                    <a:lnTo>
                      <a:pt x="0" y="36"/>
                    </a:lnTo>
                    <a:lnTo>
                      <a:pt x="0" y="36"/>
                    </a:lnTo>
                    <a:lnTo>
                      <a:pt x="4" y="38"/>
                    </a:lnTo>
                    <a:lnTo>
                      <a:pt x="4" y="38"/>
                    </a:lnTo>
                    <a:lnTo>
                      <a:pt x="7" y="38"/>
                    </a:lnTo>
                    <a:lnTo>
                      <a:pt x="7" y="41"/>
                    </a:lnTo>
                    <a:lnTo>
                      <a:pt x="7" y="41"/>
                    </a:lnTo>
                    <a:lnTo>
                      <a:pt x="9" y="41"/>
                    </a:lnTo>
                    <a:lnTo>
                      <a:pt x="9" y="41"/>
                    </a:lnTo>
                    <a:lnTo>
                      <a:pt x="11" y="41"/>
                    </a:lnTo>
                    <a:lnTo>
                      <a:pt x="14" y="41"/>
                    </a:lnTo>
                    <a:lnTo>
                      <a:pt x="14" y="43"/>
                    </a:lnTo>
                    <a:lnTo>
                      <a:pt x="14" y="43"/>
                    </a:lnTo>
                    <a:lnTo>
                      <a:pt x="14" y="43"/>
                    </a:lnTo>
                    <a:lnTo>
                      <a:pt x="14" y="48"/>
                    </a:lnTo>
                    <a:lnTo>
                      <a:pt x="14" y="50"/>
                    </a:lnTo>
                    <a:lnTo>
                      <a:pt x="16" y="52"/>
                    </a:lnTo>
                    <a:lnTo>
                      <a:pt x="16" y="55"/>
                    </a:lnTo>
                    <a:lnTo>
                      <a:pt x="19" y="57"/>
                    </a:lnTo>
                    <a:lnTo>
                      <a:pt x="21" y="57"/>
                    </a:lnTo>
                    <a:lnTo>
                      <a:pt x="21" y="57"/>
                    </a:lnTo>
                    <a:lnTo>
                      <a:pt x="21" y="60"/>
                    </a:lnTo>
                    <a:lnTo>
                      <a:pt x="21" y="60"/>
                    </a:lnTo>
                    <a:lnTo>
                      <a:pt x="21" y="62"/>
                    </a:lnTo>
                    <a:lnTo>
                      <a:pt x="21" y="64"/>
                    </a:lnTo>
                    <a:lnTo>
                      <a:pt x="21" y="64"/>
                    </a:lnTo>
                    <a:lnTo>
                      <a:pt x="19" y="67"/>
                    </a:lnTo>
                    <a:lnTo>
                      <a:pt x="19" y="69"/>
                    </a:lnTo>
                    <a:lnTo>
                      <a:pt x="16" y="71"/>
                    </a:lnTo>
                    <a:lnTo>
                      <a:pt x="16" y="74"/>
                    </a:lnTo>
                    <a:lnTo>
                      <a:pt x="16" y="79"/>
                    </a:lnTo>
                    <a:lnTo>
                      <a:pt x="16" y="81"/>
                    </a:lnTo>
                    <a:lnTo>
                      <a:pt x="16" y="81"/>
                    </a:lnTo>
                    <a:lnTo>
                      <a:pt x="19" y="83"/>
                    </a:lnTo>
                    <a:lnTo>
                      <a:pt x="21" y="86"/>
                    </a:lnTo>
                    <a:lnTo>
                      <a:pt x="23" y="86"/>
                    </a:lnTo>
                    <a:lnTo>
                      <a:pt x="26" y="83"/>
                    </a:lnTo>
                    <a:lnTo>
                      <a:pt x="26" y="83"/>
                    </a:lnTo>
                    <a:lnTo>
                      <a:pt x="26" y="83"/>
                    </a:lnTo>
                    <a:lnTo>
                      <a:pt x="26" y="83"/>
                    </a:lnTo>
                    <a:lnTo>
                      <a:pt x="28" y="81"/>
                    </a:lnTo>
                    <a:lnTo>
                      <a:pt x="30" y="81"/>
                    </a:lnTo>
                    <a:lnTo>
                      <a:pt x="30" y="79"/>
                    </a:lnTo>
                    <a:lnTo>
                      <a:pt x="33" y="79"/>
                    </a:lnTo>
                    <a:lnTo>
                      <a:pt x="33" y="79"/>
                    </a:lnTo>
                    <a:lnTo>
                      <a:pt x="33" y="79"/>
                    </a:lnTo>
                    <a:lnTo>
                      <a:pt x="35" y="79"/>
                    </a:lnTo>
                    <a:lnTo>
                      <a:pt x="35" y="79"/>
                    </a:lnTo>
                    <a:lnTo>
                      <a:pt x="35" y="76"/>
                    </a:lnTo>
                    <a:lnTo>
                      <a:pt x="35" y="76"/>
                    </a:lnTo>
                    <a:lnTo>
                      <a:pt x="35" y="76"/>
                    </a:lnTo>
                    <a:lnTo>
                      <a:pt x="38" y="76"/>
                    </a:lnTo>
                    <a:lnTo>
                      <a:pt x="38" y="79"/>
                    </a:lnTo>
                    <a:lnTo>
                      <a:pt x="40" y="81"/>
                    </a:lnTo>
                    <a:lnTo>
                      <a:pt x="42" y="81"/>
                    </a:lnTo>
                    <a:lnTo>
                      <a:pt x="42" y="81"/>
                    </a:lnTo>
                    <a:lnTo>
                      <a:pt x="45" y="81"/>
                    </a:lnTo>
                    <a:lnTo>
                      <a:pt x="45" y="79"/>
                    </a:lnTo>
                    <a:lnTo>
                      <a:pt x="45" y="79"/>
                    </a:lnTo>
                    <a:lnTo>
                      <a:pt x="45" y="76"/>
                    </a:lnTo>
                    <a:lnTo>
                      <a:pt x="45" y="74"/>
                    </a:lnTo>
                    <a:lnTo>
                      <a:pt x="45" y="71"/>
                    </a:lnTo>
                    <a:lnTo>
                      <a:pt x="47" y="71"/>
                    </a:lnTo>
                    <a:lnTo>
                      <a:pt x="49" y="71"/>
                    </a:lnTo>
                    <a:lnTo>
                      <a:pt x="52" y="71"/>
                    </a:lnTo>
                    <a:lnTo>
                      <a:pt x="54" y="71"/>
                    </a:lnTo>
                    <a:lnTo>
                      <a:pt x="54" y="71"/>
                    </a:lnTo>
                    <a:lnTo>
                      <a:pt x="56" y="71"/>
                    </a:lnTo>
                    <a:lnTo>
                      <a:pt x="56" y="71"/>
                    </a:lnTo>
                    <a:lnTo>
                      <a:pt x="56" y="69"/>
                    </a:lnTo>
                    <a:lnTo>
                      <a:pt x="56" y="67"/>
                    </a:lnTo>
                    <a:lnTo>
                      <a:pt x="56" y="64"/>
                    </a:lnTo>
                    <a:lnTo>
                      <a:pt x="56" y="64"/>
                    </a:lnTo>
                    <a:lnTo>
                      <a:pt x="56" y="64"/>
                    </a:lnTo>
                    <a:lnTo>
                      <a:pt x="56" y="62"/>
                    </a:lnTo>
                    <a:lnTo>
                      <a:pt x="59" y="62"/>
                    </a:lnTo>
                    <a:lnTo>
                      <a:pt x="59" y="60"/>
                    </a:lnTo>
                    <a:lnTo>
                      <a:pt x="61" y="55"/>
                    </a:lnTo>
                    <a:lnTo>
                      <a:pt x="61" y="52"/>
                    </a:lnTo>
                    <a:lnTo>
                      <a:pt x="64" y="52"/>
                    </a:lnTo>
                    <a:lnTo>
                      <a:pt x="68" y="55"/>
                    </a:lnTo>
                    <a:lnTo>
                      <a:pt x="71" y="57"/>
                    </a:lnTo>
                    <a:lnTo>
                      <a:pt x="73" y="60"/>
                    </a:lnTo>
                    <a:lnTo>
                      <a:pt x="73" y="62"/>
                    </a:lnTo>
                    <a:lnTo>
                      <a:pt x="73" y="64"/>
                    </a:lnTo>
                    <a:lnTo>
                      <a:pt x="75" y="64"/>
                    </a:lnTo>
                    <a:lnTo>
                      <a:pt x="75" y="64"/>
                    </a:lnTo>
                    <a:lnTo>
                      <a:pt x="78" y="64"/>
                    </a:lnTo>
                    <a:lnTo>
                      <a:pt x="78" y="64"/>
                    </a:lnTo>
                    <a:lnTo>
                      <a:pt x="80" y="64"/>
                    </a:lnTo>
                    <a:lnTo>
                      <a:pt x="80" y="67"/>
                    </a:lnTo>
                    <a:lnTo>
                      <a:pt x="80" y="67"/>
                    </a:lnTo>
                    <a:lnTo>
                      <a:pt x="80" y="71"/>
                    </a:lnTo>
                    <a:lnTo>
                      <a:pt x="80" y="74"/>
                    </a:lnTo>
                    <a:lnTo>
                      <a:pt x="80" y="79"/>
                    </a:lnTo>
                    <a:lnTo>
                      <a:pt x="80" y="81"/>
                    </a:lnTo>
                    <a:lnTo>
                      <a:pt x="82" y="83"/>
                    </a:lnTo>
                    <a:lnTo>
                      <a:pt x="82" y="88"/>
                    </a:lnTo>
                    <a:lnTo>
                      <a:pt x="85" y="90"/>
                    </a:lnTo>
                    <a:lnTo>
                      <a:pt x="87" y="90"/>
                    </a:lnTo>
                    <a:lnTo>
                      <a:pt x="87" y="90"/>
                    </a:lnTo>
                    <a:lnTo>
                      <a:pt x="90" y="90"/>
                    </a:lnTo>
                    <a:lnTo>
                      <a:pt x="92" y="88"/>
                    </a:lnTo>
                    <a:lnTo>
                      <a:pt x="94" y="86"/>
                    </a:lnTo>
                    <a:lnTo>
                      <a:pt x="97" y="86"/>
                    </a:lnTo>
                    <a:lnTo>
                      <a:pt x="101" y="83"/>
                    </a:lnTo>
                    <a:lnTo>
                      <a:pt x="104" y="81"/>
                    </a:lnTo>
                    <a:lnTo>
                      <a:pt x="106" y="79"/>
                    </a:lnTo>
                    <a:lnTo>
                      <a:pt x="111" y="76"/>
                    </a:lnTo>
                    <a:lnTo>
                      <a:pt x="113" y="74"/>
                    </a:lnTo>
                    <a:lnTo>
                      <a:pt x="116" y="74"/>
                    </a:lnTo>
                    <a:lnTo>
                      <a:pt x="116" y="74"/>
                    </a:lnTo>
                    <a:lnTo>
                      <a:pt x="118" y="74"/>
                    </a:lnTo>
                    <a:lnTo>
                      <a:pt x="118" y="74"/>
                    </a:lnTo>
                    <a:lnTo>
                      <a:pt x="118" y="76"/>
                    </a:lnTo>
                    <a:lnTo>
                      <a:pt x="120" y="76"/>
                    </a:lnTo>
                    <a:lnTo>
                      <a:pt x="120" y="76"/>
                    </a:lnTo>
                    <a:lnTo>
                      <a:pt x="118" y="79"/>
                    </a:lnTo>
                    <a:lnTo>
                      <a:pt x="118" y="79"/>
                    </a:lnTo>
                    <a:lnTo>
                      <a:pt x="118" y="79"/>
                    </a:lnTo>
                    <a:lnTo>
                      <a:pt x="120" y="79"/>
                    </a:lnTo>
                    <a:lnTo>
                      <a:pt x="123" y="79"/>
                    </a:lnTo>
                    <a:lnTo>
                      <a:pt x="125" y="76"/>
                    </a:lnTo>
                    <a:lnTo>
                      <a:pt x="127" y="76"/>
                    </a:lnTo>
                    <a:lnTo>
                      <a:pt x="127" y="76"/>
                    </a:lnTo>
                    <a:lnTo>
                      <a:pt x="127" y="76"/>
                    </a:lnTo>
                    <a:lnTo>
                      <a:pt x="130" y="76"/>
                    </a:lnTo>
                    <a:lnTo>
                      <a:pt x="132" y="76"/>
                    </a:lnTo>
                    <a:lnTo>
                      <a:pt x="132" y="76"/>
                    </a:lnTo>
                    <a:lnTo>
                      <a:pt x="134" y="76"/>
                    </a:lnTo>
                    <a:lnTo>
                      <a:pt x="137" y="76"/>
                    </a:lnTo>
                    <a:lnTo>
                      <a:pt x="139" y="79"/>
                    </a:lnTo>
                    <a:lnTo>
                      <a:pt x="139" y="79"/>
                    </a:lnTo>
                    <a:lnTo>
                      <a:pt x="139" y="79"/>
                    </a:lnTo>
                    <a:lnTo>
                      <a:pt x="142" y="79"/>
                    </a:lnTo>
                    <a:lnTo>
                      <a:pt x="142" y="79"/>
                    </a:lnTo>
                    <a:lnTo>
                      <a:pt x="144" y="76"/>
                    </a:lnTo>
                    <a:lnTo>
                      <a:pt x="144" y="76"/>
                    </a:lnTo>
                    <a:lnTo>
                      <a:pt x="142" y="74"/>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30"/>
              <p:cNvSpPr>
                <a:spLocks noEditPoints="1"/>
              </p:cNvSpPr>
              <p:nvPr/>
            </p:nvSpPr>
            <p:spPr bwMode="auto">
              <a:xfrm>
                <a:off x="4904" y="2265"/>
                <a:ext cx="63" cy="71"/>
              </a:xfrm>
              <a:custGeom>
                <a:avLst/>
                <a:gdLst>
                  <a:gd name="T0" fmla="*/ 0 w 63"/>
                  <a:gd name="T1" fmla="*/ 16 h 71"/>
                  <a:gd name="T2" fmla="*/ 2 w 63"/>
                  <a:gd name="T3" fmla="*/ 19 h 71"/>
                  <a:gd name="T4" fmla="*/ 2 w 63"/>
                  <a:gd name="T5" fmla="*/ 16 h 71"/>
                  <a:gd name="T6" fmla="*/ 63 w 63"/>
                  <a:gd name="T7" fmla="*/ 21 h 71"/>
                  <a:gd name="T8" fmla="*/ 63 w 63"/>
                  <a:gd name="T9" fmla="*/ 14 h 71"/>
                  <a:gd name="T10" fmla="*/ 63 w 63"/>
                  <a:gd name="T11" fmla="*/ 9 h 71"/>
                  <a:gd name="T12" fmla="*/ 63 w 63"/>
                  <a:gd name="T13" fmla="*/ 7 h 71"/>
                  <a:gd name="T14" fmla="*/ 61 w 63"/>
                  <a:gd name="T15" fmla="*/ 5 h 71"/>
                  <a:gd name="T16" fmla="*/ 59 w 63"/>
                  <a:gd name="T17" fmla="*/ 2 h 71"/>
                  <a:gd name="T18" fmla="*/ 56 w 63"/>
                  <a:gd name="T19" fmla="*/ 0 h 71"/>
                  <a:gd name="T20" fmla="*/ 54 w 63"/>
                  <a:gd name="T21" fmla="*/ 2 h 71"/>
                  <a:gd name="T22" fmla="*/ 49 w 63"/>
                  <a:gd name="T23" fmla="*/ 5 h 71"/>
                  <a:gd name="T24" fmla="*/ 47 w 63"/>
                  <a:gd name="T25" fmla="*/ 7 h 71"/>
                  <a:gd name="T26" fmla="*/ 45 w 63"/>
                  <a:gd name="T27" fmla="*/ 12 h 71"/>
                  <a:gd name="T28" fmla="*/ 42 w 63"/>
                  <a:gd name="T29" fmla="*/ 16 h 71"/>
                  <a:gd name="T30" fmla="*/ 37 w 63"/>
                  <a:gd name="T31" fmla="*/ 35 h 71"/>
                  <a:gd name="T32" fmla="*/ 37 w 63"/>
                  <a:gd name="T33" fmla="*/ 40 h 71"/>
                  <a:gd name="T34" fmla="*/ 37 w 63"/>
                  <a:gd name="T35" fmla="*/ 45 h 71"/>
                  <a:gd name="T36" fmla="*/ 37 w 63"/>
                  <a:gd name="T37" fmla="*/ 47 h 71"/>
                  <a:gd name="T38" fmla="*/ 40 w 63"/>
                  <a:gd name="T39" fmla="*/ 50 h 71"/>
                  <a:gd name="T40" fmla="*/ 45 w 63"/>
                  <a:gd name="T41" fmla="*/ 57 h 71"/>
                  <a:gd name="T42" fmla="*/ 45 w 63"/>
                  <a:gd name="T43" fmla="*/ 59 h 71"/>
                  <a:gd name="T44" fmla="*/ 47 w 63"/>
                  <a:gd name="T45" fmla="*/ 61 h 71"/>
                  <a:gd name="T46" fmla="*/ 52 w 63"/>
                  <a:gd name="T47" fmla="*/ 64 h 71"/>
                  <a:gd name="T48" fmla="*/ 54 w 63"/>
                  <a:gd name="T49" fmla="*/ 69 h 71"/>
                  <a:gd name="T50" fmla="*/ 56 w 63"/>
                  <a:gd name="T51" fmla="*/ 71 h 71"/>
                  <a:gd name="T52" fmla="*/ 56 w 63"/>
                  <a:gd name="T53" fmla="*/ 66 h 71"/>
                  <a:gd name="T54" fmla="*/ 56 w 63"/>
                  <a:gd name="T55" fmla="*/ 61 h 71"/>
                  <a:gd name="T56" fmla="*/ 56 w 63"/>
                  <a:gd name="T57" fmla="*/ 57 h 71"/>
                  <a:gd name="T58" fmla="*/ 61 w 63"/>
                  <a:gd name="T59" fmla="*/ 50 h 71"/>
                  <a:gd name="T60" fmla="*/ 61 w 63"/>
                  <a:gd name="T61" fmla="*/ 45 h 71"/>
                  <a:gd name="T62" fmla="*/ 61 w 63"/>
                  <a:gd name="T63" fmla="*/ 35 h 71"/>
                  <a:gd name="T64" fmla="*/ 61 w 63"/>
                  <a:gd name="T65" fmla="*/ 26 h 71"/>
                  <a:gd name="T66" fmla="*/ 63 w 63"/>
                  <a:gd name="T67" fmla="*/ 2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3" h="71">
                    <a:moveTo>
                      <a:pt x="2" y="19"/>
                    </a:moveTo>
                    <a:lnTo>
                      <a:pt x="0" y="16"/>
                    </a:lnTo>
                    <a:lnTo>
                      <a:pt x="0" y="19"/>
                    </a:lnTo>
                    <a:lnTo>
                      <a:pt x="2" y="19"/>
                    </a:lnTo>
                    <a:lnTo>
                      <a:pt x="2" y="19"/>
                    </a:lnTo>
                    <a:lnTo>
                      <a:pt x="2" y="16"/>
                    </a:lnTo>
                    <a:lnTo>
                      <a:pt x="2" y="19"/>
                    </a:lnTo>
                    <a:close/>
                    <a:moveTo>
                      <a:pt x="63" y="21"/>
                    </a:moveTo>
                    <a:lnTo>
                      <a:pt x="63" y="16"/>
                    </a:lnTo>
                    <a:lnTo>
                      <a:pt x="63" y="14"/>
                    </a:lnTo>
                    <a:lnTo>
                      <a:pt x="63" y="12"/>
                    </a:lnTo>
                    <a:lnTo>
                      <a:pt x="63" y="9"/>
                    </a:lnTo>
                    <a:lnTo>
                      <a:pt x="63" y="9"/>
                    </a:lnTo>
                    <a:lnTo>
                      <a:pt x="63" y="7"/>
                    </a:lnTo>
                    <a:lnTo>
                      <a:pt x="63" y="5"/>
                    </a:lnTo>
                    <a:lnTo>
                      <a:pt x="61" y="5"/>
                    </a:lnTo>
                    <a:lnTo>
                      <a:pt x="59" y="2"/>
                    </a:lnTo>
                    <a:lnTo>
                      <a:pt x="59" y="2"/>
                    </a:lnTo>
                    <a:lnTo>
                      <a:pt x="59" y="2"/>
                    </a:lnTo>
                    <a:lnTo>
                      <a:pt x="56" y="0"/>
                    </a:lnTo>
                    <a:lnTo>
                      <a:pt x="56" y="0"/>
                    </a:lnTo>
                    <a:lnTo>
                      <a:pt x="54" y="2"/>
                    </a:lnTo>
                    <a:lnTo>
                      <a:pt x="54" y="2"/>
                    </a:lnTo>
                    <a:lnTo>
                      <a:pt x="49" y="5"/>
                    </a:lnTo>
                    <a:lnTo>
                      <a:pt x="47" y="7"/>
                    </a:lnTo>
                    <a:lnTo>
                      <a:pt x="47" y="7"/>
                    </a:lnTo>
                    <a:lnTo>
                      <a:pt x="47" y="9"/>
                    </a:lnTo>
                    <a:lnTo>
                      <a:pt x="45" y="12"/>
                    </a:lnTo>
                    <a:lnTo>
                      <a:pt x="45" y="14"/>
                    </a:lnTo>
                    <a:lnTo>
                      <a:pt x="42" y="16"/>
                    </a:lnTo>
                    <a:lnTo>
                      <a:pt x="37" y="33"/>
                    </a:lnTo>
                    <a:lnTo>
                      <a:pt x="37" y="35"/>
                    </a:lnTo>
                    <a:lnTo>
                      <a:pt x="37" y="38"/>
                    </a:lnTo>
                    <a:lnTo>
                      <a:pt x="37" y="40"/>
                    </a:lnTo>
                    <a:lnTo>
                      <a:pt x="37" y="43"/>
                    </a:lnTo>
                    <a:lnTo>
                      <a:pt x="37" y="45"/>
                    </a:lnTo>
                    <a:lnTo>
                      <a:pt x="37" y="45"/>
                    </a:lnTo>
                    <a:lnTo>
                      <a:pt x="37" y="47"/>
                    </a:lnTo>
                    <a:lnTo>
                      <a:pt x="40" y="47"/>
                    </a:lnTo>
                    <a:lnTo>
                      <a:pt x="40" y="50"/>
                    </a:lnTo>
                    <a:lnTo>
                      <a:pt x="42" y="54"/>
                    </a:lnTo>
                    <a:lnTo>
                      <a:pt x="45" y="57"/>
                    </a:lnTo>
                    <a:lnTo>
                      <a:pt x="45" y="59"/>
                    </a:lnTo>
                    <a:lnTo>
                      <a:pt x="45" y="59"/>
                    </a:lnTo>
                    <a:lnTo>
                      <a:pt x="47" y="59"/>
                    </a:lnTo>
                    <a:lnTo>
                      <a:pt x="47" y="61"/>
                    </a:lnTo>
                    <a:lnTo>
                      <a:pt x="49" y="61"/>
                    </a:lnTo>
                    <a:lnTo>
                      <a:pt x="52" y="64"/>
                    </a:lnTo>
                    <a:lnTo>
                      <a:pt x="52" y="66"/>
                    </a:lnTo>
                    <a:lnTo>
                      <a:pt x="54" y="69"/>
                    </a:lnTo>
                    <a:lnTo>
                      <a:pt x="54" y="71"/>
                    </a:lnTo>
                    <a:lnTo>
                      <a:pt x="56" y="71"/>
                    </a:lnTo>
                    <a:lnTo>
                      <a:pt x="56" y="69"/>
                    </a:lnTo>
                    <a:lnTo>
                      <a:pt x="56" y="66"/>
                    </a:lnTo>
                    <a:lnTo>
                      <a:pt x="56" y="64"/>
                    </a:lnTo>
                    <a:lnTo>
                      <a:pt x="56" y="61"/>
                    </a:lnTo>
                    <a:lnTo>
                      <a:pt x="56" y="59"/>
                    </a:lnTo>
                    <a:lnTo>
                      <a:pt x="56" y="57"/>
                    </a:lnTo>
                    <a:lnTo>
                      <a:pt x="59" y="54"/>
                    </a:lnTo>
                    <a:lnTo>
                      <a:pt x="61" y="50"/>
                    </a:lnTo>
                    <a:lnTo>
                      <a:pt x="61" y="47"/>
                    </a:lnTo>
                    <a:lnTo>
                      <a:pt x="61" y="45"/>
                    </a:lnTo>
                    <a:lnTo>
                      <a:pt x="63" y="40"/>
                    </a:lnTo>
                    <a:lnTo>
                      <a:pt x="61" y="35"/>
                    </a:lnTo>
                    <a:lnTo>
                      <a:pt x="63" y="31"/>
                    </a:lnTo>
                    <a:lnTo>
                      <a:pt x="61" y="26"/>
                    </a:lnTo>
                    <a:lnTo>
                      <a:pt x="63" y="26"/>
                    </a:lnTo>
                    <a:lnTo>
                      <a:pt x="63" y="21"/>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31"/>
              <p:cNvSpPr>
                <a:spLocks/>
              </p:cNvSpPr>
              <p:nvPr/>
            </p:nvSpPr>
            <p:spPr bwMode="auto">
              <a:xfrm>
                <a:off x="3387" y="2012"/>
                <a:ext cx="114" cy="106"/>
              </a:xfrm>
              <a:custGeom>
                <a:avLst/>
                <a:gdLst>
                  <a:gd name="T0" fmla="*/ 111 w 114"/>
                  <a:gd name="T1" fmla="*/ 0 h 106"/>
                  <a:gd name="T2" fmla="*/ 109 w 114"/>
                  <a:gd name="T3" fmla="*/ 0 h 106"/>
                  <a:gd name="T4" fmla="*/ 102 w 114"/>
                  <a:gd name="T5" fmla="*/ 2 h 106"/>
                  <a:gd name="T6" fmla="*/ 95 w 114"/>
                  <a:gd name="T7" fmla="*/ 4 h 106"/>
                  <a:gd name="T8" fmla="*/ 85 w 114"/>
                  <a:gd name="T9" fmla="*/ 2 h 106"/>
                  <a:gd name="T10" fmla="*/ 74 w 114"/>
                  <a:gd name="T11" fmla="*/ 9 h 106"/>
                  <a:gd name="T12" fmla="*/ 62 w 114"/>
                  <a:gd name="T13" fmla="*/ 11 h 106"/>
                  <a:gd name="T14" fmla="*/ 52 w 114"/>
                  <a:gd name="T15" fmla="*/ 11 h 106"/>
                  <a:gd name="T16" fmla="*/ 45 w 114"/>
                  <a:gd name="T17" fmla="*/ 9 h 106"/>
                  <a:gd name="T18" fmla="*/ 41 w 114"/>
                  <a:gd name="T19" fmla="*/ 7 h 106"/>
                  <a:gd name="T20" fmla="*/ 33 w 114"/>
                  <a:gd name="T21" fmla="*/ 11 h 106"/>
                  <a:gd name="T22" fmla="*/ 26 w 114"/>
                  <a:gd name="T23" fmla="*/ 14 h 106"/>
                  <a:gd name="T24" fmla="*/ 22 w 114"/>
                  <a:gd name="T25" fmla="*/ 11 h 106"/>
                  <a:gd name="T26" fmla="*/ 15 w 114"/>
                  <a:gd name="T27" fmla="*/ 9 h 106"/>
                  <a:gd name="T28" fmla="*/ 15 w 114"/>
                  <a:gd name="T29" fmla="*/ 16 h 106"/>
                  <a:gd name="T30" fmla="*/ 15 w 114"/>
                  <a:gd name="T31" fmla="*/ 21 h 106"/>
                  <a:gd name="T32" fmla="*/ 12 w 114"/>
                  <a:gd name="T33" fmla="*/ 23 h 106"/>
                  <a:gd name="T34" fmla="*/ 10 w 114"/>
                  <a:gd name="T35" fmla="*/ 28 h 106"/>
                  <a:gd name="T36" fmla="*/ 7 w 114"/>
                  <a:gd name="T37" fmla="*/ 30 h 106"/>
                  <a:gd name="T38" fmla="*/ 3 w 114"/>
                  <a:gd name="T39" fmla="*/ 30 h 106"/>
                  <a:gd name="T40" fmla="*/ 5 w 114"/>
                  <a:gd name="T41" fmla="*/ 40 h 106"/>
                  <a:gd name="T42" fmla="*/ 5 w 114"/>
                  <a:gd name="T43" fmla="*/ 47 h 106"/>
                  <a:gd name="T44" fmla="*/ 7 w 114"/>
                  <a:gd name="T45" fmla="*/ 56 h 106"/>
                  <a:gd name="T46" fmla="*/ 12 w 114"/>
                  <a:gd name="T47" fmla="*/ 54 h 106"/>
                  <a:gd name="T48" fmla="*/ 15 w 114"/>
                  <a:gd name="T49" fmla="*/ 56 h 106"/>
                  <a:gd name="T50" fmla="*/ 15 w 114"/>
                  <a:gd name="T51" fmla="*/ 59 h 106"/>
                  <a:gd name="T52" fmla="*/ 19 w 114"/>
                  <a:gd name="T53" fmla="*/ 66 h 106"/>
                  <a:gd name="T54" fmla="*/ 17 w 114"/>
                  <a:gd name="T55" fmla="*/ 68 h 106"/>
                  <a:gd name="T56" fmla="*/ 15 w 114"/>
                  <a:gd name="T57" fmla="*/ 71 h 106"/>
                  <a:gd name="T58" fmla="*/ 15 w 114"/>
                  <a:gd name="T59" fmla="*/ 73 h 106"/>
                  <a:gd name="T60" fmla="*/ 12 w 114"/>
                  <a:gd name="T61" fmla="*/ 73 h 106"/>
                  <a:gd name="T62" fmla="*/ 10 w 114"/>
                  <a:gd name="T63" fmla="*/ 73 h 106"/>
                  <a:gd name="T64" fmla="*/ 7 w 114"/>
                  <a:gd name="T65" fmla="*/ 78 h 106"/>
                  <a:gd name="T66" fmla="*/ 10 w 114"/>
                  <a:gd name="T67" fmla="*/ 78 h 106"/>
                  <a:gd name="T68" fmla="*/ 7 w 114"/>
                  <a:gd name="T69" fmla="*/ 80 h 106"/>
                  <a:gd name="T70" fmla="*/ 7 w 114"/>
                  <a:gd name="T71" fmla="*/ 82 h 106"/>
                  <a:gd name="T72" fmla="*/ 7 w 114"/>
                  <a:gd name="T73" fmla="*/ 85 h 106"/>
                  <a:gd name="T74" fmla="*/ 7 w 114"/>
                  <a:gd name="T75" fmla="*/ 90 h 106"/>
                  <a:gd name="T76" fmla="*/ 7 w 114"/>
                  <a:gd name="T77" fmla="*/ 92 h 106"/>
                  <a:gd name="T78" fmla="*/ 7 w 114"/>
                  <a:gd name="T79" fmla="*/ 97 h 106"/>
                  <a:gd name="T80" fmla="*/ 12 w 114"/>
                  <a:gd name="T81" fmla="*/ 101 h 106"/>
                  <a:gd name="T82" fmla="*/ 17 w 114"/>
                  <a:gd name="T83" fmla="*/ 104 h 106"/>
                  <a:gd name="T84" fmla="*/ 31 w 114"/>
                  <a:gd name="T85" fmla="*/ 101 h 106"/>
                  <a:gd name="T86" fmla="*/ 41 w 114"/>
                  <a:gd name="T87" fmla="*/ 94 h 106"/>
                  <a:gd name="T88" fmla="*/ 55 w 114"/>
                  <a:gd name="T89" fmla="*/ 85 h 106"/>
                  <a:gd name="T90" fmla="*/ 67 w 114"/>
                  <a:gd name="T91" fmla="*/ 78 h 106"/>
                  <a:gd name="T92" fmla="*/ 81 w 114"/>
                  <a:gd name="T93" fmla="*/ 68 h 106"/>
                  <a:gd name="T94" fmla="*/ 95 w 114"/>
                  <a:gd name="T95" fmla="*/ 61 h 106"/>
                  <a:gd name="T96" fmla="*/ 97 w 114"/>
                  <a:gd name="T97" fmla="*/ 54 h 106"/>
                  <a:gd name="T98" fmla="*/ 97 w 114"/>
                  <a:gd name="T99" fmla="*/ 42 h 106"/>
                  <a:gd name="T100" fmla="*/ 100 w 114"/>
                  <a:gd name="T101" fmla="*/ 35 h 106"/>
                  <a:gd name="T102" fmla="*/ 97 w 114"/>
                  <a:gd name="T103" fmla="*/ 28 h 106"/>
                  <a:gd name="T104" fmla="*/ 97 w 114"/>
                  <a:gd name="T105" fmla="*/ 21 h 106"/>
                  <a:gd name="T106" fmla="*/ 97 w 114"/>
                  <a:gd name="T107" fmla="*/ 16 h 106"/>
                  <a:gd name="T108" fmla="*/ 107 w 114"/>
                  <a:gd name="T109" fmla="*/ 11 h 106"/>
                  <a:gd name="T110" fmla="*/ 114 w 114"/>
                  <a:gd name="T111" fmla="*/ 4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4" h="106">
                    <a:moveTo>
                      <a:pt x="114" y="2"/>
                    </a:moveTo>
                    <a:lnTo>
                      <a:pt x="111" y="0"/>
                    </a:lnTo>
                    <a:lnTo>
                      <a:pt x="111" y="0"/>
                    </a:lnTo>
                    <a:lnTo>
                      <a:pt x="111" y="0"/>
                    </a:lnTo>
                    <a:lnTo>
                      <a:pt x="111" y="0"/>
                    </a:lnTo>
                    <a:lnTo>
                      <a:pt x="109" y="0"/>
                    </a:lnTo>
                    <a:lnTo>
                      <a:pt x="109" y="0"/>
                    </a:lnTo>
                    <a:lnTo>
                      <a:pt x="104" y="2"/>
                    </a:lnTo>
                    <a:lnTo>
                      <a:pt x="102" y="2"/>
                    </a:lnTo>
                    <a:lnTo>
                      <a:pt x="100" y="4"/>
                    </a:lnTo>
                    <a:lnTo>
                      <a:pt x="95" y="4"/>
                    </a:lnTo>
                    <a:lnTo>
                      <a:pt x="95" y="4"/>
                    </a:lnTo>
                    <a:lnTo>
                      <a:pt x="93" y="4"/>
                    </a:lnTo>
                    <a:lnTo>
                      <a:pt x="90" y="2"/>
                    </a:lnTo>
                    <a:lnTo>
                      <a:pt x="85" y="2"/>
                    </a:lnTo>
                    <a:lnTo>
                      <a:pt x="85" y="2"/>
                    </a:lnTo>
                    <a:lnTo>
                      <a:pt x="81" y="4"/>
                    </a:lnTo>
                    <a:lnTo>
                      <a:pt x="74" y="9"/>
                    </a:lnTo>
                    <a:lnTo>
                      <a:pt x="69" y="11"/>
                    </a:lnTo>
                    <a:lnTo>
                      <a:pt x="64" y="11"/>
                    </a:lnTo>
                    <a:lnTo>
                      <a:pt x="62" y="11"/>
                    </a:lnTo>
                    <a:lnTo>
                      <a:pt x="57" y="11"/>
                    </a:lnTo>
                    <a:lnTo>
                      <a:pt x="55" y="11"/>
                    </a:lnTo>
                    <a:lnTo>
                      <a:pt x="52" y="11"/>
                    </a:lnTo>
                    <a:lnTo>
                      <a:pt x="50" y="11"/>
                    </a:lnTo>
                    <a:lnTo>
                      <a:pt x="48" y="9"/>
                    </a:lnTo>
                    <a:lnTo>
                      <a:pt x="45" y="9"/>
                    </a:lnTo>
                    <a:lnTo>
                      <a:pt x="45" y="7"/>
                    </a:lnTo>
                    <a:lnTo>
                      <a:pt x="43" y="7"/>
                    </a:lnTo>
                    <a:lnTo>
                      <a:pt x="41" y="7"/>
                    </a:lnTo>
                    <a:lnTo>
                      <a:pt x="36" y="9"/>
                    </a:lnTo>
                    <a:lnTo>
                      <a:pt x="36" y="11"/>
                    </a:lnTo>
                    <a:lnTo>
                      <a:pt x="33" y="11"/>
                    </a:lnTo>
                    <a:lnTo>
                      <a:pt x="31" y="11"/>
                    </a:lnTo>
                    <a:lnTo>
                      <a:pt x="29" y="14"/>
                    </a:lnTo>
                    <a:lnTo>
                      <a:pt x="26" y="14"/>
                    </a:lnTo>
                    <a:lnTo>
                      <a:pt x="24" y="14"/>
                    </a:lnTo>
                    <a:lnTo>
                      <a:pt x="22" y="14"/>
                    </a:lnTo>
                    <a:lnTo>
                      <a:pt x="22" y="11"/>
                    </a:lnTo>
                    <a:lnTo>
                      <a:pt x="19" y="11"/>
                    </a:lnTo>
                    <a:lnTo>
                      <a:pt x="17" y="9"/>
                    </a:lnTo>
                    <a:lnTo>
                      <a:pt x="15" y="9"/>
                    </a:lnTo>
                    <a:lnTo>
                      <a:pt x="15" y="9"/>
                    </a:lnTo>
                    <a:lnTo>
                      <a:pt x="15" y="11"/>
                    </a:lnTo>
                    <a:lnTo>
                      <a:pt x="15" y="16"/>
                    </a:lnTo>
                    <a:lnTo>
                      <a:pt x="12" y="16"/>
                    </a:lnTo>
                    <a:lnTo>
                      <a:pt x="15" y="21"/>
                    </a:lnTo>
                    <a:lnTo>
                      <a:pt x="15" y="21"/>
                    </a:lnTo>
                    <a:lnTo>
                      <a:pt x="15" y="21"/>
                    </a:lnTo>
                    <a:lnTo>
                      <a:pt x="12" y="21"/>
                    </a:lnTo>
                    <a:lnTo>
                      <a:pt x="12" y="23"/>
                    </a:lnTo>
                    <a:lnTo>
                      <a:pt x="12" y="23"/>
                    </a:lnTo>
                    <a:lnTo>
                      <a:pt x="10" y="26"/>
                    </a:lnTo>
                    <a:lnTo>
                      <a:pt x="10" y="28"/>
                    </a:lnTo>
                    <a:lnTo>
                      <a:pt x="7" y="28"/>
                    </a:lnTo>
                    <a:lnTo>
                      <a:pt x="7" y="30"/>
                    </a:lnTo>
                    <a:lnTo>
                      <a:pt x="7" y="30"/>
                    </a:lnTo>
                    <a:lnTo>
                      <a:pt x="5" y="28"/>
                    </a:lnTo>
                    <a:lnTo>
                      <a:pt x="3" y="28"/>
                    </a:lnTo>
                    <a:lnTo>
                      <a:pt x="3" y="30"/>
                    </a:lnTo>
                    <a:lnTo>
                      <a:pt x="0" y="35"/>
                    </a:lnTo>
                    <a:lnTo>
                      <a:pt x="5" y="40"/>
                    </a:lnTo>
                    <a:lnTo>
                      <a:pt x="5" y="40"/>
                    </a:lnTo>
                    <a:lnTo>
                      <a:pt x="5" y="42"/>
                    </a:lnTo>
                    <a:lnTo>
                      <a:pt x="5" y="45"/>
                    </a:lnTo>
                    <a:lnTo>
                      <a:pt x="5" y="47"/>
                    </a:lnTo>
                    <a:lnTo>
                      <a:pt x="5" y="49"/>
                    </a:lnTo>
                    <a:lnTo>
                      <a:pt x="5" y="52"/>
                    </a:lnTo>
                    <a:lnTo>
                      <a:pt x="7" y="56"/>
                    </a:lnTo>
                    <a:lnTo>
                      <a:pt x="10" y="56"/>
                    </a:lnTo>
                    <a:lnTo>
                      <a:pt x="12" y="56"/>
                    </a:lnTo>
                    <a:lnTo>
                      <a:pt x="12" y="54"/>
                    </a:lnTo>
                    <a:lnTo>
                      <a:pt x="15" y="56"/>
                    </a:lnTo>
                    <a:lnTo>
                      <a:pt x="15" y="56"/>
                    </a:lnTo>
                    <a:lnTo>
                      <a:pt x="15" y="56"/>
                    </a:lnTo>
                    <a:lnTo>
                      <a:pt x="12" y="59"/>
                    </a:lnTo>
                    <a:lnTo>
                      <a:pt x="12" y="59"/>
                    </a:lnTo>
                    <a:lnTo>
                      <a:pt x="15" y="59"/>
                    </a:lnTo>
                    <a:lnTo>
                      <a:pt x="15" y="59"/>
                    </a:lnTo>
                    <a:lnTo>
                      <a:pt x="17" y="61"/>
                    </a:lnTo>
                    <a:lnTo>
                      <a:pt x="19" y="66"/>
                    </a:lnTo>
                    <a:lnTo>
                      <a:pt x="17" y="66"/>
                    </a:lnTo>
                    <a:lnTo>
                      <a:pt x="17" y="68"/>
                    </a:lnTo>
                    <a:lnTo>
                      <a:pt x="17" y="68"/>
                    </a:lnTo>
                    <a:lnTo>
                      <a:pt x="15" y="68"/>
                    </a:lnTo>
                    <a:lnTo>
                      <a:pt x="15" y="71"/>
                    </a:lnTo>
                    <a:lnTo>
                      <a:pt x="15" y="71"/>
                    </a:lnTo>
                    <a:lnTo>
                      <a:pt x="15" y="71"/>
                    </a:lnTo>
                    <a:lnTo>
                      <a:pt x="15" y="73"/>
                    </a:lnTo>
                    <a:lnTo>
                      <a:pt x="15" y="73"/>
                    </a:lnTo>
                    <a:lnTo>
                      <a:pt x="15" y="73"/>
                    </a:lnTo>
                    <a:lnTo>
                      <a:pt x="15" y="73"/>
                    </a:lnTo>
                    <a:lnTo>
                      <a:pt x="12" y="73"/>
                    </a:lnTo>
                    <a:lnTo>
                      <a:pt x="12" y="73"/>
                    </a:lnTo>
                    <a:lnTo>
                      <a:pt x="10" y="73"/>
                    </a:lnTo>
                    <a:lnTo>
                      <a:pt x="10" y="73"/>
                    </a:lnTo>
                    <a:lnTo>
                      <a:pt x="7" y="75"/>
                    </a:lnTo>
                    <a:lnTo>
                      <a:pt x="7" y="75"/>
                    </a:lnTo>
                    <a:lnTo>
                      <a:pt x="7" y="78"/>
                    </a:lnTo>
                    <a:lnTo>
                      <a:pt x="7" y="78"/>
                    </a:lnTo>
                    <a:lnTo>
                      <a:pt x="10" y="78"/>
                    </a:lnTo>
                    <a:lnTo>
                      <a:pt x="10" y="78"/>
                    </a:lnTo>
                    <a:lnTo>
                      <a:pt x="10" y="78"/>
                    </a:lnTo>
                    <a:lnTo>
                      <a:pt x="7" y="80"/>
                    </a:lnTo>
                    <a:lnTo>
                      <a:pt x="7" y="80"/>
                    </a:lnTo>
                    <a:lnTo>
                      <a:pt x="7" y="80"/>
                    </a:lnTo>
                    <a:lnTo>
                      <a:pt x="7" y="82"/>
                    </a:lnTo>
                    <a:lnTo>
                      <a:pt x="7" y="82"/>
                    </a:lnTo>
                    <a:lnTo>
                      <a:pt x="7" y="85"/>
                    </a:lnTo>
                    <a:lnTo>
                      <a:pt x="7" y="85"/>
                    </a:lnTo>
                    <a:lnTo>
                      <a:pt x="7" y="85"/>
                    </a:lnTo>
                    <a:lnTo>
                      <a:pt x="7" y="87"/>
                    </a:lnTo>
                    <a:lnTo>
                      <a:pt x="7" y="87"/>
                    </a:lnTo>
                    <a:lnTo>
                      <a:pt x="7" y="90"/>
                    </a:lnTo>
                    <a:lnTo>
                      <a:pt x="7" y="90"/>
                    </a:lnTo>
                    <a:lnTo>
                      <a:pt x="7" y="92"/>
                    </a:lnTo>
                    <a:lnTo>
                      <a:pt x="7" y="92"/>
                    </a:lnTo>
                    <a:lnTo>
                      <a:pt x="7" y="94"/>
                    </a:lnTo>
                    <a:lnTo>
                      <a:pt x="7" y="94"/>
                    </a:lnTo>
                    <a:lnTo>
                      <a:pt x="7" y="97"/>
                    </a:lnTo>
                    <a:lnTo>
                      <a:pt x="10" y="97"/>
                    </a:lnTo>
                    <a:lnTo>
                      <a:pt x="10" y="97"/>
                    </a:lnTo>
                    <a:lnTo>
                      <a:pt x="12" y="101"/>
                    </a:lnTo>
                    <a:lnTo>
                      <a:pt x="15" y="101"/>
                    </a:lnTo>
                    <a:lnTo>
                      <a:pt x="17" y="101"/>
                    </a:lnTo>
                    <a:lnTo>
                      <a:pt x="17" y="104"/>
                    </a:lnTo>
                    <a:lnTo>
                      <a:pt x="19" y="104"/>
                    </a:lnTo>
                    <a:lnTo>
                      <a:pt x="26" y="106"/>
                    </a:lnTo>
                    <a:lnTo>
                      <a:pt x="31" y="101"/>
                    </a:lnTo>
                    <a:lnTo>
                      <a:pt x="33" y="99"/>
                    </a:lnTo>
                    <a:lnTo>
                      <a:pt x="38" y="97"/>
                    </a:lnTo>
                    <a:lnTo>
                      <a:pt x="41" y="94"/>
                    </a:lnTo>
                    <a:lnTo>
                      <a:pt x="48" y="92"/>
                    </a:lnTo>
                    <a:lnTo>
                      <a:pt x="50" y="90"/>
                    </a:lnTo>
                    <a:lnTo>
                      <a:pt x="55" y="85"/>
                    </a:lnTo>
                    <a:lnTo>
                      <a:pt x="59" y="82"/>
                    </a:lnTo>
                    <a:lnTo>
                      <a:pt x="64" y="80"/>
                    </a:lnTo>
                    <a:lnTo>
                      <a:pt x="67" y="78"/>
                    </a:lnTo>
                    <a:lnTo>
                      <a:pt x="71" y="75"/>
                    </a:lnTo>
                    <a:lnTo>
                      <a:pt x="76" y="71"/>
                    </a:lnTo>
                    <a:lnTo>
                      <a:pt x="81" y="68"/>
                    </a:lnTo>
                    <a:lnTo>
                      <a:pt x="85" y="66"/>
                    </a:lnTo>
                    <a:lnTo>
                      <a:pt x="90" y="63"/>
                    </a:lnTo>
                    <a:lnTo>
                      <a:pt x="95" y="61"/>
                    </a:lnTo>
                    <a:lnTo>
                      <a:pt x="95" y="61"/>
                    </a:lnTo>
                    <a:lnTo>
                      <a:pt x="97" y="56"/>
                    </a:lnTo>
                    <a:lnTo>
                      <a:pt x="97" y="54"/>
                    </a:lnTo>
                    <a:lnTo>
                      <a:pt x="97" y="52"/>
                    </a:lnTo>
                    <a:lnTo>
                      <a:pt x="97" y="47"/>
                    </a:lnTo>
                    <a:lnTo>
                      <a:pt x="97" y="42"/>
                    </a:lnTo>
                    <a:lnTo>
                      <a:pt x="97" y="40"/>
                    </a:lnTo>
                    <a:lnTo>
                      <a:pt x="100" y="37"/>
                    </a:lnTo>
                    <a:lnTo>
                      <a:pt x="100" y="35"/>
                    </a:lnTo>
                    <a:lnTo>
                      <a:pt x="100" y="33"/>
                    </a:lnTo>
                    <a:lnTo>
                      <a:pt x="100" y="30"/>
                    </a:lnTo>
                    <a:lnTo>
                      <a:pt x="97" y="28"/>
                    </a:lnTo>
                    <a:lnTo>
                      <a:pt x="97" y="26"/>
                    </a:lnTo>
                    <a:lnTo>
                      <a:pt x="97" y="23"/>
                    </a:lnTo>
                    <a:lnTo>
                      <a:pt x="97" y="21"/>
                    </a:lnTo>
                    <a:lnTo>
                      <a:pt x="97" y="18"/>
                    </a:lnTo>
                    <a:lnTo>
                      <a:pt x="97" y="16"/>
                    </a:lnTo>
                    <a:lnTo>
                      <a:pt x="97" y="16"/>
                    </a:lnTo>
                    <a:lnTo>
                      <a:pt x="102" y="14"/>
                    </a:lnTo>
                    <a:lnTo>
                      <a:pt x="104" y="14"/>
                    </a:lnTo>
                    <a:lnTo>
                      <a:pt x="107" y="11"/>
                    </a:lnTo>
                    <a:lnTo>
                      <a:pt x="109" y="9"/>
                    </a:lnTo>
                    <a:lnTo>
                      <a:pt x="111" y="7"/>
                    </a:lnTo>
                    <a:lnTo>
                      <a:pt x="114" y="4"/>
                    </a:lnTo>
                    <a:lnTo>
                      <a:pt x="114" y="4"/>
                    </a:lnTo>
                    <a:lnTo>
                      <a:pt x="114" y="2"/>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32"/>
              <p:cNvSpPr>
                <a:spLocks/>
              </p:cNvSpPr>
              <p:nvPr/>
            </p:nvSpPr>
            <p:spPr bwMode="auto">
              <a:xfrm>
                <a:off x="2869" y="1794"/>
                <a:ext cx="76" cy="40"/>
              </a:xfrm>
              <a:custGeom>
                <a:avLst/>
                <a:gdLst>
                  <a:gd name="T0" fmla="*/ 76 w 76"/>
                  <a:gd name="T1" fmla="*/ 16 h 40"/>
                  <a:gd name="T2" fmla="*/ 71 w 76"/>
                  <a:gd name="T3" fmla="*/ 19 h 40"/>
                  <a:gd name="T4" fmla="*/ 67 w 76"/>
                  <a:gd name="T5" fmla="*/ 16 h 40"/>
                  <a:gd name="T6" fmla="*/ 62 w 76"/>
                  <a:gd name="T7" fmla="*/ 14 h 40"/>
                  <a:gd name="T8" fmla="*/ 59 w 76"/>
                  <a:gd name="T9" fmla="*/ 14 h 40"/>
                  <a:gd name="T10" fmla="*/ 59 w 76"/>
                  <a:gd name="T11" fmla="*/ 9 h 40"/>
                  <a:gd name="T12" fmla="*/ 62 w 76"/>
                  <a:gd name="T13" fmla="*/ 4 h 40"/>
                  <a:gd name="T14" fmla="*/ 55 w 76"/>
                  <a:gd name="T15" fmla="*/ 2 h 40"/>
                  <a:gd name="T16" fmla="*/ 50 w 76"/>
                  <a:gd name="T17" fmla="*/ 2 h 40"/>
                  <a:gd name="T18" fmla="*/ 48 w 76"/>
                  <a:gd name="T19" fmla="*/ 0 h 40"/>
                  <a:gd name="T20" fmla="*/ 45 w 76"/>
                  <a:gd name="T21" fmla="*/ 0 h 40"/>
                  <a:gd name="T22" fmla="*/ 43 w 76"/>
                  <a:gd name="T23" fmla="*/ 0 h 40"/>
                  <a:gd name="T24" fmla="*/ 43 w 76"/>
                  <a:gd name="T25" fmla="*/ 2 h 40"/>
                  <a:gd name="T26" fmla="*/ 45 w 76"/>
                  <a:gd name="T27" fmla="*/ 2 h 40"/>
                  <a:gd name="T28" fmla="*/ 43 w 76"/>
                  <a:gd name="T29" fmla="*/ 2 h 40"/>
                  <a:gd name="T30" fmla="*/ 40 w 76"/>
                  <a:gd name="T31" fmla="*/ 2 h 40"/>
                  <a:gd name="T32" fmla="*/ 33 w 76"/>
                  <a:gd name="T33" fmla="*/ 4 h 40"/>
                  <a:gd name="T34" fmla="*/ 26 w 76"/>
                  <a:gd name="T35" fmla="*/ 4 h 40"/>
                  <a:gd name="T36" fmla="*/ 24 w 76"/>
                  <a:gd name="T37" fmla="*/ 7 h 40"/>
                  <a:gd name="T38" fmla="*/ 22 w 76"/>
                  <a:gd name="T39" fmla="*/ 7 h 40"/>
                  <a:gd name="T40" fmla="*/ 19 w 76"/>
                  <a:gd name="T41" fmla="*/ 4 h 40"/>
                  <a:gd name="T42" fmla="*/ 17 w 76"/>
                  <a:gd name="T43" fmla="*/ 7 h 40"/>
                  <a:gd name="T44" fmla="*/ 19 w 76"/>
                  <a:gd name="T45" fmla="*/ 9 h 40"/>
                  <a:gd name="T46" fmla="*/ 17 w 76"/>
                  <a:gd name="T47" fmla="*/ 12 h 40"/>
                  <a:gd name="T48" fmla="*/ 12 w 76"/>
                  <a:gd name="T49" fmla="*/ 14 h 40"/>
                  <a:gd name="T50" fmla="*/ 10 w 76"/>
                  <a:gd name="T51" fmla="*/ 19 h 40"/>
                  <a:gd name="T52" fmla="*/ 5 w 76"/>
                  <a:gd name="T53" fmla="*/ 23 h 40"/>
                  <a:gd name="T54" fmla="*/ 3 w 76"/>
                  <a:gd name="T55" fmla="*/ 26 h 40"/>
                  <a:gd name="T56" fmla="*/ 3 w 76"/>
                  <a:gd name="T57" fmla="*/ 28 h 40"/>
                  <a:gd name="T58" fmla="*/ 0 w 76"/>
                  <a:gd name="T59" fmla="*/ 30 h 40"/>
                  <a:gd name="T60" fmla="*/ 3 w 76"/>
                  <a:gd name="T61" fmla="*/ 33 h 40"/>
                  <a:gd name="T62" fmla="*/ 5 w 76"/>
                  <a:gd name="T63" fmla="*/ 30 h 40"/>
                  <a:gd name="T64" fmla="*/ 7 w 76"/>
                  <a:gd name="T65" fmla="*/ 28 h 40"/>
                  <a:gd name="T66" fmla="*/ 14 w 76"/>
                  <a:gd name="T67" fmla="*/ 28 h 40"/>
                  <a:gd name="T68" fmla="*/ 14 w 76"/>
                  <a:gd name="T69" fmla="*/ 28 h 40"/>
                  <a:gd name="T70" fmla="*/ 14 w 76"/>
                  <a:gd name="T71" fmla="*/ 33 h 40"/>
                  <a:gd name="T72" fmla="*/ 17 w 76"/>
                  <a:gd name="T73" fmla="*/ 35 h 40"/>
                  <a:gd name="T74" fmla="*/ 19 w 76"/>
                  <a:gd name="T75" fmla="*/ 38 h 40"/>
                  <a:gd name="T76" fmla="*/ 26 w 76"/>
                  <a:gd name="T77" fmla="*/ 38 h 40"/>
                  <a:gd name="T78" fmla="*/ 31 w 76"/>
                  <a:gd name="T79" fmla="*/ 38 h 40"/>
                  <a:gd name="T80" fmla="*/ 36 w 76"/>
                  <a:gd name="T81" fmla="*/ 35 h 40"/>
                  <a:gd name="T82" fmla="*/ 36 w 76"/>
                  <a:gd name="T83" fmla="*/ 30 h 40"/>
                  <a:gd name="T84" fmla="*/ 40 w 76"/>
                  <a:gd name="T85" fmla="*/ 28 h 40"/>
                  <a:gd name="T86" fmla="*/ 43 w 76"/>
                  <a:gd name="T87" fmla="*/ 26 h 40"/>
                  <a:gd name="T88" fmla="*/ 43 w 76"/>
                  <a:gd name="T89" fmla="*/ 30 h 40"/>
                  <a:gd name="T90" fmla="*/ 48 w 76"/>
                  <a:gd name="T91" fmla="*/ 35 h 40"/>
                  <a:gd name="T92" fmla="*/ 50 w 76"/>
                  <a:gd name="T93" fmla="*/ 38 h 40"/>
                  <a:gd name="T94" fmla="*/ 52 w 76"/>
                  <a:gd name="T95" fmla="*/ 40 h 40"/>
                  <a:gd name="T96" fmla="*/ 52 w 76"/>
                  <a:gd name="T97" fmla="*/ 35 h 40"/>
                  <a:gd name="T98" fmla="*/ 52 w 76"/>
                  <a:gd name="T99" fmla="*/ 33 h 40"/>
                  <a:gd name="T100" fmla="*/ 57 w 76"/>
                  <a:gd name="T101" fmla="*/ 28 h 40"/>
                  <a:gd name="T102" fmla="*/ 59 w 76"/>
                  <a:gd name="T103" fmla="*/ 26 h 40"/>
                  <a:gd name="T104" fmla="*/ 59 w 76"/>
                  <a:gd name="T105" fmla="*/ 28 h 40"/>
                  <a:gd name="T106" fmla="*/ 62 w 76"/>
                  <a:gd name="T107" fmla="*/ 30 h 40"/>
                  <a:gd name="T108" fmla="*/ 67 w 76"/>
                  <a:gd name="T109" fmla="*/ 28 h 40"/>
                  <a:gd name="T110" fmla="*/ 69 w 76"/>
                  <a:gd name="T111" fmla="*/ 30 h 40"/>
                  <a:gd name="T112" fmla="*/ 71 w 76"/>
                  <a:gd name="T113" fmla="*/ 30 h 40"/>
                  <a:gd name="T114" fmla="*/ 69 w 76"/>
                  <a:gd name="T115" fmla="*/ 26 h 40"/>
                  <a:gd name="T116" fmla="*/ 69 w 76"/>
                  <a:gd name="T117" fmla="*/ 23 h 40"/>
                  <a:gd name="T118" fmla="*/ 74 w 76"/>
                  <a:gd name="T119" fmla="*/ 23 h 40"/>
                  <a:gd name="T120" fmla="*/ 76 w 76"/>
                  <a:gd name="T121" fmla="*/ 23 h 40"/>
                  <a:gd name="T122" fmla="*/ 76 w 76"/>
                  <a:gd name="T123" fmla="*/ 21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6" h="40">
                    <a:moveTo>
                      <a:pt x="76" y="19"/>
                    </a:moveTo>
                    <a:lnTo>
                      <a:pt x="76" y="16"/>
                    </a:lnTo>
                    <a:lnTo>
                      <a:pt x="76" y="16"/>
                    </a:lnTo>
                    <a:lnTo>
                      <a:pt x="74" y="16"/>
                    </a:lnTo>
                    <a:lnTo>
                      <a:pt x="71" y="19"/>
                    </a:lnTo>
                    <a:lnTo>
                      <a:pt x="71" y="19"/>
                    </a:lnTo>
                    <a:lnTo>
                      <a:pt x="69" y="16"/>
                    </a:lnTo>
                    <a:lnTo>
                      <a:pt x="67" y="16"/>
                    </a:lnTo>
                    <a:lnTo>
                      <a:pt x="67" y="16"/>
                    </a:lnTo>
                    <a:lnTo>
                      <a:pt x="67" y="14"/>
                    </a:lnTo>
                    <a:lnTo>
                      <a:pt x="64" y="14"/>
                    </a:lnTo>
                    <a:lnTo>
                      <a:pt x="62" y="14"/>
                    </a:lnTo>
                    <a:lnTo>
                      <a:pt x="62" y="14"/>
                    </a:lnTo>
                    <a:lnTo>
                      <a:pt x="59" y="14"/>
                    </a:lnTo>
                    <a:lnTo>
                      <a:pt x="59" y="14"/>
                    </a:lnTo>
                    <a:lnTo>
                      <a:pt x="59" y="14"/>
                    </a:lnTo>
                    <a:lnTo>
                      <a:pt x="59" y="12"/>
                    </a:lnTo>
                    <a:lnTo>
                      <a:pt x="59" y="9"/>
                    </a:lnTo>
                    <a:lnTo>
                      <a:pt x="62" y="7"/>
                    </a:lnTo>
                    <a:lnTo>
                      <a:pt x="62" y="4"/>
                    </a:lnTo>
                    <a:lnTo>
                      <a:pt x="62" y="4"/>
                    </a:lnTo>
                    <a:lnTo>
                      <a:pt x="59" y="4"/>
                    </a:lnTo>
                    <a:lnTo>
                      <a:pt x="57" y="2"/>
                    </a:lnTo>
                    <a:lnTo>
                      <a:pt x="55" y="2"/>
                    </a:lnTo>
                    <a:lnTo>
                      <a:pt x="55" y="2"/>
                    </a:lnTo>
                    <a:lnTo>
                      <a:pt x="50" y="2"/>
                    </a:lnTo>
                    <a:lnTo>
                      <a:pt x="50" y="2"/>
                    </a:lnTo>
                    <a:lnTo>
                      <a:pt x="50" y="0"/>
                    </a:lnTo>
                    <a:lnTo>
                      <a:pt x="48" y="0"/>
                    </a:lnTo>
                    <a:lnTo>
                      <a:pt x="48" y="0"/>
                    </a:lnTo>
                    <a:lnTo>
                      <a:pt x="48" y="0"/>
                    </a:lnTo>
                    <a:lnTo>
                      <a:pt x="48" y="0"/>
                    </a:lnTo>
                    <a:lnTo>
                      <a:pt x="45" y="0"/>
                    </a:lnTo>
                    <a:lnTo>
                      <a:pt x="45" y="0"/>
                    </a:lnTo>
                    <a:lnTo>
                      <a:pt x="43" y="0"/>
                    </a:lnTo>
                    <a:lnTo>
                      <a:pt x="43" y="0"/>
                    </a:lnTo>
                    <a:lnTo>
                      <a:pt x="43" y="0"/>
                    </a:lnTo>
                    <a:lnTo>
                      <a:pt x="43" y="2"/>
                    </a:lnTo>
                    <a:lnTo>
                      <a:pt x="43" y="2"/>
                    </a:lnTo>
                    <a:lnTo>
                      <a:pt x="45" y="2"/>
                    </a:lnTo>
                    <a:lnTo>
                      <a:pt x="45" y="2"/>
                    </a:lnTo>
                    <a:lnTo>
                      <a:pt x="45" y="2"/>
                    </a:lnTo>
                    <a:lnTo>
                      <a:pt x="45" y="2"/>
                    </a:lnTo>
                    <a:lnTo>
                      <a:pt x="43" y="2"/>
                    </a:lnTo>
                    <a:lnTo>
                      <a:pt x="43" y="2"/>
                    </a:lnTo>
                    <a:lnTo>
                      <a:pt x="43" y="2"/>
                    </a:lnTo>
                    <a:lnTo>
                      <a:pt x="43" y="2"/>
                    </a:lnTo>
                    <a:lnTo>
                      <a:pt x="40" y="2"/>
                    </a:lnTo>
                    <a:lnTo>
                      <a:pt x="38" y="2"/>
                    </a:lnTo>
                    <a:lnTo>
                      <a:pt x="36" y="2"/>
                    </a:lnTo>
                    <a:lnTo>
                      <a:pt x="33" y="4"/>
                    </a:lnTo>
                    <a:lnTo>
                      <a:pt x="31" y="4"/>
                    </a:lnTo>
                    <a:lnTo>
                      <a:pt x="29" y="2"/>
                    </a:lnTo>
                    <a:lnTo>
                      <a:pt x="26" y="4"/>
                    </a:lnTo>
                    <a:lnTo>
                      <a:pt x="26" y="4"/>
                    </a:lnTo>
                    <a:lnTo>
                      <a:pt x="26" y="7"/>
                    </a:lnTo>
                    <a:lnTo>
                      <a:pt x="24" y="7"/>
                    </a:lnTo>
                    <a:lnTo>
                      <a:pt x="24" y="7"/>
                    </a:lnTo>
                    <a:lnTo>
                      <a:pt x="22" y="7"/>
                    </a:lnTo>
                    <a:lnTo>
                      <a:pt x="22" y="7"/>
                    </a:lnTo>
                    <a:lnTo>
                      <a:pt x="22" y="4"/>
                    </a:lnTo>
                    <a:lnTo>
                      <a:pt x="22" y="4"/>
                    </a:lnTo>
                    <a:lnTo>
                      <a:pt x="19" y="4"/>
                    </a:lnTo>
                    <a:lnTo>
                      <a:pt x="19" y="7"/>
                    </a:lnTo>
                    <a:lnTo>
                      <a:pt x="17" y="7"/>
                    </a:lnTo>
                    <a:lnTo>
                      <a:pt x="17" y="7"/>
                    </a:lnTo>
                    <a:lnTo>
                      <a:pt x="19" y="7"/>
                    </a:lnTo>
                    <a:lnTo>
                      <a:pt x="19" y="9"/>
                    </a:lnTo>
                    <a:lnTo>
                      <a:pt x="19" y="9"/>
                    </a:lnTo>
                    <a:lnTo>
                      <a:pt x="19" y="9"/>
                    </a:lnTo>
                    <a:lnTo>
                      <a:pt x="17" y="9"/>
                    </a:lnTo>
                    <a:lnTo>
                      <a:pt x="17" y="12"/>
                    </a:lnTo>
                    <a:lnTo>
                      <a:pt x="14" y="14"/>
                    </a:lnTo>
                    <a:lnTo>
                      <a:pt x="12" y="14"/>
                    </a:lnTo>
                    <a:lnTo>
                      <a:pt x="12" y="14"/>
                    </a:lnTo>
                    <a:lnTo>
                      <a:pt x="10" y="16"/>
                    </a:lnTo>
                    <a:lnTo>
                      <a:pt x="10" y="16"/>
                    </a:lnTo>
                    <a:lnTo>
                      <a:pt x="10" y="19"/>
                    </a:lnTo>
                    <a:lnTo>
                      <a:pt x="10" y="21"/>
                    </a:lnTo>
                    <a:lnTo>
                      <a:pt x="7" y="21"/>
                    </a:lnTo>
                    <a:lnTo>
                      <a:pt x="5" y="23"/>
                    </a:lnTo>
                    <a:lnTo>
                      <a:pt x="5" y="23"/>
                    </a:lnTo>
                    <a:lnTo>
                      <a:pt x="3" y="26"/>
                    </a:lnTo>
                    <a:lnTo>
                      <a:pt x="3" y="26"/>
                    </a:lnTo>
                    <a:lnTo>
                      <a:pt x="3" y="26"/>
                    </a:lnTo>
                    <a:lnTo>
                      <a:pt x="5" y="28"/>
                    </a:lnTo>
                    <a:lnTo>
                      <a:pt x="3" y="28"/>
                    </a:lnTo>
                    <a:lnTo>
                      <a:pt x="3" y="30"/>
                    </a:lnTo>
                    <a:lnTo>
                      <a:pt x="3" y="30"/>
                    </a:lnTo>
                    <a:lnTo>
                      <a:pt x="0" y="30"/>
                    </a:lnTo>
                    <a:lnTo>
                      <a:pt x="0" y="33"/>
                    </a:lnTo>
                    <a:lnTo>
                      <a:pt x="3" y="33"/>
                    </a:lnTo>
                    <a:lnTo>
                      <a:pt x="3" y="33"/>
                    </a:lnTo>
                    <a:lnTo>
                      <a:pt x="5" y="33"/>
                    </a:lnTo>
                    <a:lnTo>
                      <a:pt x="7" y="30"/>
                    </a:lnTo>
                    <a:lnTo>
                      <a:pt x="5" y="30"/>
                    </a:lnTo>
                    <a:lnTo>
                      <a:pt x="5" y="28"/>
                    </a:lnTo>
                    <a:lnTo>
                      <a:pt x="5" y="28"/>
                    </a:lnTo>
                    <a:lnTo>
                      <a:pt x="7" y="28"/>
                    </a:lnTo>
                    <a:lnTo>
                      <a:pt x="10" y="26"/>
                    </a:lnTo>
                    <a:lnTo>
                      <a:pt x="12" y="26"/>
                    </a:lnTo>
                    <a:lnTo>
                      <a:pt x="14" y="28"/>
                    </a:lnTo>
                    <a:lnTo>
                      <a:pt x="14" y="28"/>
                    </a:lnTo>
                    <a:lnTo>
                      <a:pt x="14" y="28"/>
                    </a:lnTo>
                    <a:lnTo>
                      <a:pt x="14" y="28"/>
                    </a:lnTo>
                    <a:lnTo>
                      <a:pt x="14" y="30"/>
                    </a:lnTo>
                    <a:lnTo>
                      <a:pt x="14" y="33"/>
                    </a:lnTo>
                    <a:lnTo>
                      <a:pt x="14" y="33"/>
                    </a:lnTo>
                    <a:lnTo>
                      <a:pt x="17" y="33"/>
                    </a:lnTo>
                    <a:lnTo>
                      <a:pt x="17" y="35"/>
                    </a:lnTo>
                    <a:lnTo>
                      <a:pt x="17" y="35"/>
                    </a:lnTo>
                    <a:lnTo>
                      <a:pt x="19" y="38"/>
                    </a:lnTo>
                    <a:lnTo>
                      <a:pt x="19" y="38"/>
                    </a:lnTo>
                    <a:lnTo>
                      <a:pt x="19" y="38"/>
                    </a:lnTo>
                    <a:lnTo>
                      <a:pt x="19" y="38"/>
                    </a:lnTo>
                    <a:lnTo>
                      <a:pt x="24" y="38"/>
                    </a:lnTo>
                    <a:lnTo>
                      <a:pt x="26" y="38"/>
                    </a:lnTo>
                    <a:lnTo>
                      <a:pt x="26" y="35"/>
                    </a:lnTo>
                    <a:lnTo>
                      <a:pt x="29" y="35"/>
                    </a:lnTo>
                    <a:lnTo>
                      <a:pt x="31" y="38"/>
                    </a:lnTo>
                    <a:lnTo>
                      <a:pt x="33" y="38"/>
                    </a:lnTo>
                    <a:lnTo>
                      <a:pt x="36" y="35"/>
                    </a:lnTo>
                    <a:lnTo>
                      <a:pt x="36" y="35"/>
                    </a:lnTo>
                    <a:lnTo>
                      <a:pt x="38" y="33"/>
                    </a:lnTo>
                    <a:lnTo>
                      <a:pt x="38" y="33"/>
                    </a:lnTo>
                    <a:lnTo>
                      <a:pt x="36" y="30"/>
                    </a:lnTo>
                    <a:lnTo>
                      <a:pt x="36" y="30"/>
                    </a:lnTo>
                    <a:lnTo>
                      <a:pt x="38" y="28"/>
                    </a:lnTo>
                    <a:lnTo>
                      <a:pt x="40" y="28"/>
                    </a:lnTo>
                    <a:lnTo>
                      <a:pt x="40" y="26"/>
                    </a:lnTo>
                    <a:lnTo>
                      <a:pt x="43" y="26"/>
                    </a:lnTo>
                    <a:lnTo>
                      <a:pt x="43" y="26"/>
                    </a:lnTo>
                    <a:lnTo>
                      <a:pt x="43" y="28"/>
                    </a:lnTo>
                    <a:lnTo>
                      <a:pt x="43" y="30"/>
                    </a:lnTo>
                    <a:lnTo>
                      <a:pt x="43" y="30"/>
                    </a:lnTo>
                    <a:lnTo>
                      <a:pt x="45" y="33"/>
                    </a:lnTo>
                    <a:lnTo>
                      <a:pt x="45" y="33"/>
                    </a:lnTo>
                    <a:lnTo>
                      <a:pt x="48" y="35"/>
                    </a:lnTo>
                    <a:lnTo>
                      <a:pt x="48" y="35"/>
                    </a:lnTo>
                    <a:lnTo>
                      <a:pt x="48" y="35"/>
                    </a:lnTo>
                    <a:lnTo>
                      <a:pt x="50" y="38"/>
                    </a:lnTo>
                    <a:lnTo>
                      <a:pt x="50" y="38"/>
                    </a:lnTo>
                    <a:lnTo>
                      <a:pt x="50" y="40"/>
                    </a:lnTo>
                    <a:lnTo>
                      <a:pt x="52" y="40"/>
                    </a:lnTo>
                    <a:lnTo>
                      <a:pt x="52" y="38"/>
                    </a:lnTo>
                    <a:lnTo>
                      <a:pt x="52" y="38"/>
                    </a:lnTo>
                    <a:lnTo>
                      <a:pt x="52" y="35"/>
                    </a:lnTo>
                    <a:lnTo>
                      <a:pt x="52" y="35"/>
                    </a:lnTo>
                    <a:lnTo>
                      <a:pt x="52" y="35"/>
                    </a:lnTo>
                    <a:lnTo>
                      <a:pt x="52" y="33"/>
                    </a:lnTo>
                    <a:lnTo>
                      <a:pt x="55" y="30"/>
                    </a:lnTo>
                    <a:lnTo>
                      <a:pt x="55" y="30"/>
                    </a:lnTo>
                    <a:lnTo>
                      <a:pt x="57" y="28"/>
                    </a:lnTo>
                    <a:lnTo>
                      <a:pt x="57" y="26"/>
                    </a:lnTo>
                    <a:lnTo>
                      <a:pt x="57" y="26"/>
                    </a:lnTo>
                    <a:lnTo>
                      <a:pt x="59" y="26"/>
                    </a:lnTo>
                    <a:lnTo>
                      <a:pt x="59" y="26"/>
                    </a:lnTo>
                    <a:lnTo>
                      <a:pt x="59" y="26"/>
                    </a:lnTo>
                    <a:lnTo>
                      <a:pt x="59" y="28"/>
                    </a:lnTo>
                    <a:lnTo>
                      <a:pt x="59" y="30"/>
                    </a:lnTo>
                    <a:lnTo>
                      <a:pt x="62" y="30"/>
                    </a:lnTo>
                    <a:lnTo>
                      <a:pt x="62" y="30"/>
                    </a:lnTo>
                    <a:lnTo>
                      <a:pt x="64" y="28"/>
                    </a:lnTo>
                    <a:lnTo>
                      <a:pt x="67" y="28"/>
                    </a:lnTo>
                    <a:lnTo>
                      <a:pt x="67" y="28"/>
                    </a:lnTo>
                    <a:lnTo>
                      <a:pt x="69" y="28"/>
                    </a:lnTo>
                    <a:lnTo>
                      <a:pt x="69" y="30"/>
                    </a:lnTo>
                    <a:lnTo>
                      <a:pt x="69" y="30"/>
                    </a:lnTo>
                    <a:lnTo>
                      <a:pt x="71" y="30"/>
                    </a:lnTo>
                    <a:lnTo>
                      <a:pt x="71" y="30"/>
                    </a:lnTo>
                    <a:lnTo>
                      <a:pt x="71" y="30"/>
                    </a:lnTo>
                    <a:lnTo>
                      <a:pt x="69" y="28"/>
                    </a:lnTo>
                    <a:lnTo>
                      <a:pt x="69" y="28"/>
                    </a:lnTo>
                    <a:lnTo>
                      <a:pt x="69" y="26"/>
                    </a:lnTo>
                    <a:lnTo>
                      <a:pt x="69" y="26"/>
                    </a:lnTo>
                    <a:lnTo>
                      <a:pt x="69" y="23"/>
                    </a:lnTo>
                    <a:lnTo>
                      <a:pt x="69" y="23"/>
                    </a:lnTo>
                    <a:lnTo>
                      <a:pt x="71" y="23"/>
                    </a:lnTo>
                    <a:lnTo>
                      <a:pt x="71" y="23"/>
                    </a:lnTo>
                    <a:lnTo>
                      <a:pt x="74" y="23"/>
                    </a:lnTo>
                    <a:lnTo>
                      <a:pt x="74" y="23"/>
                    </a:lnTo>
                    <a:lnTo>
                      <a:pt x="76" y="23"/>
                    </a:lnTo>
                    <a:lnTo>
                      <a:pt x="76" y="23"/>
                    </a:lnTo>
                    <a:lnTo>
                      <a:pt x="76" y="23"/>
                    </a:lnTo>
                    <a:lnTo>
                      <a:pt x="76" y="21"/>
                    </a:lnTo>
                    <a:lnTo>
                      <a:pt x="76" y="21"/>
                    </a:lnTo>
                    <a:lnTo>
                      <a:pt x="76" y="19"/>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33"/>
              <p:cNvSpPr>
                <a:spLocks noEditPoints="1"/>
              </p:cNvSpPr>
              <p:nvPr/>
            </p:nvSpPr>
            <p:spPr bwMode="auto">
              <a:xfrm>
                <a:off x="2957" y="1379"/>
                <a:ext cx="182" cy="261"/>
              </a:xfrm>
              <a:custGeom>
                <a:avLst/>
                <a:gdLst>
                  <a:gd name="T0" fmla="*/ 80 w 182"/>
                  <a:gd name="T1" fmla="*/ 237 h 261"/>
                  <a:gd name="T2" fmla="*/ 90 w 182"/>
                  <a:gd name="T3" fmla="*/ 223 h 261"/>
                  <a:gd name="T4" fmla="*/ 106 w 182"/>
                  <a:gd name="T5" fmla="*/ 216 h 261"/>
                  <a:gd name="T6" fmla="*/ 109 w 182"/>
                  <a:gd name="T7" fmla="*/ 228 h 261"/>
                  <a:gd name="T8" fmla="*/ 116 w 182"/>
                  <a:gd name="T9" fmla="*/ 218 h 261"/>
                  <a:gd name="T10" fmla="*/ 120 w 182"/>
                  <a:gd name="T11" fmla="*/ 211 h 261"/>
                  <a:gd name="T12" fmla="*/ 106 w 182"/>
                  <a:gd name="T13" fmla="*/ 187 h 261"/>
                  <a:gd name="T14" fmla="*/ 111 w 182"/>
                  <a:gd name="T15" fmla="*/ 178 h 261"/>
                  <a:gd name="T16" fmla="*/ 175 w 182"/>
                  <a:gd name="T17" fmla="*/ 50 h 261"/>
                  <a:gd name="T18" fmla="*/ 177 w 182"/>
                  <a:gd name="T19" fmla="*/ 41 h 261"/>
                  <a:gd name="T20" fmla="*/ 172 w 182"/>
                  <a:gd name="T21" fmla="*/ 31 h 261"/>
                  <a:gd name="T22" fmla="*/ 170 w 182"/>
                  <a:gd name="T23" fmla="*/ 26 h 261"/>
                  <a:gd name="T24" fmla="*/ 163 w 182"/>
                  <a:gd name="T25" fmla="*/ 15 h 261"/>
                  <a:gd name="T26" fmla="*/ 139 w 182"/>
                  <a:gd name="T27" fmla="*/ 7 h 261"/>
                  <a:gd name="T28" fmla="*/ 120 w 182"/>
                  <a:gd name="T29" fmla="*/ 0 h 261"/>
                  <a:gd name="T30" fmla="*/ 120 w 182"/>
                  <a:gd name="T31" fmla="*/ 12 h 261"/>
                  <a:gd name="T32" fmla="*/ 94 w 182"/>
                  <a:gd name="T33" fmla="*/ 10 h 261"/>
                  <a:gd name="T34" fmla="*/ 73 w 182"/>
                  <a:gd name="T35" fmla="*/ 26 h 261"/>
                  <a:gd name="T36" fmla="*/ 71 w 182"/>
                  <a:gd name="T37" fmla="*/ 36 h 261"/>
                  <a:gd name="T38" fmla="*/ 47 w 182"/>
                  <a:gd name="T39" fmla="*/ 52 h 261"/>
                  <a:gd name="T40" fmla="*/ 38 w 182"/>
                  <a:gd name="T41" fmla="*/ 78 h 261"/>
                  <a:gd name="T42" fmla="*/ 35 w 182"/>
                  <a:gd name="T43" fmla="*/ 93 h 261"/>
                  <a:gd name="T44" fmla="*/ 14 w 182"/>
                  <a:gd name="T45" fmla="*/ 102 h 261"/>
                  <a:gd name="T46" fmla="*/ 14 w 182"/>
                  <a:gd name="T47" fmla="*/ 119 h 261"/>
                  <a:gd name="T48" fmla="*/ 23 w 182"/>
                  <a:gd name="T49" fmla="*/ 142 h 261"/>
                  <a:gd name="T50" fmla="*/ 16 w 182"/>
                  <a:gd name="T51" fmla="*/ 152 h 261"/>
                  <a:gd name="T52" fmla="*/ 14 w 182"/>
                  <a:gd name="T53" fmla="*/ 171 h 261"/>
                  <a:gd name="T54" fmla="*/ 7 w 182"/>
                  <a:gd name="T55" fmla="*/ 185 h 261"/>
                  <a:gd name="T56" fmla="*/ 0 w 182"/>
                  <a:gd name="T57" fmla="*/ 190 h 261"/>
                  <a:gd name="T58" fmla="*/ 7 w 182"/>
                  <a:gd name="T59" fmla="*/ 209 h 261"/>
                  <a:gd name="T60" fmla="*/ 21 w 182"/>
                  <a:gd name="T61" fmla="*/ 230 h 261"/>
                  <a:gd name="T62" fmla="*/ 23 w 182"/>
                  <a:gd name="T63" fmla="*/ 242 h 261"/>
                  <a:gd name="T64" fmla="*/ 28 w 182"/>
                  <a:gd name="T65" fmla="*/ 254 h 261"/>
                  <a:gd name="T66" fmla="*/ 47 w 182"/>
                  <a:gd name="T67" fmla="*/ 254 h 261"/>
                  <a:gd name="T68" fmla="*/ 54 w 182"/>
                  <a:gd name="T69" fmla="*/ 244 h 261"/>
                  <a:gd name="T70" fmla="*/ 78 w 182"/>
                  <a:gd name="T71" fmla="*/ 235 h 261"/>
                  <a:gd name="T72" fmla="*/ 83 w 182"/>
                  <a:gd name="T73" fmla="*/ 216 h 261"/>
                  <a:gd name="T74" fmla="*/ 85 w 182"/>
                  <a:gd name="T75" fmla="*/ 199 h 261"/>
                  <a:gd name="T76" fmla="*/ 87 w 182"/>
                  <a:gd name="T77" fmla="*/ 194 h 261"/>
                  <a:gd name="T78" fmla="*/ 106 w 182"/>
                  <a:gd name="T79" fmla="*/ 185 h 261"/>
                  <a:gd name="T80" fmla="*/ 106 w 182"/>
                  <a:gd name="T81" fmla="*/ 180 h 261"/>
                  <a:gd name="T82" fmla="*/ 111 w 182"/>
                  <a:gd name="T83" fmla="*/ 178 h 261"/>
                  <a:gd name="T84" fmla="*/ 111 w 182"/>
                  <a:gd name="T85" fmla="*/ 166 h 261"/>
                  <a:gd name="T86" fmla="*/ 94 w 182"/>
                  <a:gd name="T87" fmla="*/ 159 h 261"/>
                  <a:gd name="T88" fmla="*/ 87 w 182"/>
                  <a:gd name="T89" fmla="*/ 150 h 261"/>
                  <a:gd name="T90" fmla="*/ 87 w 182"/>
                  <a:gd name="T91" fmla="*/ 138 h 261"/>
                  <a:gd name="T92" fmla="*/ 92 w 182"/>
                  <a:gd name="T93" fmla="*/ 126 h 261"/>
                  <a:gd name="T94" fmla="*/ 94 w 182"/>
                  <a:gd name="T95" fmla="*/ 121 h 261"/>
                  <a:gd name="T96" fmla="*/ 97 w 182"/>
                  <a:gd name="T97" fmla="*/ 114 h 261"/>
                  <a:gd name="T98" fmla="*/ 104 w 182"/>
                  <a:gd name="T99" fmla="*/ 114 h 261"/>
                  <a:gd name="T100" fmla="*/ 109 w 182"/>
                  <a:gd name="T101" fmla="*/ 107 h 261"/>
                  <a:gd name="T102" fmla="*/ 118 w 182"/>
                  <a:gd name="T103" fmla="*/ 102 h 261"/>
                  <a:gd name="T104" fmla="*/ 132 w 182"/>
                  <a:gd name="T105" fmla="*/ 97 h 261"/>
                  <a:gd name="T106" fmla="*/ 144 w 182"/>
                  <a:gd name="T107" fmla="*/ 81 h 261"/>
                  <a:gd name="T108" fmla="*/ 146 w 182"/>
                  <a:gd name="T109" fmla="*/ 69 h 261"/>
                  <a:gd name="T110" fmla="*/ 146 w 182"/>
                  <a:gd name="T111" fmla="*/ 67 h 261"/>
                  <a:gd name="T112" fmla="*/ 154 w 182"/>
                  <a:gd name="T113" fmla="*/ 64 h 261"/>
                  <a:gd name="T114" fmla="*/ 158 w 182"/>
                  <a:gd name="T115" fmla="*/ 57 h 261"/>
                  <a:gd name="T116" fmla="*/ 175 w 182"/>
                  <a:gd name="T117" fmla="*/ 60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82" h="261">
                    <a:moveTo>
                      <a:pt x="90" y="221"/>
                    </a:moveTo>
                    <a:lnTo>
                      <a:pt x="90" y="221"/>
                    </a:lnTo>
                    <a:lnTo>
                      <a:pt x="87" y="221"/>
                    </a:lnTo>
                    <a:lnTo>
                      <a:pt x="87" y="223"/>
                    </a:lnTo>
                    <a:lnTo>
                      <a:pt x="87" y="223"/>
                    </a:lnTo>
                    <a:lnTo>
                      <a:pt x="87" y="225"/>
                    </a:lnTo>
                    <a:lnTo>
                      <a:pt x="85" y="230"/>
                    </a:lnTo>
                    <a:lnTo>
                      <a:pt x="83" y="230"/>
                    </a:lnTo>
                    <a:lnTo>
                      <a:pt x="80" y="235"/>
                    </a:lnTo>
                    <a:lnTo>
                      <a:pt x="80" y="237"/>
                    </a:lnTo>
                    <a:lnTo>
                      <a:pt x="80" y="242"/>
                    </a:lnTo>
                    <a:lnTo>
                      <a:pt x="80" y="242"/>
                    </a:lnTo>
                    <a:lnTo>
                      <a:pt x="80" y="242"/>
                    </a:lnTo>
                    <a:lnTo>
                      <a:pt x="83" y="242"/>
                    </a:lnTo>
                    <a:lnTo>
                      <a:pt x="85" y="232"/>
                    </a:lnTo>
                    <a:lnTo>
                      <a:pt x="87" y="230"/>
                    </a:lnTo>
                    <a:lnTo>
                      <a:pt x="87" y="228"/>
                    </a:lnTo>
                    <a:lnTo>
                      <a:pt x="90" y="223"/>
                    </a:lnTo>
                    <a:lnTo>
                      <a:pt x="90" y="223"/>
                    </a:lnTo>
                    <a:lnTo>
                      <a:pt x="90" y="223"/>
                    </a:lnTo>
                    <a:lnTo>
                      <a:pt x="90" y="221"/>
                    </a:lnTo>
                    <a:lnTo>
                      <a:pt x="90" y="221"/>
                    </a:lnTo>
                    <a:close/>
                    <a:moveTo>
                      <a:pt x="116" y="209"/>
                    </a:moveTo>
                    <a:lnTo>
                      <a:pt x="116" y="209"/>
                    </a:lnTo>
                    <a:lnTo>
                      <a:pt x="116" y="211"/>
                    </a:lnTo>
                    <a:lnTo>
                      <a:pt x="113" y="211"/>
                    </a:lnTo>
                    <a:lnTo>
                      <a:pt x="111" y="211"/>
                    </a:lnTo>
                    <a:lnTo>
                      <a:pt x="109" y="213"/>
                    </a:lnTo>
                    <a:lnTo>
                      <a:pt x="109" y="213"/>
                    </a:lnTo>
                    <a:lnTo>
                      <a:pt x="106" y="216"/>
                    </a:lnTo>
                    <a:lnTo>
                      <a:pt x="106" y="216"/>
                    </a:lnTo>
                    <a:lnTo>
                      <a:pt x="106" y="218"/>
                    </a:lnTo>
                    <a:lnTo>
                      <a:pt x="106" y="221"/>
                    </a:lnTo>
                    <a:lnTo>
                      <a:pt x="106" y="223"/>
                    </a:lnTo>
                    <a:lnTo>
                      <a:pt x="106" y="223"/>
                    </a:lnTo>
                    <a:lnTo>
                      <a:pt x="106" y="225"/>
                    </a:lnTo>
                    <a:lnTo>
                      <a:pt x="109" y="225"/>
                    </a:lnTo>
                    <a:lnTo>
                      <a:pt x="106" y="228"/>
                    </a:lnTo>
                    <a:lnTo>
                      <a:pt x="106" y="230"/>
                    </a:lnTo>
                    <a:lnTo>
                      <a:pt x="109" y="228"/>
                    </a:lnTo>
                    <a:lnTo>
                      <a:pt x="109" y="228"/>
                    </a:lnTo>
                    <a:lnTo>
                      <a:pt x="111" y="225"/>
                    </a:lnTo>
                    <a:lnTo>
                      <a:pt x="111" y="225"/>
                    </a:lnTo>
                    <a:lnTo>
                      <a:pt x="111" y="223"/>
                    </a:lnTo>
                    <a:lnTo>
                      <a:pt x="113" y="223"/>
                    </a:lnTo>
                    <a:lnTo>
                      <a:pt x="116" y="221"/>
                    </a:lnTo>
                    <a:lnTo>
                      <a:pt x="116" y="221"/>
                    </a:lnTo>
                    <a:lnTo>
                      <a:pt x="116" y="221"/>
                    </a:lnTo>
                    <a:lnTo>
                      <a:pt x="118" y="221"/>
                    </a:lnTo>
                    <a:lnTo>
                      <a:pt x="116" y="218"/>
                    </a:lnTo>
                    <a:lnTo>
                      <a:pt x="116" y="213"/>
                    </a:lnTo>
                    <a:lnTo>
                      <a:pt x="116" y="213"/>
                    </a:lnTo>
                    <a:lnTo>
                      <a:pt x="118" y="213"/>
                    </a:lnTo>
                    <a:lnTo>
                      <a:pt x="118" y="211"/>
                    </a:lnTo>
                    <a:lnTo>
                      <a:pt x="120" y="211"/>
                    </a:lnTo>
                    <a:lnTo>
                      <a:pt x="118" y="209"/>
                    </a:lnTo>
                    <a:lnTo>
                      <a:pt x="116" y="209"/>
                    </a:lnTo>
                    <a:close/>
                    <a:moveTo>
                      <a:pt x="120" y="209"/>
                    </a:moveTo>
                    <a:lnTo>
                      <a:pt x="118" y="209"/>
                    </a:lnTo>
                    <a:lnTo>
                      <a:pt x="120" y="211"/>
                    </a:lnTo>
                    <a:lnTo>
                      <a:pt x="120" y="211"/>
                    </a:lnTo>
                    <a:lnTo>
                      <a:pt x="120" y="209"/>
                    </a:lnTo>
                    <a:lnTo>
                      <a:pt x="123" y="209"/>
                    </a:lnTo>
                    <a:lnTo>
                      <a:pt x="123" y="209"/>
                    </a:lnTo>
                    <a:lnTo>
                      <a:pt x="120" y="209"/>
                    </a:lnTo>
                    <a:close/>
                    <a:moveTo>
                      <a:pt x="109" y="185"/>
                    </a:moveTo>
                    <a:lnTo>
                      <a:pt x="109" y="185"/>
                    </a:lnTo>
                    <a:lnTo>
                      <a:pt x="109" y="187"/>
                    </a:lnTo>
                    <a:lnTo>
                      <a:pt x="109" y="187"/>
                    </a:lnTo>
                    <a:lnTo>
                      <a:pt x="106" y="187"/>
                    </a:lnTo>
                    <a:lnTo>
                      <a:pt x="109" y="187"/>
                    </a:lnTo>
                    <a:lnTo>
                      <a:pt x="109" y="187"/>
                    </a:lnTo>
                    <a:lnTo>
                      <a:pt x="109" y="185"/>
                    </a:lnTo>
                    <a:close/>
                    <a:moveTo>
                      <a:pt x="111" y="178"/>
                    </a:moveTo>
                    <a:lnTo>
                      <a:pt x="111" y="178"/>
                    </a:lnTo>
                    <a:lnTo>
                      <a:pt x="111" y="178"/>
                    </a:lnTo>
                    <a:lnTo>
                      <a:pt x="109" y="178"/>
                    </a:lnTo>
                    <a:lnTo>
                      <a:pt x="111" y="180"/>
                    </a:lnTo>
                    <a:lnTo>
                      <a:pt x="111" y="178"/>
                    </a:lnTo>
                    <a:lnTo>
                      <a:pt x="111" y="178"/>
                    </a:lnTo>
                    <a:lnTo>
                      <a:pt x="111" y="178"/>
                    </a:lnTo>
                    <a:lnTo>
                      <a:pt x="111" y="178"/>
                    </a:lnTo>
                    <a:lnTo>
                      <a:pt x="111" y="178"/>
                    </a:lnTo>
                    <a:close/>
                    <a:moveTo>
                      <a:pt x="180" y="55"/>
                    </a:moveTo>
                    <a:lnTo>
                      <a:pt x="180" y="55"/>
                    </a:lnTo>
                    <a:lnTo>
                      <a:pt x="177" y="52"/>
                    </a:lnTo>
                    <a:lnTo>
                      <a:pt x="175" y="52"/>
                    </a:lnTo>
                    <a:lnTo>
                      <a:pt x="175" y="50"/>
                    </a:lnTo>
                    <a:lnTo>
                      <a:pt x="175" y="50"/>
                    </a:lnTo>
                    <a:lnTo>
                      <a:pt x="175" y="50"/>
                    </a:lnTo>
                    <a:lnTo>
                      <a:pt x="175" y="48"/>
                    </a:lnTo>
                    <a:lnTo>
                      <a:pt x="175" y="48"/>
                    </a:lnTo>
                    <a:lnTo>
                      <a:pt x="175" y="45"/>
                    </a:lnTo>
                    <a:lnTo>
                      <a:pt x="175" y="45"/>
                    </a:lnTo>
                    <a:lnTo>
                      <a:pt x="177" y="45"/>
                    </a:lnTo>
                    <a:lnTo>
                      <a:pt x="177" y="43"/>
                    </a:lnTo>
                    <a:lnTo>
                      <a:pt x="177" y="43"/>
                    </a:lnTo>
                    <a:lnTo>
                      <a:pt x="177" y="41"/>
                    </a:lnTo>
                    <a:lnTo>
                      <a:pt x="177" y="41"/>
                    </a:lnTo>
                    <a:lnTo>
                      <a:pt x="177" y="41"/>
                    </a:lnTo>
                    <a:lnTo>
                      <a:pt x="177" y="38"/>
                    </a:lnTo>
                    <a:lnTo>
                      <a:pt x="175" y="38"/>
                    </a:lnTo>
                    <a:lnTo>
                      <a:pt x="175" y="36"/>
                    </a:lnTo>
                    <a:lnTo>
                      <a:pt x="172" y="36"/>
                    </a:lnTo>
                    <a:lnTo>
                      <a:pt x="172" y="33"/>
                    </a:lnTo>
                    <a:lnTo>
                      <a:pt x="172" y="33"/>
                    </a:lnTo>
                    <a:lnTo>
                      <a:pt x="172" y="33"/>
                    </a:lnTo>
                    <a:lnTo>
                      <a:pt x="172" y="31"/>
                    </a:lnTo>
                    <a:lnTo>
                      <a:pt x="172" y="31"/>
                    </a:lnTo>
                    <a:lnTo>
                      <a:pt x="172" y="31"/>
                    </a:lnTo>
                    <a:lnTo>
                      <a:pt x="172" y="29"/>
                    </a:lnTo>
                    <a:lnTo>
                      <a:pt x="172" y="29"/>
                    </a:lnTo>
                    <a:lnTo>
                      <a:pt x="170" y="29"/>
                    </a:lnTo>
                    <a:lnTo>
                      <a:pt x="168" y="29"/>
                    </a:lnTo>
                    <a:lnTo>
                      <a:pt x="168" y="29"/>
                    </a:lnTo>
                    <a:lnTo>
                      <a:pt x="168" y="29"/>
                    </a:lnTo>
                    <a:lnTo>
                      <a:pt x="168" y="26"/>
                    </a:lnTo>
                    <a:lnTo>
                      <a:pt x="170" y="26"/>
                    </a:lnTo>
                    <a:lnTo>
                      <a:pt x="170" y="26"/>
                    </a:lnTo>
                    <a:lnTo>
                      <a:pt x="170" y="26"/>
                    </a:lnTo>
                    <a:lnTo>
                      <a:pt x="168" y="24"/>
                    </a:lnTo>
                    <a:lnTo>
                      <a:pt x="168" y="22"/>
                    </a:lnTo>
                    <a:lnTo>
                      <a:pt x="168" y="22"/>
                    </a:lnTo>
                    <a:lnTo>
                      <a:pt x="170" y="19"/>
                    </a:lnTo>
                    <a:lnTo>
                      <a:pt x="170" y="19"/>
                    </a:lnTo>
                    <a:lnTo>
                      <a:pt x="168" y="19"/>
                    </a:lnTo>
                    <a:lnTo>
                      <a:pt x="165" y="17"/>
                    </a:lnTo>
                    <a:lnTo>
                      <a:pt x="165" y="17"/>
                    </a:lnTo>
                    <a:lnTo>
                      <a:pt x="163" y="17"/>
                    </a:lnTo>
                    <a:lnTo>
                      <a:pt x="163" y="15"/>
                    </a:lnTo>
                    <a:lnTo>
                      <a:pt x="161" y="12"/>
                    </a:lnTo>
                    <a:lnTo>
                      <a:pt x="158" y="12"/>
                    </a:lnTo>
                    <a:lnTo>
                      <a:pt x="158" y="12"/>
                    </a:lnTo>
                    <a:lnTo>
                      <a:pt x="151" y="10"/>
                    </a:lnTo>
                    <a:lnTo>
                      <a:pt x="149" y="10"/>
                    </a:lnTo>
                    <a:lnTo>
                      <a:pt x="146" y="10"/>
                    </a:lnTo>
                    <a:lnTo>
                      <a:pt x="144" y="7"/>
                    </a:lnTo>
                    <a:lnTo>
                      <a:pt x="144" y="7"/>
                    </a:lnTo>
                    <a:lnTo>
                      <a:pt x="142" y="7"/>
                    </a:lnTo>
                    <a:lnTo>
                      <a:pt x="139" y="7"/>
                    </a:lnTo>
                    <a:lnTo>
                      <a:pt x="139" y="5"/>
                    </a:lnTo>
                    <a:lnTo>
                      <a:pt x="137" y="5"/>
                    </a:lnTo>
                    <a:lnTo>
                      <a:pt x="135" y="3"/>
                    </a:lnTo>
                    <a:lnTo>
                      <a:pt x="132" y="3"/>
                    </a:lnTo>
                    <a:lnTo>
                      <a:pt x="132" y="3"/>
                    </a:lnTo>
                    <a:lnTo>
                      <a:pt x="132" y="0"/>
                    </a:lnTo>
                    <a:lnTo>
                      <a:pt x="130" y="0"/>
                    </a:lnTo>
                    <a:lnTo>
                      <a:pt x="128" y="0"/>
                    </a:lnTo>
                    <a:lnTo>
                      <a:pt x="125" y="0"/>
                    </a:lnTo>
                    <a:lnTo>
                      <a:pt x="120" y="0"/>
                    </a:lnTo>
                    <a:lnTo>
                      <a:pt x="123" y="3"/>
                    </a:lnTo>
                    <a:lnTo>
                      <a:pt x="123" y="3"/>
                    </a:lnTo>
                    <a:lnTo>
                      <a:pt x="123" y="3"/>
                    </a:lnTo>
                    <a:lnTo>
                      <a:pt x="123" y="5"/>
                    </a:lnTo>
                    <a:lnTo>
                      <a:pt x="123" y="7"/>
                    </a:lnTo>
                    <a:lnTo>
                      <a:pt x="120" y="7"/>
                    </a:lnTo>
                    <a:lnTo>
                      <a:pt x="118" y="10"/>
                    </a:lnTo>
                    <a:lnTo>
                      <a:pt x="123" y="10"/>
                    </a:lnTo>
                    <a:lnTo>
                      <a:pt x="120" y="12"/>
                    </a:lnTo>
                    <a:lnTo>
                      <a:pt x="120" y="12"/>
                    </a:lnTo>
                    <a:lnTo>
                      <a:pt x="118" y="12"/>
                    </a:lnTo>
                    <a:lnTo>
                      <a:pt x="116" y="12"/>
                    </a:lnTo>
                    <a:lnTo>
                      <a:pt x="109" y="10"/>
                    </a:lnTo>
                    <a:lnTo>
                      <a:pt x="106" y="10"/>
                    </a:lnTo>
                    <a:lnTo>
                      <a:pt x="104" y="10"/>
                    </a:lnTo>
                    <a:lnTo>
                      <a:pt x="104" y="10"/>
                    </a:lnTo>
                    <a:lnTo>
                      <a:pt x="97" y="7"/>
                    </a:lnTo>
                    <a:lnTo>
                      <a:pt x="97" y="10"/>
                    </a:lnTo>
                    <a:lnTo>
                      <a:pt x="94" y="10"/>
                    </a:lnTo>
                    <a:lnTo>
                      <a:pt x="94" y="10"/>
                    </a:lnTo>
                    <a:lnTo>
                      <a:pt x="94" y="12"/>
                    </a:lnTo>
                    <a:lnTo>
                      <a:pt x="94" y="15"/>
                    </a:lnTo>
                    <a:lnTo>
                      <a:pt x="94" y="17"/>
                    </a:lnTo>
                    <a:lnTo>
                      <a:pt x="94" y="17"/>
                    </a:lnTo>
                    <a:lnTo>
                      <a:pt x="92" y="19"/>
                    </a:lnTo>
                    <a:lnTo>
                      <a:pt x="87" y="17"/>
                    </a:lnTo>
                    <a:lnTo>
                      <a:pt x="83" y="17"/>
                    </a:lnTo>
                    <a:lnTo>
                      <a:pt x="83" y="19"/>
                    </a:lnTo>
                    <a:lnTo>
                      <a:pt x="75" y="22"/>
                    </a:lnTo>
                    <a:lnTo>
                      <a:pt x="73" y="26"/>
                    </a:lnTo>
                    <a:lnTo>
                      <a:pt x="73" y="26"/>
                    </a:lnTo>
                    <a:lnTo>
                      <a:pt x="73" y="26"/>
                    </a:lnTo>
                    <a:lnTo>
                      <a:pt x="71" y="26"/>
                    </a:lnTo>
                    <a:lnTo>
                      <a:pt x="68" y="29"/>
                    </a:lnTo>
                    <a:lnTo>
                      <a:pt x="68" y="29"/>
                    </a:lnTo>
                    <a:lnTo>
                      <a:pt x="71" y="31"/>
                    </a:lnTo>
                    <a:lnTo>
                      <a:pt x="71" y="31"/>
                    </a:lnTo>
                    <a:lnTo>
                      <a:pt x="73" y="33"/>
                    </a:lnTo>
                    <a:lnTo>
                      <a:pt x="71" y="36"/>
                    </a:lnTo>
                    <a:lnTo>
                      <a:pt x="71" y="36"/>
                    </a:lnTo>
                    <a:lnTo>
                      <a:pt x="68" y="38"/>
                    </a:lnTo>
                    <a:lnTo>
                      <a:pt x="64" y="41"/>
                    </a:lnTo>
                    <a:lnTo>
                      <a:pt x="61" y="45"/>
                    </a:lnTo>
                    <a:lnTo>
                      <a:pt x="59" y="45"/>
                    </a:lnTo>
                    <a:lnTo>
                      <a:pt x="59" y="50"/>
                    </a:lnTo>
                    <a:lnTo>
                      <a:pt x="59" y="50"/>
                    </a:lnTo>
                    <a:lnTo>
                      <a:pt x="54" y="52"/>
                    </a:lnTo>
                    <a:lnTo>
                      <a:pt x="54" y="52"/>
                    </a:lnTo>
                    <a:lnTo>
                      <a:pt x="52" y="52"/>
                    </a:lnTo>
                    <a:lnTo>
                      <a:pt x="47" y="52"/>
                    </a:lnTo>
                    <a:lnTo>
                      <a:pt x="47" y="57"/>
                    </a:lnTo>
                    <a:lnTo>
                      <a:pt x="47" y="57"/>
                    </a:lnTo>
                    <a:lnTo>
                      <a:pt x="47" y="60"/>
                    </a:lnTo>
                    <a:lnTo>
                      <a:pt x="47" y="60"/>
                    </a:lnTo>
                    <a:lnTo>
                      <a:pt x="47" y="62"/>
                    </a:lnTo>
                    <a:lnTo>
                      <a:pt x="47" y="69"/>
                    </a:lnTo>
                    <a:lnTo>
                      <a:pt x="45" y="69"/>
                    </a:lnTo>
                    <a:lnTo>
                      <a:pt x="45" y="71"/>
                    </a:lnTo>
                    <a:lnTo>
                      <a:pt x="40" y="74"/>
                    </a:lnTo>
                    <a:lnTo>
                      <a:pt x="38" y="78"/>
                    </a:lnTo>
                    <a:lnTo>
                      <a:pt x="35" y="81"/>
                    </a:lnTo>
                    <a:lnTo>
                      <a:pt x="38" y="83"/>
                    </a:lnTo>
                    <a:lnTo>
                      <a:pt x="40" y="83"/>
                    </a:lnTo>
                    <a:lnTo>
                      <a:pt x="42" y="86"/>
                    </a:lnTo>
                    <a:lnTo>
                      <a:pt x="42" y="88"/>
                    </a:lnTo>
                    <a:lnTo>
                      <a:pt x="42" y="90"/>
                    </a:lnTo>
                    <a:lnTo>
                      <a:pt x="40" y="90"/>
                    </a:lnTo>
                    <a:lnTo>
                      <a:pt x="40" y="93"/>
                    </a:lnTo>
                    <a:lnTo>
                      <a:pt x="40" y="93"/>
                    </a:lnTo>
                    <a:lnTo>
                      <a:pt x="35" y="93"/>
                    </a:lnTo>
                    <a:lnTo>
                      <a:pt x="31" y="90"/>
                    </a:lnTo>
                    <a:lnTo>
                      <a:pt x="28" y="90"/>
                    </a:lnTo>
                    <a:lnTo>
                      <a:pt x="26" y="90"/>
                    </a:lnTo>
                    <a:lnTo>
                      <a:pt x="23" y="93"/>
                    </a:lnTo>
                    <a:lnTo>
                      <a:pt x="21" y="93"/>
                    </a:lnTo>
                    <a:lnTo>
                      <a:pt x="21" y="93"/>
                    </a:lnTo>
                    <a:lnTo>
                      <a:pt x="19" y="95"/>
                    </a:lnTo>
                    <a:lnTo>
                      <a:pt x="16" y="97"/>
                    </a:lnTo>
                    <a:lnTo>
                      <a:pt x="14" y="100"/>
                    </a:lnTo>
                    <a:lnTo>
                      <a:pt x="14" y="102"/>
                    </a:lnTo>
                    <a:lnTo>
                      <a:pt x="12" y="107"/>
                    </a:lnTo>
                    <a:lnTo>
                      <a:pt x="14" y="109"/>
                    </a:lnTo>
                    <a:lnTo>
                      <a:pt x="14" y="109"/>
                    </a:lnTo>
                    <a:lnTo>
                      <a:pt x="14" y="112"/>
                    </a:lnTo>
                    <a:lnTo>
                      <a:pt x="14" y="112"/>
                    </a:lnTo>
                    <a:lnTo>
                      <a:pt x="14" y="112"/>
                    </a:lnTo>
                    <a:lnTo>
                      <a:pt x="14" y="114"/>
                    </a:lnTo>
                    <a:lnTo>
                      <a:pt x="14" y="116"/>
                    </a:lnTo>
                    <a:lnTo>
                      <a:pt x="14" y="119"/>
                    </a:lnTo>
                    <a:lnTo>
                      <a:pt x="14" y="119"/>
                    </a:lnTo>
                    <a:lnTo>
                      <a:pt x="16" y="126"/>
                    </a:lnTo>
                    <a:lnTo>
                      <a:pt x="16" y="126"/>
                    </a:lnTo>
                    <a:lnTo>
                      <a:pt x="16" y="128"/>
                    </a:lnTo>
                    <a:lnTo>
                      <a:pt x="14" y="131"/>
                    </a:lnTo>
                    <a:lnTo>
                      <a:pt x="14" y="135"/>
                    </a:lnTo>
                    <a:lnTo>
                      <a:pt x="16" y="138"/>
                    </a:lnTo>
                    <a:lnTo>
                      <a:pt x="19" y="138"/>
                    </a:lnTo>
                    <a:lnTo>
                      <a:pt x="21" y="140"/>
                    </a:lnTo>
                    <a:lnTo>
                      <a:pt x="23" y="140"/>
                    </a:lnTo>
                    <a:lnTo>
                      <a:pt x="23" y="142"/>
                    </a:lnTo>
                    <a:lnTo>
                      <a:pt x="23" y="145"/>
                    </a:lnTo>
                    <a:lnTo>
                      <a:pt x="23" y="145"/>
                    </a:lnTo>
                    <a:lnTo>
                      <a:pt x="23" y="147"/>
                    </a:lnTo>
                    <a:lnTo>
                      <a:pt x="21" y="147"/>
                    </a:lnTo>
                    <a:lnTo>
                      <a:pt x="21" y="147"/>
                    </a:lnTo>
                    <a:lnTo>
                      <a:pt x="21" y="150"/>
                    </a:lnTo>
                    <a:lnTo>
                      <a:pt x="19" y="150"/>
                    </a:lnTo>
                    <a:lnTo>
                      <a:pt x="16" y="150"/>
                    </a:lnTo>
                    <a:lnTo>
                      <a:pt x="16" y="150"/>
                    </a:lnTo>
                    <a:lnTo>
                      <a:pt x="16" y="152"/>
                    </a:lnTo>
                    <a:lnTo>
                      <a:pt x="19" y="154"/>
                    </a:lnTo>
                    <a:lnTo>
                      <a:pt x="19" y="159"/>
                    </a:lnTo>
                    <a:lnTo>
                      <a:pt x="21" y="159"/>
                    </a:lnTo>
                    <a:lnTo>
                      <a:pt x="19" y="161"/>
                    </a:lnTo>
                    <a:lnTo>
                      <a:pt x="19" y="164"/>
                    </a:lnTo>
                    <a:lnTo>
                      <a:pt x="19" y="164"/>
                    </a:lnTo>
                    <a:lnTo>
                      <a:pt x="19" y="166"/>
                    </a:lnTo>
                    <a:lnTo>
                      <a:pt x="19" y="168"/>
                    </a:lnTo>
                    <a:lnTo>
                      <a:pt x="16" y="168"/>
                    </a:lnTo>
                    <a:lnTo>
                      <a:pt x="14" y="171"/>
                    </a:lnTo>
                    <a:lnTo>
                      <a:pt x="12" y="171"/>
                    </a:lnTo>
                    <a:lnTo>
                      <a:pt x="12" y="171"/>
                    </a:lnTo>
                    <a:lnTo>
                      <a:pt x="12" y="171"/>
                    </a:lnTo>
                    <a:lnTo>
                      <a:pt x="9" y="173"/>
                    </a:lnTo>
                    <a:lnTo>
                      <a:pt x="9" y="176"/>
                    </a:lnTo>
                    <a:lnTo>
                      <a:pt x="7" y="176"/>
                    </a:lnTo>
                    <a:lnTo>
                      <a:pt x="7" y="178"/>
                    </a:lnTo>
                    <a:lnTo>
                      <a:pt x="7" y="180"/>
                    </a:lnTo>
                    <a:lnTo>
                      <a:pt x="9" y="183"/>
                    </a:lnTo>
                    <a:lnTo>
                      <a:pt x="7" y="185"/>
                    </a:lnTo>
                    <a:lnTo>
                      <a:pt x="7" y="187"/>
                    </a:lnTo>
                    <a:lnTo>
                      <a:pt x="7" y="190"/>
                    </a:lnTo>
                    <a:lnTo>
                      <a:pt x="5" y="190"/>
                    </a:lnTo>
                    <a:lnTo>
                      <a:pt x="5" y="190"/>
                    </a:lnTo>
                    <a:lnTo>
                      <a:pt x="2" y="187"/>
                    </a:lnTo>
                    <a:lnTo>
                      <a:pt x="2" y="187"/>
                    </a:lnTo>
                    <a:lnTo>
                      <a:pt x="0" y="187"/>
                    </a:lnTo>
                    <a:lnTo>
                      <a:pt x="0" y="187"/>
                    </a:lnTo>
                    <a:lnTo>
                      <a:pt x="0" y="187"/>
                    </a:lnTo>
                    <a:lnTo>
                      <a:pt x="0" y="190"/>
                    </a:lnTo>
                    <a:lnTo>
                      <a:pt x="0" y="190"/>
                    </a:lnTo>
                    <a:lnTo>
                      <a:pt x="0" y="194"/>
                    </a:lnTo>
                    <a:lnTo>
                      <a:pt x="0" y="199"/>
                    </a:lnTo>
                    <a:lnTo>
                      <a:pt x="0" y="199"/>
                    </a:lnTo>
                    <a:lnTo>
                      <a:pt x="0" y="202"/>
                    </a:lnTo>
                    <a:lnTo>
                      <a:pt x="2" y="199"/>
                    </a:lnTo>
                    <a:lnTo>
                      <a:pt x="2" y="202"/>
                    </a:lnTo>
                    <a:lnTo>
                      <a:pt x="5" y="206"/>
                    </a:lnTo>
                    <a:lnTo>
                      <a:pt x="5" y="209"/>
                    </a:lnTo>
                    <a:lnTo>
                      <a:pt x="7" y="209"/>
                    </a:lnTo>
                    <a:lnTo>
                      <a:pt x="7" y="213"/>
                    </a:lnTo>
                    <a:lnTo>
                      <a:pt x="7" y="213"/>
                    </a:lnTo>
                    <a:lnTo>
                      <a:pt x="9" y="213"/>
                    </a:lnTo>
                    <a:lnTo>
                      <a:pt x="9" y="216"/>
                    </a:lnTo>
                    <a:lnTo>
                      <a:pt x="12" y="218"/>
                    </a:lnTo>
                    <a:lnTo>
                      <a:pt x="12" y="218"/>
                    </a:lnTo>
                    <a:lnTo>
                      <a:pt x="14" y="218"/>
                    </a:lnTo>
                    <a:lnTo>
                      <a:pt x="14" y="223"/>
                    </a:lnTo>
                    <a:lnTo>
                      <a:pt x="19" y="230"/>
                    </a:lnTo>
                    <a:lnTo>
                      <a:pt x="21" y="230"/>
                    </a:lnTo>
                    <a:lnTo>
                      <a:pt x="23" y="235"/>
                    </a:lnTo>
                    <a:lnTo>
                      <a:pt x="23" y="235"/>
                    </a:lnTo>
                    <a:lnTo>
                      <a:pt x="26" y="235"/>
                    </a:lnTo>
                    <a:lnTo>
                      <a:pt x="26" y="237"/>
                    </a:lnTo>
                    <a:lnTo>
                      <a:pt x="26" y="237"/>
                    </a:lnTo>
                    <a:lnTo>
                      <a:pt x="23" y="237"/>
                    </a:lnTo>
                    <a:lnTo>
                      <a:pt x="21" y="239"/>
                    </a:lnTo>
                    <a:lnTo>
                      <a:pt x="23" y="239"/>
                    </a:lnTo>
                    <a:lnTo>
                      <a:pt x="23" y="239"/>
                    </a:lnTo>
                    <a:lnTo>
                      <a:pt x="23" y="242"/>
                    </a:lnTo>
                    <a:lnTo>
                      <a:pt x="23" y="242"/>
                    </a:lnTo>
                    <a:lnTo>
                      <a:pt x="23" y="242"/>
                    </a:lnTo>
                    <a:lnTo>
                      <a:pt x="21" y="242"/>
                    </a:lnTo>
                    <a:lnTo>
                      <a:pt x="19" y="242"/>
                    </a:lnTo>
                    <a:lnTo>
                      <a:pt x="21" y="242"/>
                    </a:lnTo>
                    <a:lnTo>
                      <a:pt x="21" y="244"/>
                    </a:lnTo>
                    <a:lnTo>
                      <a:pt x="26" y="249"/>
                    </a:lnTo>
                    <a:lnTo>
                      <a:pt x="26" y="251"/>
                    </a:lnTo>
                    <a:lnTo>
                      <a:pt x="28" y="251"/>
                    </a:lnTo>
                    <a:lnTo>
                      <a:pt x="28" y="254"/>
                    </a:lnTo>
                    <a:lnTo>
                      <a:pt x="28" y="254"/>
                    </a:lnTo>
                    <a:lnTo>
                      <a:pt x="26" y="256"/>
                    </a:lnTo>
                    <a:lnTo>
                      <a:pt x="26" y="258"/>
                    </a:lnTo>
                    <a:lnTo>
                      <a:pt x="26" y="258"/>
                    </a:lnTo>
                    <a:lnTo>
                      <a:pt x="33" y="261"/>
                    </a:lnTo>
                    <a:lnTo>
                      <a:pt x="40" y="258"/>
                    </a:lnTo>
                    <a:lnTo>
                      <a:pt x="45" y="258"/>
                    </a:lnTo>
                    <a:lnTo>
                      <a:pt x="47" y="258"/>
                    </a:lnTo>
                    <a:lnTo>
                      <a:pt x="49" y="256"/>
                    </a:lnTo>
                    <a:lnTo>
                      <a:pt x="47" y="254"/>
                    </a:lnTo>
                    <a:lnTo>
                      <a:pt x="47" y="254"/>
                    </a:lnTo>
                    <a:lnTo>
                      <a:pt x="47" y="251"/>
                    </a:lnTo>
                    <a:lnTo>
                      <a:pt x="47" y="249"/>
                    </a:lnTo>
                    <a:lnTo>
                      <a:pt x="49" y="247"/>
                    </a:lnTo>
                    <a:lnTo>
                      <a:pt x="49" y="247"/>
                    </a:lnTo>
                    <a:lnTo>
                      <a:pt x="52" y="247"/>
                    </a:lnTo>
                    <a:lnTo>
                      <a:pt x="54" y="247"/>
                    </a:lnTo>
                    <a:lnTo>
                      <a:pt x="54" y="247"/>
                    </a:lnTo>
                    <a:lnTo>
                      <a:pt x="54" y="244"/>
                    </a:lnTo>
                    <a:lnTo>
                      <a:pt x="54" y="244"/>
                    </a:lnTo>
                    <a:lnTo>
                      <a:pt x="59" y="244"/>
                    </a:lnTo>
                    <a:lnTo>
                      <a:pt x="64" y="244"/>
                    </a:lnTo>
                    <a:lnTo>
                      <a:pt x="66" y="244"/>
                    </a:lnTo>
                    <a:lnTo>
                      <a:pt x="68" y="244"/>
                    </a:lnTo>
                    <a:lnTo>
                      <a:pt x="71" y="244"/>
                    </a:lnTo>
                    <a:lnTo>
                      <a:pt x="71" y="244"/>
                    </a:lnTo>
                    <a:lnTo>
                      <a:pt x="73" y="244"/>
                    </a:lnTo>
                    <a:lnTo>
                      <a:pt x="73" y="242"/>
                    </a:lnTo>
                    <a:lnTo>
                      <a:pt x="75" y="237"/>
                    </a:lnTo>
                    <a:lnTo>
                      <a:pt x="78" y="235"/>
                    </a:lnTo>
                    <a:lnTo>
                      <a:pt x="78" y="232"/>
                    </a:lnTo>
                    <a:lnTo>
                      <a:pt x="80" y="230"/>
                    </a:lnTo>
                    <a:lnTo>
                      <a:pt x="80" y="228"/>
                    </a:lnTo>
                    <a:lnTo>
                      <a:pt x="80" y="225"/>
                    </a:lnTo>
                    <a:lnTo>
                      <a:pt x="80" y="225"/>
                    </a:lnTo>
                    <a:lnTo>
                      <a:pt x="80" y="223"/>
                    </a:lnTo>
                    <a:lnTo>
                      <a:pt x="80" y="223"/>
                    </a:lnTo>
                    <a:lnTo>
                      <a:pt x="83" y="218"/>
                    </a:lnTo>
                    <a:lnTo>
                      <a:pt x="83" y="218"/>
                    </a:lnTo>
                    <a:lnTo>
                      <a:pt x="83" y="216"/>
                    </a:lnTo>
                    <a:lnTo>
                      <a:pt x="83" y="216"/>
                    </a:lnTo>
                    <a:lnTo>
                      <a:pt x="83" y="213"/>
                    </a:lnTo>
                    <a:lnTo>
                      <a:pt x="80" y="211"/>
                    </a:lnTo>
                    <a:lnTo>
                      <a:pt x="83" y="209"/>
                    </a:lnTo>
                    <a:lnTo>
                      <a:pt x="83" y="209"/>
                    </a:lnTo>
                    <a:lnTo>
                      <a:pt x="83" y="204"/>
                    </a:lnTo>
                    <a:lnTo>
                      <a:pt x="85" y="204"/>
                    </a:lnTo>
                    <a:lnTo>
                      <a:pt x="83" y="202"/>
                    </a:lnTo>
                    <a:lnTo>
                      <a:pt x="83" y="199"/>
                    </a:lnTo>
                    <a:lnTo>
                      <a:pt x="85" y="199"/>
                    </a:lnTo>
                    <a:lnTo>
                      <a:pt x="87" y="197"/>
                    </a:lnTo>
                    <a:lnTo>
                      <a:pt x="85" y="197"/>
                    </a:lnTo>
                    <a:lnTo>
                      <a:pt x="83" y="197"/>
                    </a:lnTo>
                    <a:lnTo>
                      <a:pt x="80" y="194"/>
                    </a:lnTo>
                    <a:lnTo>
                      <a:pt x="78" y="197"/>
                    </a:lnTo>
                    <a:lnTo>
                      <a:pt x="78" y="194"/>
                    </a:lnTo>
                    <a:lnTo>
                      <a:pt x="75" y="194"/>
                    </a:lnTo>
                    <a:lnTo>
                      <a:pt x="78" y="194"/>
                    </a:lnTo>
                    <a:lnTo>
                      <a:pt x="83" y="194"/>
                    </a:lnTo>
                    <a:lnTo>
                      <a:pt x="87" y="194"/>
                    </a:lnTo>
                    <a:lnTo>
                      <a:pt x="90" y="194"/>
                    </a:lnTo>
                    <a:lnTo>
                      <a:pt x="92" y="192"/>
                    </a:lnTo>
                    <a:lnTo>
                      <a:pt x="94" y="190"/>
                    </a:lnTo>
                    <a:lnTo>
                      <a:pt x="97" y="190"/>
                    </a:lnTo>
                    <a:lnTo>
                      <a:pt x="99" y="190"/>
                    </a:lnTo>
                    <a:lnTo>
                      <a:pt x="99" y="190"/>
                    </a:lnTo>
                    <a:lnTo>
                      <a:pt x="102" y="187"/>
                    </a:lnTo>
                    <a:lnTo>
                      <a:pt x="104" y="187"/>
                    </a:lnTo>
                    <a:lnTo>
                      <a:pt x="106" y="185"/>
                    </a:lnTo>
                    <a:lnTo>
                      <a:pt x="106" y="185"/>
                    </a:lnTo>
                    <a:lnTo>
                      <a:pt x="109" y="185"/>
                    </a:lnTo>
                    <a:lnTo>
                      <a:pt x="109" y="183"/>
                    </a:lnTo>
                    <a:lnTo>
                      <a:pt x="109" y="183"/>
                    </a:lnTo>
                    <a:lnTo>
                      <a:pt x="111" y="183"/>
                    </a:lnTo>
                    <a:lnTo>
                      <a:pt x="111" y="180"/>
                    </a:lnTo>
                    <a:lnTo>
                      <a:pt x="109" y="180"/>
                    </a:lnTo>
                    <a:lnTo>
                      <a:pt x="109" y="180"/>
                    </a:lnTo>
                    <a:lnTo>
                      <a:pt x="109" y="180"/>
                    </a:lnTo>
                    <a:lnTo>
                      <a:pt x="106" y="180"/>
                    </a:lnTo>
                    <a:lnTo>
                      <a:pt x="106" y="180"/>
                    </a:lnTo>
                    <a:lnTo>
                      <a:pt x="104" y="183"/>
                    </a:lnTo>
                    <a:lnTo>
                      <a:pt x="104" y="183"/>
                    </a:lnTo>
                    <a:lnTo>
                      <a:pt x="102" y="183"/>
                    </a:lnTo>
                    <a:lnTo>
                      <a:pt x="102" y="180"/>
                    </a:lnTo>
                    <a:lnTo>
                      <a:pt x="104" y="180"/>
                    </a:lnTo>
                    <a:lnTo>
                      <a:pt x="104" y="180"/>
                    </a:lnTo>
                    <a:lnTo>
                      <a:pt x="106" y="180"/>
                    </a:lnTo>
                    <a:lnTo>
                      <a:pt x="106" y="178"/>
                    </a:lnTo>
                    <a:lnTo>
                      <a:pt x="109" y="178"/>
                    </a:lnTo>
                    <a:lnTo>
                      <a:pt x="111" y="178"/>
                    </a:lnTo>
                    <a:lnTo>
                      <a:pt x="111" y="176"/>
                    </a:lnTo>
                    <a:lnTo>
                      <a:pt x="113" y="176"/>
                    </a:lnTo>
                    <a:lnTo>
                      <a:pt x="116" y="173"/>
                    </a:lnTo>
                    <a:lnTo>
                      <a:pt x="116" y="173"/>
                    </a:lnTo>
                    <a:lnTo>
                      <a:pt x="116" y="173"/>
                    </a:lnTo>
                    <a:lnTo>
                      <a:pt x="116" y="171"/>
                    </a:lnTo>
                    <a:lnTo>
                      <a:pt x="113" y="168"/>
                    </a:lnTo>
                    <a:lnTo>
                      <a:pt x="113" y="168"/>
                    </a:lnTo>
                    <a:lnTo>
                      <a:pt x="113" y="166"/>
                    </a:lnTo>
                    <a:lnTo>
                      <a:pt x="111" y="166"/>
                    </a:lnTo>
                    <a:lnTo>
                      <a:pt x="109" y="166"/>
                    </a:lnTo>
                    <a:lnTo>
                      <a:pt x="109" y="164"/>
                    </a:lnTo>
                    <a:lnTo>
                      <a:pt x="106" y="161"/>
                    </a:lnTo>
                    <a:lnTo>
                      <a:pt x="104" y="161"/>
                    </a:lnTo>
                    <a:lnTo>
                      <a:pt x="104" y="161"/>
                    </a:lnTo>
                    <a:lnTo>
                      <a:pt x="102" y="159"/>
                    </a:lnTo>
                    <a:lnTo>
                      <a:pt x="99" y="157"/>
                    </a:lnTo>
                    <a:lnTo>
                      <a:pt x="99" y="157"/>
                    </a:lnTo>
                    <a:lnTo>
                      <a:pt x="97" y="159"/>
                    </a:lnTo>
                    <a:lnTo>
                      <a:pt x="94" y="159"/>
                    </a:lnTo>
                    <a:lnTo>
                      <a:pt x="94" y="157"/>
                    </a:lnTo>
                    <a:lnTo>
                      <a:pt x="94" y="157"/>
                    </a:lnTo>
                    <a:lnTo>
                      <a:pt x="94" y="157"/>
                    </a:lnTo>
                    <a:lnTo>
                      <a:pt x="92" y="157"/>
                    </a:lnTo>
                    <a:lnTo>
                      <a:pt x="92" y="157"/>
                    </a:lnTo>
                    <a:lnTo>
                      <a:pt x="90" y="154"/>
                    </a:lnTo>
                    <a:lnTo>
                      <a:pt x="90" y="154"/>
                    </a:lnTo>
                    <a:lnTo>
                      <a:pt x="90" y="152"/>
                    </a:lnTo>
                    <a:lnTo>
                      <a:pt x="87" y="150"/>
                    </a:lnTo>
                    <a:lnTo>
                      <a:pt x="87" y="150"/>
                    </a:lnTo>
                    <a:lnTo>
                      <a:pt x="87" y="147"/>
                    </a:lnTo>
                    <a:lnTo>
                      <a:pt x="87" y="145"/>
                    </a:lnTo>
                    <a:lnTo>
                      <a:pt x="87" y="145"/>
                    </a:lnTo>
                    <a:lnTo>
                      <a:pt x="87" y="142"/>
                    </a:lnTo>
                    <a:lnTo>
                      <a:pt x="87" y="142"/>
                    </a:lnTo>
                    <a:lnTo>
                      <a:pt x="87" y="142"/>
                    </a:lnTo>
                    <a:lnTo>
                      <a:pt x="87" y="140"/>
                    </a:lnTo>
                    <a:lnTo>
                      <a:pt x="87" y="140"/>
                    </a:lnTo>
                    <a:lnTo>
                      <a:pt x="87" y="138"/>
                    </a:lnTo>
                    <a:lnTo>
                      <a:pt x="87" y="138"/>
                    </a:lnTo>
                    <a:lnTo>
                      <a:pt x="87" y="135"/>
                    </a:lnTo>
                    <a:lnTo>
                      <a:pt x="90" y="135"/>
                    </a:lnTo>
                    <a:lnTo>
                      <a:pt x="92" y="135"/>
                    </a:lnTo>
                    <a:lnTo>
                      <a:pt x="90" y="135"/>
                    </a:lnTo>
                    <a:lnTo>
                      <a:pt x="90" y="135"/>
                    </a:lnTo>
                    <a:lnTo>
                      <a:pt x="90" y="133"/>
                    </a:lnTo>
                    <a:lnTo>
                      <a:pt x="90" y="131"/>
                    </a:lnTo>
                    <a:lnTo>
                      <a:pt x="92" y="131"/>
                    </a:lnTo>
                    <a:lnTo>
                      <a:pt x="92" y="128"/>
                    </a:lnTo>
                    <a:lnTo>
                      <a:pt x="92" y="126"/>
                    </a:lnTo>
                    <a:lnTo>
                      <a:pt x="94" y="126"/>
                    </a:lnTo>
                    <a:lnTo>
                      <a:pt x="92" y="126"/>
                    </a:lnTo>
                    <a:lnTo>
                      <a:pt x="90" y="123"/>
                    </a:lnTo>
                    <a:lnTo>
                      <a:pt x="90" y="121"/>
                    </a:lnTo>
                    <a:lnTo>
                      <a:pt x="90" y="121"/>
                    </a:lnTo>
                    <a:lnTo>
                      <a:pt x="90" y="121"/>
                    </a:lnTo>
                    <a:lnTo>
                      <a:pt x="92" y="121"/>
                    </a:lnTo>
                    <a:lnTo>
                      <a:pt x="92" y="121"/>
                    </a:lnTo>
                    <a:lnTo>
                      <a:pt x="94" y="121"/>
                    </a:lnTo>
                    <a:lnTo>
                      <a:pt x="94" y="121"/>
                    </a:lnTo>
                    <a:lnTo>
                      <a:pt x="97" y="121"/>
                    </a:lnTo>
                    <a:lnTo>
                      <a:pt x="97" y="119"/>
                    </a:lnTo>
                    <a:lnTo>
                      <a:pt x="99" y="119"/>
                    </a:lnTo>
                    <a:lnTo>
                      <a:pt x="99" y="119"/>
                    </a:lnTo>
                    <a:lnTo>
                      <a:pt x="97" y="119"/>
                    </a:lnTo>
                    <a:lnTo>
                      <a:pt x="97" y="119"/>
                    </a:lnTo>
                    <a:lnTo>
                      <a:pt x="97" y="116"/>
                    </a:lnTo>
                    <a:lnTo>
                      <a:pt x="99" y="116"/>
                    </a:lnTo>
                    <a:lnTo>
                      <a:pt x="97" y="116"/>
                    </a:lnTo>
                    <a:lnTo>
                      <a:pt x="97" y="114"/>
                    </a:lnTo>
                    <a:lnTo>
                      <a:pt x="97" y="114"/>
                    </a:lnTo>
                    <a:lnTo>
                      <a:pt x="97" y="114"/>
                    </a:lnTo>
                    <a:lnTo>
                      <a:pt x="97" y="114"/>
                    </a:lnTo>
                    <a:lnTo>
                      <a:pt x="99" y="114"/>
                    </a:lnTo>
                    <a:lnTo>
                      <a:pt x="99" y="114"/>
                    </a:lnTo>
                    <a:lnTo>
                      <a:pt x="99" y="116"/>
                    </a:lnTo>
                    <a:lnTo>
                      <a:pt x="102" y="116"/>
                    </a:lnTo>
                    <a:lnTo>
                      <a:pt x="102" y="114"/>
                    </a:lnTo>
                    <a:lnTo>
                      <a:pt x="102" y="114"/>
                    </a:lnTo>
                    <a:lnTo>
                      <a:pt x="104" y="114"/>
                    </a:lnTo>
                    <a:lnTo>
                      <a:pt x="106" y="112"/>
                    </a:lnTo>
                    <a:lnTo>
                      <a:pt x="106" y="112"/>
                    </a:lnTo>
                    <a:lnTo>
                      <a:pt x="106" y="112"/>
                    </a:lnTo>
                    <a:lnTo>
                      <a:pt x="102" y="112"/>
                    </a:lnTo>
                    <a:lnTo>
                      <a:pt x="104" y="112"/>
                    </a:lnTo>
                    <a:lnTo>
                      <a:pt x="104" y="112"/>
                    </a:lnTo>
                    <a:lnTo>
                      <a:pt x="106" y="109"/>
                    </a:lnTo>
                    <a:lnTo>
                      <a:pt x="106" y="109"/>
                    </a:lnTo>
                    <a:lnTo>
                      <a:pt x="106" y="107"/>
                    </a:lnTo>
                    <a:lnTo>
                      <a:pt x="109" y="107"/>
                    </a:lnTo>
                    <a:lnTo>
                      <a:pt x="109" y="107"/>
                    </a:lnTo>
                    <a:lnTo>
                      <a:pt x="109" y="107"/>
                    </a:lnTo>
                    <a:lnTo>
                      <a:pt x="111" y="107"/>
                    </a:lnTo>
                    <a:lnTo>
                      <a:pt x="111" y="107"/>
                    </a:lnTo>
                    <a:lnTo>
                      <a:pt x="109" y="107"/>
                    </a:lnTo>
                    <a:lnTo>
                      <a:pt x="109" y="107"/>
                    </a:lnTo>
                    <a:lnTo>
                      <a:pt x="113" y="107"/>
                    </a:lnTo>
                    <a:lnTo>
                      <a:pt x="116" y="105"/>
                    </a:lnTo>
                    <a:lnTo>
                      <a:pt x="116" y="102"/>
                    </a:lnTo>
                    <a:lnTo>
                      <a:pt x="118" y="102"/>
                    </a:lnTo>
                    <a:lnTo>
                      <a:pt x="118" y="102"/>
                    </a:lnTo>
                    <a:lnTo>
                      <a:pt x="118" y="102"/>
                    </a:lnTo>
                    <a:lnTo>
                      <a:pt x="118" y="102"/>
                    </a:lnTo>
                    <a:lnTo>
                      <a:pt x="120" y="102"/>
                    </a:lnTo>
                    <a:lnTo>
                      <a:pt x="120" y="102"/>
                    </a:lnTo>
                    <a:lnTo>
                      <a:pt x="123" y="102"/>
                    </a:lnTo>
                    <a:lnTo>
                      <a:pt x="123" y="102"/>
                    </a:lnTo>
                    <a:lnTo>
                      <a:pt x="125" y="100"/>
                    </a:lnTo>
                    <a:lnTo>
                      <a:pt x="130" y="100"/>
                    </a:lnTo>
                    <a:lnTo>
                      <a:pt x="132" y="97"/>
                    </a:lnTo>
                    <a:lnTo>
                      <a:pt x="132" y="97"/>
                    </a:lnTo>
                    <a:lnTo>
                      <a:pt x="135" y="95"/>
                    </a:lnTo>
                    <a:lnTo>
                      <a:pt x="137" y="95"/>
                    </a:lnTo>
                    <a:lnTo>
                      <a:pt x="139" y="88"/>
                    </a:lnTo>
                    <a:lnTo>
                      <a:pt x="144" y="88"/>
                    </a:lnTo>
                    <a:lnTo>
                      <a:pt x="146" y="86"/>
                    </a:lnTo>
                    <a:lnTo>
                      <a:pt x="146" y="86"/>
                    </a:lnTo>
                    <a:lnTo>
                      <a:pt x="146" y="83"/>
                    </a:lnTo>
                    <a:lnTo>
                      <a:pt x="144" y="83"/>
                    </a:lnTo>
                    <a:lnTo>
                      <a:pt x="144" y="81"/>
                    </a:lnTo>
                    <a:lnTo>
                      <a:pt x="144" y="78"/>
                    </a:lnTo>
                    <a:lnTo>
                      <a:pt x="142" y="78"/>
                    </a:lnTo>
                    <a:lnTo>
                      <a:pt x="142" y="76"/>
                    </a:lnTo>
                    <a:lnTo>
                      <a:pt x="142" y="76"/>
                    </a:lnTo>
                    <a:lnTo>
                      <a:pt x="142" y="74"/>
                    </a:lnTo>
                    <a:lnTo>
                      <a:pt x="144" y="74"/>
                    </a:lnTo>
                    <a:lnTo>
                      <a:pt x="146" y="71"/>
                    </a:lnTo>
                    <a:lnTo>
                      <a:pt x="146" y="71"/>
                    </a:lnTo>
                    <a:lnTo>
                      <a:pt x="146" y="69"/>
                    </a:lnTo>
                    <a:lnTo>
                      <a:pt x="146" y="69"/>
                    </a:lnTo>
                    <a:lnTo>
                      <a:pt x="144" y="69"/>
                    </a:lnTo>
                    <a:lnTo>
                      <a:pt x="144" y="69"/>
                    </a:lnTo>
                    <a:lnTo>
                      <a:pt x="144" y="67"/>
                    </a:lnTo>
                    <a:lnTo>
                      <a:pt x="146" y="69"/>
                    </a:lnTo>
                    <a:lnTo>
                      <a:pt x="146" y="69"/>
                    </a:lnTo>
                    <a:lnTo>
                      <a:pt x="146" y="69"/>
                    </a:lnTo>
                    <a:lnTo>
                      <a:pt x="146" y="69"/>
                    </a:lnTo>
                    <a:lnTo>
                      <a:pt x="146" y="67"/>
                    </a:lnTo>
                    <a:lnTo>
                      <a:pt x="146" y="67"/>
                    </a:lnTo>
                    <a:lnTo>
                      <a:pt x="146" y="67"/>
                    </a:lnTo>
                    <a:lnTo>
                      <a:pt x="146" y="67"/>
                    </a:lnTo>
                    <a:lnTo>
                      <a:pt x="146" y="67"/>
                    </a:lnTo>
                    <a:lnTo>
                      <a:pt x="151" y="67"/>
                    </a:lnTo>
                    <a:lnTo>
                      <a:pt x="151" y="67"/>
                    </a:lnTo>
                    <a:lnTo>
                      <a:pt x="151" y="64"/>
                    </a:lnTo>
                    <a:lnTo>
                      <a:pt x="151" y="64"/>
                    </a:lnTo>
                    <a:lnTo>
                      <a:pt x="151" y="64"/>
                    </a:lnTo>
                    <a:lnTo>
                      <a:pt x="154" y="64"/>
                    </a:lnTo>
                    <a:lnTo>
                      <a:pt x="154" y="64"/>
                    </a:lnTo>
                    <a:lnTo>
                      <a:pt x="154" y="64"/>
                    </a:lnTo>
                    <a:lnTo>
                      <a:pt x="154" y="62"/>
                    </a:lnTo>
                    <a:lnTo>
                      <a:pt x="154" y="62"/>
                    </a:lnTo>
                    <a:lnTo>
                      <a:pt x="156" y="62"/>
                    </a:lnTo>
                    <a:lnTo>
                      <a:pt x="156" y="62"/>
                    </a:lnTo>
                    <a:lnTo>
                      <a:pt x="156" y="60"/>
                    </a:lnTo>
                    <a:lnTo>
                      <a:pt x="156" y="60"/>
                    </a:lnTo>
                    <a:lnTo>
                      <a:pt x="156" y="60"/>
                    </a:lnTo>
                    <a:lnTo>
                      <a:pt x="156" y="57"/>
                    </a:lnTo>
                    <a:lnTo>
                      <a:pt x="156" y="57"/>
                    </a:lnTo>
                    <a:lnTo>
                      <a:pt x="158" y="57"/>
                    </a:lnTo>
                    <a:lnTo>
                      <a:pt x="158" y="60"/>
                    </a:lnTo>
                    <a:lnTo>
                      <a:pt x="161" y="60"/>
                    </a:lnTo>
                    <a:lnTo>
                      <a:pt x="161" y="57"/>
                    </a:lnTo>
                    <a:lnTo>
                      <a:pt x="165" y="60"/>
                    </a:lnTo>
                    <a:lnTo>
                      <a:pt x="168" y="60"/>
                    </a:lnTo>
                    <a:lnTo>
                      <a:pt x="168" y="60"/>
                    </a:lnTo>
                    <a:lnTo>
                      <a:pt x="168" y="60"/>
                    </a:lnTo>
                    <a:lnTo>
                      <a:pt x="172" y="60"/>
                    </a:lnTo>
                    <a:lnTo>
                      <a:pt x="175" y="60"/>
                    </a:lnTo>
                    <a:lnTo>
                      <a:pt x="175" y="60"/>
                    </a:lnTo>
                    <a:lnTo>
                      <a:pt x="177" y="60"/>
                    </a:lnTo>
                    <a:lnTo>
                      <a:pt x="182" y="60"/>
                    </a:lnTo>
                    <a:lnTo>
                      <a:pt x="180" y="55"/>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34"/>
              <p:cNvSpPr>
                <a:spLocks/>
              </p:cNvSpPr>
              <p:nvPr/>
            </p:nvSpPr>
            <p:spPr bwMode="auto">
              <a:xfrm>
                <a:off x="3312" y="3345"/>
                <a:ext cx="23" cy="33"/>
              </a:xfrm>
              <a:custGeom>
                <a:avLst/>
                <a:gdLst>
                  <a:gd name="T0" fmla="*/ 23 w 23"/>
                  <a:gd name="T1" fmla="*/ 14 h 33"/>
                  <a:gd name="T2" fmla="*/ 23 w 23"/>
                  <a:gd name="T3" fmla="*/ 11 h 33"/>
                  <a:gd name="T4" fmla="*/ 23 w 23"/>
                  <a:gd name="T5" fmla="*/ 11 h 33"/>
                  <a:gd name="T6" fmla="*/ 23 w 23"/>
                  <a:gd name="T7" fmla="*/ 9 h 33"/>
                  <a:gd name="T8" fmla="*/ 23 w 23"/>
                  <a:gd name="T9" fmla="*/ 7 h 33"/>
                  <a:gd name="T10" fmla="*/ 23 w 23"/>
                  <a:gd name="T11" fmla="*/ 4 h 33"/>
                  <a:gd name="T12" fmla="*/ 21 w 23"/>
                  <a:gd name="T13" fmla="*/ 4 h 33"/>
                  <a:gd name="T14" fmla="*/ 21 w 23"/>
                  <a:gd name="T15" fmla="*/ 4 h 33"/>
                  <a:gd name="T16" fmla="*/ 21 w 23"/>
                  <a:gd name="T17" fmla="*/ 4 h 33"/>
                  <a:gd name="T18" fmla="*/ 21 w 23"/>
                  <a:gd name="T19" fmla="*/ 4 h 33"/>
                  <a:gd name="T20" fmla="*/ 16 w 23"/>
                  <a:gd name="T21" fmla="*/ 2 h 33"/>
                  <a:gd name="T22" fmla="*/ 11 w 23"/>
                  <a:gd name="T23" fmla="*/ 0 h 33"/>
                  <a:gd name="T24" fmla="*/ 11 w 23"/>
                  <a:gd name="T25" fmla="*/ 0 h 33"/>
                  <a:gd name="T26" fmla="*/ 11 w 23"/>
                  <a:gd name="T27" fmla="*/ 0 h 33"/>
                  <a:gd name="T28" fmla="*/ 9 w 23"/>
                  <a:gd name="T29" fmla="*/ 2 h 33"/>
                  <a:gd name="T30" fmla="*/ 7 w 23"/>
                  <a:gd name="T31" fmla="*/ 4 h 33"/>
                  <a:gd name="T32" fmla="*/ 4 w 23"/>
                  <a:gd name="T33" fmla="*/ 7 h 33"/>
                  <a:gd name="T34" fmla="*/ 2 w 23"/>
                  <a:gd name="T35" fmla="*/ 9 h 33"/>
                  <a:gd name="T36" fmla="*/ 0 w 23"/>
                  <a:gd name="T37" fmla="*/ 14 h 33"/>
                  <a:gd name="T38" fmla="*/ 0 w 23"/>
                  <a:gd name="T39" fmla="*/ 14 h 33"/>
                  <a:gd name="T40" fmla="*/ 0 w 23"/>
                  <a:gd name="T41" fmla="*/ 19 h 33"/>
                  <a:gd name="T42" fmla="*/ 0 w 23"/>
                  <a:gd name="T43" fmla="*/ 21 h 33"/>
                  <a:gd name="T44" fmla="*/ 0 w 23"/>
                  <a:gd name="T45" fmla="*/ 21 h 33"/>
                  <a:gd name="T46" fmla="*/ 2 w 23"/>
                  <a:gd name="T47" fmla="*/ 21 h 33"/>
                  <a:gd name="T48" fmla="*/ 2 w 23"/>
                  <a:gd name="T49" fmla="*/ 23 h 33"/>
                  <a:gd name="T50" fmla="*/ 4 w 23"/>
                  <a:gd name="T51" fmla="*/ 28 h 33"/>
                  <a:gd name="T52" fmla="*/ 9 w 23"/>
                  <a:gd name="T53" fmla="*/ 30 h 33"/>
                  <a:gd name="T54" fmla="*/ 11 w 23"/>
                  <a:gd name="T55" fmla="*/ 33 h 33"/>
                  <a:gd name="T56" fmla="*/ 16 w 23"/>
                  <a:gd name="T57" fmla="*/ 33 h 33"/>
                  <a:gd name="T58" fmla="*/ 21 w 23"/>
                  <a:gd name="T59" fmla="*/ 33 h 33"/>
                  <a:gd name="T60" fmla="*/ 21 w 23"/>
                  <a:gd name="T61" fmla="*/ 30 h 33"/>
                  <a:gd name="T62" fmla="*/ 21 w 23"/>
                  <a:gd name="T63" fmla="*/ 26 h 33"/>
                  <a:gd name="T64" fmla="*/ 21 w 23"/>
                  <a:gd name="T65" fmla="*/ 21 h 33"/>
                  <a:gd name="T66" fmla="*/ 21 w 23"/>
                  <a:gd name="T67" fmla="*/ 21 h 33"/>
                  <a:gd name="T68" fmla="*/ 23 w 23"/>
                  <a:gd name="T69" fmla="*/ 23 h 33"/>
                  <a:gd name="T70" fmla="*/ 23 w 23"/>
                  <a:gd name="T71" fmla="*/ 23 h 33"/>
                  <a:gd name="T72" fmla="*/ 23 w 23"/>
                  <a:gd name="T73" fmla="*/ 16 h 33"/>
                  <a:gd name="T74" fmla="*/ 23 w 23"/>
                  <a:gd name="T75" fmla="*/ 14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3" h="33">
                    <a:moveTo>
                      <a:pt x="23" y="14"/>
                    </a:moveTo>
                    <a:lnTo>
                      <a:pt x="23" y="11"/>
                    </a:lnTo>
                    <a:lnTo>
                      <a:pt x="23" y="11"/>
                    </a:lnTo>
                    <a:lnTo>
                      <a:pt x="23" y="9"/>
                    </a:lnTo>
                    <a:lnTo>
                      <a:pt x="23" y="7"/>
                    </a:lnTo>
                    <a:lnTo>
                      <a:pt x="23" y="4"/>
                    </a:lnTo>
                    <a:lnTo>
                      <a:pt x="21" y="4"/>
                    </a:lnTo>
                    <a:lnTo>
                      <a:pt x="21" y="4"/>
                    </a:lnTo>
                    <a:lnTo>
                      <a:pt x="21" y="4"/>
                    </a:lnTo>
                    <a:lnTo>
                      <a:pt x="21" y="4"/>
                    </a:lnTo>
                    <a:lnTo>
                      <a:pt x="16" y="2"/>
                    </a:lnTo>
                    <a:lnTo>
                      <a:pt x="11" y="0"/>
                    </a:lnTo>
                    <a:lnTo>
                      <a:pt x="11" y="0"/>
                    </a:lnTo>
                    <a:lnTo>
                      <a:pt x="11" y="0"/>
                    </a:lnTo>
                    <a:lnTo>
                      <a:pt x="9" y="2"/>
                    </a:lnTo>
                    <a:lnTo>
                      <a:pt x="7" y="4"/>
                    </a:lnTo>
                    <a:lnTo>
                      <a:pt x="4" y="7"/>
                    </a:lnTo>
                    <a:lnTo>
                      <a:pt x="2" y="9"/>
                    </a:lnTo>
                    <a:lnTo>
                      <a:pt x="0" y="14"/>
                    </a:lnTo>
                    <a:lnTo>
                      <a:pt x="0" y="14"/>
                    </a:lnTo>
                    <a:lnTo>
                      <a:pt x="0" y="19"/>
                    </a:lnTo>
                    <a:lnTo>
                      <a:pt x="0" y="21"/>
                    </a:lnTo>
                    <a:lnTo>
                      <a:pt x="0" y="21"/>
                    </a:lnTo>
                    <a:lnTo>
                      <a:pt x="2" y="21"/>
                    </a:lnTo>
                    <a:lnTo>
                      <a:pt x="2" y="23"/>
                    </a:lnTo>
                    <a:lnTo>
                      <a:pt x="4" y="28"/>
                    </a:lnTo>
                    <a:lnTo>
                      <a:pt x="9" y="30"/>
                    </a:lnTo>
                    <a:lnTo>
                      <a:pt x="11" y="33"/>
                    </a:lnTo>
                    <a:lnTo>
                      <a:pt x="16" y="33"/>
                    </a:lnTo>
                    <a:lnTo>
                      <a:pt x="21" y="33"/>
                    </a:lnTo>
                    <a:lnTo>
                      <a:pt x="21" y="30"/>
                    </a:lnTo>
                    <a:lnTo>
                      <a:pt x="21" y="26"/>
                    </a:lnTo>
                    <a:lnTo>
                      <a:pt x="21" y="21"/>
                    </a:lnTo>
                    <a:lnTo>
                      <a:pt x="21" y="21"/>
                    </a:lnTo>
                    <a:lnTo>
                      <a:pt x="23" y="23"/>
                    </a:lnTo>
                    <a:lnTo>
                      <a:pt x="23" y="23"/>
                    </a:lnTo>
                    <a:lnTo>
                      <a:pt x="23" y="16"/>
                    </a:lnTo>
                    <a:lnTo>
                      <a:pt x="23" y="14"/>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35"/>
              <p:cNvSpPr>
                <a:spLocks/>
              </p:cNvSpPr>
              <p:nvPr/>
            </p:nvSpPr>
            <p:spPr bwMode="auto">
              <a:xfrm>
                <a:off x="1665" y="2675"/>
                <a:ext cx="78" cy="87"/>
              </a:xfrm>
              <a:custGeom>
                <a:avLst/>
                <a:gdLst>
                  <a:gd name="T0" fmla="*/ 76 w 78"/>
                  <a:gd name="T1" fmla="*/ 9 h 87"/>
                  <a:gd name="T2" fmla="*/ 76 w 78"/>
                  <a:gd name="T3" fmla="*/ 2 h 87"/>
                  <a:gd name="T4" fmla="*/ 62 w 78"/>
                  <a:gd name="T5" fmla="*/ 0 h 87"/>
                  <a:gd name="T6" fmla="*/ 48 w 78"/>
                  <a:gd name="T7" fmla="*/ 0 h 87"/>
                  <a:gd name="T8" fmla="*/ 43 w 78"/>
                  <a:gd name="T9" fmla="*/ 2 h 87"/>
                  <a:gd name="T10" fmla="*/ 36 w 78"/>
                  <a:gd name="T11" fmla="*/ 0 h 87"/>
                  <a:gd name="T12" fmla="*/ 21 w 78"/>
                  <a:gd name="T13" fmla="*/ 0 h 87"/>
                  <a:gd name="T14" fmla="*/ 19 w 78"/>
                  <a:gd name="T15" fmla="*/ 7 h 87"/>
                  <a:gd name="T16" fmla="*/ 17 w 78"/>
                  <a:gd name="T17" fmla="*/ 9 h 87"/>
                  <a:gd name="T18" fmla="*/ 17 w 78"/>
                  <a:gd name="T19" fmla="*/ 11 h 87"/>
                  <a:gd name="T20" fmla="*/ 17 w 78"/>
                  <a:gd name="T21" fmla="*/ 14 h 87"/>
                  <a:gd name="T22" fmla="*/ 17 w 78"/>
                  <a:gd name="T23" fmla="*/ 16 h 87"/>
                  <a:gd name="T24" fmla="*/ 17 w 78"/>
                  <a:gd name="T25" fmla="*/ 18 h 87"/>
                  <a:gd name="T26" fmla="*/ 12 w 78"/>
                  <a:gd name="T27" fmla="*/ 18 h 87"/>
                  <a:gd name="T28" fmla="*/ 7 w 78"/>
                  <a:gd name="T29" fmla="*/ 21 h 87"/>
                  <a:gd name="T30" fmla="*/ 5 w 78"/>
                  <a:gd name="T31" fmla="*/ 21 h 87"/>
                  <a:gd name="T32" fmla="*/ 5 w 78"/>
                  <a:gd name="T33" fmla="*/ 26 h 87"/>
                  <a:gd name="T34" fmla="*/ 5 w 78"/>
                  <a:gd name="T35" fmla="*/ 30 h 87"/>
                  <a:gd name="T36" fmla="*/ 3 w 78"/>
                  <a:gd name="T37" fmla="*/ 35 h 87"/>
                  <a:gd name="T38" fmla="*/ 3 w 78"/>
                  <a:gd name="T39" fmla="*/ 40 h 87"/>
                  <a:gd name="T40" fmla="*/ 5 w 78"/>
                  <a:gd name="T41" fmla="*/ 47 h 87"/>
                  <a:gd name="T42" fmla="*/ 7 w 78"/>
                  <a:gd name="T43" fmla="*/ 52 h 87"/>
                  <a:gd name="T44" fmla="*/ 10 w 78"/>
                  <a:gd name="T45" fmla="*/ 54 h 87"/>
                  <a:gd name="T46" fmla="*/ 12 w 78"/>
                  <a:gd name="T47" fmla="*/ 54 h 87"/>
                  <a:gd name="T48" fmla="*/ 14 w 78"/>
                  <a:gd name="T49" fmla="*/ 56 h 87"/>
                  <a:gd name="T50" fmla="*/ 17 w 78"/>
                  <a:gd name="T51" fmla="*/ 59 h 87"/>
                  <a:gd name="T52" fmla="*/ 17 w 78"/>
                  <a:gd name="T53" fmla="*/ 63 h 87"/>
                  <a:gd name="T54" fmla="*/ 17 w 78"/>
                  <a:gd name="T55" fmla="*/ 66 h 87"/>
                  <a:gd name="T56" fmla="*/ 19 w 78"/>
                  <a:gd name="T57" fmla="*/ 66 h 87"/>
                  <a:gd name="T58" fmla="*/ 19 w 78"/>
                  <a:gd name="T59" fmla="*/ 68 h 87"/>
                  <a:gd name="T60" fmla="*/ 21 w 78"/>
                  <a:gd name="T61" fmla="*/ 73 h 87"/>
                  <a:gd name="T62" fmla="*/ 21 w 78"/>
                  <a:gd name="T63" fmla="*/ 75 h 87"/>
                  <a:gd name="T64" fmla="*/ 24 w 78"/>
                  <a:gd name="T65" fmla="*/ 80 h 87"/>
                  <a:gd name="T66" fmla="*/ 29 w 78"/>
                  <a:gd name="T67" fmla="*/ 82 h 87"/>
                  <a:gd name="T68" fmla="*/ 31 w 78"/>
                  <a:gd name="T69" fmla="*/ 85 h 87"/>
                  <a:gd name="T70" fmla="*/ 38 w 78"/>
                  <a:gd name="T71" fmla="*/ 87 h 87"/>
                  <a:gd name="T72" fmla="*/ 40 w 78"/>
                  <a:gd name="T73" fmla="*/ 82 h 87"/>
                  <a:gd name="T74" fmla="*/ 38 w 78"/>
                  <a:gd name="T75" fmla="*/ 80 h 87"/>
                  <a:gd name="T76" fmla="*/ 36 w 78"/>
                  <a:gd name="T77" fmla="*/ 75 h 87"/>
                  <a:gd name="T78" fmla="*/ 38 w 78"/>
                  <a:gd name="T79" fmla="*/ 75 h 87"/>
                  <a:gd name="T80" fmla="*/ 40 w 78"/>
                  <a:gd name="T81" fmla="*/ 73 h 87"/>
                  <a:gd name="T82" fmla="*/ 43 w 78"/>
                  <a:gd name="T83" fmla="*/ 75 h 87"/>
                  <a:gd name="T84" fmla="*/ 52 w 78"/>
                  <a:gd name="T85" fmla="*/ 73 h 87"/>
                  <a:gd name="T86" fmla="*/ 55 w 78"/>
                  <a:gd name="T87" fmla="*/ 71 h 87"/>
                  <a:gd name="T88" fmla="*/ 57 w 78"/>
                  <a:gd name="T89" fmla="*/ 71 h 87"/>
                  <a:gd name="T90" fmla="*/ 59 w 78"/>
                  <a:gd name="T91" fmla="*/ 73 h 87"/>
                  <a:gd name="T92" fmla="*/ 62 w 78"/>
                  <a:gd name="T93" fmla="*/ 73 h 87"/>
                  <a:gd name="T94" fmla="*/ 64 w 78"/>
                  <a:gd name="T95" fmla="*/ 75 h 87"/>
                  <a:gd name="T96" fmla="*/ 64 w 78"/>
                  <a:gd name="T97" fmla="*/ 75 h 87"/>
                  <a:gd name="T98" fmla="*/ 66 w 78"/>
                  <a:gd name="T99" fmla="*/ 73 h 87"/>
                  <a:gd name="T100" fmla="*/ 74 w 78"/>
                  <a:gd name="T101" fmla="*/ 66 h 87"/>
                  <a:gd name="T102" fmla="*/ 74 w 78"/>
                  <a:gd name="T103" fmla="*/ 59 h 87"/>
                  <a:gd name="T104" fmla="*/ 76 w 78"/>
                  <a:gd name="T105" fmla="*/ 52 h 87"/>
                  <a:gd name="T106" fmla="*/ 76 w 78"/>
                  <a:gd name="T107" fmla="*/ 49 h 87"/>
                  <a:gd name="T108" fmla="*/ 74 w 78"/>
                  <a:gd name="T109" fmla="*/ 45 h 87"/>
                  <a:gd name="T110" fmla="*/ 71 w 78"/>
                  <a:gd name="T111" fmla="*/ 40 h 87"/>
                  <a:gd name="T112" fmla="*/ 69 w 78"/>
                  <a:gd name="T113" fmla="*/ 37 h 87"/>
                  <a:gd name="T114" fmla="*/ 69 w 78"/>
                  <a:gd name="T115" fmla="*/ 30 h 87"/>
                  <a:gd name="T116" fmla="*/ 69 w 78"/>
                  <a:gd name="T117" fmla="*/ 26 h 87"/>
                  <a:gd name="T118" fmla="*/ 69 w 78"/>
                  <a:gd name="T119" fmla="*/ 21 h 87"/>
                  <a:gd name="T120" fmla="*/ 71 w 78"/>
                  <a:gd name="T121" fmla="*/ 1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8" h="87">
                    <a:moveTo>
                      <a:pt x="74" y="14"/>
                    </a:moveTo>
                    <a:lnTo>
                      <a:pt x="76" y="11"/>
                    </a:lnTo>
                    <a:lnTo>
                      <a:pt x="76" y="9"/>
                    </a:lnTo>
                    <a:lnTo>
                      <a:pt x="76" y="7"/>
                    </a:lnTo>
                    <a:lnTo>
                      <a:pt x="78" y="4"/>
                    </a:lnTo>
                    <a:lnTo>
                      <a:pt x="76" y="2"/>
                    </a:lnTo>
                    <a:lnTo>
                      <a:pt x="76" y="2"/>
                    </a:lnTo>
                    <a:lnTo>
                      <a:pt x="71" y="0"/>
                    </a:lnTo>
                    <a:lnTo>
                      <a:pt x="62" y="0"/>
                    </a:lnTo>
                    <a:lnTo>
                      <a:pt x="57" y="0"/>
                    </a:lnTo>
                    <a:lnTo>
                      <a:pt x="52" y="0"/>
                    </a:lnTo>
                    <a:lnTo>
                      <a:pt x="48" y="0"/>
                    </a:lnTo>
                    <a:lnTo>
                      <a:pt x="45" y="0"/>
                    </a:lnTo>
                    <a:lnTo>
                      <a:pt x="43" y="0"/>
                    </a:lnTo>
                    <a:lnTo>
                      <a:pt x="43" y="2"/>
                    </a:lnTo>
                    <a:lnTo>
                      <a:pt x="43" y="4"/>
                    </a:lnTo>
                    <a:lnTo>
                      <a:pt x="43" y="2"/>
                    </a:lnTo>
                    <a:lnTo>
                      <a:pt x="36" y="0"/>
                    </a:lnTo>
                    <a:lnTo>
                      <a:pt x="31" y="0"/>
                    </a:lnTo>
                    <a:lnTo>
                      <a:pt x="24" y="0"/>
                    </a:lnTo>
                    <a:lnTo>
                      <a:pt x="21" y="0"/>
                    </a:lnTo>
                    <a:lnTo>
                      <a:pt x="19" y="2"/>
                    </a:lnTo>
                    <a:lnTo>
                      <a:pt x="19" y="4"/>
                    </a:lnTo>
                    <a:lnTo>
                      <a:pt x="19" y="7"/>
                    </a:lnTo>
                    <a:lnTo>
                      <a:pt x="19" y="9"/>
                    </a:lnTo>
                    <a:lnTo>
                      <a:pt x="19" y="7"/>
                    </a:lnTo>
                    <a:lnTo>
                      <a:pt x="17" y="9"/>
                    </a:lnTo>
                    <a:lnTo>
                      <a:pt x="17" y="9"/>
                    </a:lnTo>
                    <a:lnTo>
                      <a:pt x="17" y="11"/>
                    </a:lnTo>
                    <a:lnTo>
                      <a:pt x="17" y="11"/>
                    </a:lnTo>
                    <a:lnTo>
                      <a:pt x="17" y="14"/>
                    </a:lnTo>
                    <a:lnTo>
                      <a:pt x="17" y="14"/>
                    </a:lnTo>
                    <a:lnTo>
                      <a:pt x="17" y="14"/>
                    </a:lnTo>
                    <a:lnTo>
                      <a:pt x="17" y="14"/>
                    </a:lnTo>
                    <a:lnTo>
                      <a:pt x="17" y="16"/>
                    </a:lnTo>
                    <a:lnTo>
                      <a:pt x="17" y="16"/>
                    </a:lnTo>
                    <a:lnTo>
                      <a:pt x="17" y="16"/>
                    </a:lnTo>
                    <a:lnTo>
                      <a:pt x="17" y="16"/>
                    </a:lnTo>
                    <a:lnTo>
                      <a:pt x="17" y="18"/>
                    </a:lnTo>
                    <a:lnTo>
                      <a:pt x="14" y="18"/>
                    </a:lnTo>
                    <a:lnTo>
                      <a:pt x="14" y="18"/>
                    </a:lnTo>
                    <a:lnTo>
                      <a:pt x="12" y="18"/>
                    </a:lnTo>
                    <a:lnTo>
                      <a:pt x="10" y="18"/>
                    </a:lnTo>
                    <a:lnTo>
                      <a:pt x="7" y="18"/>
                    </a:lnTo>
                    <a:lnTo>
                      <a:pt x="7" y="21"/>
                    </a:lnTo>
                    <a:lnTo>
                      <a:pt x="7" y="21"/>
                    </a:lnTo>
                    <a:lnTo>
                      <a:pt x="5" y="21"/>
                    </a:lnTo>
                    <a:lnTo>
                      <a:pt x="5" y="21"/>
                    </a:lnTo>
                    <a:lnTo>
                      <a:pt x="5" y="23"/>
                    </a:lnTo>
                    <a:lnTo>
                      <a:pt x="5" y="23"/>
                    </a:lnTo>
                    <a:lnTo>
                      <a:pt x="5" y="26"/>
                    </a:lnTo>
                    <a:lnTo>
                      <a:pt x="5" y="26"/>
                    </a:lnTo>
                    <a:lnTo>
                      <a:pt x="5" y="28"/>
                    </a:lnTo>
                    <a:lnTo>
                      <a:pt x="5" y="30"/>
                    </a:lnTo>
                    <a:lnTo>
                      <a:pt x="5" y="30"/>
                    </a:lnTo>
                    <a:lnTo>
                      <a:pt x="3" y="33"/>
                    </a:lnTo>
                    <a:lnTo>
                      <a:pt x="3" y="35"/>
                    </a:lnTo>
                    <a:lnTo>
                      <a:pt x="3" y="37"/>
                    </a:lnTo>
                    <a:lnTo>
                      <a:pt x="0" y="37"/>
                    </a:lnTo>
                    <a:lnTo>
                      <a:pt x="3" y="40"/>
                    </a:lnTo>
                    <a:lnTo>
                      <a:pt x="5" y="45"/>
                    </a:lnTo>
                    <a:lnTo>
                      <a:pt x="5" y="45"/>
                    </a:lnTo>
                    <a:lnTo>
                      <a:pt x="5" y="47"/>
                    </a:lnTo>
                    <a:lnTo>
                      <a:pt x="7" y="49"/>
                    </a:lnTo>
                    <a:lnTo>
                      <a:pt x="10" y="52"/>
                    </a:lnTo>
                    <a:lnTo>
                      <a:pt x="7" y="52"/>
                    </a:lnTo>
                    <a:lnTo>
                      <a:pt x="10" y="54"/>
                    </a:lnTo>
                    <a:lnTo>
                      <a:pt x="10" y="54"/>
                    </a:lnTo>
                    <a:lnTo>
                      <a:pt x="10" y="54"/>
                    </a:lnTo>
                    <a:lnTo>
                      <a:pt x="12" y="54"/>
                    </a:lnTo>
                    <a:lnTo>
                      <a:pt x="12" y="54"/>
                    </a:lnTo>
                    <a:lnTo>
                      <a:pt x="12" y="54"/>
                    </a:lnTo>
                    <a:lnTo>
                      <a:pt x="14" y="54"/>
                    </a:lnTo>
                    <a:lnTo>
                      <a:pt x="14" y="54"/>
                    </a:lnTo>
                    <a:lnTo>
                      <a:pt x="14" y="56"/>
                    </a:lnTo>
                    <a:lnTo>
                      <a:pt x="14" y="59"/>
                    </a:lnTo>
                    <a:lnTo>
                      <a:pt x="17" y="59"/>
                    </a:lnTo>
                    <a:lnTo>
                      <a:pt x="17" y="59"/>
                    </a:lnTo>
                    <a:lnTo>
                      <a:pt x="17" y="61"/>
                    </a:lnTo>
                    <a:lnTo>
                      <a:pt x="17" y="61"/>
                    </a:lnTo>
                    <a:lnTo>
                      <a:pt x="17" y="63"/>
                    </a:lnTo>
                    <a:lnTo>
                      <a:pt x="17" y="63"/>
                    </a:lnTo>
                    <a:lnTo>
                      <a:pt x="17" y="66"/>
                    </a:lnTo>
                    <a:lnTo>
                      <a:pt x="17" y="66"/>
                    </a:lnTo>
                    <a:lnTo>
                      <a:pt x="19" y="66"/>
                    </a:lnTo>
                    <a:lnTo>
                      <a:pt x="19" y="66"/>
                    </a:lnTo>
                    <a:lnTo>
                      <a:pt x="19" y="66"/>
                    </a:lnTo>
                    <a:lnTo>
                      <a:pt x="19" y="68"/>
                    </a:lnTo>
                    <a:lnTo>
                      <a:pt x="19" y="68"/>
                    </a:lnTo>
                    <a:lnTo>
                      <a:pt x="19" y="68"/>
                    </a:lnTo>
                    <a:lnTo>
                      <a:pt x="19" y="71"/>
                    </a:lnTo>
                    <a:lnTo>
                      <a:pt x="21" y="71"/>
                    </a:lnTo>
                    <a:lnTo>
                      <a:pt x="21" y="73"/>
                    </a:lnTo>
                    <a:lnTo>
                      <a:pt x="21" y="73"/>
                    </a:lnTo>
                    <a:lnTo>
                      <a:pt x="21" y="75"/>
                    </a:lnTo>
                    <a:lnTo>
                      <a:pt x="21" y="75"/>
                    </a:lnTo>
                    <a:lnTo>
                      <a:pt x="24" y="78"/>
                    </a:lnTo>
                    <a:lnTo>
                      <a:pt x="24" y="78"/>
                    </a:lnTo>
                    <a:lnTo>
                      <a:pt x="24" y="80"/>
                    </a:lnTo>
                    <a:lnTo>
                      <a:pt x="26" y="82"/>
                    </a:lnTo>
                    <a:lnTo>
                      <a:pt x="26" y="82"/>
                    </a:lnTo>
                    <a:lnTo>
                      <a:pt x="29" y="82"/>
                    </a:lnTo>
                    <a:lnTo>
                      <a:pt x="29" y="82"/>
                    </a:lnTo>
                    <a:lnTo>
                      <a:pt x="29" y="85"/>
                    </a:lnTo>
                    <a:lnTo>
                      <a:pt x="31" y="85"/>
                    </a:lnTo>
                    <a:lnTo>
                      <a:pt x="31" y="85"/>
                    </a:lnTo>
                    <a:lnTo>
                      <a:pt x="33" y="85"/>
                    </a:lnTo>
                    <a:lnTo>
                      <a:pt x="38" y="87"/>
                    </a:lnTo>
                    <a:lnTo>
                      <a:pt x="40" y="85"/>
                    </a:lnTo>
                    <a:lnTo>
                      <a:pt x="40" y="85"/>
                    </a:lnTo>
                    <a:lnTo>
                      <a:pt x="40" y="82"/>
                    </a:lnTo>
                    <a:lnTo>
                      <a:pt x="40" y="82"/>
                    </a:lnTo>
                    <a:lnTo>
                      <a:pt x="40" y="80"/>
                    </a:lnTo>
                    <a:lnTo>
                      <a:pt x="38" y="80"/>
                    </a:lnTo>
                    <a:lnTo>
                      <a:pt x="38" y="78"/>
                    </a:lnTo>
                    <a:lnTo>
                      <a:pt x="36" y="78"/>
                    </a:lnTo>
                    <a:lnTo>
                      <a:pt x="36" y="75"/>
                    </a:lnTo>
                    <a:lnTo>
                      <a:pt x="38" y="75"/>
                    </a:lnTo>
                    <a:lnTo>
                      <a:pt x="38" y="75"/>
                    </a:lnTo>
                    <a:lnTo>
                      <a:pt x="38" y="75"/>
                    </a:lnTo>
                    <a:lnTo>
                      <a:pt x="38" y="73"/>
                    </a:lnTo>
                    <a:lnTo>
                      <a:pt x="40" y="73"/>
                    </a:lnTo>
                    <a:lnTo>
                      <a:pt x="40" y="73"/>
                    </a:lnTo>
                    <a:lnTo>
                      <a:pt x="40" y="73"/>
                    </a:lnTo>
                    <a:lnTo>
                      <a:pt x="40" y="73"/>
                    </a:lnTo>
                    <a:lnTo>
                      <a:pt x="43" y="75"/>
                    </a:lnTo>
                    <a:lnTo>
                      <a:pt x="45" y="73"/>
                    </a:lnTo>
                    <a:lnTo>
                      <a:pt x="50" y="73"/>
                    </a:lnTo>
                    <a:lnTo>
                      <a:pt x="52" y="73"/>
                    </a:lnTo>
                    <a:lnTo>
                      <a:pt x="52" y="73"/>
                    </a:lnTo>
                    <a:lnTo>
                      <a:pt x="55" y="71"/>
                    </a:lnTo>
                    <a:lnTo>
                      <a:pt x="55" y="71"/>
                    </a:lnTo>
                    <a:lnTo>
                      <a:pt x="55" y="71"/>
                    </a:lnTo>
                    <a:lnTo>
                      <a:pt x="57" y="71"/>
                    </a:lnTo>
                    <a:lnTo>
                      <a:pt x="57" y="71"/>
                    </a:lnTo>
                    <a:lnTo>
                      <a:pt x="57" y="71"/>
                    </a:lnTo>
                    <a:lnTo>
                      <a:pt x="59" y="71"/>
                    </a:lnTo>
                    <a:lnTo>
                      <a:pt x="59" y="73"/>
                    </a:lnTo>
                    <a:lnTo>
                      <a:pt x="59" y="73"/>
                    </a:lnTo>
                    <a:lnTo>
                      <a:pt x="59" y="73"/>
                    </a:lnTo>
                    <a:lnTo>
                      <a:pt x="62" y="73"/>
                    </a:lnTo>
                    <a:lnTo>
                      <a:pt x="62" y="73"/>
                    </a:lnTo>
                    <a:lnTo>
                      <a:pt x="64" y="75"/>
                    </a:lnTo>
                    <a:lnTo>
                      <a:pt x="64" y="75"/>
                    </a:lnTo>
                    <a:lnTo>
                      <a:pt x="64" y="75"/>
                    </a:lnTo>
                    <a:lnTo>
                      <a:pt x="64" y="75"/>
                    </a:lnTo>
                    <a:lnTo>
                      <a:pt x="64" y="75"/>
                    </a:lnTo>
                    <a:lnTo>
                      <a:pt x="66" y="75"/>
                    </a:lnTo>
                    <a:lnTo>
                      <a:pt x="66" y="75"/>
                    </a:lnTo>
                    <a:lnTo>
                      <a:pt x="66" y="73"/>
                    </a:lnTo>
                    <a:lnTo>
                      <a:pt x="69" y="73"/>
                    </a:lnTo>
                    <a:lnTo>
                      <a:pt x="71" y="68"/>
                    </a:lnTo>
                    <a:lnTo>
                      <a:pt x="74" y="66"/>
                    </a:lnTo>
                    <a:lnTo>
                      <a:pt x="74" y="63"/>
                    </a:lnTo>
                    <a:lnTo>
                      <a:pt x="74" y="61"/>
                    </a:lnTo>
                    <a:lnTo>
                      <a:pt x="74" y="59"/>
                    </a:lnTo>
                    <a:lnTo>
                      <a:pt x="74" y="59"/>
                    </a:lnTo>
                    <a:lnTo>
                      <a:pt x="76" y="54"/>
                    </a:lnTo>
                    <a:lnTo>
                      <a:pt x="76" y="52"/>
                    </a:lnTo>
                    <a:lnTo>
                      <a:pt x="76" y="52"/>
                    </a:lnTo>
                    <a:lnTo>
                      <a:pt x="76" y="49"/>
                    </a:lnTo>
                    <a:lnTo>
                      <a:pt x="76" y="49"/>
                    </a:lnTo>
                    <a:lnTo>
                      <a:pt x="76" y="49"/>
                    </a:lnTo>
                    <a:lnTo>
                      <a:pt x="76" y="47"/>
                    </a:lnTo>
                    <a:lnTo>
                      <a:pt x="74" y="45"/>
                    </a:lnTo>
                    <a:lnTo>
                      <a:pt x="74" y="45"/>
                    </a:lnTo>
                    <a:lnTo>
                      <a:pt x="71" y="42"/>
                    </a:lnTo>
                    <a:lnTo>
                      <a:pt x="71" y="40"/>
                    </a:lnTo>
                    <a:lnTo>
                      <a:pt x="71" y="37"/>
                    </a:lnTo>
                    <a:lnTo>
                      <a:pt x="71" y="37"/>
                    </a:lnTo>
                    <a:lnTo>
                      <a:pt x="69" y="37"/>
                    </a:lnTo>
                    <a:lnTo>
                      <a:pt x="69" y="35"/>
                    </a:lnTo>
                    <a:lnTo>
                      <a:pt x="69" y="33"/>
                    </a:lnTo>
                    <a:lnTo>
                      <a:pt x="69" y="30"/>
                    </a:lnTo>
                    <a:lnTo>
                      <a:pt x="69" y="30"/>
                    </a:lnTo>
                    <a:lnTo>
                      <a:pt x="69" y="28"/>
                    </a:lnTo>
                    <a:lnTo>
                      <a:pt x="69" y="26"/>
                    </a:lnTo>
                    <a:lnTo>
                      <a:pt x="69" y="26"/>
                    </a:lnTo>
                    <a:lnTo>
                      <a:pt x="69" y="23"/>
                    </a:lnTo>
                    <a:lnTo>
                      <a:pt x="69" y="21"/>
                    </a:lnTo>
                    <a:lnTo>
                      <a:pt x="69" y="21"/>
                    </a:lnTo>
                    <a:lnTo>
                      <a:pt x="69" y="18"/>
                    </a:lnTo>
                    <a:lnTo>
                      <a:pt x="71" y="16"/>
                    </a:lnTo>
                    <a:lnTo>
                      <a:pt x="74" y="14"/>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36"/>
              <p:cNvSpPr>
                <a:spLocks/>
              </p:cNvSpPr>
              <p:nvPr/>
            </p:nvSpPr>
            <p:spPr bwMode="auto">
              <a:xfrm>
                <a:off x="3153" y="2331"/>
                <a:ext cx="308" cy="287"/>
              </a:xfrm>
              <a:custGeom>
                <a:avLst/>
                <a:gdLst>
                  <a:gd name="T0" fmla="*/ 298 w 308"/>
                  <a:gd name="T1" fmla="*/ 81 h 287"/>
                  <a:gd name="T2" fmla="*/ 282 w 308"/>
                  <a:gd name="T3" fmla="*/ 55 h 287"/>
                  <a:gd name="T4" fmla="*/ 279 w 308"/>
                  <a:gd name="T5" fmla="*/ 26 h 287"/>
                  <a:gd name="T6" fmla="*/ 277 w 308"/>
                  <a:gd name="T7" fmla="*/ 19 h 287"/>
                  <a:gd name="T8" fmla="*/ 249 w 308"/>
                  <a:gd name="T9" fmla="*/ 5 h 287"/>
                  <a:gd name="T10" fmla="*/ 196 w 308"/>
                  <a:gd name="T11" fmla="*/ 5 h 287"/>
                  <a:gd name="T12" fmla="*/ 175 w 308"/>
                  <a:gd name="T13" fmla="*/ 0 h 287"/>
                  <a:gd name="T14" fmla="*/ 154 w 308"/>
                  <a:gd name="T15" fmla="*/ 5 h 287"/>
                  <a:gd name="T16" fmla="*/ 104 w 308"/>
                  <a:gd name="T17" fmla="*/ 5 h 287"/>
                  <a:gd name="T18" fmla="*/ 57 w 308"/>
                  <a:gd name="T19" fmla="*/ 26 h 287"/>
                  <a:gd name="T20" fmla="*/ 52 w 308"/>
                  <a:gd name="T21" fmla="*/ 48 h 287"/>
                  <a:gd name="T22" fmla="*/ 38 w 308"/>
                  <a:gd name="T23" fmla="*/ 57 h 287"/>
                  <a:gd name="T24" fmla="*/ 40 w 308"/>
                  <a:gd name="T25" fmla="*/ 123 h 287"/>
                  <a:gd name="T26" fmla="*/ 33 w 308"/>
                  <a:gd name="T27" fmla="*/ 135 h 287"/>
                  <a:gd name="T28" fmla="*/ 21 w 308"/>
                  <a:gd name="T29" fmla="*/ 147 h 287"/>
                  <a:gd name="T30" fmla="*/ 17 w 308"/>
                  <a:gd name="T31" fmla="*/ 156 h 287"/>
                  <a:gd name="T32" fmla="*/ 12 w 308"/>
                  <a:gd name="T33" fmla="*/ 164 h 287"/>
                  <a:gd name="T34" fmla="*/ 14 w 308"/>
                  <a:gd name="T35" fmla="*/ 171 h 287"/>
                  <a:gd name="T36" fmla="*/ 7 w 308"/>
                  <a:gd name="T37" fmla="*/ 178 h 287"/>
                  <a:gd name="T38" fmla="*/ 7 w 308"/>
                  <a:gd name="T39" fmla="*/ 190 h 287"/>
                  <a:gd name="T40" fmla="*/ 2 w 308"/>
                  <a:gd name="T41" fmla="*/ 201 h 287"/>
                  <a:gd name="T42" fmla="*/ 12 w 308"/>
                  <a:gd name="T43" fmla="*/ 206 h 287"/>
                  <a:gd name="T44" fmla="*/ 14 w 308"/>
                  <a:gd name="T45" fmla="*/ 223 h 287"/>
                  <a:gd name="T46" fmla="*/ 21 w 308"/>
                  <a:gd name="T47" fmla="*/ 230 h 287"/>
                  <a:gd name="T48" fmla="*/ 29 w 308"/>
                  <a:gd name="T49" fmla="*/ 249 h 287"/>
                  <a:gd name="T50" fmla="*/ 36 w 308"/>
                  <a:gd name="T51" fmla="*/ 272 h 287"/>
                  <a:gd name="T52" fmla="*/ 33 w 308"/>
                  <a:gd name="T53" fmla="*/ 282 h 287"/>
                  <a:gd name="T54" fmla="*/ 47 w 308"/>
                  <a:gd name="T55" fmla="*/ 284 h 287"/>
                  <a:gd name="T56" fmla="*/ 55 w 308"/>
                  <a:gd name="T57" fmla="*/ 275 h 287"/>
                  <a:gd name="T58" fmla="*/ 57 w 308"/>
                  <a:gd name="T59" fmla="*/ 263 h 287"/>
                  <a:gd name="T60" fmla="*/ 62 w 308"/>
                  <a:gd name="T61" fmla="*/ 251 h 287"/>
                  <a:gd name="T62" fmla="*/ 78 w 308"/>
                  <a:gd name="T63" fmla="*/ 254 h 287"/>
                  <a:gd name="T64" fmla="*/ 90 w 308"/>
                  <a:gd name="T65" fmla="*/ 268 h 287"/>
                  <a:gd name="T66" fmla="*/ 114 w 308"/>
                  <a:gd name="T67" fmla="*/ 265 h 287"/>
                  <a:gd name="T68" fmla="*/ 135 w 308"/>
                  <a:gd name="T69" fmla="*/ 265 h 287"/>
                  <a:gd name="T70" fmla="*/ 147 w 308"/>
                  <a:gd name="T71" fmla="*/ 258 h 287"/>
                  <a:gd name="T72" fmla="*/ 168 w 308"/>
                  <a:gd name="T73" fmla="*/ 263 h 287"/>
                  <a:gd name="T74" fmla="*/ 170 w 308"/>
                  <a:gd name="T75" fmla="*/ 263 h 287"/>
                  <a:gd name="T76" fmla="*/ 189 w 308"/>
                  <a:gd name="T77" fmla="*/ 244 h 287"/>
                  <a:gd name="T78" fmla="*/ 196 w 308"/>
                  <a:gd name="T79" fmla="*/ 228 h 287"/>
                  <a:gd name="T80" fmla="*/ 204 w 308"/>
                  <a:gd name="T81" fmla="*/ 216 h 287"/>
                  <a:gd name="T82" fmla="*/ 204 w 308"/>
                  <a:gd name="T83" fmla="*/ 211 h 287"/>
                  <a:gd name="T84" fmla="*/ 213 w 308"/>
                  <a:gd name="T85" fmla="*/ 211 h 287"/>
                  <a:gd name="T86" fmla="*/ 211 w 308"/>
                  <a:gd name="T87" fmla="*/ 223 h 287"/>
                  <a:gd name="T88" fmla="*/ 213 w 308"/>
                  <a:gd name="T89" fmla="*/ 239 h 287"/>
                  <a:gd name="T90" fmla="*/ 215 w 308"/>
                  <a:gd name="T91" fmla="*/ 244 h 287"/>
                  <a:gd name="T92" fmla="*/ 227 w 308"/>
                  <a:gd name="T93" fmla="*/ 258 h 287"/>
                  <a:gd name="T94" fmla="*/ 227 w 308"/>
                  <a:gd name="T95" fmla="*/ 261 h 287"/>
                  <a:gd name="T96" fmla="*/ 227 w 308"/>
                  <a:gd name="T97" fmla="*/ 270 h 287"/>
                  <a:gd name="T98" fmla="*/ 232 w 308"/>
                  <a:gd name="T99" fmla="*/ 261 h 287"/>
                  <a:gd name="T100" fmla="*/ 237 w 308"/>
                  <a:gd name="T101" fmla="*/ 242 h 287"/>
                  <a:gd name="T102" fmla="*/ 244 w 308"/>
                  <a:gd name="T103" fmla="*/ 242 h 287"/>
                  <a:gd name="T104" fmla="*/ 249 w 308"/>
                  <a:gd name="T105" fmla="*/ 220 h 287"/>
                  <a:gd name="T106" fmla="*/ 258 w 308"/>
                  <a:gd name="T107" fmla="*/ 201 h 287"/>
                  <a:gd name="T108" fmla="*/ 267 w 308"/>
                  <a:gd name="T109" fmla="*/ 192 h 287"/>
                  <a:gd name="T110" fmla="*/ 272 w 308"/>
                  <a:gd name="T111" fmla="*/ 173 h 287"/>
                  <a:gd name="T112" fmla="*/ 272 w 308"/>
                  <a:gd name="T113" fmla="*/ 145 h 287"/>
                  <a:gd name="T114" fmla="*/ 277 w 308"/>
                  <a:gd name="T115" fmla="*/ 119 h 287"/>
                  <a:gd name="T116" fmla="*/ 282 w 308"/>
                  <a:gd name="T117" fmla="*/ 109 h 287"/>
                  <a:gd name="T118" fmla="*/ 291 w 308"/>
                  <a:gd name="T119" fmla="*/ 102 h 287"/>
                  <a:gd name="T120" fmla="*/ 296 w 308"/>
                  <a:gd name="T121" fmla="*/ 100 h 287"/>
                  <a:gd name="T122" fmla="*/ 303 w 308"/>
                  <a:gd name="T123" fmla="*/ 97 h 287"/>
                  <a:gd name="T124" fmla="*/ 308 w 308"/>
                  <a:gd name="T125" fmla="*/ 9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08" h="287">
                    <a:moveTo>
                      <a:pt x="308" y="88"/>
                    </a:moveTo>
                    <a:lnTo>
                      <a:pt x="303" y="83"/>
                    </a:lnTo>
                    <a:lnTo>
                      <a:pt x="303" y="83"/>
                    </a:lnTo>
                    <a:lnTo>
                      <a:pt x="303" y="83"/>
                    </a:lnTo>
                    <a:lnTo>
                      <a:pt x="301" y="83"/>
                    </a:lnTo>
                    <a:lnTo>
                      <a:pt x="301" y="81"/>
                    </a:lnTo>
                    <a:lnTo>
                      <a:pt x="298" y="81"/>
                    </a:lnTo>
                    <a:lnTo>
                      <a:pt x="296" y="76"/>
                    </a:lnTo>
                    <a:lnTo>
                      <a:pt x="291" y="74"/>
                    </a:lnTo>
                    <a:lnTo>
                      <a:pt x="289" y="74"/>
                    </a:lnTo>
                    <a:lnTo>
                      <a:pt x="289" y="74"/>
                    </a:lnTo>
                    <a:lnTo>
                      <a:pt x="286" y="71"/>
                    </a:lnTo>
                    <a:lnTo>
                      <a:pt x="284" y="66"/>
                    </a:lnTo>
                    <a:lnTo>
                      <a:pt x="282" y="55"/>
                    </a:lnTo>
                    <a:lnTo>
                      <a:pt x="282" y="50"/>
                    </a:lnTo>
                    <a:lnTo>
                      <a:pt x="282" y="43"/>
                    </a:lnTo>
                    <a:lnTo>
                      <a:pt x="282" y="38"/>
                    </a:lnTo>
                    <a:lnTo>
                      <a:pt x="282" y="33"/>
                    </a:lnTo>
                    <a:lnTo>
                      <a:pt x="279" y="31"/>
                    </a:lnTo>
                    <a:lnTo>
                      <a:pt x="279" y="26"/>
                    </a:lnTo>
                    <a:lnTo>
                      <a:pt x="279" y="26"/>
                    </a:lnTo>
                    <a:lnTo>
                      <a:pt x="279" y="24"/>
                    </a:lnTo>
                    <a:lnTo>
                      <a:pt x="279" y="24"/>
                    </a:lnTo>
                    <a:lnTo>
                      <a:pt x="282" y="24"/>
                    </a:lnTo>
                    <a:lnTo>
                      <a:pt x="282" y="24"/>
                    </a:lnTo>
                    <a:lnTo>
                      <a:pt x="282" y="24"/>
                    </a:lnTo>
                    <a:lnTo>
                      <a:pt x="279" y="22"/>
                    </a:lnTo>
                    <a:lnTo>
                      <a:pt x="277" y="19"/>
                    </a:lnTo>
                    <a:lnTo>
                      <a:pt x="275" y="12"/>
                    </a:lnTo>
                    <a:lnTo>
                      <a:pt x="275" y="10"/>
                    </a:lnTo>
                    <a:lnTo>
                      <a:pt x="272" y="5"/>
                    </a:lnTo>
                    <a:lnTo>
                      <a:pt x="267" y="5"/>
                    </a:lnTo>
                    <a:lnTo>
                      <a:pt x="260" y="5"/>
                    </a:lnTo>
                    <a:lnTo>
                      <a:pt x="256" y="5"/>
                    </a:lnTo>
                    <a:lnTo>
                      <a:pt x="249" y="5"/>
                    </a:lnTo>
                    <a:lnTo>
                      <a:pt x="244" y="5"/>
                    </a:lnTo>
                    <a:lnTo>
                      <a:pt x="237" y="5"/>
                    </a:lnTo>
                    <a:lnTo>
                      <a:pt x="232" y="5"/>
                    </a:lnTo>
                    <a:lnTo>
                      <a:pt x="225" y="5"/>
                    </a:lnTo>
                    <a:lnTo>
                      <a:pt x="220" y="5"/>
                    </a:lnTo>
                    <a:lnTo>
                      <a:pt x="201" y="5"/>
                    </a:lnTo>
                    <a:lnTo>
                      <a:pt x="196" y="5"/>
                    </a:lnTo>
                    <a:lnTo>
                      <a:pt x="189" y="5"/>
                    </a:lnTo>
                    <a:lnTo>
                      <a:pt x="182" y="5"/>
                    </a:lnTo>
                    <a:lnTo>
                      <a:pt x="178" y="5"/>
                    </a:lnTo>
                    <a:lnTo>
                      <a:pt x="175" y="5"/>
                    </a:lnTo>
                    <a:lnTo>
                      <a:pt x="175" y="3"/>
                    </a:lnTo>
                    <a:lnTo>
                      <a:pt x="175" y="0"/>
                    </a:lnTo>
                    <a:lnTo>
                      <a:pt x="175" y="0"/>
                    </a:lnTo>
                    <a:lnTo>
                      <a:pt x="173" y="0"/>
                    </a:lnTo>
                    <a:lnTo>
                      <a:pt x="173" y="0"/>
                    </a:lnTo>
                    <a:lnTo>
                      <a:pt x="170" y="5"/>
                    </a:lnTo>
                    <a:lnTo>
                      <a:pt x="170" y="5"/>
                    </a:lnTo>
                    <a:lnTo>
                      <a:pt x="168" y="5"/>
                    </a:lnTo>
                    <a:lnTo>
                      <a:pt x="161" y="5"/>
                    </a:lnTo>
                    <a:lnTo>
                      <a:pt x="154" y="5"/>
                    </a:lnTo>
                    <a:lnTo>
                      <a:pt x="147" y="5"/>
                    </a:lnTo>
                    <a:lnTo>
                      <a:pt x="140" y="5"/>
                    </a:lnTo>
                    <a:lnTo>
                      <a:pt x="133" y="5"/>
                    </a:lnTo>
                    <a:lnTo>
                      <a:pt x="126" y="5"/>
                    </a:lnTo>
                    <a:lnTo>
                      <a:pt x="118" y="5"/>
                    </a:lnTo>
                    <a:lnTo>
                      <a:pt x="111" y="5"/>
                    </a:lnTo>
                    <a:lnTo>
                      <a:pt x="104" y="5"/>
                    </a:lnTo>
                    <a:lnTo>
                      <a:pt x="90" y="5"/>
                    </a:lnTo>
                    <a:lnTo>
                      <a:pt x="83" y="5"/>
                    </a:lnTo>
                    <a:lnTo>
                      <a:pt x="78" y="5"/>
                    </a:lnTo>
                    <a:lnTo>
                      <a:pt x="71" y="5"/>
                    </a:lnTo>
                    <a:lnTo>
                      <a:pt x="57" y="5"/>
                    </a:lnTo>
                    <a:lnTo>
                      <a:pt x="57" y="14"/>
                    </a:lnTo>
                    <a:lnTo>
                      <a:pt x="57" y="26"/>
                    </a:lnTo>
                    <a:lnTo>
                      <a:pt x="57" y="36"/>
                    </a:lnTo>
                    <a:lnTo>
                      <a:pt x="57" y="45"/>
                    </a:lnTo>
                    <a:lnTo>
                      <a:pt x="57" y="45"/>
                    </a:lnTo>
                    <a:lnTo>
                      <a:pt x="57" y="45"/>
                    </a:lnTo>
                    <a:lnTo>
                      <a:pt x="57" y="45"/>
                    </a:lnTo>
                    <a:lnTo>
                      <a:pt x="57" y="48"/>
                    </a:lnTo>
                    <a:lnTo>
                      <a:pt x="52" y="48"/>
                    </a:lnTo>
                    <a:lnTo>
                      <a:pt x="47" y="48"/>
                    </a:lnTo>
                    <a:lnTo>
                      <a:pt x="43" y="45"/>
                    </a:lnTo>
                    <a:lnTo>
                      <a:pt x="38" y="45"/>
                    </a:lnTo>
                    <a:lnTo>
                      <a:pt x="38" y="50"/>
                    </a:lnTo>
                    <a:lnTo>
                      <a:pt x="38" y="52"/>
                    </a:lnTo>
                    <a:lnTo>
                      <a:pt x="38" y="55"/>
                    </a:lnTo>
                    <a:lnTo>
                      <a:pt x="38" y="57"/>
                    </a:lnTo>
                    <a:lnTo>
                      <a:pt x="38" y="66"/>
                    </a:lnTo>
                    <a:lnTo>
                      <a:pt x="40" y="76"/>
                    </a:lnTo>
                    <a:lnTo>
                      <a:pt x="40" y="85"/>
                    </a:lnTo>
                    <a:lnTo>
                      <a:pt x="40" y="95"/>
                    </a:lnTo>
                    <a:lnTo>
                      <a:pt x="40" y="104"/>
                    </a:lnTo>
                    <a:lnTo>
                      <a:pt x="40" y="114"/>
                    </a:lnTo>
                    <a:lnTo>
                      <a:pt x="40" y="123"/>
                    </a:lnTo>
                    <a:lnTo>
                      <a:pt x="40" y="133"/>
                    </a:lnTo>
                    <a:lnTo>
                      <a:pt x="40" y="135"/>
                    </a:lnTo>
                    <a:lnTo>
                      <a:pt x="40" y="138"/>
                    </a:lnTo>
                    <a:lnTo>
                      <a:pt x="40" y="138"/>
                    </a:lnTo>
                    <a:lnTo>
                      <a:pt x="40" y="138"/>
                    </a:lnTo>
                    <a:lnTo>
                      <a:pt x="36" y="135"/>
                    </a:lnTo>
                    <a:lnTo>
                      <a:pt x="33" y="135"/>
                    </a:lnTo>
                    <a:lnTo>
                      <a:pt x="31" y="138"/>
                    </a:lnTo>
                    <a:lnTo>
                      <a:pt x="26" y="138"/>
                    </a:lnTo>
                    <a:lnTo>
                      <a:pt x="24" y="138"/>
                    </a:lnTo>
                    <a:lnTo>
                      <a:pt x="21" y="140"/>
                    </a:lnTo>
                    <a:lnTo>
                      <a:pt x="21" y="140"/>
                    </a:lnTo>
                    <a:lnTo>
                      <a:pt x="21" y="145"/>
                    </a:lnTo>
                    <a:lnTo>
                      <a:pt x="21" y="147"/>
                    </a:lnTo>
                    <a:lnTo>
                      <a:pt x="21" y="149"/>
                    </a:lnTo>
                    <a:lnTo>
                      <a:pt x="19" y="149"/>
                    </a:lnTo>
                    <a:lnTo>
                      <a:pt x="19" y="152"/>
                    </a:lnTo>
                    <a:lnTo>
                      <a:pt x="19" y="152"/>
                    </a:lnTo>
                    <a:lnTo>
                      <a:pt x="17" y="154"/>
                    </a:lnTo>
                    <a:lnTo>
                      <a:pt x="17" y="154"/>
                    </a:lnTo>
                    <a:lnTo>
                      <a:pt x="17" y="156"/>
                    </a:lnTo>
                    <a:lnTo>
                      <a:pt x="17" y="159"/>
                    </a:lnTo>
                    <a:lnTo>
                      <a:pt x="17" y="159"/>
                    </a:lnTo>
                    <a:lnTo>
                      <a:pt x="14" y="159"/>
                    </a:lnTo>
                    <a:lnTo>
                      <a:pt x="12" y="159"/>
                    </a:lnTo>
                    <a:lnTo>
                      <a:pt x="12" y="161"/>
                    </a:lnTo>
                    <a:lnTo>
                      <a:pt x="12" y="161"/>
                    </a:lnTo>
                    <a:lnTo>
                      <a:pt x="12" y="164"/>
                    </a:lnTo>
                    <a:lnTo>
                      <a:pt x="12" y="164"/>
                    </a:lnTo>
                    <a:lnTo>
                      <a:pt x="12" y="166"/>
                    </a:lnTo>
                    <a:lnTo>
                      <a:pt x="12" y="166"/>
                    </a:lnTo>
                    <a:lnTo>
                      <a:pt x="14" y="168"/>
                    </a:lnTo>
                    <a:lnTo>
                      <a:pt x="14" y="168"/>
                    </a:lnTo>
                    <a:lnTo>
                      <a:pt x="14" y="171"/>
                    </a:lnTo>
                    <a:lnTo>
                      <a:pt x="14" y="171"/>
                    </a:lnTo>
                    <a:lnTo>
                      <a:pt x="12" y="173"/>
                    </a:lnTo>
                    <a:lnTo>
                      <a:pt x="10" y="173"/>
                    </a:lnTo>
                    <a:lnTo>
                      <a:pt x="10" y="173"/>
                    </a:lnTo>
                    <a:lnTo>
                      <a:pt x="10" y="173"/>
                    </a:lnTo>
                    <a:lnTo>
                      <a:pt x="7" y="175"/>
                    </a:lnTo>
                    <a:lnTo>
                      <a:pt x="7" y="175"/>
                    </a:lnTo>
                    <a:lnTo>
                      <a:pt x="7" y="178"/>
                    </a:lnTo>
                    <a:lnTo>
                      <a:pt x="7" y="178"/>
                    </a:lnTo>
                    <a:lnTo>
                      <a:pt x="7" y="180"/>
                    </a:lnTo>
                    <a:lnTo>
                      <a:pt x="7" y="183"/>
                    </a:lnTo>
                    <a:lnTo>
                      <a:pt x="10" y="185"/>
                    </a:lnTo>
                    <a:lnTo>
                      <a:pt x="10" y="185"/>
                    </a:lnTo>
                    <a:lnTo>
                      <a:pt x="10" y="187"/>
                    </a:lnTo>
                    <a:lnTo>
                      <a:pt x="7" y="190"/>
                    </a:lnTo>
                    <a:lnTo>
                      <a:pt x="7" y="190"/>
                    </a:lnTo>
                    <a:lnTo>
                      <a:pt x="5" y="192"/>
                    </a:lnTo>
                    <a:lnTo>
                      <a:pt x="2" y="194"/>
                    </a:lnTo>
                    <a:lnTo>
                      <a:pt x="2" y="197"/>
                    </a:lnTo>
                    <a:lnTo>
                      <a:pt x="0" y="199"/>
                    </a:lnTo>
                    <a:lnTo>
                      <a:pt x="2" y="199"/>
                    </a:lnTo>
                    <a:lnTo>
                      <a:pt x="2" y="201"/>
                    </a:lnTo>
                    <a:lnTo>
                      <a:pt x="2" y="201"/>
                    </a:lnTo>
                    <a:lnTo>
                      <a:pt x="5" y="201"/>
                    </a:lnTo>
                    <a:lnTo>
                      <a:pt x="7" y="201"/>
                    </a:lnTo>
                    <a:lnTo>
                      <a:pt x="10" y="201"/>
                    </a:lnTo>
                    <a:lnTo>
                      <a:pt x="12" y="201"/>
                    </a:lnTo>
                    <a:lnTo>
                      <a:pt x="12" y="204"/>
                    </a:lnTo>
                    <a:lnTo>
                      <a:pt x="12" y="206"/>
                    </a:lnTo>
                    <a:lnTo>
                      <a:pt x="12" y="209"/>
                    </a:lnTo>
                    <a:lnTo>
                      <a:pt x="14" y="213"/>
                    </a:lnTo>
                    <a:lnTo>
                      <a:pt x="14" y="213"/>
                    </a:lnTo>
                    <a:lnTo>
                      <a:pt x="14" y="213"/>
                    </a:lnTo>
                    <a:lnTo>
                      <a:pt x="14" y="216"/>
                    </a:lnTo>
                    <a:lnTo>
                      <a:pt x="14" y="216"/>
                    </a:lnTo>
                    <a:lnTo>
                      <a:pt x="14" y="223"/>
                    </a:lnTo>
                    <a:lnTo>
                      <a:pt x="17" y="225"/>
                    </a:lnTo>
                    <a:lnTo>
                      <a:pt x="17" y="225"/>
                    </a:lnTo>
                    <a:lnTo>
                      <a:pt x="17" y="228"/>
                    </a:lnTo>
                    <a:lnTo>
                      <a:pt x="19" y="228"/>
                    </a:lnTo>
                    <a:lnTo>
                      <a:pt x="19" y="228"/>
                    </a:lnTo>
                    <a:lnTo>
                      <a:pt x="21" y="228"/>
                    </a:lnTo>
                    <a:lnTo>
                      <a:pt x="21" y="230"/>
                    </a:lnTo>
                    <a:lnTo>
                      <a:pt x="21" y="230"/>
                    </a:lnTo>
                    <a:lnTo>
                      <a:pt x="21" y="232"/>
                    </a:lnTo>
                    <a:lnTo>
                      <a:pt x="21" y="237"/>
                    </a:lnTo>
                    <a:lnTo>
                      <a:pt x="21" y="239"/>
                    </a:lnTo>
                    <a:lnTo>
                      <a:pt x="21" y="242"/>
                    </a:lnTo>
                    <a:lnTo>
                      <a:pt x="24" y="242"/>
                    </a:lnTo>
                    <a:lnTo>
                      <a:pt x="29" y="249"/>
                    </a:lnTo>
                    <a:lnTo>
                      <a:pt x="29" y="249"/>
                    </a:lnTo>
                    <a:lnTo>
                      <a:pt x="33" y="254"/>
                    </a:lnTo>
                    <a:lnTo>
                      <a:pt x="33" y="256"/>
                    </a:lnTo>
                    <a:lnTo>
                      <a:pt x="36" y="261"/>
                    </a:lnTo>
                    <a:lnTo>
                      <a:pt x="36" y="263"/>
                    </a:lnTo>
                    <a:lnTo>
                      <a:pt x="36" y="265"/>
                    </a:lnTo>
                    <a:lnTo>
                      <a:pt x="36" y="272"/>
                    </a:lnTo>
                    <a:lnTo>
                      <a:pt x="36" y="272"/>
                    </a:lnTo>
                    <a:lnTo>
                      <a:pt x="33" y="277"/>
                    </a:lnTo>
                    <a:lnTo>
                      <a:pt x="33" y="277"/>
                    </a:lnTo>
                    <a:lnTo>
                      <a:pt x="33" y="280"/>
                    </a:lnTo>
                    <a:lnTo>
                      <a:pt x="33" y="280"/>
                    </a:lnTo>
                    <a:lnTo>
                      <a:pt x="33" y="280"/>
                    </a:lnTo>
                    <a:lnTo>
                      <a:pt x="33" y="282"/>
                    </a:lnTo>
                    <a:lnTo>
                      <a:pt x="36" y="284"/>
                    </a:lnTo>
                    <a:lnTo>
                      <a:pt x="36" y="284"/>
                    </a:lnTo>
                    <a:lnTo>
                      <a:pt x="40" y="284"/>
                    </a:lnTo>
                    <a:lnTo>
                      <a:pt x="43" y="284"/>
                    </a:lnTo>
                    <a:lnTo>
                      <a:pt x="45" y="287"/>
                    </a:lnTo>
                    <a:lnTo>
                      <a:pt x="45" y="284"/>
                    </a:lnTo>
                    <a:lnTo>
                      <a:pt x="47" y="284"/>
                    </a:lnTo>
                    <a:lnTo>
                      <a:pt x="47" y="282"/>
                    </a:lnTo>
                    <a:lnTo>
                      <a:pt x="52" y="282"/>
                    </a:lnTo>
                    <a:lnTo>
                      <a:pt x="52" y="280"/>
                    </a:lnTo>
                    <a:lnTo>
                      <a:pt x="52" y="280"/>
                    </a:lnTo>
                    <a:lnTo>
                      <a:pt x="52" y="277"/>
                    </a:lnTo>
                    <a:lnTo>
                      <a:pt x="55" y="275"/>
                    </a:lnTo>
                    <a:lnTo>
                      <a:pt x="55" y="275"/>
                    </a:lnTo>
                    <a:lnTo>
                      <a:pt x="55" y="272"/>
                    </a:lnTo>
                    <a:lnTo>
                      <a:pt x="55" y="270"/>
                    </a:lnTo>
                    <a:lnTo>
                      <a:pt x="55" y="270"/>
                    </a:lnTo>
                    <a:lnTo>
                      <a:pt x="57" y="268"/>
                    </a:lnTo>
                    <a:lnTo>
                      <a:pt x="57" y="268"/>
                    </a:lnTo>
                    <a:lnTo>
                      <a:pt x="57" y="265"/>
                    </a:lnTo>
                    <a:lnTo>
                      <a:pt x="57" y="263"/>
                    </a:lnTo>
                    <a:lnTo>
                      <a:pt x="57" y="261"/>
                    </a:lnTo>
                    <a:lnTo>
                      <a:pt x="59" y="258"/>
                    </a:lnTo>
                    <a:lnTo>
                      <a:pt x="62" y="256"/>
                    </a:lnTo>
                    <a:lnTo>
                      <a:pt x="62" y="256"/>
                    </a:lnTo>
                    <a:lnTo>
                      <a:pt x="62" y="254"/>
                    </a:lnTo>
                    <a:lnTo>
                      <a:pt x="62" y="254"/>
                    </a:lnTo>
                    <a:lnTo>
                      <a:pt x="62" y="251"/>
                    </a:lnTo>
                    <a:lnTo>
                      <a:pt x="62" y="251"/>
                    </a:lnTo>
                    <a:lnTo>
                      <a:pt x="64" y="251"/>
                    </a:lnTo>
                    <a:lnTo>
                      <a:pt x="66" y="251"/>
                    </a:lnTo>
                    <a:lnTo>
                      <a:pt x="76" y="249"/>
                    </a:lnTo>
                    <a:lnTo>
                      <a:pt x="76" y="249"/>
                    </a:lnTo>
                    <a:lnTo>
                      <a:pt x="78" y="251"/>
                    </a:lnTo>
                    <a:lnTo>
                      <a:pt x="78" y="254"/>
                    </a:lnTo>
                    <a:lnTo>
                      <a:pt x="78" y="254"/>
                    </a:lnTo>
                    <a:lnTo>
                      <a:pt x="78" y="254"/>
                    </a:lnTo>
                    <a:lnTo>
                      <a:pt x="81" y="256"/>
                    </a:lnTo>
                    <a:lnTo>
                      <a:pt x="81" y="256"/>
                    </a:lnTo>
                    <a:lnTo>
                      <a:pt x="81" y="258"/>
                    </a:lnTo>
                    <a:lnTo>
                      <a:pt x="83" y="258"/>
                    </a:lnTo>
                    <a:lnTo>
                      <a:pt x="90" y="268"/>
                    </a:lnTo>
                    <a:lnTo>
                      <a:pt x="92" y="268"/>
                    </a:lnTo>
                    <a:lnTo>
                      <a:pt x="95" y="268"/>
                    </a:lnTo>
                    <a:lnTo>
                      <a:pt x="97" y="265"/>
                    </a:lnTo>
                    <a:lnTo>
                      <a:pt x="99" y="265"/>
                    </a:lnTo>
                    <a:lnTo>
                      <a:pt x="114" y="265"/>
                    </a:lnTo>
                    <a:lnTo>
                      <a:pt x="114" y="265"/>
                    </a:lnTo>
                    <a:lnTo>
                      <a:pt x="114" y="265"/>
                    </a:lnTo>
                    <a:lnTo>
                      <a:pt x="116" y="270"/>
                    </a:lnTo>
                    <a:lnTo>
                      <a:pt x="118" y="272"/>
                    </a:lnTo>
                    <a:lnTo>
                      <a:pt x="133" y="272"/>
                    </a:lnTo>
                    <a:lnTo>
                      <a:pt x="133" y="270"/>
                    </a:lnTo>
                    <a:lnTo>
                      <a:pt x="133" y="270"/>
                    </a:lnTo>
                    <a:lnTo>
                      <a:pt x="135" y="268"/>
                    </a:lnTo>
                    <a:lnTo>
                      <a:pt x="135" y="265"/>
                    </a:lnTo>
                    <a:lnTo>
                      <a:pt x="135" y="265"/>
                    </a:lnTo>
                    <a:lnTo>
                      <a:pt x="135" y="265"/>
                    </a:lnTo>
                    <a:lnTo>
                      <a:pt x="137" y="265"/>
                    </a:lnTo>
                    <a:lnTo>
                      <a:pt x="140" y="263"/>
                    </a:lnTo>
                    <a:lnTo>
                      <a:pt x="144" y="263"/>
                    </a:lnTo>
                    <a:lnTo>
                      <a:pt x="144" y="261"/>
                    </a:lnTo>
                    <a:lnTo>
                      <a:pt x="147" y="258"/>
                    </a:lnTo>
                    <a:lnTo>
                      <a:pt x="147" y="256"/>
                    </a:lnTo>
                    <a:lnTo>
                      <a:pt x="147" y="256"/>
                    </a:lnTo>
                    <a:lnTo>
                      <a:pt x="147" y="256"/>
                    </a:lnTo>
                    <a:lnTo>
                      <a:pt x="154" y="254"/>
                    </a:lnTo>
                    <a:lnTo>
                      <a:pt x="154" y="251"/>
                    </a:lnTo>
                    <a:lnTo>
                      <a:pt x="163" y="258"/>
                    </a:lnTo>
                    <a:lnTo>
                      <a:pt x="168" y="263"/>
                    </a:lnTo>
                    <a:lnTo>
                      <a:pt x="168" y="263"/>
                    </a:lnTo>
                    <a:lnTo>
                      <a:pt x="168" y="263"/>
                    </a:lnTo>
                    <a:lnTo>
                      <a:pt x="168" y="263"/>
                    </a:lnTo>
                    <a:lnTo>
                      <a:pt x="168" y="263"/>
                    </a:lnTo>
                    <a:lnTo>
                      <a:pt x="168" y="263"/>
                    </a:lnTo>
                    <a:lnTo>
                      <a:pt x="168" y="263"/>
                    </a:lnTo>
                    <a:lnTo>
                      <a:pt x="170" y="263"/>
                    </a:lnTo>
                    <a:lnTo>
                      <a:pt x="175" y="263"/>
                    </a:lnTo>
                    <a:lnTo>
                      <a:pt x="178" y="263"/>
                    </a:lnTo>
                    <a:lnTo>
                      <a:pt x="185" y="254"/>
                    </a:lnTo>
                    <a:lnTo>
                      <a:pt x="187" y="251"/>
                    </a:lnTo>
                    <a:lnTo>
                      <a:pt x="187" y="249"/>
                    </a:lnTo>
                    <a:lnTo>
                      <a:pt x="187" y="246"/>
                    </a:lnTo>
                    <a:lnTo>
                      <a:pt x="189" y="244"/>
                    </a:lnTo>
                    <a:lnTo>
                      <a:pt x="189" y="244"/>
                    </a:lnTo>
                    <a:lnTo>
                      <a:pt x="199" y="235"/>
                    </a:lnTo>
                    <a:lnTo>
                      <a:pt x="199" y="235"/>
                    </a:lnTo>
                    <a:lnTo>
                      <a:pt x="199" y="235"/>
                    </a:lnTo>
                    <a:lnTo>
                      <a:pt x="196" y="232"/>
                    </a:lnTo>
                    <a:lnTo>
                      <a:pt x="196" y="230"/>
                    </a:lnTo>
                    <a:lnTo>
                      <a:pt x="196" y="228"/>
                    </a:lnTo>
                    <a:lnTo>
                      <a:pt x="196" y="225"/>
                    </a:lnTo>
                    <a:lnTo>
                      <a:pt x="196" y="223"/>
                    </a:lnTo>
                    <a:lnTo>
                      <a:pt x="196" y="223"/>
                    </a:lnTo>
                    <a:lnTo>
                      <a:pt x="196" y="220"/>
                    </a:lnTo>
                    <a:lnTo>
                      <a:pt x="196" y="220"/>
                    </a:lnTo>
                    <a:lnTo>
                      <a:pt x="192" y="216"/>
                    </a:lnTo>
                    <a:lnTo>
                      <a:pt x="204" y="216"/>
                    </a:lnTo>
                    <a:lnTo>
                      <a:pt x="204" y="216"/>
                    </a:lnTo>
                    <a:lnTo>
                      <a:pt x="204" y="213"/>
                    </a:lnTo>
                    <a:lnTo>
                      <a:pt x="204" y="213"/>
                    </a:lnTo>
                    <a:lnTo>
                      <a:pt x="204" y="213"/>
                    </a:lnTo>
                    <a:lnTo>
                      <a:pt x="204" y="213"/>
                    </a:lnTo>
                    <a:lnTo>
                      <a:pt x="204" y="213"/>
                    </a:lnTo>
                    <a:lnTo>
                      <a:pt x="204" y="211"/>
                    </a:lnTo>
                    <a:lnTo>
                      <a:pt x="204" y="211"/>
                    </a:lnTo>
                    <a:lnTo>
                      <a:pt x="204" y="211"/>
                    </a:lnTo>
                    <a:lnTo>
                      <a:pt x="204" y="211"/>
                    </a:lnTo>
                    <a:lnTo>
                      <a:pt x="204" y="211"/>
                    </a:lnTo>
                    <a:lnTo>
                      <a:pt x="204" y="211"/>
                    </a:lnTo>
                    <a:lnTo>
                      <a:pt x="204" y="211"/>
                    </a:lnTo>
                    <a:lnTo>
                      <a:pt x="213" y="211"/>
                    </a:lnTo>
                    <a:lnTo>
                      <a:pt x="213" y="213"/>
                    </a:lnTo>
                    <a:lnTo>
                      <a:pt x="211" y="216"/>
                    </a:lnTo>
                    <a:lnTo>
                      <a:pt x="211" y="218"/>
                    </a:lnTo>
                    <a:lnTo>
                      <a:pt x="211" y="223"/>
                    </a:lnTo>
                    <a:lnTo>
                      <a:pt x="211" y="223"/>
                    </a:lnTo>
                    <a:lnTo>
                      <a:pt x="211" y="223"/>
                    </a:lnTo>
                    <a:lnTo>
                      <a:pt x="211" y="223"/>
                    </a:lnTo>
                    <a:lnTo>
                      <a:pt x="211" y="223"/>
                    </a:lnTo>
                    <a:lnTo>
                      <a:pt x="211" y="223"/>
                    </a:lnTo>
                    <a:lnTo>
                      <a:pt x="211" y="223"/>
                    </a:lnTo>
                    <a:lnTo>
                      <a:pt x="211" y="225"/>
                    </a:lnTo>
                    <a:lnTo>
                      <a:pt x="213" y="239"/>
                    </a:lnTo>
                    <a:lnTo>
                      <a:pt x="213" y="239"/>
                    </a:lnTo>
                    <a:lnTo>
                      <a:pt x="213" y="239"/>
                    </a:lnTo>
                    <a:lnTo>
                      <a:pt x="211" y="242"/>
                    </a:lnTo>
                    <a:lnTo>
                      <a:pt x="211" y="242"/>
                    </a:lnTo>
                    <a:lnTo>
                      <a:pt x="211" y="242"/>
                    </a:lnTo>
                    <a:lnTo>
                      <a:pt x="211" y="242"/>
                    </a:lnTo>
                    <a:lnTo>
                      <a:pt x="215" y="244"/>
                    </a:lnTo>
                    <a:lnTo>
                      <a:pt x="215" y="244"/>
                    </a:lnTo>
                    <a:lnTo>
                      <a:pt x="215" y="244"/>
                    </a:lnTo>
                    <a:lnTo>
                      <a:pt x="218" y="246"/>
                    </a:lnTo>
                    <a:lnTo>
                      <a:pt x="225" y="254"/>
                    </a:lnTo>
                    <a:lnTo>
                      <a:pt x="227" y="254"/>
                    </a:lnTo>
                    <a:lnTo>
                      <a:pt x="227" y="256"/>
                    </a:lnTo>
                    <a:lnTo>
                      <a:pt x="227" y="256"/>
                    </a:lnTo>
                    <a:lnTo>
                      <a:pt x="227" y="256"/>
                    </a:lnTo>
                    <a:lnTo>
                      <a:pt x="227" y="258"/>
                    </a:lnTo>
                    <a:lnTo>
                      <a:pt x="227" y="258"/>
                    </a:lnTo>
                    <a:lnTo>
                      <a:pt x="227" y="261"/>
                    </a:lnTo>
                    <a:lnTo>
                      <a:pt x="227" y="261"/>
                    </a:lnTo>
                    <a:lnTo>
                      <a:pt x="227" y="261"/>
                    </a:lnTo>
                    <a:lnTo>
                      <a:pt x="227" y="261"/>
                    </a:lnTo>
                    <a:lnTo>
                      <a:pt x="227" y="261"/>
                    </a:lnTo>
                    <a:lnTo>
                      <a:pt x="227" y="261"/>
                    </a:lnTo>
                    <a:lnTo>
                      <a:pt x="227" y="263"/>
                    </a:lnTo>
                    <a:lnTo>
                      <a:pt x="225" y="265"/>
                    </a:lnTo>
                    <a:lnTo>
                      <a:pt x="225" y="268"/>
                    </a:lnTo>
                    <a:lnTo>
                      <a:pt x="225" y="268"/>
                    </a:lnTo>
                    <a:lnTo>
                      <a:pt x="225" y="268"/>
                    </a:lnTo>
                    <a:lnTo>
                      <a:pt x="225" y="268"/>
                    </a:lnTo>
                    <a:lnTo>
                      <a:pt x="227" y="270"/>
                    </a:lnTo>
                    <a:lnTo>
                      <a:pt x="227" y="270"/>
                    </a:lnTo>
                    <a:lnTo>
                      <a:pt x="227" y="270"/>
                    </a:lnTo>
                    <a:lnTo>
                      <a:pt x="230" y="270"/>
                    </a:lnTo>
                    <a:lnTo>
                      <a:pt x="230" y="270"/>
                    </a:lnTo>
                    <a:lnTo>
                      <a:pt x="230" y="268"/>
                    </a:lnTo>
                    <a:lnTo>
                      <a:pt x="230" y="263"/>
                    </a:lnTo>
                    <a:lnTo>
                      <a:pt x="232" y="261"/>
                    </a:lnTo>
                    <a:lnTo>
                      <a:pt x="232" y="258"/>
                    </a:lnTo>
                    <a:lnTo>
                      <a:pt x="234" y="256"/>
                    </a:lnTo>
                    <a:lnTo>
                      <a:pt x="234" y="254"/>
                    </a:lnTo>
                    <a:lnTo>
                      <a:pt x="234" y="254"/>
                    </a:lnTo>
                    <a:lnTo>
                      <a:pt x="232" y="246"/>
                    </a:lnTo>
                    <a:lnTo>
                      <a:pt x="234" y="244"/>
                    </a:lnTo>
                    <a:lnTo>
                      <a:pt x="237" y="242"/>
                    </a:lnTo>
                    <a:lnTo>
                      <a:pt x="237" y="239"/>
                    </a:lnTo>
                    <a:lnTo>
                      <a:pt x="239" y="239"/>
                    </a:lnTo>
                    <a:lnTo>
                      <a:pt x="239" y="239"/>
                    </a:lnTo>
                    <a:lnTo>
                      <a:pt x="241" y="242"/>
                    </a:lnTo>
                    <a:lnTo>
                      <a:pt x="241" y="242"/>
                    </a:lnTo>
                    <a:lnTo>
                      <a:pt x="244" y="242"/>
                    </a:lnTo>
                    <a:lnTo>
                      <a:pt x="244" y="242"/>
                    </a:lnTo>
                    <a:lnTo>
                      <a:pt x="246" y="239"/>
                    </a:lnTo>
                    <a:lnTo>
                      <a:pt x="244" y="237"/>
                    </a:lnTo>
                    <a:lnTo>
                      <a:pt x="246" y="232"/>
                    </a:lnTo>
                    <a:lnTo>
                      <a:pt x="246" y="230"/>
                    </a:lnTo>
                    <a:lnTo>
                      <a:pt x="246" y="228"/>
                    </a:lnTo>
                    <a:lnTo>
                      <a:pt x="246" y="223"/>
                    </a:lnTo>
                    <a:lnTo>
                      <a:pt x="249" y="220"/>
                    </a:lnTo>
                    <a:lnTo>
                      <a:pt x="249" y="220"/>
                    </a:lnTo>
                    <a:lnTo>
                      <a:pt x="251" y="216"/>
                    </a:lnTo>
                    <a:lnTo>
                      <a:pt x="253" y="213"/>
                    </a:lnTo>
                    <a:lnTo>
                      <a:pt x="253" y="209"/>
                    </a:lnTo>
                    <a:lnTo>
                      <a:pt x="256" y="204"/>
                    </a:lnTo>
                    <a:lnTo>
                      <a:pt x="258" y="201"/>
                    </a:lnTo>
                    <a:lnTo>
                      <a:pt x="258" y="201"/>
                    </a:lnTo>
                    <a:lnTo>
                      <a:pt x="260" y="201"/>
                    </a:lnTo>
                    <a:lnTo>
                      <a:pt x="263" y="201"/>
                    </a:lnTo>
                    <a:lnTo>
                      <a:pt x="265" y="199"/>
                    </a:lnTo>
                    <a:lnTo>
                      <a:pt x="265" y="199"/>
                    </a:lnTo>
                    <a:lnTo>
                      <a:pt x="267" y="199"/>
                    </a:lnTo>
                    <a:lnTo>
                      <a:pt x="267" y="197"/>
                    </a:lnTo>
                    <a:lnTo>
                      <a:pt x="267" y="192"/>
                    </a:lnTo>
                    <a:lnTo>
                      <a:pt x="267" y="190"/>
                    </a:lnTo>
                    <a:lnTo>
                      <a:pt x="270" y="185"/>
                    </a:lnTo>
                    <a:lnTo>
                      <a:pt x="270" y="185"/>
                    </a:lnTo>
                    <a:lnTo>
                      <a:pt x="270" y="183"/>
                    </a:lnTo>
                    <a:lnTo>
                      <a:pt x="270" y="180"/>
                    </a:lnTo>
                    <a:lnTo>
                      <a:pt x="272" y="175"/>
                    </a:lnTo>
                    <a:lnTo>
                      <a:pt x="272" y="173"/>
                    </a:lnTo>
                    <a:lnTo>
                      <a:pt x="272" y="168"/>
                    </a:lnTo>
                    <a:lnTo>
                      <a:pt x="272" y="161"/>
                    </a:lnTo>
                    <a:lnTo>
                      <a:pt x="272" y="156"/>
                    </a:lnTo>
                    <a:lnTo>
                      <a:pt x="270" y="154"/>
                    </a:lnTo>
                    <a:lnTo>
                      <a:pt x="270" y="149"/>
                    </a:lnTo>
                    <a:lnTo>
                      <a:pt x="272" y="147"/>
                    </a:lnTo>
                    <a:lnTo>
                      <a:pt x="272" y="145"/>
                    </a:lnTo>
                    <a:lnTo>
                      <a:pt x="275" y="138"/>
                    </a:lnTo>
                    <a:lnTo>
                      <a:pt x="275" y="135"/>
                    </a:lnTo>
                    <a:lnTo>
                      <a:pt x="277" y="130"/>
                    </a:lnTo>
                    <a:lnTo>
                      <a:pt x="277" y="130"/>
                    </a:lnTo>
                    <a:lnTo>
                      <a:pt x="279" y="126"/>
                    </a:lnTo>
                    <a:lnTo>
                      <a:pt x="279" y="121"/>
                    </a:lnTo>
                    <a:lnTo>
                      <a:pt x="277" y="119"/>
                    </a:lnTo>
                    <a:lnTo>
                      <a:pt x="279" y="116"/>
                    </a:lnTo>
                    <a:lnTo>
                      <a:pt x="279" y="114"/>
                    </a:lnTo>
                    <a:lnTo>
                      <a:pt x="279" y="111"/>
                    </a:lnTo>
                    <a:lnTo>
                      <a:pt x="279" y="109"/>
                    </a:lnTo>
                    <a:lnTo>
                      <a:pt x="279" y="109"/>
                    </a:lnTo>
                    <a:lnTo>
                      <a:pt x="282" y="109"/>
                    </a:lnTo>
                    <a:lnTo>
                      <a:pt x="282" y="109"/>
                    </a:lnTo>
                    <a:lnTo>
                      <a:pt x="284" y="109"/>
                    </a:lnTo>
                    <a:lnTo>
                      <a:pt x="286" y="109"/>
                    </a:lnTo>
                    <a:lnTo>
                      <a:pt x="286" y="109"/>
                    </a:lnTo>
                    <a:lnTo>
                      <a:pt x="289" y="107"/>
                    </a:lnTo>
                    <a:lnTo>
                      <a:pt x="289" y="104"/>
                    </a:lnTo>
                    <a:lnTo>
                      <a:pt x="289" y="102"/>
                    </a:lnTo>
                    <a:lnTo>
                      <a:pt x="291" y="102"/>
                    </a:lnTo>
                    <a:lnTo>
                      <a:pt x="291" y="102"/>
                    </a:lnTo>
                    <a:lnTo>
                      <a:pt x="293" y="100"/>
                    </a:lnTo>
                    <a:lnTo>
                      <a:pt x="293" y="100"/>
                    </a:lnTo>
                    <a:lnTo>
                      <a:pt x="293" y="100"/>
                    </a:lnTo>
                    <a:lnTo>
                      <a:pt x="296" y="100"/>
                    </a:lnTo>
                    <a:lnTo>
                      <a:pt x="296" y="100"/>
                    </a:lnTo>
                    <a:lnTo>
                      <a:pt x="296" y="100"/>
                    </a:lnTo>
                    <a:lnTo>
                      <a:pt x="298" y="97"/>
                    </a:lnTo>
                    <a:lnTo>
                      <a:pt x="301" y="100"/>
                    </a:lnTo>
                    <a:lnTo>
                      <a:pt x="301" y="97"/>
                    </a:lnTo>
                    <a:lnTo>
                      <a:pt x="301" y="97"/>
                    </a:lnTo>
                    <a:lnTo>
                      <a:pt x="301" y="97"/>
                    </a:lnTo>
                    <a:lnTo>
                      <a:pt x="303" y="97"/>
                    </a:lnTo>
                    <a:lnTo>
                      <a:pt x="303" y="97"/>
                    </a:lnTo>
                    <a:lnTo>
                      <a:pt x="303" y="97"/>
                    </a:lnTo>
                    <a:lnTo>
                      <a:pt x="303" y="95"/>
                    </a:lnTo>
                    <a:lnTo>
                      <a:pt x="305" y="95"/>
                    </a:lnTo>
                    <a:lnTo>
                      <a:pt x="305" y="95"/>
                    </a:lnTo>
                    <a:lnTo>
                      <a:pt x="305" y="93"/>
                    </a:lnTo>
                    <a:lnTo>
                      <a:pt x="305" y="93"/>
                    </a:lnTo>
                    <a:lnTo>
                      <a:pt x="308" y="90"/>
                    </a:lnTo>
                    <a:lnTo>
                      <a:pt x="308" y="88"/>
                    </a:lnTo>
                    <a:lnTo>
                      <a:pt x="308" y="88"/>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37"/>
              <p:cNvSpPr>
                <a:spLocks noEditPoints="1"/>
              </p:cNvSpPr>
              <p:nvPr/>
            </p:nvSpPr>
            <p:spPr bwMode="auto">
              <a:xfrm>
                <a:off x="3380" y="2120"/>
                <a:ext cx="388" cy="334"/>
              </a:xfrm>
              <a:custGeom>
                <a:avLst/>
                <a:gdLst>
                  <a:gd name="T0" fmla="*/ 145 w 388"/>
                  <a:gd name="T1" fmla="*/ 325 h 334"/>
                  <a:gd name="T2" fmla="*/ 142 w 388"/>
                  <a:gd name="T3" fmla="*/ 322 h 334"/>
                  <a:gd name="T4" fmla="*/ 147 w 388"/>
                  <a:gd name="T5" fmla="*/ 330 h 334"/>
                  <a:gd name="T6" fmla="*/ 38 w 388"/>
                  <a:gd name="T7" fmla="*/ 138 h 334"/>
                  <a:gd name="T8" fmla="*/ 43 w 388"/>
                  <a:gd name="T9" fmla="*/ 143 h 334"/>
                  <a:gd name="T10" fmla="*/ 38 w 388"/>
                  <a:gd name="T11" fmla="*/ 135 h 334"/>
                  <a:gd name="T12" fmla="*/ 388 w 388"/>
                  <a:gd name="T13" fmla="*/ 214 h 334"/>
                  <a:gd name="T14" fmla="*/ 379 w 388"/>
                  <a:gd name="T15" fmla="*/ 202 h 334"/>
                  <a:gd name="T16" fmla="*/ 362 w 388"/>
                  <a:gd name="T17" fmla="*/ 199 h 334"/>
                  <a:gd name="T18" fmla="*/ 336 w 388"/>
                  <a:gd name="T19" fmla="*/ 197 h 334"/>
                  <a:gd name="T20" fmla="*/ 329 w 388"/>
                  <a:gd name="T21" fmla="*/ 192 h 334"/>
                  <a:gd name="T22" fmla="*/ 320 w 388"/>
                  <a:gd name="T23" fmla="*/ 180 h 334"/>
                  <a:gd name="T24" fmla="*/ 312 w 388"/>
                  <a:gd name="T25" fmla="*/ 171 h 334"/>
                  <a:gd name="T26" fmla="*/ 308 w 388"/>
                  <a:gd name="T27" fmla="*/ 166 h 334"/>
                  <a:gd name="T28" fmla="*/ 303 w 388"/>
                  <a:gd name="T29" fmla="*/ 161 h 334"/>
                  <a:gd name="T30" fmla="*/ 294 w 388"/>
                  <a:gd name="T31" fmla="*/ 152 h 334"/>
                  <a:gd name="T32" fmla="*/ 284 w 388"/>
                  <a:gd name="T33" fmla="*/ 133 h 334"/>
                  <a:gd name="T34" fmla="*/ 284 w 388"/>
                  <a:gd name="T35" fmla="*/ 124 h 334"/>
                  <a:gd name="T36" fmla="*/ 282 w 388"/>
                  <a:gd name="T37" fmla="*/ 116 h 334"/>
                  <a:gd name="T38" fmla="*/ 265 w 388"/>
                  <a:gd name="T39" fmla="*/ 102 h 334"/>
                  <a:gd name="T40" fmla="*/ 256 w 388"/>
                  <a:gd name="T41" fmla="*/ 93 h 334"/>
                  <a:gd name="T42" fmla="*/ 249 w 388"/>
                  <a:gd name="T43" fmla="*/ 76 h 334"/>
                  <a:gd name="T44" fmla="*/ 230 w 388"/>
                  <a:gd name="T45" fmla="*/ 71 h 334"/>
                  <a:gd name="T46" fmla="*/ 201 w 388"/>
                  <a:gd name="T47" fmla="*/ 64 h 334"/>
                  <a:gd name="T48" fmla="*/ 161 w 388"/>
                  <a:gd name="T49" fmla="*/ 50 h 334"/>
                  <a:gd name="T50" fmla="*/ 123 w 388"/>
                  <a:gd name="T51" fmla="*/ 19 h 334"/>
                  <a:gd name="T52" fmla="*/ 90 w 388"/>
                  <a:gd name="T53" fmla="*/ 3 h 334"/>
                  <a:gd name="T54" fmla="*/ 62 w 388"/>
                  <a:gd name="T55" fmla="*/ 8 h 334"/>
                  <a:gd name="T56" fmla="*/ 43 w 388"/>
                  <a:gd name="T57" fmla="*/ 22 h 334"/>
                  <a:gd name="T58" fmla="*/ 50 w 388"/>
                  <a:gd name="T59" fmla="*/ 38 h 334"/>
                  <a:gd name="T60" fmla="*/ 36 w 388"/>
                  <a:gd name="T61" fmla="*/ 48 h 334"/>
                  <a:gd name="T62" fmla="*/ 19 w 388"/>
                  <a:gd name="T63" fmla="*/ 62 h 334"/>
                  <a:gd name="T64" fmla="*/ 0 w 388"/>
                  <a:gd name="T65" fmla="*/ 83 h 334"/>
                  <a:gd name="T66" fmla="*/ 14 w 388"/>
                  <a:gd name="T67" fmla="*/ 93 h 334"/>
                  <a:gd name="T68" fmla="*/ 36 w 388"/>
                  <a:gd name="T69" fmla="*/ 128 h 334"/>
                  <a:gd name="T70" fmla="*/ 50 w 388"/>
                  <a:gd name="T71" fmla="*/ 147 h 334"/>
                  <a:gd name="T72" fmla="*/ 57 w 388"/>
                  <a:gd name="T73" fmla="*/ 166 h 334"/>
                  <a:gd name="T74" fmla="*/ 71 w 388"/>
                  <a:gd name="T75" fmla="*/ 176 h 334"/>
                  <a:gd name="T76" fmla="*/ 83 w 388"/>
                  <a:gd name="T77" fmla="*/ 197 h 334"/>
                  <a:gd name="T78" fmla="*/ 85 w 388"/>
                  <a:gd name="T79" fmla="*/ 209 h 334"/>
                  <a:gd name="T80" fmla="*/ 88 w 388"/>
                  <a:gd name="T81" fmla="*/ 228 h 334"/>
                  <a:gd name="T82" fmla="*/ 107 w 388"/>
                  <a:gd name="T83" fmla="*/ 251 h 334"/>
                  <a:gd name="T84" fmla="*/ 123 w 388"/>
                  <a:gd name="T85" fmla="*/ 268 h 334"/>
                  <a:gd name="T86" fmla="*/ 135 w 388"/>
                  <a:gd name="T87" fmla="*/ 294 h 334"/>
                  <a:gd name="T88" fmla="*/ 154 w 388"/>
                  <a:gd name="T89" fmla="*/ 320 h 334"/>
                  <a:gd name="T90" fmla="*/ 159 w 388"/>
                  <a:gd name="T91" fmla="*/ 332 h 334"/>
                  <a:gd name="T92" fmla="*/ 166 w 388"/>
                  <a:gd name="T93" fmla="*/ 325 h 334"/>
                  <a:gd name="T94" fmla="*/ 168 w 388"/>
                  <a:gd name="T95" fmla="*/ 315 h 334"/>
                  <a:gd name="T96" fmla="*/ 171 w 388"/>
                  <a:gd name="T97" fmla="*/ 311 h 334"/>
                  <a:gd name="T98" fmla="*/ 180 w 388"/>
                  <a:gd name="T99" fmla="*/ 313 h 334"/>
                  <a:gd name="T100" fmla="*/ 194 w 388"/>
                  <a:gd name="T101" fmla="*/ 311 h 334"/>
                  <a:gd name="T102" fmla="*/ 215 w 388"/>
                  <a:gd name="T103" fmla="*/ 315 h 334"/>
                  <a:gd name="T104" fmla="*/ 234 w 388"/>
                  <a:gd name="T105" fmla="*/ 320 h 334"/>
                  <a:gd name="T106" fmla="*/ 246 w 388"/>
                  <a:gd name="T107" fmla="*/ 311 h 334"/>
                  <a:gd name="T108" fmla="*/ 265 w 388"/>
                  <a:gd name="T109" fmla="*/ 292 h 334"/>
                  <a:gd name="T110" fmla="*/ 296 w 388"/>
                  <a:gd name="T111" fmla="*/ 282 h 334"/>
                  <a:gd name="T112" fmla="*/ 329 w 388"/>
                  <a:gd name="T113" fmla="*/ 277 h 334"/>
                  <a:gd name="T114" fmla="*/ 350 w 388"/>
                  <a:gd name="T115" fmla="*/ 268 h 334"/>
                  <a:gd name="T116" fmla="*/ 372 w 388"/>
                  <a:gd name="T117" fmla="*/ 261 h 334"/>
                  <a:gd name="T118" fmla="*/ 381 w 388"/>
                  <a:gd name="T119" fmla="*/ 247 h 334"/>
                  <a:gd name="T120" fmla="*/ 386 w 388"/>
                  <a:gd name="T121" fmla="*/ 230 h 334"/>
                  <a:gd name="T122" fmla="*/ 388 w 388"/>
                  <a:gd name="T123" fmla="*/ 21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88" h="334">
                    <a:moveTo>
                      <a:pt x="147" y="325"/>
                    </a:moveTo>
                    <a:lnTo>
                      <a:pt x="145" y="325"/>
                    </a:lnTo>
                    <a:lnTo>
                      <a:pt x="145" y="327"/>
                    </a:lnTo>
                    <a:lnTo>
                      <a:pt x="147" y="327"/>
                    </a:lnTo>
                    <a:lnTo>
                      <a:pt x="145" y="327"/>
                    </a:lnTo>
                    <a:lnTo>
                      <a:pt x="145" y="325"/>
                    </a:lnTo>
                    <a:lnTo>
                      <a:pt x="145" y="325"/>
                    </a:lnTo>
                    <a:lnTo>
                      <a:pt x="145" y="325"/>
                    </a:lnTo>
                    <a:lnTo>
                      <a:pt x="145" y="322"/>
                    </a:lnTo>
                    <a:lnTo>
                      <a:pt x="142" y="320"/>
                    </a:lnTo>
                    <a:lnTo>
                      <a:pt x="142" y="320"/>
                    </a:lnTo>
                    <a:lnTo>
                      <a:pt x="142" y="322"/>
                    </a:lnTo>
                    <a:lnTo>
                      <a:pt x="142" y="322"/>
                    </a:lnTo>
                    <a:lnTo>
                      <a:pt x="142" y="322"/>
                    </a:lnTo>
                    <a:lnTo>
                      <a:pt x="140" y="325"/>
                    </a:lnTo>
                    <a:lnTo>
                      <a:pt x="142" y="325"/>
                    </a:lnTo>
                    <a:lnTo>
                      <a:pt x="142" y="327"/>
                    </a:lnTo>
                    <a:lnTo>
                      <a:pt x="145" y="327"/>
                    </a:lnTo>
                    <a:lnTo>
                      <a:pt x="147" y="327"/>
                    </a:lnTo>
                    <a:lnTo>
                      <a:pt x="147" y="327"/>
                    </a:lnTo>
                    <a:lnTo>
                      <a:pt x="147" y="330"/>
                    </a:lnTo>
                    <a:lnTo>
                      <a:pt x="147" y="330"/>
                    </a:lnTo>
                    <a:lnTo>
                      <a:pt x="149" y="330"/>
                    </a:lnTo>
                    <a:lnTo>
                      <a:pt x="149" y="330"/>
                    </a:lnTo>
                    <a:lnTo>
                      <a:pt x="149" y="327"/>
                    </a:lnTo>
                    <a:lnTo>
                      <a:pt x="147" y="325"/>
                    </a:lnTo>
                    <a:close/>
                    <a:moveTo>
                      <a:pt x="40" y="140"/>
                    </a:moveTo>
                    <a:lnTo>
                      <a:pt x="38" y="138"/>
                    </a:lnTo>
                    <a:lnTo>
                      <a:pt x="38" y="138"/>
                    </a:lnTo>
                    <a:lnTo>
                      <a:pt x="36" y="138"/>
                    </a:lnTo>
                    <a:lnTo>
                      <a:pt x="36" y="138"/>
                    </a:lnTo>
                    <a:lnTo>
                      <a:pt x="36" y="138"/>
                    </a:lnTo>
                    <a:lnTo>
                      <a:pt x="40" y="140"/>
                    </a:lnTo>
                    <a:lnTo>
                      <a:pt x="40" y="140"/>
                    </a:lnTo>
                    <a:lnTo>
                      <a:pt x="43" y="143"/>
                    </a:lnTo>
                    <a:lnTo>
                      <a:pt x="43" y="143"/>
                    </a:lnTo>
                    <a:lnTo>
                      <a:pt x="43" y="143"/>
                    </a:lnTo>
                    <a:lnTo>
                      <a:pt x="45" y="143"/>
                    </a:lnTo>
                    <a:lnTo>
                      <a:pt x="45" y="143"/>
                    </a:lnTo>
                    <a:lnTo>
                      <a:pt x="40" y="140"/>
                    </a:lnTo>
                    <a:close/>
                    <a:moveTo>
                      <a:pt x="38" y="135"/>
                    </a:moveTo>
                    <a:lnTo>
                      <a:pt x="38" y="135"/>
                    </a:lnTo>
                    <a:lnTo>
                      <a:pt x="38" y="135"/>
                    </a:lnTo>
                    <a:lnTo>
                      <a:pt x="38" y="133"/>
                    </a:lnTo>
                    <a:lnTo>
                      <a:pt x="36" y="135"/>
                    </a:lnTo>
                    <a:lnTo>
                      <a:pt x="36" y="135"/>
                    </a:lnTo>
                    <a:lnTo>
                      <a:pt x="38" y="138"/>
                    </a:lnTo>
                    <a:lnTo>
                      <a:pt x="38" y="135"/>
                    </a:lnTo>
                    <a:close/>
                    <a:moveTo>
                      <a:pt x="388" y="214"/>
                    </a:moveTo>
                    <a:lnTo>
                      <a:pt x="386" y="211"/>
                    </a:lnTo>
                    <a:lnTo>
                      <a:pt x="383" y="206"/>
                    </a:lnTo>
                    <a:lnTo>
                      <a:pt x="383" y="204"/>
                    </a:lnTo>
                    <a:lnTo>
                      <a:pt x="381" y="202"/>
                    </a:lnTo>
                    <a:lnTo>
                      <a:pt x="379" y="199"/>
                    </a:lnTo>
                    <a:lnTo>
                      <a:pt x="379" y="202"/>
                    </a:lnTo>
                    <a:lnTo>
                      <a:pt x="379" y="202"/>
                    </a:lnTo>
                    <a:lnTo>
                      <a:pt x="376" y="202"/>
                    </a:lnTo>
                    <a:lnTo>
                      <a:pt x="376" y="202"/>
                    </a:lnTo>
                    <a:lnTo>
                      <a:pt x="374" y="202"/>
                    </a:lnTo>
                    <a:lnTo>
                      <a:pt x="374" y="202"/>
                    </a:lnTo>
                    <a:lnTo>
                      <a:pt x="369" y="202"/>
                    </a:lnTo>
                    <a:lnTo>
                      <a:pt x="367" y="199"/>
                    </a:lnTo>
                    <a:lnTo>
                      <a:pt x="362" y="199"/>
                    </a:lnTo>
                    <a:lnTo>
                      <a:pt x="360" y="199"/>
                    </a:lnTo>
                    <a:lnTo>
                      <a:pt x="355" y="199"/>
                    </a:lnTo>
                    <a:lnTo>
                      <a:pt x="350" y="197"/>
                    </a:lnTo>
                    <a:lnTo>
                      <a:pt x="348" y="197"/>
                    </a:lnTo>
                    <a:lnTo>
                      <a:pt x="343" y="197"/>
                    </a:lnTo>
                    <a:lnTo>
                      <a:pt x="341" y="197"/>
                    </a:lnTo>
                    <a:lnTo>
                      <a:pt x="336" y="197"/>
                    </a:lnTo>
                    <a:lnTo>
                      <a:pt x="334" y="195"/>
                    </a:lnTo>
                    <a:lnTo>
                      <a:pt x="334" y="195"/>
                    </a:lnTo>
                    <a:lnTo>
                      <a:pt x="334" y="195"/>
                    </a:lnTo>
                    <a:lnTo>
                      <a:pt x="331" y="195"/>
                    </a:lnTo>
                    <a:lnTo>
                      <a:pt x="331" y="195"/>
                    </a:lnTo>
                    <a:lnTo>
                      <a:pt x="329" y="192"/>
                    </a:lnTo>
                    <a:lnTo>
                      <a:pt x="329" y="192"/>
                    </a:lnTo>
                    <a:lnTo>
                      <a:pt x="327" y="190"/>
                    </a:lnTo>
                    <a:lnTo>
                      <a:pt x="324" y="188"/>
                    </a:lnTo>
                    <a:lnTo>
                      <a:pt x="324" y="185"/>
                    </a:lnTo>
                    <a:lnTo>
                      <a:pt x="322" y="185"/>
                    </a:lnTo>
                    <a:lnTo>
                      <a:pt x="322" y="183"/>
                    </a:lnTo>
                    <a:lnTo>
                      <a:pt x="320" y="183"/>
                    </a:lnTo>
                    <a:lnTo>
                      <a:pt x="320" y="180"/>
                    </a:lnTo>
                    <a:lnTo>
                      <a:pt x="320" y="178"/>
                    </a:lnTo>
                    <a:lnTo>
                      <a:pt x="317" y="178"/>
                    </a:lnTo>
                    <a:lnTo>
                      <a:pt x="317" y="176"/>
                    </a:lnTo>
                    <a:lnTo>
                      <a:pt x="315" y="176"/>
                    </a:lnTo>
                    <a:lnTo>
                      <a:pt x="315" y="173"/>
                    </a:lnTo>
                    <a:lnTo>
                      <a:pt x="312" y="171"/>
                    </a:lnTo>
                    <a:lnTo>
                      <a:pt x="312" y="171"/>
                    </a:lnTo>
                    <a:lnTo>
                      <a:pt x="312" y="171"/>
                    </a:lnTo>
                    <a:lnTo>
                      <a:pt x="312" y="166"/>
                    </a:lnTo>
                    <a:lnTo>
                      <a:pt x="312" y="166"/>
                    </a:lnTo>
                    <a:lnTo>
                      <a:pt x="310" y="166"/>
                    </a:lnTo>
                    <a:lnTo>
                      <a:pt x="310" y="166"/>
                    </a:lnTo>
                    <a:lnTo>
                      <a:pt x="308" y="166"/>
                    </a:lnTo>
                    <a:lnTo>
                      <a:pt x="308" y="166"/>
                    </a:lnTo>
                    <a:lnTo>
                      <a:pt x="308" y="161"/>
                    </a:lnTo>
                    <a:lnTo>
                      <a:pt x="308" y="161"/>
                    </a:lnTo>
                    <a:lnTo>
                      <a:pt x="308" y="161"/>
                    </a:lnTo>
                    <a:lnTo>
                      <a:pt x="308" y="161"/>
                    </a:lnTo>
                    <a:lnTo>
                      <a:pt x="305" y="159"/>
                    </a:lnTo>
                    <a:lnTo>
                      <a:pt x="303" y="161"/>
                    </a:lnTo>
                    <a:lnTo>
                      <a:pt x="303" y="161"/>
                    </a:lnTo>
                    <a:lnTo>
                      <a:pt x="301" y="161"/>
                    </a:lnTo>
                    <a:lnTo>
                      <a:pt x="301" y="161"/>
                    </a:lnTo>
                    <a:lnTo>
                      <a:pt x="298" y="159"/>
                    </a:lnTo>
                    <a:lnTo>
                      <a:pt x="298" y="159"/>
                    </a:lnTo>
                    <a:lnTo>
                      <a:pt x="296" y="157"/>
                    </a:lnTo>
                    <a:lnTo>
                      <a:pt x="296" y="154"/>
                    </a:lnTo>
                    <a:lnTo>
                      <a:pt x="294" y="152"/>
                    </a:lnTo>
                    <a:lnTo>
                      <a:pt x="291" y="150"/>
                    </a:lnTo>
                    <a:lnTo>
                      <a:pt x="291" y="145"/>
                    </a:lnTo>
                    <a:lnTo>
                      <a:pt x="289" y="143"/>
                    </a:lnTo>
                    <a:lnTo>
                      <a:pt x="286" y="140"/>
                    </a:lnTo>
                    <a:lnTo>
                      <a:pt x="284" y="138"/>
                    </a:lnTo>
                    <a:lnTo>
                      <a:pt x="284" y="135"/>
                    </a:lnTo>
                    <a:lnTo>
                      <a:pt x="284" y="133"/>
                    </a:lnTo>
                    <a:lnTo>
                      <a:pt x="282" y="131"/>
                    </a:lnTo>
                    <a:lnTo>
                      <a:pt x="282" y="128"/>
                    </a:lnTo>
                    <a:lnTo>
                      <a:pt x="282" y="128"/>
                    </a:lnTo>
                    <a:lnTo>
                      <a:pt x="282" y="128"/>
                    </a:lnTo>
                    <a:lnTo>
                      <a:pt x="282" y="128"/>
                    </a:lnTo>
                    <a:lnTo>
                      <a:pt x="284" y="128"/>
                    </a:lnTo>
                    <a:lnTo>
                      <a:pt x="284" y="124"/>
                    </a:lnTo>
                    <a:lnTo>
                      <a:pt x="284" y="121"/>
                    </a:lnTo>
                    <a:lnTo>
                      <a:pt x="282" y="121"/>
                    </a:lnTo>
                    <a:lnTo>
                      <a:pt x="279" y="119"/>
                    </a:lnTo>
                    <a:lnTo>
                      <a:pt x="279" y="116"/>
                    </a:lnTo>
                    <a:lnTo>
                      <a:pt x="279" y="116"/>
                    </a:lnTo>
                    <a:lnTo>
                      <a:pt x="279" y="116"/>
                    </a:lnTo>
                    <a:lnTo>
                      <a:pt x="282" y="116"/>
                    </a:lnTo>
                    <a:lnTo>
                      <a:pt x="282" y="116"/>
                    </a:lnTo>
                    <a:lnTo>
                      <a:pt x="282" y="116"/>
                    </a:lnTo>
                    <a:lnTo>
                      <a:pt x="279" y="112"/>
                    </a:lnTo>
                    <a:lnTo>
                      <a:pt x="275" y="109"/>
                    </a:lnTo>
                    <a:lnTo>
                      <a:pt x="270" y="107"/>
                    </a:lnTo>
                    <a:lnTo>
                      <a:pt x="268" y="105"/>
                    </a:lnTo>
                    <a:lnTo>
                      <a:pt x="265" y="102"/>
                    </a:lnTo>
                    <a:lnTo>
                      <a:pt x="263" y="100"/>
                    </a:lnTo>
                    <a:lnTo>
                      <a:pt x="263" y="100"/>
                    </a:lnTo>
                    <a:lnTo>
                      <a:pt x="263" y="98"/>
                    </a:lnTo>
                    <a:lnTo>
                      <a:pt x="260" y="98"/>
                    </a:lnTo>
                    <a:lnTo>
                      <a:pt x="258" y="95"/>
                    </a:lnTo>
                    <a:lnTo>
                      <a:pt x="256" y="93"/>
                    </a:lnTo>
                    <a:lnTo>
                      <a:pt x="256" y="93"/>
                    </a:lnTo>
                    <a:lnTo>
                      <a:pt x="256" y="93"/>
                    </a:lnTo>
                    <a:lnTo>
                      <a:pt x="256" y="90"/>
                    </a:lnTo>
                    <a:lnTo>
                      <a:pt x="256" y="88"/>
                    </a:lnTo>
                    <a:lnTo>
                      <a:pt x="251" y="86"/>
                    </a:lnTo>
                    <a:lnTo>
                      <a:pt x="249" y="81"/>
                    </a:lnTo>
                    <a:lnTo>
                      <a:pt x="249" y="79"/>
                    </a:lnTo>
                    <a:lnTo>
                      <a:pt x="249" y="76"/>
                    </a:lnTo>
                    <a:lnTo>
                      <a:pt x="244" y="76"/>
                    </a:lnTo>
                    <a:lnTo>
                      <a:pt x="242" y="76"/>
                    </a:lnTo>
                    <a:lnTo>
                      <a:pt x="237" y="76"/>
                    </a:lnTo>
                    <a:lnTo>
                      <a:pt x="234" y="76"/>
                    </a:lnTo>
                    <a:lnTo>
                      <a:pt x="232" y="74"/>
                    </a:lnTo>
                    <a:lnTo>
                      <a:pt x="232" y="71"/>
                    </a:lnTo>
                    <a:lnTo>
                      <a:pt x="230" y="71"/>
                    </a:lnTo>
                    <a:lnTo>
                      <a:pt x="230" y="67"/>
                    </a:lnTo>
                    <a:lnTo>
                      <a:pt x="223" y="67"/>
                    </a:lnTo>
                    <a:lnTo>
                      <a:pt x="220" y="67"/>
                    </a:lnTo>
                    <a:lnTo>
                      <a:pt x="215" y="64"/>
                    </a:lnTo>
                    <a:lnTo>
                      <a:pt x="213" y="64"/>
                    </a:lnTo>
                    <a:lnTo>
                      <a:pt x="208" y="67"/>
                    </a:lnTo>
                    <a:lnTo>
                      <a:pt x="201" y="64"/>
                    </a:lnTo>
                    <a:lnTo>
                      <a:pt x="194" y="64"/>
                    </a:lnTo>
                    <a:lnTo>
                      <a:pt x="185" y="64"/>
                    </a:lnTo>
                    <a:lnTo>
                      <a:pt x="180" y="62"/>
                    </a:lnTo>
                    <a:lnTo>
                      <a:pt x="180" y="62"/>
                    </a:lnTo>
                    <a:lnTo>
                      <a:pt x="173" y="57"/>
                    </a:lnTo>
                    <a:lnTo>
                      <a:pt x="168" y="55"/>
                    </a:lnTo>
                    <a:lnTo>
                      <a:pt x="161" y="50"/>
                    </a:lnTo>
                    <a:lnTo>
                      <a:pt x="154" y="43"/>
                    </a:lnTo>
                    <a:lnTo>
                      <a:pt x="149" y="38"/>
                    </a:lnTo>
                    <a:lnTo>
                      <a:pt x="145" y="36"/>
                    </a:lnTo>
                    <a:lnTo>
                      <a:pt x="137" y="31"/>
                    </a:lnTo>
                    <a:lnTo>
                      <a:pt x="133" y="27"/>
                    </a:lnTo>
                    <a:lnTo>
                      <a:pt x="128" y="24"/>
                    </a:lnTo>
                    <a:lnTo>
                      <a:pt x="123" y="19"/>
                    </a:lnTo>
                    <a:lnTo>
                      <a:pt x="118" y="17"/>
                    </a:lnTo>
                    <a:lnTo>
                      <a:pt x="114" y="15"/>
                    </a:lnTo>
                    <a:lnTo>
                      <a:pt x="109" y="12"/>
                    </a:lnTo>
                    <a:lnTo>
                      <a:pt x="104" y="10"/>
                    </a:lnTo>
                    <a:lnTo>
                      <a:pt x="100" y="5"/>
                    </a:lnTo>
                    <a:lnTo>
                      <a:pt x="97" y="5"/>
                    </a:lnTo>
                    <a:lnTo>
                      <a:pt x="90" y="3"/>
                    </a:lnTo>
                    <a:lnTo>
                      <a:pt x="85" y="3"/>
                    </a:lnTo>
                    <a:lnTo>
                      <a:pt x="78" y="3"/>
                    </a:lnTo>
                    <a:lnTo>
                      <a:pt x="74" y="0"/>
                    </a:lnTo>
                    <a:lnTo>
                      <a:pt x="71" y="3"/>
                    </a:lnTo>
                    <a:lnTo>
                      <a:pt x="71" y="3"/>
                    </a:lnTo>
                    <a:lnTo>
                      <a:pt x="69" y="5"/>
                    </a:lnTo>
                    <a:lnTo>
                      <a:pt x="62" y="8"/>
                    </a:lnTo>
                    <a:lnTo>
                      <a:pt x="57" y="8"/>
                    </a:lnTo>
                    <a:lnTo>
                      <a:pt x="50" y="10"/>
                    </a:lnTo>
                    <a:lnTo>
                      <a:pt x="45" y="12"/>
                    </a:lnTo>
                    <a:lnTo>
                      <a:pt x="40" y="12"/>
                    </a:lnTo>
                    <a:lnTo>
                      <a:pt x="36" y="15"/>
                    </a:lnTo>
                    <a:lnTo>
                      <a:pt x="40" y="17"/>
                    </a:lnTo>
                    <a:lnTo>
                      <a:pt x="43" y="22"/>
                    </a:lnTo>
                    <a:lnTo>
                      <a:pt x="48" y="24"/>
                    </a:lnTo>
                    <a:lnTo>
                      <a:pt x="50" y="29"/>
                    </a:lnTo>
                    <a:lnTo>
                      <a:pt x="52" y="31"/>
                    </a:lnTo>
                    <a:lnTo>
                      <a:pt x="57" y="36"/>
                    </a:lnTo>
                    <a:lnTo>
                      <a:pt x="55" y="36"/>
                    </a:lnTo>
                    <a:lnTo>
                      <a:pt x="50" y="38"/>
                    </a:lnTo>
                    <a:lnTo>
                      <a:pt x="50" y="38"/>
                    </a:lnTo>
                    <a:lnTo>
                      <a:pt x="50" y="38"/>
                    </a:lnTo>
                    <a:lnTo>
                      <a:pt x="50" y="43"/>
                    </a:lnTo>
                    <a:lnTo>
                      <a:pt x="48" y="45"/>
                    </a:lnTo>
                    <a:lnTo>
                      <a:pt x="48" y="45"/>
                    </a:lnTo>
                    <a:lnTo>
                      <a:pt x="43" y="48"/>
                    </a:lnTo>
                    <a:lnTo>
                      <a:pt x="38" y="48"/>
                    </a:lnTo>
                    <a:lnTo>
                      <a:pt x="36" y="48"/>
                    </a:lnTo>
                    <a:lnTo>
                      <a:pt x="33" y="50"/>
                    </a:lnTo>
                    <a:lnTo>
                      <a:pt x="33" y="53"/>
                    </a:lnTo>
                    <a:lnTo>
                      <a:pt x="31" y="57"/>
                    </a:lnTo>
                    <a:lnTo>
                      <a:pt x="29" y="60"/>
                    </a:lnTo>
                    <a:lnTo>
                      <a:pt x="24" y="62"/>
                    </a:lnTo>
                    <a:lnTo>
                      <a:pt x="24" y="62"/>
                    </a:lnTo>
                    <a:lnTo>
                      <a:pt x="19" y="62"/>
                    </a:lnTo>
                    <a:lnTo>
                      <a:pt x="14" y="62"/>
                    </a:lnTo>
                    <a:lnTo>
                      <a:pt x="10" y="60"/>
                    </a:lnTo>
                    <a:lnTo>
                      <a:pt x="7" y="60"/>
                    </a:lnTo>
                    <a:lnTo>
                      <a:pt x="3" y="60"/>
                    </a:lnTo>
                    <a:lnTo>
                      <a:pt x="3" y="74"/>
                    </a:lnTo>
                    <a:lnTo>
                      <a:pt x="3" y="76"/>
                    </a:lnTo>
                    <a:lnTo>
                      <a:pt x="0" y="83"/>
                    </a:lnTo>
                    <a:lnTo>
                      <a:pt x="0" y="86"/>
                    </a:lnTo>
                    <a:lnTo>
                      <a:pt x="0" y="86"/>
                    </a:lnTo>
                    <a:lnTo>
                      <a:pt x="0" y="86"/>
                    </a:lnTo>
                    <a:lnTo>
                      <a:pt x="3" y="86"/>
                    </a:lnTo>
                    <a:lnTo>
                      <a:pt x="7" y="86"/>
                    </a:lnTo>
                    <a:lnTo>
                      <a:pt x="10" y="88"/>
                    </a:lnTo>
                    <a:lnTo>
                      <a:pt x="14" y="93"/>
                    </a:lnTo>
                    <a:lnTo>
                      <a:pt x="17" y="100"/>
                    </a:lnTo>
                    <a:lnTo>
                      <a:pt x="22" y="105"/>
                    </a:lnTo>
                    <a:lnTo>
                      <a:pt x="24" y="107"/>
                    </a:lnTo>
                    <a:lnTo>
                      <a:pt x="26" y="112"/>
                    </a:lnTo>
                    <a:lnTo>
                      <a:pt x="29" y="114"/>
                    </a:lnTo>
                    <a:lnTo>
                      <a:pt x="31" y="119"/>
                    </a:lnTo>
                    <a:lnTo>
                      <a:pt x="36" y="128"/>
                    </a:lnTo>
                    <a:lnTo>
                      <a:pt x="38" y="131"/>
                    </a:lnTo>
                    <a:lnTo>
                      <a:pt x="40" y="133"/>
                    </a:lnTo>
                    <a:lnTo>
                      <a:pt x="40" y="135"/>
                    </a:lnTo>
                    <a:lnTo>
                      <a:pt x="43" y="138"/>
                    </a:lnTo>
                    <a:lnTo>
                      <a:pt x="43" y="138"/>
                    </a:lnTo>
                    <a:lnTo>
                      <a:pt x="48" y="145"/>
                    </a:lnTo>
                    <a:lnTo>
                      <a:pt x="50" y="147"/>
                    </a:lnTo>
                    <a:lnTo>
                      <a:pt x="50" y="150"/>
                    </a:lnTo>
                    <a:lnTo>
                      <a:pt x="50" y="152"/>
                    </a:lnTo>
                    <a:lnTo>
                      <a:pt x="50" y="154"/>
                    </a:lnTo>
                    <a:lnTo>
                      <a:pt x="50" y="154"/>
                    </a:lnTo>
                    <a:lnTo>
                      <a:pt x="52" y="159"/>
                    </a:lnTo>
                    <a:lnTo>
                      <a:pt x="55" y="164"/>
                    </a:lnTo>
                    <a:lnTo>
                      <a:pt x="57" y="166"/>
                    </a:lnTo>
                    <a:lnTo>
                      <a:pt x="59" y="166"/>
                    </a:lnTo>
                    <a:lnTo>
                      <a:pt x="59" y="166"/>
                    </a:lnTo>
                    <a:lnTo>
                      <a:pt x="62" y="169"/>
                    </a:lnTo>
                    <a:lnTo>
                      <a:pt x="64" y="169"/>
                    </a:lnTo>
                    <a:lnTo>
                      <a:pt x="64" y="171"/>
                    </a:lnTo>
                    <a:lnTo>
                      <a:pt x="66" y="171"/>
                    </a:lnTo>
                    <a:lnTo>
                      <a:pt x="71" y="176"/>
                    </a:lnTo>
                    <a:lnTo>
                      <a:pt x="74" y="178"/>
                    </a:lnTo>
                    <a:lnTo>
                      <a:pt x="76" y="183"/>
                    </a:lnTo>
                    <a:lnTo>
                      <a:pt x="78" y="188"/>
                    </a:lnTo>
                    <a:lnTo>
                      <a:pt x="81" y="190"/>
                    </a:lnTo>
                    <a:lnTo>
                      <a:pt x="81" y="192"/>
                    </a:lnTo>
                    <a:lnTo>
                      <a:pt x="81" y="195"/>
                    </a:lnTo>
                    <a:lnTo>
                      <a:pt x="83" y="197"/>
                    </a:lnTo>
                    <a:lnTo>
                      <a:pt x="83" y="197"/>
                    </a:lnTo>
                    <a:lnTo>
                      <a:pt x="83" y="197"/>
                    </a:lnTo>
                    <a:lnTo>
                      <a:pt x="85" y="199"/>
                    </a:lnTo>
                    <a:lnTo>
                      <a:pt x="85" y="199"/>
                    </a:lnTo>
                    <a:lnTo>
                      <a:pt x="85" y="202"/>
                    </a:lnTo>
                    <a:lnTo>
                      <a:pt x="88" y="206"/>
                    </a:lnTo>
                    <a:lnTo>
                      <a:pt x="85" y="209"/>
                    </a:lnTo>
                    <a:lnTo>
                      <a:pt x="85" y="211"/>
                    </a:lnTo>
                    <a:lnTo>
                      <a:pt x="85" y="214"/>
                    </a:lnTo>
                    <a:lnTo>
                      <a:pt x="85" y="218"/>
                    </a:lnTo>
                    <a:lnTo>
                      <a:pt x="85" y="221"/>
                    </a:lnTo>
                    <a:lnTo>
                      <a:pt x="88" y="223"/>
                    </a:lnTo>
                    <a:lnTo>
                      <a:pt x="88" y="225"/>
                    </a:lnTo>
                    <a:lnTo>
                      <a:pt x="88" y="228"/>
                    </a:lnTo>
                    <a:lnTo>
                      <a:pt x="88" y="230"/>
                    </a:lnTo>
                    <a:lnTo>
                      <a:pt x="90" y="237"/>
                    </a:lnTo>
                    <a:lnTo>
                      <a:pt x="95" y="242"/>
                    </a:lnTo>
                    <a:lnTo>
                      <a:pt x="97" y="247"/>
                    </a:lnTo>
                    <a:lnTo>
                      <a:pt x="100" y="249"/>
                    </a:lnTo>
                    <a:lnTo>
                      <a:pt x="102" y="251"/>
                    </a:lnTo>
                    <a:lnTo>
                      <a:pt x="107" y="251"/>
                    </a:lnTo>
                    <a:lnTo>
                      <a:pt x="114" y="259"/>
                    </a:lnTo>
                    <a:lnTo>
                      <a:pt x="116" y="261"/>
                    </a:lnTo>
                    <a:lnTo>
                      <a:pt x="118" y="263"/>
                    </a:lnTo>
                    <a:lnTo>
                      <a:pt x="121" y="263"/>
                    </a:lnTo>
                    <a:lnTo>
                      <a:pt x="121" y="266"/>
                    </a:lnTo>
                    <a:lnTo>
                      <a:pt x="121" y="266"/>
                    </a:lnTo>
                    <a:lnTo>
                      <a:pt x="123" y="268"/>
                    </a:lnTo>
                    <a:lnTo>
                      <a:pt x="126" y="277"/>
                    </a:lnTo>
                    <a:lnTo>
                      <a:pt x="128" y="277"/>
                    </a:lnTo>
                    <a:lnTo>
                      <a:pt x="128" y="282"/>
                    </a:lnTo>
                    <a:lnTo>
                      <a:pt x="128" y="282"/>
                    </a:lnTo>
                    <a:lnTo>
                      <a:pt x="128" y="285"/>
                    </a:lnTo>
                    <a:lnTo>
                      <a:pt x="133" y="289"/>
                    </a:lnTo>
                    <a:lnTo>
                      <a:pt x="135" y="294"/>
                    </a:lnTo>
                    <a:lnTo>
                      <a:pt x="137" y="299"/>
                    </a:lnTo>
                    <a:lnTo>
                      <a:pt x="140" y="301"/>
                    </a:lnTo>
                    <a:lnTo>
                      <a:pt x="145" y="306"/>
                    </a:lnTo>
                    <a:lnTo>
                      <a:pt x="149" y="311"/>
                    </a:lnTo>
                    <a:lnTo>
                      <a:pt x="152" y="315"/>
                    </a:lnTo>
                    <a:lnTo>
                      <a:pt x="152" y="318"/>
                    </a:lnTo>
                    <a:lnTo>
                      <a:pt x="154" y="320"/>
                    </a:lnTo>
                    <a:lnTo>
                      <a:pt x="154" y="322"/>
                    </a:lnTo>
                    <a:lnTo>
                      <a:pt x="154" y="322"/>
                    </a:lnTo>
                    <a:lnTo>
                      <a:pt x="156" y="325"/>
                    </a:lnTo>
                    <a:lnTo>
                      <a:pt x="159" y="327"/>
                    </a:lnTo>
                    <a:lnTo>
                      <a:pt x="159" y="327"/>
                    </a:lnTo>
                    <a:lnTo>
                      <a:pt x="159" y="330"/>
                    </a:lnTo>
                    <a:lnTo>
                      <a:pt x="159" y="332"/>
                    </a:lnTo>
                    <a:lnTo>
                      <a:pt x="161" y="334"/>
                    </a:lnTo>
                    <a:lnTo>
                      <a:pt x="163" y="332"/>
                    </a:lnTo>
                    <a:lnTo>
                      <a:pt x="163" y="330"/>
                    </a:lnTo>
                    <a:lnTo>
                      <a:pt x="166" y="330"/>
                    </a:lnTo>
                    <a:lnTo>
                      <a:pt x="166" y="327"/>
                    </a:lnTo>
                    <a:lnTo>
                      <a:pt x="166" y="327"/>
                    </a:lnTo>
                    <a:lnTo>
                      <a:pt x="166" y="325"/>
                    </a:lnTo>
                    <a:lnTo>
                      <a:pt x="166" y="325"/>
                    </a:lnTo>
                    <a:lnTo>
                      <a:pt x="166" y="325"/>
                    </a:lnTo>
                    <a:lnTo>
                      <a:pt x="166" y="322"/>
                    </a:lnTo>
                    <a:lnTo>
                      <a:pt x="166" y="320"/>
                    </a:lnTo>
                    <a:lnTo>
                      <a:pt x="166" y="318"/>
                    </a:lnTo>
                    <a:lnTo>
                      <a:pt x="166" y="315"/>
                    </a:lnTo>
                    <a:lnTo>
                      <a:pt x="168" y="315"/>
                    </a:lnTo>
                    <a:lnTo>
                      <a:pt x="168" y="315"/>
                    </a:lnTo>
                    <a:lnTo>
                      <a:pt x="166" y="313"/>
                    </a:lnTo>
                    <a:lnTo>
                      <a:pt x="166" y="313"/>
                    </a:lnTo>
                    <a:lnTo>
                      <a:pt x="168" y="311"/>
                    </a:lnTo>
                    <a:lnTo>
                      <a:pt x="168" y="311"/>
                    </a:lnTo>
                    <a:lnTo>
                      <a:pt x="171" y="311"/>
                    </a:lnTo>
                    <a:lnTo>
                      <a:pt x="171" y="311"/>
                    </a:lnTo>
                    <a:lnTo>
                      <a:pt x="173" y="311"/>
                    </a:lnTo>
                    <a:lnTo>
                      <a:pt x="173" y="311"/>
                    </a:lnTo>
                    <a:lnTo>
                      <a:pt x="175" y="311"/>
                    </a:lnTo>
                    <a:lnTo>
                      <a:pt x="175" y="313"/>
                    </a:lnTo>
                    <a:lnTo>
                      <a:pt x="178" y="313"/>
                    </a:lnTo>
                    <a:lnTo>
                      <a:pt x="180" y="313"/>
                    </a:lnTo>
                    <a:lnTo>
                      <a:pt x="180" y="313"/>
                    </a:lnTo>
                    <a:lnTo>
                      <a:pt x="180" y="313"/>
                    </a:lnTo>
                    <a:lnTo>
                      <a:pt x="182" y="313"/>
                    </a:lnTo>
                    <a:lnTo>
                      <a:pt x="182" y="313"/>
                    </a:lnTo>
                    <a:lnTo>
                      <a:pt x="185" y="313"/>
                    </a:lnTo>
                    <a:lnTo>
                      <a:pt x="187" y="313"/>
                    </a:lnTo>
                    <a:lnTo>
                      <a:pt x="192" y="313"/>
                    </a:lnTo>
                    <a:lnTo>
                      <a:pt x="194" y="311"/>
                    </a:lnTo>
                    <a:lnTo>
                      <a:pt x="199" y="311"/>
                    </a:lnTo>
                    <a:lnTo>
                      <a:pt x="201" y="311"/>
                    </a:lnTo>
                    <a:lnTo>
                      <a:pt x="204" y="311"/>
                    </a:lnTo>
                    <a:lnTo>
                      <a:pt x="204" y="313"/>
                    </a:lnTo>
                    <a:lnTo>
                      <a:pt x="208" y="313"/>
                    </a:lnTo>
                    <a:lnTo>
                      <a:pt x="211" y="315"/>
                    </a:lnTo>
                    <a:lnTo>
                      <a:pt x="215" y="315"/>
                    </a:lnTo>
                    <a:lnTo>
                      <a:pt x="220" y="315"/>
                    </a:lnTo>
                    <a:lnTo>
                      <a:pt x="225" y="315"/>
                    </a:lnTo>
                    <a:lnTo>
                      <a:pt x="227" y="315"/>
                    </a:lnTo>
                    <a:lnTo>
                      <a:pt x="230" y="315"/>
                    </a:lnTo>
                    <a:lnTo>
                      <a:pt x="232" y="315"/>
                    </a:lnTo>
                    <a:lnTo>
                      <a:pt x="232" y="315"/>
                    </a:lnTo>
                    <a:lnTo>
                      <a:pt x="234" y="320"/>
                    </a:lnTo>
                    <a:lnTo>
                      <a:pt x="237" y="322"/>
                    </a:lnTo>
                    <a:lnTo>
                      <a:pt x="239" y="322"/>
                    </a:lnTo>
                    <a:lnTo>
                      <a:pt x="242" y="320"/>
                    </a:lnTo>
                    <a:lnTo>
                      <a:pt x="244" y="320"/>
                    </a:lnTo>
                    <a:lnTo>
                      <a:pt x="244" y="318"/>
                    </a:lnTo>
                    <a:lnTo>
                      <a:pt x="246" y="313"/>
                    </a:lnTo>
                    <a:lnTo>
                      <a:pt x="246" y="311"/>
                    </a:lnTo>
                    <a:lnTo>
                      <a:pt x="249" y="308"/>
                    </a:lnTo>
                    <a:lnTo>
                      <a:pt x="251" y="306"/>
                    </a:lnTo>
                    <a:lnTo>
                      <a:pt x="253" y="301"/>
                    </a:lnTo>
                    <a:lnTo>
                      <a:pt x="256" y="301"/>
                    </a:lnTo>
                    <a:lnTo>
                      <a:pt x="258" y="296"/>
                    </a:lnTo>
                    <a:lnTo>
                      <a:pt x="260" y="294"/>
                    </a:lnTo>
                    <a:lnTo>
                      <a:pt x="265" y="292"/>
                    </a:lnTo>
                    <a:lnTo>
                      <a:pt x="270" y="289"/>
                    </a:lnTo>
                    <a:lnTo>
                      <a:pt x="272" y="287"/>
                    </a:lnTo>
                    <a:lnTo>
                      <a:pt x="275" y="287"/>
                    </a:lnTo>
                    <a:lnTo>
                      <a:pt x="279" y="285"/>
                    </a:lnTo>
                    <a:lnTo>
                      <a:pt x="286" y="285"/>
                    </a:lnTo>
                    <a:lnTo>
                      <a:pt x="291" y="285"/>
                    </a:lnTo>
                    <a:lnTo>
                      <a:pt x="296" y="282"/>
                    </a:lnTo>
                    <a:lnTo>
                      <a:pt x="303" y="282"/>
                    </a:lnTo>
                    <a:lnTo>
                      <a:pt x="308" y="282"/>
                    </a:lnTo>
                    <a:lnTo>
                      <a:pt x="312" y="280"/>
                    </a:lnTo>
                    <a:lnTo>
                      <a:pt x="317" y="280"/>
                    </a:lnTo>
                    <a:lnTo>
                      <a:pt x="322" y="280"/>
                    </a:lnTo>
                    <a:lnTo>
                      <a:pt x="327" y="277"/>
                    </a:lnTo>
                    <a:lnTo>
                      <a:pt x="329" y="277"/>
                    </a:lnTo>
                    <a:lnTo>
                      <a:pt x="331" y="275"/>
                    </a:lnTo>
                    <a:lnTo>
                      <a:pt x="334" y="275"/>
                    </a:lnTo>
                    <a:lnTo>
                      <a:pt x="338" y="273"/>
                    </a:lnTo>
                    <a:lnTo>
                      <a:pt x="341" y="273"/>
                    </a:lnTo>
                    <a:lnTo>
                      <a:pt x="343" y="270"/>
                    </a:lnTo>
                    <a:lnTo>
                      <a:pt x="348" y="270"/>
                    </a:lnTo>
                    <a:lnTo>
                      <a:pt x="350" y="268"/>
                    </a:lnTo>
                    <a:lnTo>
                      <a:pt x="353" y="268"/>
                    </a:lnTo>
                    <a:lnTo>
                      <a:pt x="357" y="266"/>
                    </a:lnTo>
                    <a:lnTo>
                      <a:pt x="360" y="266"/>
                    </a:lnTo>
                    <a:lnTo>
                      <a:pt x="362" y="263"/>
                    </a:lnTo>
                    <a:lnTo>
                      <a:pt x="365" y="263"/>
                    </a:lnTo>
                    <a:lnTo>
                      <a:pt x="369" y="261"/>
                    </a:lnTo>
                    <a:lnTo>
                      <a:pt x="372" y="261"/>
                    </a:lnTo>
                    <a:lnTo>
                      <a:pt x="374" y="259"/>
                    </a:lnTo>
                    <a:lnTo>
                      <a:pt x="379" y="259"/>
                    </a:lnTo>
                    <a:lnTo>
                      <a:pt x="379" y="256"/>
                    </a:lnTo>
                    <a:lnTo>
                      <a:pt x="381" y="254"/>
                    </a:lnTo>
                    <a:lnTo>
                      <a:pt x="381" y="251"/>
                    </a:lnTo>
                    <a:lnTo>
                      <a:pt x="381" y="249"/>
                    </a:lnTo>
                    <a:lnTo>
                      <a:pt x="381" y="247"/>
                    </a:lnTo>
                    <a:lnTo>
                      <a:pt x="383" y="244"/>
                    </a:lnTo>
                    <a:lnTo>
                      <a:pt x="383" y="242"/>
                    </a:lnTo>
                    <a:lnTo>
                      <a:pt x="383" y="240"/>
                    </a:lnTo>
                    <a:lnTo>
                      <a:pt x="383" y="237"/>
                    </a:lnTo>
                    <a:lnTo>
                      <a:pt x="383" y="235"/>
                    </a:lnTo>
                    <a:lnTo>
                      <a:pt x="386" y="233"/>
                    </a:lnTo>
                    <a:lnTo>
                      <a:pt x="386" y="230"/>
                    </a:lnTo>
                    <a:lnTo>
                      <a:pt x="386" y="228"/>
                    </a:lnTo>
                    <a:lnTo>
                      <a:pt x="388" y="223"/>
                    </a:lnTo>
                    <a:lnTo>
                      <a:pt x="388" y="221"/>
                    </a:lnTo>
                    <a:lnTo>
                      <a:pt x="388" y="218"/>
                    </a:lnTo>
                    <a:lnTo>
                      <a:pt x="388" y="218"/>
                    </a:lnTo>
                    <a:lnTo>
                      <a:pt x="388" y="216"/>
                    </a:lnTo>
                    <a:lnTo>
                      <a:pt x="388" y="214"/>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38"/>
              <p:cNvSpPr>
                <a:spLocks noEditPoints="1"/>
              </p:cNvSpPr>
              <p:nvPr/>
            </p:nvSpPr>
            <p:spPr bwMode="auto">
              <a:xfrm>
                <a:off x="1613" y="2518"/>
                <a:ext cx="5" cy="14"/>
              </a:xfrm>
              <a:custGeom>
                <a:avLst/>
                <a:gdLst>
                  <a:gd name="T0" fmla="*/ 0 w 5"/>
                  <a:gd name="T1" fmla="*/ 12 h 14"/>
                  <a:gd name="T2" fmla="*/ 0 w 5"/>
                  <a:gd name="T3" fmla="*/ 12 h 14"/>
                  <a:gd name="T4" fmla="*/ 0 w 5"/>
                  <a:gd name="T5" fmla="*/ 12 h 14"/>
                  <a:gd name="T6" fmla="*/ 0 w 5"/>
                  <a:gd name="T7" fmla="*/ 12 h 14"/>
                  <a:gd name="T8" fmla="*/ 0 w 5"/>
                  <a:gd name="T9" fmla="*/ 14 h 14"/>
                  <a:gd name="T10" fmla="*/ 0 w 5"/>
                  <a:gd name="T11" fmla="*/ 14 h 14"/>
                  <a:gd name="T12" fmla="*/ 0 w 5"/>
                  <a:gd name="T13" fmla="*/ 14 h 14"/>
                  <a:gd name="T14" fmla="*/ 0 w 5"/>
                  <a:gd name="T15" fmla="*/ 14 h 14"/>
                  <a:gd name="T16" fmla="*/ 0 w 5"/>
                  <a:gd name="T17" fmla="*/ 14 h 14"/>
                  <a:gd name="T18" fmla="*/ 0 w 5"/>
                  <a:gd name="T19" fmla="*/ 14 h 14"/>
                  <a:gd name="T20" fmla="*/ 0 w 5"/>
                  <a:gd name="T21" fmla="*/ 14 h 14"/>
                  <a:gd name="T22" fmla="*/ 0 w 5"/>
                  <a:gd name="T23" fmla="*/ 14 h 14"/>
                  <a:gd name="T24" fmla="*/ 0 w 5"/>
                  <a:gd name="T25" fmla="*/ 14 h 14"/>
                  <a:gd name="T26" fmla="*/ 0 w 5"/>
                  <a:gd name="T27" fmla="*/ 12 h 14"/>
                  <a:gd name="T28" fmla="*/ 0 w 5"/>
                  <a:gd name="T29" fmla="*/ 12 h 14"/>
                  <a:gd name="T30" fmla="*/ 0 w 5"/>
                  <a:gd name="T31" fmla="*/ 12 h 14"/>
                  <a:gd name="T32" fmla="*/ 3 w 5"/>
                  <a:gd name="T33" fmla="*/ 7 h 14"/>
                  <a:gd name="T34" fmla="*/ 3 w 5"/>
                  <a:gd name="T35" fmla="*/ 7 h 14"/>
                  <a:gd name="T36" fmla="*/ 3 w 5"/>
                  <a:gd name="T37" fmla="*/ 5 h 14"/>
                  <a:gd name="T38" fmla="*/ 3 w 5"/>
                  <a:gd name="T39" fmla="*/ 7 h 14"/>
                  <a:gd name="T40" fmla="*/ 3 w 5"/>
                  <a:gd name="T41" fmla="*/ 7 h 14"/>
                  <a:gd name="T42" fmla="*/ 3 w 5"/>
                  <a:gd name="T43" fmla="*/ 7 h 14"/>
                  <a:gd name="T44" fmla="*/ 3 w 5"/>
                  <a:gd name="T45" fmla="*/ 7 h 14"/>
                  <a:gd name="T46" fmla="*/ 3 w 5"/>
                  <a:gd name="T47" fmla="*/ 7 h 14"/>
                  <a:gd name="T48" fmla="*/ 3 w 5"/>
                  <a:gd name="T49" fmla="*/ 7 h 14"/>
                  <a:gd name="T50" fmla="*/ 3 w 5"/>
                  <a:gd name="T51" fmla="*/ 7 h 14"/>
                  <a:gd name="T52" fmla="*/ 3 w 5"/>
                  <a:gd name="T53" fmla="*/ 7 h 14"/>
                  <a:gd name="T54" fmla="*/ 3 w 5"/>
                  <a:gd name="T55" fmla="*/ 7 h 14"/>
                  <a:gd name="T56" fmla="*/ 3 w 5"/>
                  <a:gd name="T57" fmla="*/ 7 h 14"/>
                  <a:gd name="T58" fmla="*/ 3 w 5"/>
                  <a:gd name="T59" fmla="*/ 7 h 14"/>
                  <a:gd name="T60" fmla="*/ 3 w 5"/>
                  <a:gd name="T61" fmla="*/ 7 h 14"/>
                  <a:gd name="T62" fmla="*/ 3 w 5"/>
                  <a:gd name="T63" fmla="*/ 7 h 14"/>
                  <a:gd name="T64" fmla="*/ 3 w 5"/>
                  <a:gd name="T65" fmla="*/ 7 h 14"/>
                  <a:gd name="T66" fmla="*/ 3 w 5"/>
                  <a:gd name="T67" fmla="*/ 7 h 14"/>
                  <a:gd name="T68" fmla="*/ 3 w 5"/>
                  <a:gd name="T69" fmla="*/ 7 h 14"/>
                  <a:gd name="T70" fmla="*/ 3 w 5"/>
                  <a:gd name="T71" fmla="*/ 7 h 14"/>
                  <a:gd name="T72" fmla="*/ 3 w 5"/>
                  <a:gd name="T73" fmla="*/ 7 h 14"/>
                  <a:gd name="T74" fmla="*/ 3 w 5"/>
                  <a:gd name="T75" fmla="*/ 7 h 14"/>
                  <a:gd name="T76" fmla="*/ 3 w 5"/>
                  <a:gd name="T77" fmla="*/ 7 h 14"/>
                  <a:gd name="T78" fmla="*/ 5 w 5"/>
                  <a:gd name="T79" fmla="*/ 0 h 14"/>
                  <a:gd name="T80" fmla="*/ 5 w 5"/>
                  <a:gd name="T81" fmla="*/ 0 h 14"/>
                  <a:gd name="T82" fmla="*/ 3 w 5"/>
                  <a:gd name="T83" fmla="*/ 0 h 14"/>
                  <a:gd name="T84" fmla="*/ 3 w 5"/>
                  <a:gd name="T85" fmla="*/ 0 h 14"/>
                  <a:gd name="T86" fmla="*/ 3 w 5"/>
                  <a:gd name="T87" fmla="*/ 3 h 14"/>
                  <a:gd name="T88" fmla="*/ 3 w 5"/>
                  <a:gd name="T89" fmla="*/ 5 h 14"/>
                  <a:gd name="T90" fmla="*/ 5 w 5"/>
                  <a:gd name="T91" fmla="*/ 5 h 14"/>
                  <a:gd name="T92" fmla="*/ 5 w 5"/>
                  <a:gd name="T93" fmla="*/ 3 h 14"/>
                  <a:gd name="T94" fmla="*/ 5 w 5"/>
                  <a:gd name="T95" fmla="*/ 0 h 14"/>
                  <a:gd name="T96" fmla="*/ 5 w 5"/>
                  <a:gd name="T9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 h="14">
                    <a:moveTo>
                      <a:pt x="0" y="12"/>
                    </a:moveTo>
                    <a:lnTo>
                      <a:pt x="0" y="12"/>
                    </a:lnTo>
                    <a:lnTo>
                      <a:pt x="0" y="12"/>
                    </a:lnTo>
                    <a:lnTo>
                      <a:pt x="0" y="12"/>
                    </a:lnTo>
                    <a:lnTo>
                      <a:pt x="0" y="14"/>
                    </a:lnTo>
                    <a:lnTo>
                      <a:pt x="0" y="14"/>
                    </a:lnTo>
                    <a:lnTo>
                      <a:pt x="0" y="14"/>
                    </a:lnTo>
                    <a:lnTo>
                      <a:pt x="0" y="14"/>
                    </a:lnTo>
                    <a:lnTo>
                      <a:pt x="0" y="14"/>
                    </a:lnTo>
                    <a:lnTo>
                      <a:pt x="0" y="14"/>
                    </a:lnTo>
                    <a:lnTo>
                      <a:pt x="0" y="14"/>
                    </a:lnTo>
                    <a:lnTo>
                      <a:pt x="0" y="14"/>
                    </a:lnTo>
                    <a:lnTo>
                      <a:pt x="0" y="14"/>
                    </a:lnTo>
                    <a:lnTo>
                      <a:pt x="0" y="12"/>
                    </a:lnTo>
                    <a:lnTo>
                      <a:pt x="0" y="12"/>
                    </a:lnTo>
                    <a:lnTo>
                      <a:pt x="0" y="12"/>
                    </a:lnTo>
                    <a:close/>
                    <a:moveTo>
                      <a:pt x="3" y="7"/>
                    </a:moveTo>
                    <a:lnTo>
                      <a:pt x="3" y="7"/>
                    </a:lnTo>
                    <a:lnTo>
                      <a:pt x="3" y="5"/>
                    </a:lnTo>
                    <a:lnTo>
                      <a:pt x="3" y="7"/>
                    </a:lnTo>
                    <a:lnTo>
                      <a:pt x="3" y="7"/>
                    </a:lnTo>
                    <a:lnTo>
                      <a:pt x="3" y="7"/>
                    </a:lnTo>
                    <a:lnTo>
                      <a:pt x="3" y="7"/>
                    </a:lnTo>
                    <a:lnTo>
                      <a:pt x="3" y="7"/>
                    </a:lnTo>
                    <a:lnTo>
                      <a:pt x="3" y="7"/>
                    </a:lnTo>
                    <a:lnTo>
                      <a:pt x="3" y="7"/>
                    </a:lnTo>
                    <a:lnTo>
                      <a:pt x="3" y="7"/>
                    </a:lnTo>
                    <a:lnTo>
                      <a:pt x="3" y="7"/>
                    </a:lnTo>
                    <a:lnTo>
                      <a:pt x="3" y="7"/>
                    </a:lnTo>
                    <a:lnTo>
                      <a:pt x="3" y="7"/>
                    </a:lnTo>
                    <a:lnTo>
                      <a:pt x="3" y="7"/>
                    </a:lnTo>
                    <a:lnTo>
                      <a:pt x="3" y="7"/>
                    </a:lnTo>
                    <a:lnTo>
                      <a:pt x="3" y="7"/>
                    </a:lnTo>
                    <a:lnTo>
                      <a:pt x="3" y="7"/>
                    </a:lnTo>
                    <a:lnTo>
                      <a:pt x="3" y="7"/>
                    </a:lnTo>
                    <a:lnTo>
                      <a:pt x="3" y="7"/>
                    </a:lnTo>
                    <a:lnTo>
                      <a:pt x="3" y="7"/>
                    </a:lnTo>
                    <a:lnTo>
                      <a:pt x="3" y="7"/>
                    </a:lnTo>
                    <a:lnTo>
                      <a:pt x="3" y="7"/>
                    </a:lnTo>
                    <a:close/>
                    <a:moveTo>
                      <a:pt x="5" y="0"/>
                    </a:moveTo>
                    <a:lnTo>
                      <a:pt x="5" y="0"/>
                    </a:lnTo>
                    <a:lnTo>
                      <a:pt x="3" y="0"/>
                    </a:lnTo>
                    <a:lnTo>
                      <a:pt x="3" y="0"/>
                    </a:lnTo>
                    <a:lnTo>
                      <a:pt x="3" y="3"/>
                    </a:lnTo>
                    <a:lnTo>
                      <a:pt x="3" y="5"/>
                    </a:lnTo>
                    <a:lnTo>
                      <a:pt x="5" y="5"/>
                    </a:lnTo>
                    <a:lnTo>
                      <a:pt x="5" y="3"/>
                    </a:lnTo>
                    <a:lnTo>
                      <a:pt x="5" y="0"/>
                    </a:lnTo>
                    <a:lnTo>
                      <a:pt x="5" y="0"/>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39"/>
              <p:cNvSpPr>
                <a:spLocks noEditPoints="1"/>
              </p:cNvSpPr>
              <p:nvPr/>
            </p:nvSpPr>
            <p:spPr bwMode="auto">
              <a:xfrm>
                <a:off x="1840" y="1808"/>
                <a:ext cx="3" cy="7"/>
              </a:xfrm>
              <a:custGeom>
                <a:avLst/>
                <a:gdLst>
                  <a:gd name="T0" fmla="*/ 3 w 3"/>
                  <a:gd name="T1" fmla="*/ 5 h 7"/>
                  <a:gd name="T2" fmla="*/ 3 w 3"/>
                  <a:gd name="T3" fmla="*/ 5 h 7"/>
                  <a:gd name="T4" fmla="*/ 3 w 3"/>
                  <a:gd name="T5" fmla="*/ 5 h 7"/>
                  <a:gd name="T6" fmla="*/ 0 w 3"/>
                  <a:gd name="T7" fmla="*/ 7 h 7"/>
                  <a:gd name="T8" fmla="*/ 3 w 3"/>
                  <a:gd name="T9" fmla="*/ 7 h 7"/>
                  <a:gd name="T10" fmla="*/ 3 w 3"/>
                  <a:gd name="T11" fmla="*/ 7 h 7"/>
                  <a:gd name="T12" fmla="*/ 3 w 3"/>
                  <a:gd name="T13" fmla="*/ 5 h 7"/>
                  <a:gd name="T14" fmla="*/ 3 w 3"/>
                  <a:gd name="T15" fmla="*/ 5 h 7"/>
                  <a:gd name="T16" fmla="*/ 3 w 3"/>
                  <a:gd name="T17" fmla="*/ 5 h 7"/>
                  <a:gd name="T18" fmla="*/ 3 w 3"/>
                  <a:gd name="T19" fmla="*/ 5 h 7"/>
                  <a:gd name="T20" fmla="*/ 0 w 3"/>
                  <a:gd name="T21" fmla="*/ 2 h 7"/>
                  <a:gd name="T22" fmla="*/ 0 w 3"/>
                  <a:gd name="T23" fmla="*/ 2 h 7"/>
                  <a:gd name="T24" fmla="*/ 3 w 3"/>
                  <a:gd name="T25" fmla="*/ 0 h 7"/>
                  <a:gd name="T26" fmla="*/ 3 w 3"/>
                  <a:gd name="T27" fmla="*/ 0 h 7"/>
                  <a:gd name="T28" fmla="*/ 3 w 3"/>
                  <a:gd name="T29" fmla="*/ 0 h 7"/>
                  <a:gd name="T30" fmla="*/ 0 w 3"/>
                  <a:gd name="T31" fmla="*/ 0 h 7"/>
                  <a:gd name="T32" fmla="*/ 0 w 3"/>
                  <a:gd name="T33" fmla="*/ 0 h 7"/>
                  <a:gd name="T34" fmla="*/ 0 w 3"/>
                  <a:gd name="T35" fmla="*/ 2 h 7"/>
                  <a:gd name="T36" fmla="*/ 0 w 3"/>
                  <a:gd name="T37" fmla="*/ 2 h 7"/>
                  <a:gd name="T38" fmla="*/ 0 w 3"/>
                  <a:gd name="T39" fmla="*/ 5 h 7"/>
                  <a:gd name="T40" fmla="*/ 0 w 3"/>
                  <a:gd name="T41" fmla="*/ 5 h 7"/>
                  <a:gd name="T42" fmla="*/ 0 w 3"/>
                  <a:gd name="T43" fmla="*/ 5 h 7"/>
                  <a:gd name="T44" fmla="*/ 0 w 3"/>
                  <a:gd name="T45" fmla="*/ 5 h 7"/>
                  <a:gd name="T46" fmla="*/ 3 w 3"/>
                  <a:gd name="T47"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 h="7">
                    <a:moveTo>
                      <a:pt x="3" y="5"/>
                    </a:moveTo>
                    <a:lnTo>
                      <a:pt x="3" y="5"/>
                    </a:lnTo>
                    <a:lnTo>
                      <a:pt x="3" y="5"/>
                    </a:lnTo>
                    <a:lnTo>
                      <a:pt x="0" y="7"/>
                    </a:lnTo>
                    <a:lnTo>
                      <a:pt x="3" y="7"/>
                    </a:lnTo>
                    <a:lnTo>
                      <a:pt x="3" y="7"/>
                    </a:lnTo>
                    <a:lnTo>
                      <a:pt x="3" y="5"/>
                    </a:lnTo>
                    <a:lnTo>
                      <a:pt x="3" y="5"/>
                    </a:lnTo>
                    <a:lnTo>
                      <a:pt x="3" y="5"/>
                    </a:lnTo>
                    <a:close/>
                    <a:moveTo>
                      <a:pt x="3" y="5"/>
                    </a:moveTo>
                    <a:lnTo>
                      <a:pt x="0" y="2"/>
                    </a:lnTo>
                    <a:lnTo>
                      <a:pt x="0" y="2"/>
                    </a:lnTo>
                    <a:lnTo>
                      <a:pt x="3" y="0"/>
                    </a:lnTo>
                    <a:lnTo>
                      <a:pt x="3" y="0"/>
                    </a:lnTo>
                    <a:lnTo>
                      <a:pt x="3" y="0"/>
                    </a:lnTo>
                    <a:lnTo>
                      <a:pt x="0" y="0"/>
                    </a:lnTo>
                    <a:lnTo>
                      <a:pt x="0" y="0"/>
                    </a:lnTo>
                    <a:lnTo>
                      <a:pt x="0" y="2"/>
                    </a:lnTo>
                    <a:lnTo>
                      <a:pt x="0" y="2"/>
                    </a:lnTo>
                    <a:lnTo>
                      <a:pt x="0" y="5"/>
                    </a:lnTo>
                    <a:lnTo>
                      <a:pt x="0" y="5"/>
                    </a:lnTo>
                    <a:lnTo>
                      <a:pt x="0" y="5"/>
                    </a:lnTo>
                    <a:lnTo>
                      <a:pt x="0" y="5"/>
                    </a:lnTo>
                    <a:lnTo>
                      <a:pt x="3" y="5"/>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40"/>
              <p:cNvSpPr>
                <a:spLocks/>
              </p:cNvSpPr>
              <p:nvPr/>
            </p:nvSpPr>
            <p:spPr bwMode="auto">
              <a:xfrm>
                <a:off x="1592" y="2416"/>
                <a:ext cx="0" cy="3"/>
              </a:xfrm>
              <a:custGeom>
                <a:avLst/>
                <a:gdLst>
                  <a:gd name="T0" fmla="*/ 0 h 3"/>
                  <a:gd name="T1" fmla="*/ 0 h 3"/>
                  <a:gd name="T2" fmla="*/ 3 h 3"/>
                  <a:gd name="T3" fmla="*/ 3 h 3"/>
                  <a:gd name="T4" fmla="*/ 3 h 3"/>
                  <a:gd name="T5" fmla="*/ 0 h 3"/>
                  <a:gd name="T6" fmla="*/ 0 h 3"/>
                </a:gdLst>
                <a:ahLst/>
                <a:cxnLst>
                  <a:cxn ang="0">
                    <a:pos x="0" y="T0"/>
                  </a:cxn>
                  <a:cxn ang="0">
                    <a:pos x="0" y="T1"/>
                  </a:cxn>
                  <a:cxn ang="0">
                    <a:pos x="0" y="T2"/>
                  </a:cxn>
                  <a:cxn ang="0">
                    <a:pos x="0" y="T3"/>
                  </a:cxn>
                  <a:cxn ang="0">
                    <a:pos x="0" y="T4"/>
                  </a:cxn>
                  <a:cxn ang="0">
                    <a:pos x="0" y="T5"/>
                  </a:cxn>
                  <a:cxn ang="0">
                    <a:pos x="0" y="T6"/>
                  </a:cxn>
                </a:cxnLst>
                <a:rect l="0" t="0" r="r" b="b"/>
                <a:pathLst>
                  <a:path h="3">
                    <a:moveTo>
                      <a:pt x="0" y="0"/>
                    </a:moveTo>
                    <a:lnTo>
                      <a:pt x="0" y="0"/>
                    </a:lnTo>
                    <a:lnTo>
                      <a:pt x="0" y="3"/>
                    </a:lnTo>
                    <a:lnTo>
                      <a:pt x="0" y="3"/>
                    </a:lnTo>
                    <a:lnTo>
                      <a:pt x="0" y="3"/>
                    </a:lnTo>
                    <a:lnTo>
                      <a:pt x="0" y="0"/>
                    </a:lnTo>
                    <a:lnTo>
                      <a:pt x="0" y="0"/>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41"/>
              <p:cNvSpPr>
                <a:spLocks/>
              </p:cNvSpPr>
              <p:nvPr/>
            </p:nvSpPr>
            <p:spPr bwMode="auto">
              <a:xfrm>
                <a:off x="1590" y="2419"/>
                <a:ext cx="2" cy="0"/>
              </a:xfrm>
              <a:custGeom>
                <a:avLst/>
                <a:gdLst>
                  <a:gd name="T0" fmla="*/ 2 w 2"/>
                  <a:gd name="T1" fmla="*/ 0 w 2"/>
                  <a:gd name="T2" fmla="*/ 2 w 2"/>
                  <a:gd name="T3" fmla="*/ 2 w 2"/>
                  <a:gd name="T4" fmla="*/ 2 w 2"/>
                  <a:gd name="T5" fmla="*/ 2 w 2"/>
                  <a:gd name="T6" fmla="*/ 2 w 2"/>
                </a:gdLst>
                <a:ahLst/>
                <a:cxnLst>
                  <a:cxn ang="0">
                    <a:pos x="T0" y="0"/>
                  </a:cxn>
                  <a:cxn ang="0">
                    <a:pos x="T1" y="0"/>
                  </a:cxn>
                  <a:cxn ang="0">
                    <a:pos x="T2" y="0"/>
                  </a:cxn>
                  <a:cxn ang="0">
                    <a:pos x="T3" y="0"/>
                  </a:cxn>
                  <a:cxn ang="0">
                    <a:pos x="T4" y="0"/>
                  </a:cxn>
                  <a:cxn ang="0">
                    <a:pos x="T5" y="0"/>
                  </a:cxn>
                  <a:cxn ang="0">
                    <a:pos x="T6" y="0"/>
                  </a:cxn>
                </a:cxnLst>
                <a:rect l="0" t="0" r="r" b="b"/>
                <a:pathLst>
                  <a:path w="2">
                    <a:moveTo>
                      <a:pt x="2" y="0"/>
                    </a:moveTo>
                    <a:lnTo>
                      <a:pt x="0" y="0"/>
                    </a:lnTo>
                    <a:lnTo>
                      <a:pt x="2" y="0"/>
                    </a:lnTo>
                    <a:lnTo>
                      <a:pt x="2" y="0"/>
                    </a:lnTo>
                    <a:lnTo>
                      <a:pt x="2" y="0"/>
                    </a:lnTo>
                    <a:lnTo>
                      <a:pt x="2" y="0"/>
                    </a:lnTo>
                    <a:lnTo>
                      <a:pt x="2" y="0"/>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42"/>
              <p:cNvSpPr>
                <a:spLocks/>
              </p:cNvSpPr>
              <p:nvPr/>
            </p:nvSpPr>
            <p:spPr bwMode="auto">
              <a:xfrm>
                <a:off x="1620" y="2502"/>
                <a:ext cx="5" cy="9"/>
              </a:xfrm>
              <a:custGeom>
                <a:avLst/>
                <a:gdLst>
                  <a:gd name="T0" fmla="*/ 3 w 5"/>
                  <a:gd name="T1" fmla="*/ 0 h 9"/>
                  <a:gd name="T2" fmla="*/ 3 w 5"/>
                  <a:gd name="T3" fmla="*/ 0 h 9"/>
                  <a:gd name="T4" fmla="*/ 3 w 5"/>
                  <a:gd name="T5" fmla="*/ 2 h 9"/>
                  <a:gd name="T6" fmla="*/ 0 w 5"/>
                  <a:gd name="T7" fmla="*/ 4 h 9"/>
                  <a:gd name="T8" fmla="*/ 0 w 5"/>
                  <a:gd name="T9" fmla="*/ 4 h 9"/>
                  <a:gd name="T10" fmla="*/ 0 w 5"/>
                  <a:gd name="T11" fmla="*/ 7 h 9"/>
                  <a:gd name="T12" fmla="*/ 3 w 5"/>
                  <a:gd name="T13" fmla="*/ 9 h 9"/>
                  <a:gd name="T14" fmla="*/ 3 w 5"/>
                  <a:gd name="T15" fmla="*/ 7 h 9"/>
                  <a:gd name="T16" fmla="*/ 5 w 5"/>
                  <a:gd name="T17" fmla="*/ 2 h 9"/>
                  <a:gd name="T18" fmla="*/ 3 w 5"/>
                  <a:gd name="T19"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9">
                    <a:moveTo>
                      <a:pt x="3" y="0"/>
                    </a:moveTo>
                    <a:lnTo>
                      <a:pt x="3" y="0"/>
                    </a:lnTo>
                    <a:lnTo>
                      <a:pt x="3" y="2"/>
                    </a:lnTo>
                    <a:lnTo>
                      <a:pt x="0" y="4"/>
                    </a:lnTo>
                    <a:lnTo>
                      <a:pt x="0" y="4"/>
                    </a:lnTo>
                    <a:lnTo>
                      <a:pt x="0" y="7"/>
                    </a:lnTo>
                    <a:lnTo>
                      <a:pt x="3" y="9"/>
                    </a:lnTo>
                    <a:lnTo>
                      <a:pt x="3" y="7"/>
                    </a:lnTo>
                    <a:lnTo>
                      <a:pt x="5" y="2"/>
                    </a:lnTo>
                    <a:lnTo>
                      <a:pt x="3" y="0"/>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43"/>
              <p:cNvSpPr>
                <a:spLocks noEditPoints="1"/>
              </p:cNvSpPr>
              <p:nvPr/>
            </p:nvSpPr>
            <p:spPr bwMode="auto">
              <a:xfrm>
                <a:off x="1594" y="2433"/>
                <a:ext cx="5" cy="5"/>
              </a:xfrm>
              <a:custGeom>
                <a:avLst/>
                <a:gdLst>
                  <a:gd name="T0" fmla="*/ 5 w 5"/>
                  <a:gd name="T1" fmla="*/ 2 h 5"/>
                  <a:gd name="T2" fmla="*/ 5 w 5"/>
                  <a:gd name="T3" fmla="*/ 2 h 5"/>
                  <a:gd name="T4" fmla="*/ 5 w 5"/>
                  <a:gd name="T5" fmla="*/ 5 h 5"/>
                  <a:gd name="T6" fmla="*/ 5 w 5"/>
                  <a:gd name="T7" fmla="*/ 5 h 5"/>
                  <a:gd name="T8" fmla="*/ 5 w 5"/>
                  <a:gd name="T9" fmla="*/ 5 h 5"/>
                  <a:gd name="T10" fmla="*/ 5 w 5"/>
                  <a:gd name="T11" fmla="*/ 5 h 5"/>
                  <a:gd name="T12" fmla="*/ 5 w 5"/>
                  <a:gd name="T13" fmla="*/ 2 h 5"/>
                  <a:gd name="T14" fmla="*/ 5 w 5"/>
                  <a:gd name="T15" fmla="*/ 2 h 5"/>
                  <a:gd name="T16" fmla="*/ 3 w 5"/>
                  <a:gd name="T17" fmla="*/ 2 h 5"/>
                  <a:gd name="T18" fmla="*/ 3 w 5"/>
                  <a:gd name="T19" fmla="*/ 0 h 5"/>
                  <a:gd name="T20" fmla="*/ 0 w 5"/>
                  <a:gd name="T21" fmla="*/ 0 h 5"/>
                  <a:gd name="T22" fmla="*/ 0 w 5"/>
                  <a:gd name="T23" fmla="*/ 0 h 5"/>
                  <a:gd name="T24" fmla="*/ 0 w 5"/>
                  <a:gd name="T25" fmla="*/ 0 h 5"/>
                  <a:gd name="T26" fmla="*/ 0 w 5"/>
                  <a:gd name="T27" fmla="*/ 0 h 5"/>
                  <a:gd name="T28" fmla="*/ 0 w 5"/>
                  <a:gd name="T29" fmla="*/ 0 h 5"/>
                  <a:gd name="T30" fmla="*/ 0 w 5"/>
                  <a:gd name="T31" fmla="*/ 2 h 5"/>
                  <a:gd name="T32" fmla="*/ 3 w 5"/>
                  <a:gd name="T33" fmla="*/ 2 h 5"/>
                  <a:gd name="T34" fmla="*/ 3 w 5"/>
                  <a:gd name="T35" fmla="*/ 2 h 5"/>
                  <a:gd name="T36" fmla="*/ 5 w 5"/>
                  <a:gd name="T37" fmla="*/ 2 h 5"/>
                  <a:gd name="T38" fmla="*/ 5 w 5"/>
                  <a:gd name="T39"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 h="5">
                    <a:moveTo>
                      <a:pt x="5" y="2"/>
                    </a:moveTo>
                    <a:lnTo>
                      <a:pt x="5" y="2"/>
                    </a:lnTo>
                    <a:lnTo>
                      <a:pt x="5" y="5"/>
                    </a:lnTo>
                    <a:lnTo>
                      <a:pt x="5" y="5"/>
                    </a:lnTo>
                    <a:lnTo>
                      <a:pt x="5" y="5"/>
                    </a:lnTo>
                    <a:lnTo>
                      <a:pt x="5" y="5"/>
                    </a:lnTo>
                    <a:lnTo>
                      <a:pt x="5" y="2"/>
                    </a:lnTo>
                    <a:close/>
                    <a:moveTo>
                      <a:pt x="5" y="2"/>
                    </a:moveTo>
                    <a:lnTo>
                      <a:pt x="3" y="2"/>
                    </a:lnTo>
                    <a:lnTo>
                      <a:pt x="3" y="0"/>
                    </a:lnTo>
                    <a:lnTo>
                      <a:pt x="0" y="0"/>
                    </a:lnTo>
                    <a:lnTo>
                      <a:pt x="0" y="0"/>
                    </a:lnTo>
                    <a:lnTo>
                      <a:pt x="0" y="0"/>
                    </a:lnTo>
                    <a:lnTo>
                      <a:pt x="0" y="0"/>
                    </a:lnTo>
                    <a:lnTo>
                      <a:pt x="0" y="0"/>
                    </a:lnTo>
                    <a:lnTo>
                      <a:pt x="0" y="2"/>
                    </a:lnTo>
                    <a:lnTo>
                      <a:pt x="3" y="2"/>
                    </a:lnTo>
                    <a:lnTo>
                      <a:pt x="3" y="2"/>
                    </a:lnTo>
                    <a:lnTo>
                      <a:pt x="5" y="2"/>
                    </a:lnTo>
                    <a:lnTo>
                      <a:pt x="5" y="2"/>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44"/>
              <p:cNvSpPr>
                <a:spLocks noEditPoints="1"/>
              </p:cNvSpPr>
              <p:nvPr/>
            </p:nvSpPr>
            <p:spPr bwMode="auto">
              <a:xfrm>
                <a:off x="1587" y="2426"/>
                <a:ext cx="5" cy="5"/>
              </a:xfrm>
              <a:custGeom>
                <a:avLst/>
                <a:gdLst>
                  <a:gd name="T0" fmla="*/ 5 w 5"/>
                  <a:gd name="T1" fmla="*/ 5 h 5"/>
                  <a:gd name="T2" fmla="*/ 5 w 5"/>
                  <a:gd name="T3" fmla="*/ 5 h 5"/>
                  <a:gd name="T4" fmla="*/ 5 w 5"/>
                  <a:gd name="T5" fmla="*/ 5 h 5"/>
                  <a:gd name="T6" fmla="*/ 5 w 5"/>
                  <a:gd name="T7" fmla="*/ 5 h 5"/>
                  <a:gd name="T8" fmla="*/ 5 w 5"/>
                  <a:gd name="T9" fmla="*/ 5 h 5"/>
                  <a:gd name="T10" fmla="*/ 5 w 5"/>
                  <a:gd name="T11" fmla="*/ 5 h 5"/>
                  <a:gd name="T12" fmla="*/ 5 w 5"/>
                  <a:gd name="T13" fmla="*/ 5 h 5"/>
                  <a:gd name="T14" fmla="*/ 5 w 5"/>
                  <a:gd name="T15" fmla="*/ 5 h 5"/>
                  <a:gd name="T16" fmla="*/ 5 w 5"/>
                  <a:gd name="T17" fmla="*/ 5 h 5"/>
                  <a:gd name="T18" fmla="*/ 0 w 5"/>
                  <a:gd name="T19" fmla="*/ 0 h 5"/>
                  <a:gd name="T20" fmla="*/ 0 w 5"/>
                  <a:gd name="T21" fmla="*/ 0 h 5"/>
                  <a:gd name="T22" fmla="*/ 0 w 5"/>
                  <a:gd name="T23" fmla="*/ 2 h 5"/>
                  <a:gd name="T24" fmla="*/ 0 w 5"/>
                  <a:gd name="T25" fmla="*/ 2 h 5"/>
                  <a:gd name="T26" fmla="*/ 0 w 5"/>
                  <a:gd name="T27" fmla="*/ 2 h 5"/>
                  <a:gd name="T28" fmla="*/ 0 w 5"/>
                  <a:gd name="T29" fmla="*/ 2 h 5"/>
                  <a:gd name="T30" fmla="*/ 0 w 5"/>
                  <a:gd name="T31" fmla="*/ 0 h 5"/>
                  <a:gd name="T32" fmla="*/ 0 w 5"/>
                  <a:gd name="T3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 h="5">
                    <a:moveTo>
                      <a:pt x="5" y="5"/>
                    </a:moveTo>
                    <a:lnTo>
                      <a:pt x="5" y="5"/>
                    </a:lnTo>
                    <a:lnTo>
                      <a:pt x="5" y="5"/>
                    </a:lnTo>
                    <a:lnTo>
                      <a:pt x="5" y="5"/>
                    </a:lnTo>
                    <a:lnTo>
                      <a:pt x="5" y="5"/>
                    </a:lnTo>
                    <a:lnTo>
                      <a:pt x="5" y="5"/>
                    </a:lnTo>
                    <a:lnTo>
                      <a:pt x="5" y="5"/>
                    </a:lnTo>
                    <a:lnTo>
                      <a:pt x="5" y="5"/>
                    </a:lnTo>
                    <a:lnTo>
                      <a:pt x="5" y="5"/>
                    </a:lnTo>
                    <a:close/>
                    <a:moveTo>
                      <a:pt x="0" y="0"/>
                    </a:moveTo>
                    <a:lnTo>
                      <a:pt x="0" y="0"/>
                    </a:lnTo>
                    <a:lnTo>
                      <a:pt x="0" y="2"/>
                    </a:lnTo>
                    <a:lnTo>
                      <a:pt x="0" y="2"/>
                    </a:lnTo>
                    <a:lnTo>
                      <a:pt x="0" y="2"/>
                    </a:lnTo>
                    <a:lnTo>
                      <a:pt x="0" y="2"/>
                    </a:lnTo>
                    <a:lnTo>
                      <a:pt x="0" y="0"/>
                    </a:lnTo>
                    <a:lnTo>
                      <a:pt x="0" y="0"/>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45"/>
              <p:cNvSpPr>
                <a:spLocks/>
              </p:cNvSpPr>
              <p:nvPr/>
            </p:nvSpPr>
            <p:spPr bwMode="auto">
              <a:xfrm>
                <a:off x="1594" y="2421"/>
                <a:ext cx="3" cy="0"/>
              </a:xfrm>
              <a:custGeom>
                <a:avLst/>
                <a:gdLst>
                  <a:gd name="T0" fmla="*/ 0 w 3"/>
                  <a:gd name="T1" fmla="*/ 0 w 3"/>
                  <a:gd name="T2" fmla="*/ 0 w 3"/>
                  <a:gd name="T3" fmla="*/ 0 w 3"/>
                  <a:gd name="T4" fmla="*/ 0 w 3"/>
                  <a:gd name="T5" fmla="*/ 0 w 3"/>
                  <a:gd name="T6" fmla="*/ 3 w 3"/>
                  <a:gd name="T7" fmla="*/ 3 w 3"/>
                  <a:gd name="T8" fmla="*/ 3 w 3"/>
                  <a:gd name="T9" fmla="*/ 3 w 3"/>
                  <a:gd name="T10" fmla="*/ 0 w 3"/>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Lst>
                <a:rect l="0" t="0" r="r" b="b"/>
                <a:pathLst>
                  <a:path w="3">
                    <a:moveTo>
                      <a:pt x="0" y="0"/>
                    </a:moveTo>
                    <a:lnTo>
                      <a:pt x="0" y="0"/>
                    </a:lnTo>
                    <a:lnTo>
                      <a:pt x="0" y="0"/>
                    </a:lnTo>
                    <a:lnTo>
                      <a:pt x="0" y="0"/>
                    </a:lnTo>
                    <a:lnTo>
                      <a:pt x="0" y="0"/>
                    </a:lnTo>
                    <a:lnTo>
                      <a:pt x="0" y="0"/>
                    </a:lnTo>
                    <a:lnTo>
                      <a:pt x="3" y="0"/>
                    </a:lnTo>
                    <a:lnTo>
                      <a:pt x="3" y="0"/>
                    </a:lnTo>
                    <a:lnTo>
                      <a:pt x="3" y="0"/>
                    </a:lnTo>
                    <a:lnTo>
                      <a:pt x="3" y="0"/>
                    </a:lnTo>
                    <a:lnTo>
                      <a:pt x="0" y="0"/>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46"/>
              <p:cNvSpPr>
                <a:spLocks noEditPoints="1"/>
              </p:cNvSpPr>
              <p:nvPr/>
            </p:nvSpPr>
            <p:spPr bwMode="auto">
              <a:xfrm>
                <a:off x="4232" y="2592"/>
                <a:ext cx="40" cy="83"/>
              </a:xfrm>
              <a:custGeom>
                <a:avLst/>
                <a:gdLst>
                  <a:gd name="T0" fmla="*/ 2 w 40"/>
                  <a:gd name="T1" fmla="*/ 19 h 83"/>
                  <a:gd name="T2" fmla="*/ 2 w 40"/>
                  <a:gd name="T3" fmla="*/ 16 h 83"/>
                  <a:gd name="T4" fmla="*/ 0 w 40"/>
                  <a:gd name="T5" fmla="*/ 16 h 83"/>
                  <a:gd name="T6" fmla="*/ 2 w 40"/>
                  <a:gd name="T7" fmla="*/ 4 h 83"/>
                  <a:gd name="T8" fmla="*/ 2 w 40"/>
                  <a:gd name="T9" fmla="*/ 4 h 83"/>
                  <a:gd name="T10" fmla="*/ 2 w 40"/>
                  <a:gd name="T11" fmla="*/ 2 h 83"/>
                  <a:gd name="T12" fmla="*/ 0 w 40"/>
                  <a:gd name="T13" fmla="*/ 2 h 83"/>
                  <a:gd name="T14" fmla="*/ 2 w 40"/>
                  <a:gd name="T15" fmla="*/ 4 h 83"/>
                  <a:gd name="T16" fmla="*/ 40 w 40"/>
                  <a:gd name="T17" fmla="*/ 52 h 83"/>
                  <a:gd name="T18" fmla="*/ 38 w 40"/>
                  <a:gd name="T19" fmla="*/ 47 h 83"/>
                  <a:gd name="T20" fmla="*/ 38 w 40"/>
                  <a:gd name="T21" fmla="*/ 45 h 83"/>
                  <a:gd name="T22" fmla="*/ 38 w 40"/>
                  <a:gd name="T23" fmla="*/ 45 h 83"/>
                  <a:gd name="T24" fmla="*/ 31 w 40"/>
                  <a:gd name="T25" fmla="*/ 35 h 83"/>
                  <a:gd name="T26" fmla="*/ 31 w 40"/>
                  <a:gd name="T27" fmla="*/ 30 h 83"/>
                  <a:gd name="T28" fmla="*/ 28 w 40"/>
                  <a:gd name="T29" fmla="*/ 28 h 83"/>
                  <a:gd name="T30" fmla="*/ 28 w 40"/>
                  <a:gd name="T31" fmla="*/ 28 h 83"/>
                  <a:gd name="T32" fmla="*/ 28 w 40"/>
                  <a:gd name="T33" fmla="*/ 26 h 83"/>
                  <a:gd name="T34" fmla="*/ 23 w 40"/>
                  <a:gd name="T35" fmla="*/ 19 h 83"/>
                  <a:gd name="T36" fmla="*/ 21 w 40"/>
                  <a:gd name="T37" fmla="*/ 16 h 83"/>
                  <a:gd name="T38" fmla="*/ 16 w 40"/>
                  <a:gd name="T39" fmla="*/ 9 h 83"/>
                  <a:gd name="T40" fmla="*/ 9 w 40"/>
                  <a:gd name="T41" fmla="*/ 2 h 83"/>
                  <a:gd name="T42" fmla="*/ 5 w 40"/>
                  <a:gd name="T43" fmla="*/ 0 h 83"/>
                  <a:gd name="T44" fmla="*/ 2 w 40"/>
                  <a:gd name="T45" fmla="*/ 2 h 83"/>
                  <a:gd name="T46" fmla="*/ 5 w 40"/>
                  <a:gd name="T47" fmla="*/ 2 h 83"/>
                  <a:gd name="T48" fmla="*/ 9 w 40"/>
                  <a:gd name="T49" fmla="*/ 4 h 83"/>
                  <a:gd name="T50" fmla="*/ 12 w 40"/>
                  <a:gd name="T51" fmla="*/ 7 h 83"/>
                  <a:gd name="T52" fmla="*/ 9 w 40"/>
                  <a:gd name="T53" fmla="*/ 9 h 83"/>
                  <a:gd name="T54" fmla="*/ 7 w 40"/>
                  <a:gd name="T55" fmla="*/ 7 h 83"/>
                  <a:gd name="T56" fmla="*/ 7 w 40"/>
                  <a:gd name="T57" fmla="*/ 9 h 83"/>
                  <a:gd name="T58" fmla="*/ 7 w 40"/>
                  <a:gd name="T59" fmla="*/ 14 h 83"/>
                  <a:gd name="T60" fmla="*/ 2 w 40"/>
                  <a:gd name="T61" fmla="*/ 21 h 83"/>
                  <a:gd name="T62" fmla="*/ 5 w 40"/>
                  <a:gd name="T63" fmla="*/ 23 h 83"/>
                  <a:gd name="T64" fmla="*/ 2 w 40"/>
                  <a:gd name="T65" fmla="*/ 30 h 83"/>
                  <a:gd name="T66" fmla="*/ 2 w 40"/>
                  <a:gd name="T67" fmla="*/ 38 h 83"/>
                  <a:gd name="T68" fmla="*/ 0 w 40"/>
                  <a:gd name="T69" fmla="*/ 38 h 83"/>
                  <a:gd name="T70" fmla="*/ 0 w 40"/>
                  <a:gd name="T71" fmla="*/ 35 h 83"/>
                  <a:gd name="T72" fmla="*/ 2 w 40"/>
                  <a:gd name="T73" fmla="*/ 42 h 83"/>
                  <a:gd name="T74" fmla="*/ 5 w 40"/>
                  <a:gd name="T75" fmla="*/ 64 h 83"/>
                  <a:gd name="T76" fmla="*/ 7 w 40"/>
                  <a:gd name="T77" fmla="*/ 73 h 83"/>
                  <a:gd name="T78" fmla="*/ 12 w 40"/>
                  <a:gd name="T79" fmla="*/ 80 h 83"/>
                  <a:gd name="T80" fmla="*/ 21 w 40"/>
                  <a:gd name="T81" fmla="*/ 83 h 83"/>
                  <a:gd name="T82" fmla="*/ 31 w 40"/>
                  <a:gd name="T83" fmla="*/ 78 h 83"/>
                  <a:gd name="T84" fmla="*/ 38 w 40"/>
                  <a:gd name="T85" fmla="*/ 73 h 83"/>
                  <a:gd name="T86" fmla="*/ 40 w 40"/>
                  <a:gd name="T87" fmla="*/ 68 h 83"/>
                  <a:gd name="T88" fmla="*/ 40 w 40"/>
                  <a:gd name="T89" fmla="*/ 61 h 83"/>
                  <a:gd name="T90" fmla="*/ 40 w 40"/>
                  <a:gd name="T91" fmla="*/ 54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0" h="83">
                    <a:moveTo>
                      <a:pt x="2" y="16"/>
                    </a:moveTo>
                    <a:lnTo>
                      <a:pt x="2" y="19"/>
                    </a:lnTo>
                    <a:lnTo>
                      <a:pt x="2" y="16"/>
                    </a:lnTo>
                    <a:lnTo>
                      <a:pt x="2" y="16"/>
                    </a:lnTo>
                    <a:lnTo>
                      <a:pt x="0" y="16"/>
                    </a:lnTo>
                    <a:lnTo>
                      <a:pt x="0" y="16"/>
                    </a:lnTo>
                    <a:lnTo>
                      <a:pt x="2" y="16"/>
                    </a:lnTo>
                    <a:close/>
                    <a:moveTo>
                      <a:pt x="2" y="4"/>
                    </a:moveTo>
                    <a:lnTo>
                      <a:pt x="2" y="4"/>
                    </a:lnTo>
                    <a:lnTo>
                      <a:pt x="2" y="4"/>
                    </a:lnTo>
                    <a:lnTo>
                      <a:pt x="2" y="2"/>
                    </a:lnTo>
                    <a:lnTo>
                      <a:pt x="2" y="2"/>
                    </a:lnTo>
                    <a:lnTo>
                      <a:pt x="2" y="2"/>
                    </a:lnTo>
                    <a:lnTo>
                      <a:pt x="0" y="2"/>
                    </a:lnTo>
                    <a:lnTo>
                      <a:pt x="2" y="4"/>
                    </a:lnTo>
                    <a:lnTo>
                      <a:pt x="2" y="4"/>
                    </a:lnTo>
                    <a:close/>
                    <a:moveTo>
                      <a:pt x="40" y="54"/>
                    </a:moveTo>
                    <a:lnTo>
                      <a:pt x="40" y="52"/>
                    </a:lnTo>
                    <a:lnTo>
                      <a:pt x="40" y="49"/>
                    </a:lnTo>
                    <a:lnTo>
                      <a:pt x="38" y="47"/>
                    </a:lnTo>
                    <a:lnTo>
                      <a:pt x="38" y="45"/>
                    </a:lnTo>
                    <a:lnTo>
                      <a:pt x="38" y="45"/>
                    </a:lnTo>
                    <a:lnTo>
                      <a:pt x="38" y="45"/>
                    </a:lnTo>
                    <a:lnTo>
                      <a:pt x="38" y="45"/>
                    </a:lnTo>
                    <a:lnTo>
                      <a:pt x="33" y="38"/>
                    </a:lnTo>
                    <a:lnTo>
                      <a:pt x="31" y="35"/>
                    </a:lnTo>
                    <a:lnTo>
                      <a:pt x="31" y="35"/>
                    </a:lnTo>
                    <a:lnTo>
                      <a:pt x="31" y="30"/>
                    </a:lnTo>
                    <a:lnTo>
                      <a:pt x="31" y="28"/>
                    </a:lnTo>
                    <a:lnTo>
                      <a:pt x="28" y="28"/>
                    </a:lnTo>
                    <a:lnTo>
                      <a:pt x="28" y="28"/>
                    </a:lnTo>
                    <a:lnTo>
                      <a:pt x="28" y="28"/>
                    </a:lnTo>
                    <a:lnTo>
                      <a:pt x="28" y="26"/>
                    </a:lnTo>
                    <a:lnTo>
                      <a:pt x="28" y="26"/>
                    </a:lnTo>
                    <a:lnTo>
                      <a:pt x="23" y="19"/>
                    </a:lnTo>
                    <a:lnTo>
                      <a:pt x="23" y="19"/>
                    </a:lnTo>
                    <a:lnTo>
                      <a:pt x="21" y="19"/>
                    </a:lnTo>
                    <a:lnTo>
                      <a:pt x="21" y="16"/>
                    </a:lnTo>
                    <a:lnTo>
                      <a:pt x="21" y="16"/>
                    </a:lnTo>
                    <a:lnTo>
                      <a:pt x="16" y="9"/>
                    </a:lnTo>
                    <a:lnTo>
                      <a:pt x="12" y="4"/>
                    </a:lnTo>
                    <a:lnTo>
                      <a:pt x="9" y="2"/>
                    </a:lnTo>
                    <a:lnTo>
                      <a:pt x="7" y="0"/>
                    </a:lnTo>
                    <a:lnTo>
                      <a:pt x="5" y="0"/>
                    </a:lnTo>
                    <a:lnTo>
                      <a:pt x="2" y="0"/>
                    </a:lnTo>
                    <a:lnTo>
                      <a:pt x="2" y="2"/>
                    </a:lnTo>
                    <a:lnTo>
                      <a:pt x="2" y="2"/>
                    </a:lnTo>
                    <a:lnTo>
                      <a:pt x="5" y="2"/>
                    </a:lnTo>
                    <a:lnTo>
                      <a:pt x="5" y="4"/>
                    </a:lnTo>
                    <a:lnTo>
                      <a:pt x="9" y="4"/>
                    </a:lnTo>
                    <a:lnTo>
                      <a:pt x="12" y="7"/>
                    </a:lnTo>
                    <a:lnTo>
                      <a:pt x="12" y="7"/>
                    </a:lnTo>
                    <a:lnTo>
                      <a:pt x="12" y="7"/>
                    </a:lnTo>
                    <a:lnTo>
                      <a:pt x="9" y="9"/>
                    </a:lnTo>
                    <a:lnTo>
                      <a:pt x="9" y="7"/>
                    </a:lnTo>
                    <a:lnTo>
                      <a:pt x="7" y="7"/>
                    </a:lnTo>
                    <a:lnTo>
                      <a:pt x="5" y="7"/>
                    </a:lnTo>
                    <a:lnTo>
                      <a:pt x="7" y="9"/>
                    </a:lnTo>
                    <a:lnTo>
                      <a:pt x="7" y="11"/>
                    </a:lnTo>
                    <a:lnTo>
                      <a:pt x="7" y="14"/>
                    </a:lnTo>
                    <a:lnTo>
                      <a:pt x="5" y="16"/>
                    </a:lnTo>
                    <a:lnTo>
                      <a:pt x="2" y="21"/>
                    </a:lnTo>
                    <a:lnTo>
                      <a:pt x="2" y="21"/>
                    </a:lnTo>
                    <a:lnTo>
                      <a:pt x="5" y="23"/>
                    </a:lnTo>
                    <a:lnTo>
                      <a:pt x="5" y="23"/>
                    </a:lnTo>
                    <a:lnTo>
                      <a:pt x="2" y="30"/>
                    </a:lnTo>
                    <a:lnTo>
                      <a:pt x="2" y="33"/>
                    </a:lnTo>
                    <a:lnTo>
                      <a:pt x="2" y="38"/>
                    </a:lnTo>
                    <a:lnTo>
                      <a:pt x="2" y="38"/>
                    </a:lnTo>
                    <a:lnTo>
                      <a:pt x="0" y="38"/>
                    </a:lnTo>
                    <a:lnTo>
                      <a:pt x="0" y="33"/>
                    </a:lnTo>
                    <a:lnTo>
                      <a:pt x="0" y="35"/>
                    </a:lnTo>
                    <a:lnTo>
                      <a:pt x="0" y="38"/>
                    </a:lnTo>
                    <a:lnTo>
                      <a:pt x="2" y="42"/>
                    </a:lnTo>
                    <a:lnTo>
                      <a:pt x="2" y="47"/>
                    </a:lnTo>
                    <a:lnTo>
                      <a:pt x="5" y="64"/>
                    </a:lnTo>
                    <a:lnTo>
                      <a:pt x="5" y="68"/>
                    </a:lnTo>
                    <a:lnTo>
                      <a:pt x="7" y="73"/>
                    </a:lnTo>
                    <a:lnTo>
                      <a:pt x="9" y="78"/>
                    </a:lnTo>
                    <a:lnTo>
                      <a:pt x="12" y="80"/>
                    </a:lnTo>
                    <a:lnTo>
                      <a:pt x="16" y="83"/>
                    </a:lnTo>
                    <a:lnTo>
                      <a:pt x="21" y="83"/>
                    </a:lnTo>
                    <a:lnTo>
                      <a:pt x="26" y="80"/>
                    </a:lnTo>
                    <a:lnTo>
                      <a:pt x="31" y="78"/>
                    </a:lnTo>
                    <a:lnTo>
                      <a:pt x="33" y="75"/>
                    </a:lnTo>
                    <a:lnTo>
                      <a:pt x="38" y="73"/>
                    </a:lnTo>
                    <a:lnTo>
                      <a:pt x="38" y="71"/>
                    </a:lnTo>
                    <a:lnTo>
                      <a:pt x="40" y="68"/>
                    </a:lnTo>
                    <a:lnTo>
                      <a:pt x="40" y="66"/>
                    </a:lnTo>
                    <a:lnTo>
                      <a:pt x="40" y="61"/>
                    </a:lnTo>
                    <a:lnTo>
                      <a:pt x="40" y="59"/>
                    </a:lnTo>
                    <a:lnTo>
                      <a:pt x="40" y="54"/>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47"/>
              <p:cNvSpPr>
                <a:spLocks noEditPoints="1"/>
              </p:cNvSpPr>
              <p:nvPr/>
            </p:nvSpPr>
            <p:spPr bwMode="auto">
              <a:xfrm>
                <a:off x="2496" y="1877"/>
                <a:ext cx="343" cy="331"/>
              </a:xfrm>
              <a:custGeom>
                <a:avLst/>
                <a:gdLst>
                  <a:gd name="T0" fmla="*/ 293 w 343"/>
                  <a:gd name="T1" fmla="*/ 104 h 331"/>
                  <a:gd name="T2" fmla="*/ 290 w 343"/>
                  <a:gd name="T3" fmla="*/ 97 h 331"/>
                  <a:gd name="T4" fmla="*/ 293 w 343"/>
                  <a:gd name="T5" fmla="*/ 99 h 331"/>
                  <a:gd name="T6" fmla="*/ 324 w 343"/>
                  <a:gd name="T7" fmla="*/ 80 h 331"/>
                  <a:gd name="T8" fmla="*/ 316 w 343"/>
                  <a:gd name="T9" fmla="*/ 80 h 331"/>
                  <a:gd name="T10" fmla="*/ 314 w 343"/>
                  <a:gd name="T11" fmla="*/ 85 h 331"/>
                  <a:gd name="T12" fmla="*/ 326 w 343"/>
                  <a:gd name="T13" fmla="*/ 87 h 331"/>
                  <a:gd name="T14" fmla="*/ 335 w 343"/>
                  <a:gd name="T15" fmla="*/ 78 h 331"/>
                  <a:gd name="T16" fmla="*/ 338 w 343"/>
                  <a:gd name="T17" fmla="*/ 78 h 331"/>
                  <a:gd name="T18" fmla="*/ 326 w 343"/>
                  <a:gd name="T19" fmla="*/ 35 h 331"/>
                  <a:gd name="T20" fmla="*/ 326 w 343"/>
                  <a:gd name="T21" fmla="*/ 28 h 331"/>
                  <a:gd name="T22" fmla="*/ 316 w 343"/>
                  <a:gd name="T23" fmla="*/ 28 h 331"/>
                  <a:gd name="T24" fmla="*/ 305 w 343"/>
                  <a:gd name="T25" fmla="*/ 28 h 331"/>
                  <a:gd name="T26" fmla="*/ 298 w 343"/>
                  <a:gd name="T27" fmla="*/ 28 h 331"/>
                  <a:gd name="T28" fmla="*/ 295 w 343"/>
                  <a:gd name="T29" fmla="*/ 23 h 331"/>
                  <a:gd name="T30" fmla="*/ 283 w 343"/>
                  <a:gd name="T31" fmla="*/ 21 h 331"/>
                  <a:gd name="T32" fmla="*/ 272 w 343"/>
                  <a:gd name="T33" fmla="*/ 23 h 331"/>
                  <a:gd name="T34" fmla="*/ 262 w 343"/>
                  <a:gd name="T35" fmla="*/ 21 h 331"/>
                  <a:gd name="T36" fmla="*/ 250 w 343"/>
                  <a:gd name="T37" fmla="*/ 14 h 331"/>
                  <a:gd name="T38" fmla="*/ 248 w 343"/>
                  <a:gd name="T39" fmla="*/ 14 h 331"/>
                  <a:gd name="T40" fmla="*/ 246 w 343"/>
                  <a:gd name="T41" fmla="*/ 9 h 331"/>
                  <a:gd name="T42" fmla="*/ 231 w 343"/>
                  <a:gd name="T43" fmla="*/ 9 h 331"/>
                  <a:gd name="T44" fmla="*/ 208 w 343"/>
                  <a:gd name="T45" fmla="*/ 7 h 331"/>
                  <a:gd name="T46" fmla="*/ 175 w 343"/>
                  <a:gd name="T47" fmla="*/ 2 h 331"/>
                  <a:gd name="T48" fmla="*/ 149 w 343"/>
                  <a:gd name="T49" fmla="*/ 2 h 331"/>
                  <a:gd name="T50" fmla="*/ 132 w 343"/>
                  <a:gd name="T51" fmla="*/ 4 h 331"/>
                  <a:gd name="T52" fmla="*/ 120 w 343"/>
                  <a:gd name="T53" fmla="*/ 11 h 331"/>
                  <a:gd name="T54" fmla="*/ 120 w 343"/>
                  <a:gd name="T55" fmla="*/ 21 h 331"/>
                  <a:gd name="T56" fmla="*/ 123 w 343"/>
                  <a:gd name="T57" fmla="*/ 26 h 331"/>
                  <a:gd name="T58" fmla="*/ 123 w 343"/>
                  <a:gd name="T59" fmla="*/ 33 h 331"/>
                  <a:gd name="T60" fmla="*/ 130 w 343"/>
                  <a:gd name="T61" fmla="*/ 35 h 331"/>
                  <a:gd name="T62" fmla="*/ 130 w 343"/>
                  <a:gd name="T63" fmla="*/ 37 h 331"/>
                  <a:gd name="T64" fmla="*/ 139 w 343"/>
                  <a:gd name="T65" fmla="*/ 37 h 331"/>
                  <a:gd name="T66" fmla="*/ 149 w 343"/>
                  <a:gd name="T67" fmla="*/ 37 h 331"/>
                  <a:gd name="T68" fmla="*/ 156 w 343"/>
                  <a:gd name="T69" fmla="*/ 37 h 331"/>
                  <a:gd name="T70" fmla="*/ 160 w 343"/>
                  <a:gd name="T71" fmla="*/ 42 h 331"/>
                  <a:gd name="T72" fmla="*/ 158 w 343"/>
                  <a:gd name="T73" fmla="*/ 52 h 331"/>
                  <a:gd name="T74" fmla="*/ 153 w 343"/>
                  <a:gd name="T75" fmla="*/ 64 h 331"/>
                  <a:gd name="T76" fmla="*/ 149 w 343"/>
                  <a:gd name="T77" fmla="*/ 73 h 331"/>
                  <a:gd name="T78" fmla="*/ 146 w 343"/>
                  <a:gd name="T79" fmla="*/ 82 h 331"/>
                  <a:gd name="T80" fmla="*/ 141 w 343"/>
                  <a:gd name="T81" fmla="*/ 87 h 331"/>
                  <a:gd name="T82" fmla="*/ 141 w 343"/>
                  <a:gd name="T83" fmla="*/ 101 h 331"/>
                  <a:gd name="T84" fmla="*/ 146 w 343"/>
                  <a:gd name="T85" fmla="*/ 116 h 331"/>
                  <a:gd name="T86" fmla="*/ 137 w 343"/>
                  <a:gd name="T87" fmla="*/ 127 h 331"/>
                  <a:gd name="T88" fmla="*/ 146 w 343"/>
                  <a:gd name="T89" fmla="*/ 135 h 331"/>
                  <a:gd name="T90" fmla="*/ 153 w 343"/>
                  <a:gd name="T91" fmla="*/ 146 h 331"/>
                  <a:gd name="T92" fmla="*/ 160 w 343"/>
                  <a:gd name="T93" fmla="*/ 158 h 331"/>
                  <a:gd name="T94" fmla="*/ 172 w 343"/>
                  <a:gd name="T95" fmla="*/ 158 h 331"/>
                  <a:gd name="T96" fmla="*/ 189 w 343"/>
                  <a:gd name="T97" fmla="*/ 146 h 331"/>
                  <a:gd name="T98" fmla="*/ 220 w 343"/>
                  <a:gd name="T99" fmla="*/ 146 h 331"/>
                  <a:gd name="T100" fmla="*/ 238 w 343"/>
                  <a:gd name="T101" fmla="*/ 132 h 331"/>
                  <a:gd name="T102" fmla="*/ 253 w 343"/>
                  <a:gd name="T103" fmla="*/ 123 h 331"/>
                  <a:gd name="T104" fmla="*/ 269 w 343"/>
                  <a:gd name="T105" fmla="*/ 104 h 331"/>
                  <a:gd name="T106" fmla="*/ 267 w 343"/>
                  <a:gd name="T107" fmla="*/ 78 h 331"/>
                  <a:gd name="T108" fmla="*/ 283 w 343"/>
                  <a:gd name="T109" fmla="*/ 64 h 331"/>
                  <a:gd name="T110" fmla="*/ 305 w 343"/>
                  <a:gd name="T111" fmla="*/ 52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43" h="331">
                    <a:moveTo>
                      <a:pt x="0" y="329"/>
                    </a:moveTo>
                    <a:lnTo>
                      <a:pt x="0" y="329"/>
                    </a:lnTo>
                    <a:lnTo>
                      <a:pt x="2" y="331"/>
                    </a:lnTo>
                    <a:lnTo>
                      <a:pt x="0" y="329"/>
                    </a:lnTo>
                    <a:close/>
                    <a:moveTo>
                      <a:pt x="293" y="101"/>
                    </a:moveTo>
                    <a:lnTo>
                      <a:pt x="293" y="104"/>
                    </a:lnTo>
                    <a:lnTo>
                      <a:pt x="290" y="104"/>
                    </a:lnTo>
                    <a:lnTo>
                      <a:pt x="293" y="104"/>
                    </a:lnTo>
                    <a:lnTo>
                      <a:pt x="293" y="104"/>
                    </a:lnTo>
                    <a:lnTo>
                      <a:pt x="295" y="104"/>
                    </a:lnTo>
                    <a:lnTo>
                      <a:pt x="295" y="104"/>
                    </a:lnTo>
                    <a:lnTo>
                      <a:pt x="295" y="104"/>
                    </a:lnTo>
                    <a:lnTo>
                      <a:pt x="293" y="104"/>
                    </a:lnTo>
                    <a:lnTo>
                      <a:pt x="293" y="101"/>
                    </a:lnTo>
                    <a:close/>
                    <a:moveTo>
                      <a:pt x="295" y="94"/>
                    </a:moveTo>
                    <a:lnTo>
                      <a:pt x="290" y="97"/>
                    </a:lnTo>
                    <a:lnTo>
                      <a:pt x="290" y="97"/>
                    </a:lnTo>
                    <a:lnTo>
                      <a:pt x="290" y="97"/>
                    </a:lnTo>
                    <a:lnTo>
                      <a:pt x="290" y="97"/>
                    </a:lnTo>
                    <a:lnTo>
                      <a:pt x="288" y="99"/>
                    </a:lnTo>
                    <a:lnTo>
                      <a:pt x="288" y="99"/>
                    </a:lnTo>
                    <a:lnTo>
                      <a:pt x="293" y="101"/>
                    </a:lnTo>
                    <a:lnTo>
                      <a:pt x="293" y="99"/>
                    </a:lnTo>
                    <a:lnTo>
                      <a:pt x="293" y="99"/>
                    </a:lnTo>
                    <a:lnTo>
                      <a:pt x="295" y="97"/>
                    </a:lnTo>
                    <a:lnTo>
                      <a:pt x="295" y="94"/>
                    </a:lnTo>
                    <a:lnTo>
                      <a:pt x="295" y="94"/>
                    </a:lnTo>
                    <a:close/>
                    <a:moveTo>
                      <a:pt x="326" y="80"/>
                    </a:moveTo>
                    <a:lnTo>
                      <a:pt x="326" y="80"/>
                    </a:lnTo>
                    <a:lnTo>
                      <a:pt x="324" y="80"/>
                    </a:lnTo>
                    <a:lnTo>
                      <a:pt x="324" y="80"/>
                    </a:lnTo>
                    <a:lnTo>
                      <a:pt x="324" y="80"/>
                    </a:lnTo>
                    <a:lnTo>
                      <a:pt x="324" y="80"/>
                    </a:lnTo>
                    <a:lnTo>
                      <a:pt x="324" y="78"/>
                    </a:lnTo>
                    <a:lnTo>
                      <a:pt x="324" y="78"/>
                    </a:lnTo>
                    <a:lnTo>
                      <a:pt x="324" y="78"/>
                    </a:lnTo>
                    <a:lnTo>
                      <a:pt x="324" y="78"/>
                    </a:lnTo>
                    <a:lnTo>
                      <a:pt x="324" y="78"/>
                    </a:lnTo>
                    <a:lnTo>
                      <a:pt x="319" y="78"/>
                    </a:lnTo>
                    <a:lnTo>
                      <a:pt x="316" y="80"/>
                    </a:lnTo>
                    <a:lnTo>
                      <a:pt x="309" y="85"/>
                    </a:lnTo>
                    <a:lnTo>
                      <a:pt x="309" y="85"/>
                    </a:lnTo>
                    <a:lnTo>
                      <a:pt x="309" y="85"/>
                    </a:lnTo>
                    <a:lnTo>
                      <a:pt x="309" y="87"/>
                    </a:lnTo>
                    <a:lnTo>
                      <a:pt x="312" y="87"/>
                    </a:lnTo>
                    <a:lnTo>
                      <a:pt x="312" y="85"/>
                    </a:lnTo>
                    <a:lnTo>
                      <a:pt x="314" y="85"/>
                    </a:lnTo>
                    <a:lnTo>
                      <a:pt x="314" y="85"/>
                    </a:lnTo>
                    <a:lnTo>
                      <a:pt x="316" y="87"/>
                    </a:lnTo>
                    <a:lnTo>
                      <a:pt x="316" y="90"/>
                    </a:lnTo>
                    <a:lnTo>
                      <a:pt x="316" y="90"/>
                    </a:lnTo>
                    <a:lnTo>
                      <a:pt x="319" y="90"/>
                    </a:lnTo>
                    <a:lnTo>
                      <a:pt x="321" y="92"/>
                    </a:lnTo>
                    <a:lnTo>
                      <a:pt x="321" y="90"/>
                    </a:lnTo>
                    <a:lnTo>
                      <a:pt x="324" y="90"/>
                    </a:lnTo>
                    <a:lnTo>
                      <a:pt x="326" y="87"/>
                    </a:lnTo>
                    <a:lnTo>
                      <a:pt x="326" y="85"/>
                    </a:lnTo>
                    <a:lnTo>
                      <a:pt x="326" y="85"/>
                    </a:lnTo>
                    <a:lnTo>
                      <a:pt x="328" y="82"/>
                    </a:lnTo>
                    <a:lnTo>
                      <a:pt x="328" y="80"/>
                    </a:lnTo>
                    <a:lnTo>
                      <a:pt x="326" y="80"/>
                    </a:lnTo>
                    <a:close/>
                    <a:moveTo>
                      <a:pt x="335" y="78"/>
                    </a:moveTo>
                    <a:lnTo>
                      <a:pt x="335" y="78"/>
                    </a:lnTo>
                    <a:lnTo>
                      <a:pt x="335" y="78"/>
                    </a:lnTo>
                    <a:lnTo>
                      <a:pt x="335" y="78"/>
                    </a:lnTo>
                    <a:close/>
                    <a:moveTo>
                      <a:pt x="343" y="78"/>
                    </a:moveTo>
                    <a:lnTo>
                      <a:pt x="340" y="78"/>
                    </a:lnTo>
                    <a:lnTo>
                      <a:pt x="338" y="75"/>
                    </a:lnTo>
                    <a:lnTo>
                      <a:pt x="335" y="75"/>
                    </a:lnTo>
                    <a:lnTo>
                      <a:pt x="335" y="78"/>
                    </a:lnTo>
                    <a:lnTo>
                      <a:pt x="335" y="78"/>
                    </a:lnTo>
                    <a:lnTo>
                      <a:pt x="338" y="78"/>
                    </a:lnTo>
                    <a:lnTo>
                      <a:pt x="343" y="80"/>
                    </a:lnTo>
                    <a:lnTo>
                      <a:pt x="343" y="80"/>
                    </a:lnTo>
                    <a:lnTo>
                      <a:pt x="343" y="78"/>
                    </a:lnTo>
                    <a:lnTo>
                      <a:pt x="343" y="78"/>
                    </a:lnTo>
                    <a:close/>
                    <a:moveTo>
                      <a:pt x="321" y="42"/>
                    </a:moveTo>
                    <a:lnTo>
                      <a:pt x="324" y="40"/>
                    </a:lnTo>
                    <a:lnTo>
                      <a:pt x="326" y="37"/>
                    </a:lnTo>
                    <a:lnTo>
                      <a:pt x="326" y="35"/>
                    </a:lnTo>
                    <a:lnTo>
                      <a:pt x="326" y="35"/>
                    </a:lnTo>
                    <a:lnTo>
                      <a:pt x="324" y="33"/>
                    </a:lnTo>
                    <a:lnTo>
                      <a:pt x="324" y="33"/>
                    </a:lnTo>
                    <a:lnTo>
                      <a:pt x="324" y="30"/>
                    </a:lnTo>
                    <a:lnTo>
                      <a:pt x="326" y="30"/>
                    </a:lnTo>
                    <a:lnTo>
                      <a:pt x="326" y="30"/>
                    </a:lnTo>
                    <a:lnTo>
                      <a:pt x="326" y="30"/>
                    </a:lnTo>
                    <a:lnTo>
                      <a:pt x="326" y="28"/>
                    </a:lnTo>
                    <a:lnTo>
                      <a:pt x="326" y="28"/>
                    </a:lnTo>
                    <a:lnTo>
                      <a:pt x="324" y="28"/>
                    </a:lnTo>
                    <a:lnTo>
                      <a:pt x="324" y="28"/>
                    </a:lnTo>
                    <a:lnTo>
                      <a:pt x="321" y="26"/>
                    </a:lnTo>
                    <a:lnTo>
                      <a:pt x="321" y="28"/>
                    </a:lnTo>
                    <a:lnTo>
                      <a:pt x="319" y="28"/>
                    </a:lnTo>
                    <a:lnTo>
                      <a:pt x="319" y="28"/>
                    </a:lnTo>
                    <a:lnTo>
                      <a:pt x="316" y="28"/>
                    </a:lnTo>
                    <a:lnTo>
                      <a:pt x="316" y="28"/>
                    </a:lnTo>
                    <a:lnTo>
                      <a:pt x="316" y="28"/>
                    </a:lnTo>
                    <a:lnTo>
                      <a:pt x="316" y="30"/>
                    </a:lnTo>
                    <a:lnTo>
                      <a:pt x="314" y="30"/>
                    </a:lnTo>
                    <a:lnTo>
                      <a:pt x="312" y="28"/>
                    </a:lnTo>
                    <a:lnTo>
                      <a:pt x="309" y="28"/>
                    </a:lnTo>
                    <a:lnTo>
                      <a:pt x="307" y="28"/>
                    </a:lnTo>
                    <a:lnTo>
                      <a:pt x="305" y="28"/>
                    </a:lnTo>
                    <a:lnTo>
                      <a:pt x="305" y="28"/>
                    </a:lnTo>
                    <a:lnTo>
                      <a:pt x="305" y="28"/>
                    </a:lnTo>
                    <a:lnTo>
                      <a:pt x="305" y="28"/>
                    </a:lnTo>
                    <a:lnTo>
                      <a:pt x="302" y="28"/>
                    </a:lnTo>
                    <a:lnTo>
                      <a:pt x="300" y="26"/>
                    </a:lnTo>
                    <a:lnTo>
                      <a:pt x="300" y="26"/>
                    </a:lnTo>
                    <a:lnTo>
                      <a:pt x="298" y="28"/>
                    </a:lnTo>
                    <a:lnTo>
                      <a:pt x="298" y="28"/>
                    </a:lnTo>
                    <a:lnTo>
                      <a:pt x="295" y="28"/>
                    </a:lnTo>
                    <a:lnTo>
                      <a:pt x="295" y="28"/>
                    </a:lnTo>
                    <a:lnTo>
                      <a:pt x="295" y="28"/>
                    </a:lnTo>
                    <a:lnTo>
                      <a:pt x="295" y="26"/>
                    </a:lnTo>
                    <a:lnTo>
                      <a:pt x="295" y="26"/>
                    </a:lnTo>
                    <a:lnTo>
                      <a:pt x="295" y="26"/>
                    </a:lnTo>
                    <a:lnTo>
                      <a:pt x="295" y="23"/>
                    </a:lnTo>
                    <a:lnTo>
                      <a:pt x="295" y="23"/>
                    </a:lnTo>
                    <a:lnTo>
                      <a:pt x="293" y="21"/>
                    </a:lnTo>
                    <a:lnTo>
                      <a:pt x="293" y="21"/>
                    </a:lnTo>
                    <a:lnTo>
                      <a:pt x="290" y="21"/>
                    </a:lnTo>
                    <a:lnTo>
                      <a:pt x="288" y="21"/>
                    </a:lnTo>
                    <a:lnTo>
                      <a:pt x="283" y="19"/>
                    </a:lnTo>
                    <a:lnTo>
                      <a:pt x="283" y="19"/>
                    </a:lnTo>
                    <a:lnTo>
                      <a:pt x="283" y="19"/>
                    </a:lnTo>
                    <a:lnTo>
                      <a:pt x="283" y="21"/>
                    </a:lnTo>
                    <a:lnTo>
                      <a:pt x="281" y="21"/>
                    </a:lnTo>
                    <a:lnTo>
                      <a:pt x="281" y="23"/>
                    </a:lnTo>
                    <a:lnTo>
                      <a:pt x="281" y="23"/>
                    </a:lnTo>
                    <a:lnTo>
                      <a:pt x="279" y="21"/>
                    </a:lnTo>
                    <a:lnTo>
                      <a:pt x="276" y="23"/>
                    </a:lnTo>
                    <a:lnTo>
                      <a:pt x="276" y="23"/>
                    </a:lnTo>
                    <a:lnTo>
                      <a:pt x="274" y="21"/>
                    </a:lnTo>
                    <a:lnTo>
                      <a:pt x="272" y="23"/>
                    </a:lnTo>
                    <a:lnTo>
                      <a:pt x="269" y="21"/>
                    </a:lnTo>
                    <a:lnTo>
                      <a:pt x="269" y="21"/>
                    </a:lnTo>
                    <a:lnTo>
                      <a:pt x="267" y="21"/>
                    </a:lnTo>
                    <a:lnTo>
                      <a:pt x="267" y="21"/>
                    </a:lnTo>
                    <a:lnTo>
                      <a:pt x="267" y="19"/>
                    </a:lnTo>
                    <a:lnTo>
                      <a:pt x="267" y="19"/>
                    </a:lnTo>
                    <a:lnTo>
                      <a:pt x="264" y="21"/>
                    </a:lnTo>
                    <a:lnTo>
                      <a:pt x="262" y="21"/>
                    </a:lnTo>
                    <a:lnTo>
                      <a:pt x="262" y="21"/>
                    </a:lnTo>
                    <a:lnTo>
                      <a:pt x="262" y="21"/>
                    </a:lnTo>
                    <a:lnTo>
                      <a:pt x="260" y="19"/>
                    </a:lnTo>
                    <a:lnTo>
                      <a:pt x="260" y="16"/>
                    </a:lnTo>
                    <a:lnTo>
                      <a:pt x="257" y="16"/>
                    </a:lnTo>
                    <a:lnTo>
                      <a:pt x="255" y="16"/>
                    </a:lnTo>
                    <a:lnTo>
                      <a:pt x="253" y="16"/>
                    </a:lnTo>
                    <a:lnTo>
                      <a:pt x="250" y="14"/>
                    </a:lnTo>
                    <a:lnTo>
                      <a:pt x="250" y="14"/>
                    </a:lnTo>
                    <a:lnTo>
                      <a:pt x="250" y="14"/>
                    </a:lnTo>
                    <a:lnTo>
                      <a:pt x="250" y="14"/>
                    </a:lnTo>
                    <a:lnTo>
                      <a:pt x="248" y="14"/>
                    </a:lnTo>
                    <a:lnTo>
                      <a:pt x="248" y="16"/>
                    </a:lnTo>
                    <a:lnTo>
                      <a:pt x="248" y="16"/>
                    </a:lnTo>
                    <a:lnTo>
                      <a:pt x="248" y="16"/>
                    </a:lnTo>
                    <a:lnTo>
                      <a:pt x="248" y="14"/>
                    </a:lnTo>
                    <a:lnTo>
                      <a:pt x="246" y="14"/>
                    </a:lnTo>
                    <a:lnTo>
                      <a:pt x="248" y="14"/>
                    </a:lnTo>
                    <a:lnTo>
                      <a:pt x="248" y="14"/>
                    </a:lnTo>
                    <a:lnTo>
                      <a:pt x="248" y="11"/>
                    </a:lnTo>
                    <a:lnTo>
                      <a:pt x="248" y="11"/>
                    </a:lnTo>
                    <a:lnTo>
                      <a:pt x="248" y="11"/>
                    </a:lnTo>
                    <a:lnTo>
                      <a:pt x="246" y="9"/>
                    </a:lnTo>
                    <a:lnTo>
                      <a:pt x="246" y="9"/>
                    </a:lnTo>
                    <a:lnTo>
                      <a:pt x="243" y="9"/>
                    </a:lnTo>
                    <a:lnTo>
                      <a:pt x="243" y="9"/>
                    </a:lnTo>
                    <a:lnTo>
                      <a:pt x="241" y="9"/>
                    </a:lnTo>
                    <a:lnTo>
                      <a:pt x="241" y="7"/>
                    </a:lnTo>
                    <a:lnTo>
                      <a:pt x="241" y="7"/>
                    </a:lnTo>
                    <a:lnTo>
                      <a:pt x="238" y="9"/>
                    </a:lnTo>
                    <a:lnTo>
                      <a:pt x="234" y="9"/>
                    </a:lnTo>
                    <a:lnTo>
                      <a:pt x="231" y="9"/>
                    </a:lnTo>
                    <a:lnTo>
                      <a:pt x="229" y="7"/>
                    </a:lnTo>
                    <a:lnTo>
                      <a:pt x="224" y="7"/>
                    </a:lnTo>
                    <a:lnTo>
                      <a:pt x="222" y="7"/>
                    </a:lnTo>
                    <a:lnTo>
                      <a:pt x="220" y="9"/>
                    </a:lnTo>
                    <a:lnTo>
                      <a:pt x="215" y="7"/>
                    </a:lnTo>
                    <a:lnTo>
                      <a:pt x="212" y="4"/>
                    </a:lnTo>
                    <a:lnTo>
                      <a:pt x="212" y="4"/>
                    </a:lnTo>
                    <a:lnTo>
                      <a:pt x="208" y="7"/>
                    </a:lnTo>
                    <a:lnTo>
                      <a:pt x="208" y="7"/>
                    </a:lnTo>
                    <a:lnTo>
                      <a:pt x="205" y="7"/>
                    </a:lnTo>
                    <a:lnTo>
                      <a:pt x="198" y="7"/>
                    </a:lnTo>
                    <a:lnTo>
                      <a:pt x="196" y="7"/>
                    </a:lnTo>
                    <a:lnTo>
                      <a:pt x="186" y="7"/>
                    </a:lnTo>
                    <a:lnTo>
                      <a:pt x="182" y="4"/>
                    </a:lnTo>
                    <a:lnTo>
                      <a:pt x="177" y="4"/>
                    </a:lnTo>
                    <a:lnTo>
                      <a:pt x="175" y="2"/>
                    </a:lnTo>
                    <a:lnTo>
                      <a:pt x="170" y="4"/>
                    </a:lnTo>
                    <a:lnTo>
                      <a:pt x="167" y="4"/>
                    </a:lnTo>
                    <a:lnTo>
                      <a:pt x="163" y="4"/>
                    </a:lnTo>
                    <a:lnTo>
                      <a:pt x="160" y="4"/>
                    </a:lnTo>
                    <a:lnTo>
                      <a:pt x="156" y="4"/>
                    </a:lnTo>
                    <a:lnTo>
                      <a:pt x="153" y="4"/>
                    </a:lnTo>
                    <a:lnTo>
                      <a:pt x="151" y="4"/>
                    </a:lnTo>
                    <a:lnTo>
                      <a:pt x="149" y="2"/>
                    </a:lnTo>
                    <a:lnTo>
                      <a:pt x="146" y="2"/>
                    </a:lnTo>
                    <a:lnTo>
                      <a:pt x="144" y="2"/>
                    </a:lnTo>
                    <a:lnTo>
                      <a:pt x="144" y="0"/>
                    </a:lnTo>
                    <a:lnTo>
                      <a:pt x="139" y="2"/>
                    </a:lnTo>
                    <a:lnTo>
                      <a:pt x="137" y="2"/>
                    </a:lnTo>
                    <a:lnTo>
                      <a:pt x="134" y="2"/>
                    </a:lnTo>
                    <a:lnTo>
                      <a:pt x="132" y="4"/>
                    </a:lnTo>
                    <a:lnTo>
                      <a:pt x="132" y="4"/>
                    </a:lnTo>
                    <a:lnTo>
                      <a:pt x="132" y="7"/>
                    </a:lnTo>
                    <a:lnTo>
                      <a:pt x="132" y="7"/>
                    </a:lnTo>
                    <a:lnTo>
                      <a:pt x="132" y="7"/>
                    </a:lnTo>
                    <a:lnTo>
                      <a:pt x="130" y="9"/>
                    </a:lnTo>
                    <a:lnTo>
                      <a:pt x="127" y="9"/>
                    </a:lnTo>
                    <a:lnTo>
                      <a:pt x="125" y="9"/>
                    </a:lnTo>
                    <a:lnTo>
                      <a:pt x="123" y="9"/>
                    </a:lnTo>
                    <a:lnTo>
                      <a:pt x="120" y="11"/>
                    </a:lnTo>
                    <a:lnTo>
                      <a:pt x="118" y="11"/>
                    </a:lnTo>
                    <a:lnTo>
                      <a:pt x="118" y="11"/>
                    </a:lnTo>
                    <a:lnTo>
                      <a:pt x="115" y="16"/>
                    </a:lnTo>
                    <a:lnTo>
                      <a:pt x="115" y="16"/>
                    </a:lnTo>
                    <a:lnTo>
                      <a:pt x="115" y="19"/>
                    </a:lnTo>
                    <a:lnTo>
                      <a:pt x="118" y="19"/>
                    </a:lnTo>
                    <a:lnTo>
                      <a:pt x="118" y="19"/>
                    </a:lnTo>
                    <a:lnTo>
                      <a:pt x="120" y="21"/>
                    </a:lnTo>
                    <a:lnTo>
                      <a:pt x="120" y="21"/>
                    </a:lnTo>
                    <a:lnTo>
                      <a:pt x="118" y="23"/>
                    </a:lnTo>
                    <a:lnTo>
                      <a:pt x="118" y="23"/>
                    </a:lnTo>
                    <a:lnTo>
                      <a:pt x="118" y="23"/>
                    </a:lnTo>
                    <a:lnTo>
                      <a:pt x="123" y="23"/>
                    </a:lnTo>
                    <a:lnTo>
                      <a:pt x="123" y="23"/>
                    </a:lnTo>
                    <a:lnTo>
                      <a:pt x="123" y="26"/>
                    </a:lnTo>
                    <a:lnTo>
                      <a:pt x="123" y="26"/>
                    </a:lnTo>
                    <a:lnTo>
                      <a:pt x="123" y="28"/>
                    </a:lnTo>
                    <a:lnTo>
                      <a:pt x="123" y="28"/>
                    </a:lnTo>
                    <a:lnTo>
                      <a:pt x="123" y="28"/>
                    </a:lnTo>
                    <a:lnTo>
                      <a:pt x="120" y="30"/>
                    </a:lnTo>
                    <a:lnTo>
                      <a:pt x="120" y="30"/>
                    </a:lnTo>
                    <a:lnTo>
                      <a:pt x="123" y="30"/>
                    </a:lnTo>
                    <a:lnTo>
                      <a:pt x="123" y="30"/>
                    </a:lnTo>
                    <a:lnTo>
                      <a:pt x="123" y="33"/>
                    </a:lnTo>
                    <a:lnTo>
                      <a:pt x="120" y="35"/>
                    </a:lnTo>
                    <a:lnTo>
                      <a:pt x="120" y="37"/>
                    </a:lnTo>
                    <a:lnTo>
                      <a:pt x="120" y="37"/>
                    </a:lnTo>
                    <a:lnTo>
                      <a:pt x="120" y="37"/>
                    </a:lnTo>
                    <a:lnTo>
                      <a:pt x="123" y="35"/>
                    </a:lnTo>
                    <a:lnTo>
                      <a:pt x="125" y="35"/>
                    </a:lnTo>
                    <a:lnTo>
                      <a:pt x="125" y="35"/>
                    </a:lnTo>
                    <a:lnTo>
                      <a:pt x="130" y="35"/>
                    </a:lnTo>
                    <a:lnTo>
                      <a:pt x="130" y="33"/>
                    </a:lnTo>
                    <a:lnTo>
                      <a:pt x="132" y="33"/>
                    </a:lnTo>
                    <a:lnTo>
                      <a:pt x="132" y="35"/>
                    </a:lnTo>
                    <a:lnTo>
                      <a:pt x="132" y="35"/>
                    </a:lnTo>
                    <a:lnTo>
                      <a:pt x="132" y="35"/>
                    </a:lnTo>
                    <a:lnTo>
                      <a:pt x="132" y="35"/>
                    </a:lnTo>
                    <a:lnTo>
                      <a:pt x="130" y="37"/>
                    </a:lnTo>
                    <a:lnTo>
                      <a:pt x="130" y="37"/>
                    </a:lnTo>
                    <a:lnTo>
                      <a:pt x="132" y="40"/>
                    </a:lnTo>
                    <a:lnTo>
                      <a:pt x="132" y="40"/>
                    </a:lnTo>
                    <a:lnTo>
                      <a:pt x="132" y="40"/>
                    </a:lnTo>
                    <a:lnTo>
                      <a:pt x="132" y="40"/>
                    </a:lnTo>
                    <a:lnTo>
                      <a:pt x="134" y="40"/>
                    </a:lnTo>
                    <a:lnTo>
                      <a:pt x="137" y="40"/>
                    </a:lnTo>
                    <a:lnTo>
                      <a:pt x="137" y="40"/>
                    </a:lnTo>
                    <a:lnTo>
                      <a:pt x="139" y="37"/>
                    </a:lnTo>
                    <a:lnTo>
                      <a:pt x="141" y="40"/>
                    </a:lnTo>
                    <a:lnTo>
                      <a:pt x="141" y="40"/>
                    </a:lnTo>
                    <a:lnTo>
                      <a:pt x="141" y="40"/>
                    </a:lnTo>
                    <a:lnTo>
                      <a:pt x="144" y="40"/>
                    </a:lnTo>
                    <a:lnTo>
                      <a:pt x="146" y="40"/>
                    </a:lnTo>
                    <a:lnTo>
                      <a:pt x="149" y="37"/>
                    </a:lnTo>
                    <a:lnTo>
                      <a:pt x="149" y="37"/>
                    </a:lnTo>
                    <a:lnTo>
                      <a:pt x="149" y="37"/>
                    </a:lnTo>
                    <a:lnTo>
                      <a:pt x="149" y="37"/>
                    </a:lnTo>
                    <a:lnTo>
                      <a:pt x="149" y="37"/>
                    </a:lnTo>
                    <a:lnTo>
                      <a:pt x="149" y="37"/>
                    </a:lnTo>
                    <a:lnTo>
                      <a:pt x="151" y="37"/>
                    </a:lnTo>
                    <a:lnTo>
                      <a:pt x="153" y="37"/>
                    </a:lnTo>
                    <a:lnTo>
                      <a:pt x="153" y="37"/>
                    </a:lnTo>
                    <a:lnTo>
                      <a:pt x="156" y="37"/>
                    </a:lnTo>
                    <a:lnTo>
                      <a:pt x="156" y="37"/>
                    </a:lnTo>
                    <a:lnTo>
                      <a:pt x="158" y="37"/>
                    </a:lnTo>
                    <a:lnTo>
                      <a:pt x="158" y="37"/>
                    </a:lnTo>
                    <a:lnTo>
                      <a:pt x="158" y="40"/>
                    </a:lnTo>
                    <a:lnTo>
                      <a:pt x="158" y="40"/>
                    </a:lnTo>
                    <a:lnTo>
                      <a:pt x="158" y="42"/>
                    </a:lnTo>
                    <a:lnTo>
                      <a:pt x="158" y="42"/>
                    </a:lnTo>
                    <a:lnTo>
                      <a:pt x="160" y="42"/>
                    </a:lnTo>
                    <a:lnTo>
                      <a:pt x="160" y="42"/>
                    </a:lnTo>
                    <a:lnTo>
                      <a:pt x="163" y="45"/>
                    </a:lnTo>
                    <a:lnTo>
                      <a:pt x="163" y="45"/>
                    </a:lnTo>
                    <a:lnTo>
                      <a:pt x="165" y="45"/>
                    </a:lnTo>
                    <a:lnTo>
                      <a:pt x="165" y="47"/>
                    </a:lnTo>
                    <a:lnTo>
                      <a:pt x="163" y="47"/>
                    </a:lnTo>
                    <a:lnTo>
                      <a:pt x="163" y="47"/>
                    </a:lnTo>
                    <a:lnTo>
                      <a:pt x="160" y="49"/>
                    </a:lnTo>
                    <a:lnTo>
                      <a:pt x="158" y="52"/>
                    </a:lnTo>
                    <a:lnTo>
                      <a:pt x="156" y="52"/>
                    </a:lnTo>
                    <a:lnTo>
                      <a:pt x="153" y="54"/>
                    </a:lnTo>
                    <a:lnTo>
                      <a:pt x="151" y="56"/>
                    </a:lnTo>
                    <a:lnTo>
                      <a:pt x="151" y="56"/>
                    </a:lnTo>
                    <a:lnTo>
                      <a:pt x="151" y="56"/>
                    </a:lnTo>
                    <a:lnTo>
                      <a:pt x="151" y="59"/>
                    </a:lnTo>
                    <a:lnTo>
                      <a:pt x="153" y="61"/>
                    </a:lnTo>
                    <a:lnTo>
                      <a:pt x="153" y="64"/>
                    </a:lnTo>
                    <a:lnTo>
                      <a:pt x="153" y="66"/>
                    </a:lnTo>
                    <a:lnTo>
                      <a:pt x="151" y="68"/>
                    </a:lnTo>
                    <a:lnTo>
                      <a:pt x="151" y="68"/>
                    </a:lnTo>
                    <a:lnTo>
                      <a:pt x="151" y="68"/>
                    </a:lnTo>
                    <a:lnTo>
                      <a:pt x="151" y="71"/>
                    </a:lnTo>
                    <a:lnTo>
                      <a:pt x="151" y="71"/>
                    </a:lnTo>
                    <a:lnTo>
                      <a:pt x="151" y="71"/>
                    </a:lnTo>
                    <a:lnTo>
                      <a:pt x="149" y="73"/>
                    </a:lnTo>
                    <a:lnTo>
                      <a:pt x="149" y="73"/>
                    </a:lnTo>
                    <a:lnTo>
                      <a:pt x="149" y="75"/>
                    </a:lnTo>
                    <a:lnTo>
                      <a:pt x="149" y="75"/>
                    </a:lnTo>
                    <a:lnTo>
                      <a:pt x="149" y="78"/>
                    </a:lnTo>
                    <a:lnTo>
                      <a:pt x="151" y="78"/>
                    </a:lnTo>
                    <a:lnTo>
                      <a:pt x="149" y="78"/>
                    </a:lnTo>
                    <a:lnTo>
                      <a:pt x="149" y="80"/>
                    </a:lnTo>
                    <a:lnTo>
                      <a:pt x="146" y="82"/>
                    </a:lnTo>
                    <a:lnTo>
                      <a:pt x="146" y="82"/>
                    </a:lnTo>
                    <a:lnTo>
                      <a:pt x="146" y="82"/>
                    </a:lnTo>
                    <a:lnTo>
                      <a:pt x="139" y="82"/>
                    </a:lnTo>
                    <a:lnTo>
                      <a:pt x="139" y="82"/>
                    </a:lnTo>
                    <a:lnTo>
                      <a:pt x="139" y="82"/>
                    </a:lnTo>
                    <a:lnTo>
                      <a:pt x="139" y="85"/>
                    </a:lnTo>
                    <a:lnTo>
                      <a:pt x="141" y="87"/>
                    </a:lnTo>
                    <a:lnTo>
                      <a:pt x="141" y="87"/>
                    </a:lnTo>
                    <a:lnTo>
                      <a:pt x="141" y="90"/>
                    </a:lnTo>
                    <a:lnTo>
                      <a:pt x="144" y="94"/>
                    </a:lnTo>
                    <a:lnTo>
                      <a:pt x="146" y="94"/>
                    </a:lnTo>
                    <a:lnTo>
                      <a:pt x="146" y="97"/>
                    </a:lnTo>
                    <a:lnTo>
                      <a:pt x="146" y="97"/>
                    </a:lnTo>
                    <a:lnTo>
                      <a:pt x="146" y="99"/>
                    </a:lnTo>
                    <a:lnTo>
                      <a:pt x="144" y="101"/>
                    </a:lnTo>
                    <a:lnTo>
                      <a:pt x="141" y="101"/>
                    </a:lnTo>
                    <a:lnTo>
                      <a:pt x="141" y="104"/>
                    </a:lnTo>
                    <a:lnTo>
                      <a:pt x="141" y="104"/>
                    </a:lnTo>
                    <a:lnTo>
                      <a:pt x="141" y="106"/>
                    </a:lnTo>
                    <a:lnTo>
                      <a:pt x="139" y="108"/>
                    </a:lnTo>
                    <a:lnTo>
                      <a:pt x="139" y="108"/>
                    </a:lnTo>
                    <a:lnTo>
                      <a:pt x="144" y="116"/>
                    </a:lnTo>
                    <a:lnTo>
                      <a:pt x="146" y="116"/>
                    </a:lnTo>
                    <a:lnTo>
                      <a:pt x="146" y="116"/>
                    </a:lnTo>
                    <a:lnTo>
                      <a:pt x="146" y="116"/>
                    </a:lnTo>
                    <a:lnTo>
                      <a:pt x="144" y="118"/>
                    </a:lnTo>
                    <a:lnTo>
                      <a:pt x="144" y="118"/>
                    </a:lnTo>
                    <a:lnTo>
                      <a:pt x="141" y="118"/>
                    </a:lnTo>
                    <a:lnTo>
                      <a:pt x="139" y="120"/>
                    </a:lnTo>
                    <a:lnTo>
                      <a:pt x="139" y="123"/>
                    </a:lnTo>
                    <a:lnTo>
                      <a:pt x="137" y="125"/>
                    </a:lnTo>
                    <a:lnTo>
                      <a:pt x="137" y="127"/>
                    </a:lnTo>
                    <a:lnTo>
                      <a:pt x="137" y="130"/>
                    </a:lnTo>
                    <a:lnTo>
                      <a:pt x="137" y="130"/>
                    </a:lnTo>
                    <a:lnTo>
                      <a:pt x="137" y="137"/>
                    </a:lnTo>
                    <a:lnTo>
                      <a:pt x="141" y="135"/>
                    </a:lnTo>
                    <a:lnTo>
                      <a:pt x="144" y="137"/>
                    </a:lnTo>
                    <a:lnTo>
                      <a:pt x="146" y="135"/>
                    </a:lnTo>
                    <a:lnTo>
                      <a:pt x="146" y="135"/>
                    </a:lnTo>
                    <a:lnTo>
                      <a:pt x="146" y="135"/>
                    </a:lnTo>
                    <a:lnTo>
                      <a:pt x="146" y="137"/>
                    </a:lnTo>
                    <a:lnTo>
                      <a:pt x="153" y="142"/>
                    </a:lnTo>
                    <a:lnTo>
                      <a:pt x="153" y="144"/>
                    </a:lnTo>
                    <a:lnTo>
                      <a:pt x="156" y="142"/>
                    </a:lnTo>
                    <a:lnTo>
                      <a:pt x="158" y="142"/>
                    </a:lnTo>
                    <a:lnTo>
                      <a:pt x="156" y="142"/>
                    </a:lnTo>
                    <a:lnTo>
                      <a:pt x="156" y="144"/>
                    </a:lnTo>
                    <a:lnTo>
                      <a:pt x="153" y="146"/>
                    </a:lnTo>
                    <a:lnTo>
                      <a:pt x="153" y="149"/>
                    </a:lnTo>
                    <a:lnTo>
                      <a:pt x="156" y="149"/>
                    </a:lnTo>
                    <a:lnTo>
                      <a:pt x="156" y="149"/>
                    </a:lnTo>
                    <a:lnTo>
                      <a:pt x="156" y="151"/>
                    </a:lnTo>
                    <a:lnTo>
                      <a:pt x="156" y="153"/>
                    </a:lnTo>
                    <a:lnTo>
                      <a:pt x="158" y="153"/>
                    </a:lnTo>
                    <a:lnTo>
                      <a:pt x="160" y="158"/>
                    </a:lnTo>
                    <a:lnTo>
                      <a:pt x="160" y="158"/>
                    </a:lnTo>
                    <a:lnTo>
                      <a:pt x="163" y="161"/>
                    </a:lnTo>
                    <a:lnTo>
                      <a:pt x="167" y="161"/>
                    </a:lnTo>
                    <a:lnTo>
                      <a:pt x="167" y="161"/>
                    </a:lnTo>
                    <a:lnTo>
                      <a:pt x="170" y="161"/>
                    </a:lnTo>
                    <a:lnTo>
                      <a:pt x="170" y="158"/>
                    </a:lnTo>
                    <a:lnTo>
                      <a:pt x="170" y="158"/>
                    </a:lnTo>
                    <a:lnTo>
                      <a:pt x="170" y="158"/>
                    </a:lnTo>
                    <a:lnTo>
                      <a:pt x="172" y="158"/>
                    </a:lnTo>
                    <a:lnTo>
                      <a:pt x="172" y="156"/>
                    </a:lnTo>
                    <a:lnTo>
                      <a:pt x="175" y="153"/>
                    </a:lnTo>
                    <a:lnTo>
                      <a:pt x="175" y="153"/>
                    </a:lnTo>
                    <a:lnTo>
                      <a:pt x="179" y="151"/>
                    </a:lnTo>
                    <a:lnTo>
                      <a:pt x="184" y="151"/>
                    </a:lnTo>
                    <a:lnTo>
                      <a:pt x="186" y="149"/>
                    </a:lnTo>
                    <a:lnTo>
                      <a:pt x="189" y="146"/>
                    </a:lnTo>
                    <a:lnTo>
                      <a:pt x="189" y="146"/>
                    </a:lnTo>
                    <a:lnTo>
                      <a:pt x="198" y="146"/>
                    </a:lnTo>
                    <a:lnTo>
                      <a:pt x="203" y="146"/>
                    </a:lnTo>
                    <a:lnTo>
                      <a:pt x="205" y="146"/>
                    </a:lnTo>
                    <a:lnTo>
                      <a:pt x="208" y="146"/>
                    </a:lnTo>
                    <a:lnTo>
                      <a:pt x="210" y="146"/>
                    </a:lnTo>
                    <a:lnTo>
                      <a:pt x="215" y="146"/>
                    </a:lnTo>
                    <a:lnTo>
                      <a:pt x="217" y="146"/>
                    </a:lnTo>
                    <a:lnTo>
                      <a:pt x="220" y="146"/>
                    </a:lnTo>
                    <a:lnTo>
                      <a:pt x="220" y="144"/>
                    </a:lnTo>
                    <a:lnTo>
                      <a:pt x="222" y="144"/>
                    </a:lnTo>
                    <a:lnTo>
                      <a:pt x="227" y="144"/>
                    </a:lnTo>
                    <a:lnTo>
                      <a:pt x="227" y="146"/>
                    </a:lnTo>
                    <a:lnTo>
                      <a:pt x="229" y="144"/>
                    </a:lnTo>
                    <a:lnTo>
                      <a:pt x="231" y="142"/>
                    </a:lnTo>
                    <a:lnTo>
                      <a:pt x="234" y="135"/>
                    </a:lnTo>
                    <a:lnTo>
                      <a:pt x="238" y="132"/>
                    </a:lnTo>
                    <a:lnTo>
                      <a:pt x="243" y="127"/>
                    </a:lnTo>
                    <a:lnTo>
                      <a:pt x="250" y="127"/>
                    </a:lnTo>
                    <a:lnTo>
                      <a:pt x="253" y="127"/>
                    </a:lnTo>
                    <a:lnTo>
                      <a:pt x="253" y="127"/>
                    </a:lnTo>
                    <a:lnTo>
                      <a:pt x="255" y="127"/>
                    </a:lnTo>
                    <a:lnTo>
                      <a:pt x="253" y="125"/>
                    </a:lnTo>
                    <a:lnTo>
                      <a:pt x="253" y="123"/>
                    </a:lnTo>
                    <a:lnTo>
                      <a:pt x="253" y="123"/>
                    </a:lnTo>
                    <a:lnTo>
                      <a:pt x="253" y="120"/>
                    </a:lnTo>
                    <a:lnTo>
                      <a:pt x="255" y="118"/>
                    </a:lnTo>
                    <a:lnTo>
                      <a:pt x="255" y="116"/>
                    </a:lnTo>
                    <a:lnTo>
                      <a:pt x="257" y="113"/>
                    </a:lnTo>
                    <a:lnTo>
                      <a:pt x="257" y="111"/>
                    </a:lnTo>
                    <a:lnTo>
                      <a:pt x="260" y="108"/>
                    </a:lnTo>
                    <a:lnTo>
                      <a:pt x="267" y="106"/>
                    </a:lnTo>
                    <a:lnTo>
                      <a:pt x="269" y="104"/>
                    </a:lnTo>
                    <a:lnTo>
                      <a:pt x="272" y="101"/>
                    </a:lnTo>
                    <a:lnTo>
                      <a:pt x="269" y="101"/>
                    </a:lnTo>
                    <a:lnTo>
                      <a:pt x="267" y="99"/>
                    </a:lnTo>
                    <a:lnTo>
                      <a:pt x="264" y="99"/>
                    </a:lnTo>
                    <a:lnTo>
                      <a:pt x="264" y="97"/>
                    </a:lnTo>
                    <a:lnTo>
                      <a:pt x="262" y="90"/>
                    </a:lnTo>
                    <a:lnTo>
                      <a:pt x="262" y="87"/>
                    </a:lnTo>
                    <a:lnTo>
                      <a:pt x="267" y="78"/>
                    </a:lnTo>
                    <a:lnTo>
                      <a:pt x="269" y="78"/>
                    </a:lnTo>
                    <a:lnTo>
                      <a:pt x="272" y="75"/>
                    </a:lnTo>
                    <a:lnTo>
                      <a:pt x="276" y="71"/>
                    </a:lnTo>
                    <a:lnTo>
                      <a:pt x="279" y="66"/>
                    </a:lnTo>
                    <a:lnTo>
                      <a:pt x="281" y="66"/>
                    </a:lnTo>
                    <a:lnTo>
                      <a:pt x="281" y="66"/>
                    </a:lnTo>
                    <a:lnTo>
                      <a:pt x="281" y="64"/>
                    </a:lnTo>
                    <a:lnTo>
                      <a:pt x="283" y="64"/>
                    </a:lnTo>
                    <a:lnTo>
                      <a:pt x="283" y="64"/>
                    </a:lnTo>
                    <a:lnTo>
                      <a:pt x="283" y="61"/>
                    </a:lnTo>
                    <a:lnTo>
                      <a:pt x="281" y="61"/>
                    </a:lnTo>
                    <a:lnTo>
                      <a:pt x="283" y="59"/>
                    </a:lnTo>
                    <a:lnTo>
                      <a:pt x="288" y="56"/>
                    </a:lnTo>
                    <a:lnTo>
                      <a:pt x="290" y="54"/>
                    </a:lnTo>
                    <a:lnTo>
                      <a:pt x="298" y="54"/>
                    </a:lnTo>
                    <a:lnTo>
                      <a:pt x="305" y="52"/>
                    </a:lnTo>
                    <a:lnTo>
                      <a:pt x="307" y="49"/>
                    </a:lnTo>
                    <a:lnTo>
                      <a:pt x="309" y="47"/>
                    </a:lnTo>
                    <a:lnTo>
                      <a:pt x="321" y="42"/>
                    </a:lnTo>
                    <a:close/>
                  </a:path>
                </a:pathLst>
              </a:custGeom>
              <a:solidFill>
                <a:srgbClr val="8787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6" name="Freeform 48"/>
              <p:cNvSpPr>
                <a:spLocks noEditPoints="1"/>
              </p:cNvSpPr>
              <p:nvPr/>
            </p:nvSpPr>
            <p:spPr bwMode="auto">
              <a:xfrm>
                <a:off x="2496" y="1877"/>
                <a:ext cx="343" cy="331"/>
              </a:xfrm>
              <a:custGeom>
                <a:avLst/>
                <a:gdLst>
                  <a:gd name="T0" fmla="*/ 293 w 343"/>
                  <a:gd name="T1" fmla="*/ 104 h 331"/>
                  <a:gd name="T2" fmla="*/ 290 w 343"/>
                  <a:gd name="T3" fmla="*/ 97 h 331"/>
                  <a:gd name="T4" fmla="*/ 295 w 343"/>
                  <a:gd name="T5" fmla="*/ 97 h 331"/>
                  <a:gd name="T6" fmla="*/ 324 w 343"/>
                  <a:gd name="T7" fmla="*/ 80 h 331"/>
                  <a:gd name="T8" fmla="*/ 309 w 343"/>
                  <a:gd name="T9" fmla="*/ 85 h 331"/>
                  <a:gd name="T10" fmla="*/ 316 w 343"/>
                  <a:gd name="T11" fmla="*/ 87 h 331"/>
                  <a:gd name="T12" fmla="*/ 326 w 343"/>
                  <a:gd name="T13" fmla="*/ 85 h 331"/>
                  <a:gd name="T14" fmla="*/ 335 w 343"/>
                  <a:gd name="T15" fmla="*/ 78 h 331"/>
                  <a:gd name="T16" fmla="*/ 343 w 343"/>
                  <a:gd name="T17" fmla="*/ 80 h 331"/>
                  <a:gd name="T18" fmla="*/ 326 w 343"/>
                  <a:gd name="T19" fmla="*/ 35 h 331"/>
                  <a:gd name="T20" fmla="*/ 326 w 343"/>
                  <a:gd name="T21" fmla="*/ 28 h 331"/>
                  <a:gd name="T22" fmla="*/ 316 w 343"/>
                  <a:gd name="T23" fmla="*/ 28 h 331"/>
                  <a:gd name="T24" fmla="*/ 305 w 343"/>
                  <a:gd name="T25" fmla="*/ 28 h 331"/>
                  <a:gd name="T26" fmla="*/ 295 w 343"/>
                  <a:gd name="T27" fmla="*/ 28 h 331"/>
                  <a:gd name="T28" fmla="*/ 293 w 343"/>
                  <a:gd name="T29" fmla="*/ 21 h 331"/>
                  <a:gd name="T30" fmla="*/ 281 w 343"/>
                  <a:gd name="T31" fmla="*/ 21 h 331"/>
                  <a:gd name="T32" fmla="*/ 269 w 343"/>
                  <a:gd name="T33" fmla="*/ 21 h 331"/>
                  <a:gd name="T34" fmla="*/ 262 w 343"/>
                  <a:gd name="T35" fmla="*/ 21 h 331"/>
                  <a:gd name="T36" fmla="*/ 250 w 343"/>
                  <a:gd name="T37" fmla="*/ 14 h 331"/>
                  <a:gd name="T38" fmla="*/ 246 w 343"/>
                  <a:gd name="T39" fmla="*/ 14 h 331"/>
                  <a:gd name="T40" fmla="*/ 243 w 343"/>
                  <a:gd name="T41" fmla="*/ 9 h 331"/>
                  <a:gd name="T42" fmla="*/ 229 w 343"/>
                  <a:gd name="T43" fmla="*/ 7 h 331"/>
                  <a:gd name="T44" fmla="*/ 208 w 343"/>
                  <a:gd name="T45" fmla="*/ 7 h 331"/>
                  <a:gd name="T46" fmla="*/ 170 w 343"/>
                  <a:gd name="T47" fmla="*/ 4 h 331"/>
                  <a:gd name="T48" fmla="*/ 146 w 343"/>
                  <a:gd name="T49" fmla="*/ 2 h 331"/>
                  <a:gd name="T50" fmla="*/ 132 w 343"/>
                  <a:gd name="T51" fmla="*/ 7 h 331"/>
                  <a:gd name="T52" fmla="*/ 118 w 343"/>
                  <a:gd name="T53" fmla="*/ 11 h 331"/>
                  <a:gd name="T54" fmla="*/ 120 w 343"/>
                  <a:gd name="T55" fmla="*/ 21 h 331"/>
                  <a:gd name="T56" fmla="*/ 123 w 343"/>
                  <a:gd name="T57" fmla="*/ 28 h 331"/>
                  <a:gd name="T58" fmla="*/ 120 w 343"/>
                  <a:gd name="T59" fmla="*/ 35 h 331"/>
                  <a:gd name="T60" fmla="*/ 130 w 343"/>
                  <a:gd name="T61" fmla="*/ 33 h 331"/>
                  <a:gd name="T62" fmla="*/ 132 w 343"/>
                  <a:gd name="T63" fmla="*/ 40 h 331"/>
                  <a:gd name="T64" fmla="*/ 141 w 343"/>
                  <a:gd name="T65" fmla="*/ 40 h 331"/>
                  <a:gd name="T66" fmla="*/ 149 w 343"/>
                  <a:gd name="T67" fmla="*/ 37 h 331"/>
                  <a:gd name="T68" fmla="*/ 158 w 343"/>
                  <a:gd name="T69" fmla="*/ 37 h 331"/>
                  <a:gd name="T70" fmla="*/ 163 w 343"/>
                  <a:gd name="T71" fmla="*/ 45 h 331"/>
                  <a:gd name="T72" fmla="*/ 156 w 343"/>
                  <a:gd name="T73" fmla="*/ 52 h 331"/>
                  <a:gd name="T74" fmla="*/ 153 w 343"/>
                  <a:gd name="T75" fmla="*/ 66 h 331"/>
                  <a:gd name="T76" fmla="*/ 149 w 343"/>
                  <a:gd name="T77" fmla="*/ 73 h 331"/>
                  <a:gd name="T78" fmla="*/ 146 w 343"/>
                  <a:gd name="T79" fmla="*/ 82 h 331"/>
                  <a:gd name="T80" fmla="*/ 141 w 343"/>
                  <a:gd name="T81" fmla="*/ 90 h 331"/>
                  <a:gd name="T82" fmla="*/ 141 w 343"/>
                  <a:gd name="T83" fmla="*/ 104 h 331"/>
                  <a:gd name="T84" fmla="*/ 146 w 343"/>
                  <a:gd name="T85" fmla="*/ 116 h 331"/>
                  <a:gd name="T86" fmla="*/ 137 w 343"/>
                  <a:gd name="T87" fmla="*/ 130 h 331"/>
                  <a:gd name="T88" fmla="*/ 146 w 343"/>
                  <a:gd name="T89" fmla="*/ 137 h 331"/>
                  <a:gd name="T90" fmla="*/ 153 w 343"/>
                  <a:gd name="T91" fmla="*/ 149 h 331"/>
                  <a:gd name="T92" fmla="*/ 163 w 343"/>
                  <a:gd name="T93" fmla="*/ 161 h 331"/>
                  <a:gd name="T94" fmla="*/ 172 w 343"/>
                  <a:gd name="T95" fmla="*/ 156 h 331"/>
                  <a:gd name="T96" fmla="*/ 198 w 343"/>
                  <a:gd name="T97" fmla="*/ 146 h 331"/>
                  <a:gd name="T98" fmla="*/ 220 w 343"/>
                  <a:gd name="T99" fmla="*/ 144 h 331"/>
                  <a:gd name="T100" fmla="*/ 243 w 343"/>
                  <a:gd name="T101" fmla="*/ 127 h 331"/>
                  <a:gd name="T102" fmla="*/ 253 w 343"/>
                  <a:gd name="T103" fmla="*/ 120 h 331"/>
                  <a:gd name="T104" fmla="*/ 272 w 343"/>
                  <a:gd name="T105" fmla="*/ 101 h 331"/>
                  <a:gd name="T106" fmla="*/ 269 w 343"/>
                  <a:gd name="T107" fmla="*/ 78 h 331"/>
                  <a:gd name="T108" fmla="*/ 283 w 343"/>
                  <a:gd name="T109" fmla="*/ 64 h 331"/>
                  <a:gd name="T110" fmla="*/ 307 w 343"/>
                  <a:gd name="T111" fmla="*/ 49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43" h="331">
                    <a:moveTo>
                      <a:pt x="0" y="329"/>
                    </a:moveTo>
                    <a:lnTo>
                      <a:pt x="0" y="329"/>
                    </a:lnTo>
                    <a:lnTo>
                      <a:pt x="2" y="331"/>
                    </a:lnTo>
                    <a:moveTo>
                      <a:pt x="293" y="101"/>
                    </a:moveTo>
                    <a:lnTo>
                      <a:pt x="293" y="104"/>
                    </a:lnTo>
                    <a:lnTo>
                      <a:pt x="290" y="104"/>
                    </a:lnTo>
                    <a:lnTo>
                      <a:pt x="293" y="104"/>
                    </a:lnTo>
                    <a:lnTo>
                      <a:pt x="293" y="104"/>
                    </a:lnTo>
                    <a:lnTo>
                      <a:pt x="295" y="104"/>
                    </a:lnTo>
                    <a:lnTo>
                      <a:pt x="295" y="104"/>
                    </a:lnTo>
                    <a:lnTo>
                      <a:pt x="295" y="104"/>
                    </a:lnTo>
                    <a:lnTo>
                      <a:pt x="293" y="104"/>
                    </a:lnTo>
                    <a:lnTo>
                      <a:pt x="293" y="101"/>
                    </a:lnTo>
                    <a:moveTo>
                      <a:pt x="295" y="94"/>
                    </a:moveTo>
                    <a:lnTo>
                      <a:pt x="290" y="97"/>
                    </a:lnTo>
                    <a:lnTo>
                      <a:pt x="290" y="97"/>
                    </a:lnTo>
                    <a:lnTo>
                      <a:pt x="290" y="97"/>
                    </a:lnTo>
                    <a:lnTo>
                      <a:pt x="290" y="97"/>
                    </a:lnTo>
                    <a:lnTo>
                      <a:pt x="288" y="99"/>
                    </a:lnTo>
                    <a:lnTo>
                      <a:pt x="288" y="99"/>
                    </a:lnTo>
                    <a:lnTo>
                      <a:pt x="293" y="101"/>
                    </a:lnTo>
                    <a:lnTo>
                      <a:pt x="293" y="99"/>
                    </a:lnTo>
                    <a:lnTo>
                      <a:pt x="293" y="99"/>
                    </a:lnTo>
                    <a:lnTo>
                      <a:pt x="295" y="97"/>
                    </a:lnTo>
                    <a:lnTo>
                      <a:pt x="295" y="94"/>
                    </a:lnTo>
                    <a:lnTo>
                      <a:pt x="295" y="94"/>
                    </a:lnTo>
                    <a:moveTo>
                      <a:pt x="326" y="80"/>
                    </a:moveTo>
                    <a:lnTo>
                      <a:pt x="326" y="80"/>
                    </a:lnTo>
                    <a:lnTo>
                      <a:pt x="324" y="80"/>
                    </a:lnTo>
                    <a:lnTo>
                      <a:pt x="324" y="80"/>
                    </a:lnTo>
                    <a:lnTo>
                      <a:pt x="324" y="80"/>
                    </a:lnTo>
                    <a:lnTo>
                      <a:pt x="324" y="80"/>
                    </a:lnTo>
                    <a:lnTo>
                      <a:pt x="324" y="78"/>
                    </a:lnTo>
                    <a:lnTo>
                      <a:pt x="324" y="78"/>
                    </a:lnTo>
                    <a:lnTo>
                      <a:pt x="324" y="78"/>
                    </a:lnTo>
                    <a:lnTo>
                      <a:pt x="324" y="78"/>
                    </a:lnTo>
                    <a:lnTo>
                      <a:pt x="324" y="78"/>
                    </a:lnTo>
                    <a:lnTo>
                      <a:pt x="319" y="78"/>
                    </a:lnTo>
                    <a:lnTo>
                      <a:pt x="316" y="80"/>
                    </a:lnTo>
                    <a:lnTo>
                      <a:pt x="309" y="85"/>
                    </a:lnTo>
                    <a:lnTo>
                      <a:pt x="309" y="85"/>
                    </a:lnTo>
                    <a:lnTo>
                      <a:pt x="309" y="85"/>
                    </a:lnTo>
                    <a:lnTo>
                      <a:pt x="309" y="87"/>
                    </a:lnTo>
                    <a:lnTo>
                      <a:pt x="312" y="87"/>
                    </a:lnTo>
                    <a:lnTo>
                      <a:pt x="312" y="85"/>
                    </a:lnTo>
                    <a:lnTo>
                      <a:pt x="314" y="85"/>
                    </a:lnTo>
                    <a:lnTo>
                      <a:pt x="314" y="85"/>
                    </a:lnTo>
                    <a:lnTo>
                      <a:pt x="316" y="87"/>
                    </a:lnTo>
                    <a:lnTo>
                      <a:pt x="316" y="90"/>
                    </a:lnTo>
                    <a:lnTo>
                      <a:pt x="316" y="90"/>
                    </a:lnTo>
                    <a:lnTo>
                      <a:pt x="319" y="90"/>
                    </a:lnTo>
                    <a:lnTo>
                      <a:pt x="321" y="92"/>
                    </a:lnTo>
                    <a:lnTo>
                      <a:pt x="321" y="90"/>
                    </a:lnTo>
                    <a:lnTo>
                      <a:pt x="324" y="90"/>
                    </a:lnTo>
                    <a:lnTo>
                      <a:pt x="326" y="87"/>
                    </a:lnTo>
                    <a:lnTo>
                      <a:pt x="326" y="85"/>
                    </a:lnTo>
                    <a:lnTo>
                      <a:pt x="326" y="85"/>
                    </a:lnTo>
                    <a:lnTo>
                      <a:pt x="328" y="82"/>
                    </a:lnTo>
                    <a:lnTo>
                      <a:pt x="328" y="80"/>
                    </a:lnTo>
                    <a:lnTo>
                      <a:pt x="326" y="80"/>
                    </a:lnTo>
                    <a:moveTo>
                      <a:pt x="335" y="78"/>
                    </a:moveTo>
                    <a:lnTo>
                      <a:pt x="335" y="78"/>
                    </a:lnTo>
                    <a:lnTo>
                      <a:pt x="335" y="78"/>
                    </a:lnTo>
                    <a:lnTo>
                      <a:pt x="335" y="78"/>
                    </a:lnTo>
                    <a:moveTo>
                      <a:pt x="343" y="78"/>
                    </a:moveTo>
                    <a:lnTo>
                      <a:pt x="340" y="78"/>
                    </a:lnTo>
                    <a:lnTo>
                      <a:pt x="338" y="75"/>
                    </a:lnTo>
                    <a:lnTo>
                      <a:pt x="335" y="75"/>
                    </a:lnTo>
                    <a:lnTo>
                      <a:pt x="335" y="78"/>
                    </a:lnTo>
                    <a:lnTo>
                      <a:pt x="335" y="78"/>
                    </a:lnTo>
                    <a:lnTo>
                      <a:pt x="338" y="78"/>
                    </a:lnTo>
                    <a:lnTo>
                      <a:pt x="343" y="80"/>
                    </a:lnTo>
                    <a:lnTo>
                      <a:pt x="343" y="80"/>
                    </a:lnTo>
                    <a:lnTo>
                      <a:pt x="343" y="78"/>
                    </a:lnTo>
                    <a:lnTo>
                      <a:pt x="343" y="78"/>
                    </a:lnTo>
                    <a:moveTo>
                      <a:pt x="321" y="42"/>
                    </a:moveTo>
                    <a:lnTo>
                      <a:pt x="324" y="40"/>
                    </a:lnTo>
                    <a:lnTo>
                      <a:pt x="326" y="37"/>
                    </a:lnTo>
                    <a:lnTo>
                      <a:pt x="326" y="35"/>
                    </a:lnTo>
                    <a:lnTo>
                      <a:pt x="326" y="35"/>
                    </a:lnTo>
                    <a:lnTo>
                      <a:pt x="324" y="33"/>
                    </a:lnTo>
                    <a:lnTo>
                      <a:pt x="324" y="33"/>
                    </a:lnTo>
                    <a:lnTo>
                      <a:pt x="324" y="30"/>
                    </a:lnTo>
                    <a:lnTo>
                      <a:pt x="326" y="30"/>
                    </a:lnTo>
                    <a:lnTo>
                      <a:pt x="326" y="30"/>
                    </a:lnTo>
                    <a:lnTo>
                      <a:pt x="326" y="30"/>
                    </a:lnTo>
                    <a:lnTo>
                      <a:pt x="326" y="28"/>
                    </a:lnTo>
                    <a:lnTo>
                      <a:pt x="326" y="28"/>
                    </a:lnTo>
                    <a:lnTo>
                      <a:pt x="324" y="28"/>
                    </a:lnTo>
                    <a:lnTo>
                      <a:pt x="324" y="28"/>
                    </a:lnTo>
                    <a:lnTo>
                      <a:pt x="321" y="26"/>
                    </a:lnTo>
                    <a:lnTo>
                      <a:pt x="321" y="28"/>
                    </a:lnTo>
                    <a:lnTo>
                      <a:pt x="319" y="28"/>
                    </a:lnTo>
                    <a:lnTo>
                      <a:pt x="319" y="28"/>
                    </a:lnTo>
                    <a:lnTo>
                      <a:pt x="316" y="28"/>
                    </a:lnTo>
                    <a:lnTo>
                      <a:pt x="316" y="28"/>
                    </a:lnTo>
                    <a:lnTo>
                      <a:pt x="316" y="28"/>
                    </a:lnTo>
                    <a:lnTo>
                      <a:pt x="316" y="30"/>
                    </a:lnTo>
                    <a:lnTo>
                      <a:pt x="314" y="30"/>
                    </a:lnTo>
                    <a:lnTo>
                      <a:pt x="312" y="28"/>
                    </a:lnTo>
                    <a:lnTo>
                      <a:pt x="309" y="28"/>
                    </a:lnTo>
                    <a:lnTo>
                      <a:pt x="307" y="28"/>
                    </a:lnTo>
                    <a:lnTo>
                      <a:pt x="305" y="28"/>
                    </a:lnTo>
                    <a:lnTo>
                      <a:pt x="305" y="28"/>
                    </a:lnTo>
                    <a:lnTo>
                      <a:pt x="305" y="28"/>
                    </a:lnTo>
                    <a:lnTo>
                      <a:pt x="305" y="28"/>
                    </a:lnTo>
                    <a:lnTo>
                      <a:pt x="302" y="28"/>
                    </a:lnTo>
                    <a:lnTo>
                      <a:pt x="300" y="26"/>
                    </a:lnTo>
                    <a:lnTo>
                      <a:pt x="300" y="26"/>
                    </a:lnTo>
                    <a:lnTo>
                      <a:pt x="298" y="28"/>
                    </a:lnTo>
                    <a:lnTo>
                      <a:pt x="298" y="28"/>
                    </a:lnTo>
                    <a:lnTo>
                      <a:pt x="295" y="28"/>
                    </a:lnTo>
                    <a:lnTo>
                      <a:pt x="295" y="28"/>
                    </a:lnTo>
                    <a:lnTo>
                      <a:pt x="295" y="28"/>
                    </a:lnTo>
                    <a:lnTo>
                      <a:pt x="295" y="26"/>
                    </a:lnTo>
                    <a:lnTo>
                      <a:pt x="295" y="26"/>
                    </a:lnTo>
                    <a:lnTo>
                      <a:pt x="295" y="26"/>
                    </a:lnTo>
                    <a:lnTo>
                      <a:pt x="295" y="23"/>
                    </a:lnTo>
                    <a:lnTo>
                      <a:pt x="295" y="23"/>
                    </a:lnTo>
                    <a:lnTo>
                      <a:pt x="293" y="21"/>
                    </a:lnTo>
                    <a:lnTo>
                      <a:pt x="293" y="21"/>
                    </a:lnTo>
                    <a:lnTo>
                      <a:pt x="290" y="21"/>
                    </a:lnTo>
                    <a:lnTo>
                      <a:pt x="288" y="21"/>
                    </a:lnTo>
                    <a:lnTo>
                      <a:pt x="283" y="19"/>
                    </a:lnTo>
                    <a:lnTo>
                      <a:pt x="283" y="19"/>
                    </a:lnTo>
                    <a:lnTo>
                      <a:pt x="283" y="19"/>
                    </a:lnTo>
                    <a:lnTo>
                      <a:pt x="283" y="21"/>
                    </a:lnTo>
                    <a:lnTo>
                      <a:pt x="281" y="21"/>
                    </a:lnTo>
                    <a:lnTo>
                      <a:pt x="281" y="23"/>
                    </a:lnTo>
                    <a:lnTo>
                      <a:pt x="281" y="23"/>
                    </a:lnTo>
                    <a:lnTo>
                      <a:pt x="279" y="21"/>
                    </a:lnTo>
                    <a:lnTo>
                      <a:pt x="276" y="23"/>
                    </a:lnTo>
                    <a:lnTo>
                      <a:pt x="276" y="23"/>
                    </a:lnTo>
                    <a:lnTo>
                      <a:pt x="274" y="21"/>
                    </a:lnTo>
                    <a:lnTo>
                      <a:pt x="272" y="23"/>
                    </a:lnTo>
                    <a:lnTo>
                      <a:pt x="269" y="21"/>
                    </a:lnTo>
                    <a:lnTo>
                      <a:pt x="269" y="21"/>
                    </a:lnTo>
                    <a:lnTo>
                      <a:pt x="267" y="21"/>
                    </a:lnTo>
                    <a:lnTo>
                      <a:pt x="267" y="21"/>
                    </a:lnTo>
                    <a:lnTo>
                      <a:pt x="267" y="19"/>
                    </a:lnTo>
                    <a:lnTo>
                      <a:pt x="267" y="19"/>
                    </a:lnTo>
                    <a:lnTo>
                      <a:pt x="264" y="21"/>
                    </a:lnTo>
                    <a:lnTo>
                      <a:pt x="262" y="21"/>
                    </a:lnTo>
                    <a:lnTo>
                      <a:pt x="262" y="21"/>
                    </a:lnTo>
                    <a:lnTo>
                      <a:pt x="262" y="21"/>
                    </a:lnTo>
                    <a:lnTo>
                      <a:pt x="260" y="19"/>
                    </a:lnTo>
                    <a:lnTo>
                      <a:pt x="260" y="16"/>
                    </a:lnTo>
                    <a:lnTo>
                      <a:pt x="257" y="16"/>
                    </a:lnTo>
                    <a:lnTo>
                      <a:pt x="255" y="16"/>
                    </a:lnTo>
                    <a:lnTo>
                      <a:pt x="253" y="16"/>
                    </a:lnTo>
                    <a:lnTo>
                      <a:pt x="250" y="14"/>
                    </a:lnTo>
                    <a:lnTo>
                      <a:pt x="250" y="14"/>
                    </a:lnTo>
                    <a:lnTo>
                      <a:pt x="250" y="14"/>
                    </a:lnTo>
                    <a:lnTo>
                      <a:pt x="250" y="14"/>
                    </a:lnTo>
                    <a:lnTo>
                      <a:pt x="248" y="14"/>
                    </a:lnTo>
                    <a:lnTo>
                      <a:pt x="248" y="16"/>
                    </a:lnTo>
                    <a:lnTo>
                      <a:pt x="248" y="16"/>
                    </a:lnTo>
                    <a:lnTo>
                      <a:pt x="248" y="16"/>
                    </a:lnTo>
                    <a:lnTo>
                      <a:pt x="248" y="14"/>
                    </a:lnTo>
                    <a:lnTo>
                      <a:pt x="246" y="14"/>
                    </a:lnTo>
                    <a:lnTo>
                      <a:pt x="248" y="14"/>
                    </a:lnTo>
                    <a:lnTo>
                      <a:pt x="248" y="14"/>
                    </a:lnTo>
                    <a:lnTo>
                      <a:pt x="248" y="11"/>
                    </a:lnTo>
                    <a:lnTo>
                      <a:pt x="248" y="11"/>
                    </a:lnTo>
                    <a:lnTo>
                      <a:pt x="248" y="11"/>
                    </a:lnTo>
                    <a:lnTo>
                      <a:pt x="246" y="9"/>
                    </a:lnTo>
                    <a:lnTo>
                      <a:pt x="246" y="9"/>
                    </a:lnTo>
                    <a:lnTo>
                      <a:pt x="243" y="9"/>
                    </a:lnTo>
                    <a:lnTo>
                      <a:pt x="243" y="9"/>
                    </a:lnTo>
                    <a:lnTo>
                      <a:pt x="241" y="9"/>
                    </a:lnTo>
                    <a:lnTo>
                      <a:pt x="241" y="7"/>
                    </a:lnTo>
                    <a:lnTo>
                      <a:pt x="241" y="7"/>
                    </a:lnTo>
                    <a:lnTo>
                      <a:pt x="238" y="9"/>
                    </a:lnTo>
                    <a:lnTo>
                      <a:pt x="234" y="9"/>
                    </a:lnTo>
                    <a:lnTo>
                      <a:pt x="231" y="9"/>
                    </a:lnTo>
                    <a:lnTo>
                      <a:pt x="229" y="7"/>
                    </a:lnTo>
                    <a:lnTo>
                      <a:pt x="224" y="7"/>
                    </a:lnTo>
                    <a:lnTo>
                      <a:pt x="222" y="7"/>
                    </a:lnTo>
                    <a:lnTo>
                      <a:pt x="220" y="9"/>
                    </a:lnTo>
                    <a:lnTo>
                      <a:pt x="215" y="7"/>
                    </a:lnTo>
                    <a:lnTo>
                      <a:pt x="212" y="4"/>
                    </a:lnTo>
                    <a:lnTo>
                      <a:pt x="212" y="4"/>
                    </a:lnTo>
                    <a:lnTo>
                      <a:pt x="208" y="7"/>
                    </a:lnTo>
                    <a:lnTo>
                      <a:pt x="208" y="7"/>
                    </a:lnTo>
                    <a:lnTo>
                      <a:pt x="205" y="7"/>
                    </a:lnTo>
                    <a:lnTo>
                      <a:pt x="198" y="7"/>
                    </a:lnTo>
                    <a:lnTo>
                      <a:pt x="196" y="7"/>
                    </a:lnTo>
                    <a:lnTo>
                      <a:pt x="186" y="7"/>
                    </a:lnTo>
                    <a:lnTo>
                      <a:pt x="182" y="4"/>
                    </a:lnTo>
                    <a:lnTo>
                      <a:pt x="177" y="4"/>
                    </a:lnTo>
                    <a:lnTo>
                      <a:pt x="175" y="2"/>
                    </a:lnTo>
                    <a:lnTo>
                      <a:pt x="170" y="4"/>
                    </a:lnTo>
                    <a:lnTo>
                      <a:pt x="167" y="4"/>
                    </a:lnTo>
                    <a:lnTo>
                      <a:pt x="163" y="4"/>
                    </a:lnTo>
                    <a:lnTo>
                      <a:pt x="160" y="4"/>
                    </a:lnTo>
                    <a:lnTo>
                      <a:pt x="156" y="4"/>
                    </a:lnTo>
                    <a:lnTo>
                      <a:pt x="153" y="4"/>
                    </a:lnTo>
                    <a:lnTo>
                      <a:pt x="151" y="4"/>
                    </a:lnTo>
                    <a:lnTo>
                      <a:pt x="149" y="2"/>
                    </a:lnTo>
                    <a:lnTo>
                      <a:pt x="146" y="2"/>
                    </a:lnTo>
                    <a:lnTo>
                      <a:pt x="144" y="2"/>
                    </a:lnTo>
                    <a:lnTo>
                      <a:pt x="144" y="0"/>
                    </a:lnTo>
                    <a:lnTo>
                      <a:pt x="139" y="2"/>
                    </a:lnTo>
                    <a:lnTo>
                      <a:pt x="137" y="2"/>
                    </a:lnTo>
                    <a:lnTo>
                      <a:pt x="134" y="2"/>
                    </a:lnTo>
                    <a:lnTo>
                      <a:pt x="132" y="4"/>
                    </a:lnTo>
                    <a:lnTo>
                      <a:pt x="132" y="4"/>
                    </a:lnTo>
                    <a:lnTo>
                      <a:pt x="132" y="7"/>
                    </a:lnTo>
                    <a:lnTo>
                      <a:pt x="132" y="7"/>
                    </a:lnTo>
                    <a:lnTo>
                      <a:pt x="132" y="7"/>
                    </a:lnTo>
                    <a:lnTo>
                      <a:pt x="130" y="9"/>
                    </a:lnTo>
                    <a:lnTo>
                      <a:pt x="127" y="9"/>
                    </a:lnTo>
                    <a:lnTo>
                      <a:pt x="125" y="9"/>
                    </a:lnTo>
                    <a:lnTo>
                      <a:pt x="123" y="9"/>
                    </a:lnTo>
                    <a:lnTo>
                      <a:pt x="120" y="11"/>
                    </a:lnTo>
                    <a:lnTo>
                      <a:pt x="118" y="11"/>
                    </a:lnTo>
                    <a:lnTo>
                      <a:pt x="118" y="11"/>
                    </a:lnTo>
                    <a:lnTo>
                      <a:pt x="115" y="16"/>
                    </a:lnTo>
                    <a:lnTo>
                      <a:pt x="115" y="16"/>
                    </a:lnTo>
                    <a:lnTo>
                      <a:pt x="115" y="19"/>
                    </a:lnTo>
                    <a:lnTo>
                      <a:pt x="118" y="19"/>
                    </a:lnTo>
                    <a:lnTo>
                      <a:pt x="118" y="19"/>
                    </a:lnTo>
                    <a:lnTo>
                      <a:pt x="120" y="21"/>
                    </a:lnTo>
                    <a:lnTo>
                      <a:pt x="120" y="21"/>
                    </a:lnTo>
                    <a:lnTo>
                      <a:pt x="118" y="23"/>
                    </a:lnTo>
                    <a:lnTo>
                      <a:pt x="118" y="23"/>
                    </a:lnTo>
                    <a:lnTo>
                      <a:pt x="118" y="23"/>
                    </a:lnTo>
                    <a:lnTo>
                      <a:pt x="123" y="23"/>
                    </a:lnTo>
                    <a:lnTo>
                      <a:pt x="123" y="23"/>
                    </a:lnTo>
                    <a:lnTo>
                      <a:pt x="123" y="26"/>
                    </a:lnTo>
                    <a:lnTo>
                      <a:pt x="123" y="26"/>
                    </a:lnTo>
                    <a:lnTo>
                      <a:pt x="123" y="28"/>
                    </a:lnTo>
                    <a:lnTo>
                      <a:pt x="123" y="28"/>
                    </a:lnTo>
                    <a:lnTo>
                      <a:pt x="123" y="28"/>
                    </a:lnTo>
                    <a:lnTo>
                      <a:pt x="120" y="30"/>
                    </a:lnTo>
                    <a:lnTo>
                      <a:pt x="120" y="30"/>
                    </a:lnTo>
                    <a:lnTo>
                      <a:pt x="123" y="30"/>
                    </a:lnTo>
                    <a:lnTo>
                      <a:pt x="123" y="30"/>
                    </a:lnTo>
                    <a:lnTo>
                      <a:pt x="123" y="33"/>
                    </a:lnTo>
                    <a:lnTo>
                      <a:pt x="120" y="35"/>
                    </a:lnTo>
                    <a:lnTo>
                      <a:pt x="120" y="37"/>
                    </a:lnTo>
                    <a:lnTo>
                      <a:pt x="120" y="37"/>
                    </a:lnTo>
                    <a:lnTo>
                      <a:pt x="120" y="37"/>
                    </a:lnTo>
                    <a:lnTo>
                      <a:pt x="123" y="35"/>
                    </a:lnTo>
                    <a:lnTo>
                      <a:pt x="125" y="35"/>
                    </a:lnTo>
                    <a:lnTo>
                      <a:pt x="125" y="35"/>
                    </a:lnTo>
                    <a:lnTo>
                      <a:pt x="130" y="35"/>
                    </a:lnTo>
                    <a:lnTo>
                      <a:pt x="130" y="33"/>
                    </a:lnTo>
                    <a:lnTo>
                      <a:pt x="132" y="33"/>
                    </a:lnTo>
                    <a:lnTo>
                      <a:pt x="132" y="35"/>
                    </a:lnTo>
                    <a:lnTo>
                      <a:pt x="132" y="35"/>
                    </a:lnTo>
                    <a:lnTo>
                      <a:pt x="132" y="35"/>
                    </a:lnTo>
                    <a:lnTo>
                      <a:pt x="132" y="35"/>
                    </a:lnTo>
                    <a:lnTo>
                      <a:pt x="130" y="37"/>
                    </a:lnTo>
                    <a:lnTo>
                      <a:pt x="130" y="37"/>
                    </a:lnTo>
                    <a:lnTo>
                      <a:pt x="132" y="40"/>
                    </a:lnTo>
                    <a:lnTo>
                      <a:pt x="132" y="40"/>
                    </a:lnTo>
                    <a:lnTo>
                      <a:pt x="132" y="40"/>
                    </a:lnTo>
                    <a:lnTo>
                      <a:pt x="132" y="40"/>
                    </a:lnTo>
                    <a:lnTo>
                      <a:pt x="134" y="40"/>
                    </a:lnTo>
                    <a:lnTo>
                      <a:pt x="137" y="40"/>
                    </a:lnTo>
                    <a:lnTo>
                      <a:pt x="137" y="40"/>
                    </a:lnTo>
                    <a:lnTo>
                      <a:pt x="139" y="37"/>
                    </a:lnTo>
                    <a:lnTo>
                      <a:pt x="141" y="40"/>
                    </a:lnTo>
                    <a:lnTo>
                      <a:pt x="141" y="40"/>
                    </a:lnTo>
                    <a:lnTo>
                      <a:pt x="141" y="40"/>
                    </a:lnTo>
                    <a:lnTo>
                      <a:pt x="144" y="40"/>
                    </a:lnTo>
                    <a:lnTo>
                      <a:pt x="146" y="40"/>
                    </a:lnTo>
                    <a:lnTo>
                      <a:pt x="149" y="37"/>
                    </a:lnTo>
                    <a:lnTo>
                      <a:pt x="149" y="37"/>
                    </a:lnTo>
                    <a:lnTo>
                      <a:pt x="149" y="37"/>
                    </a:lnTo>
                    <a:lnTo>
                      <a:pt x="149" y="37"/>
                    </a:lnTo>
                    <a:lnTo>
                      <a:pt x="149" y="37"/>
                    </a:lnTo>
                    <a:lnTo>
                      <a:pt x="149" y="37"/>
                    </a:lnTo>
                    <a:lnTo>
                      <a:pt x="151" y="37"/>
                    </a:lnTo>
                    <a:lnTo>
                      <a:pt x="153" y="37"/>
                    </a:lnTo>
                    <a:lnTo>
                      <a:pt x="153" y="37"/>
                    </a:lnTo>
                    <a:lnTo>
                      <a:pt x="156" y="37"/>
                    </a:lnTo>
                    <a:lnTo>
                      <a:pt x="156" y="37"/>
                    </a:lnTo>
                    <a:lnTo>
                      <a:pt x="158" y="37"/>
                    </a:lnTo>
                    <a:lnTo>
                      <a:pt x="158" y="37"/>
                    </a:lnTo>
                    <a:lnTo>
                      <a:pt x="158" y="40"/>
                    </a:lnTo>
                    <a:lnTo>
                      <a:pt x="158" y="40"/>
                    </a:lnTo>
                    <a:lnTo>
                      <a:pt x="158" y="42"/>
                    </a:lnTo>
                    <a:lnTo>
                      <a:pt x="158" y="42"/>
                    </a:lnTo>
                    <a:lnTo>
                      <a:pt x="160" y="42"/>
                    </a:lnTo>
                    <a:lnTo>
                      <a:pt x="160" y="42"/>
                    </a:lnTo>
                    <a:lnTo>
                      <a:pt x="163" y="45"/>
                    </a:lnTo>
                    <a:lnTo>
                      <a:pt x="163" y="45"/>
                    </a:lnTo>
                    <a:lnTo>
                      <a:pt x="165" y="45"/>
                    </a:lnTo>
                    <a:lnTo>
                      <a:pt x="165" y="47"/>
                    </a:lnTo>
                    <a:lnTo>
                      <a:pt x="163" y="47"/>
                    </a:lnTo>
                    <a:lnTo>
                      <a:pt x="163" y="47"/>
                    </a:lnTo>
                    <a:lnTo>
                      <a:pt x="160" y="49"/>
                    </a:lnTo>
                    <a:lnTo>
                      <a:pt x="158" y="52"/>
                    </a:lnTo>
                    <a:lnTo>
                      <a:pt x="156" y="52"/>
                    </a:lnTo>
                    <a:lnTo>
                      <a:pt x="153" y="54"/>
                    </a:lnTo>
                    <a:lnTo>
                      <a:pt x="151" y="56"/>
                    </a:lnTo>
                    <a:lnTo>
                      <a:pt x="151" y="56"/>
                    </a:lnTo>
                    <a:lnTo>
                      <a:pt x="151" y="56"/>
                    </a:lnTo>
                    <a:lnTo>
                      <a:pt x="151" y="59"/>
                    </a:lnTo>
                    <a:lnTo>
                      <a:pt x="153" y="61"/>
                    </a:lnTo>
                    <a:lnTo>
                      <a:pt x="153" y="64"/>
                    </a:lnTo>
                    <a:lnTo>
                      <a:pt x="153" y="66"/>
                    </a:lnTo>
                    <a:lnTo>
                      <a:pt x="151" y="68"/>
                    </a:lnTo>
                    <a:lnTo>
                      <a:pt x="151" y="68"/>
                    </a:lnTo>
                    <a:lnTo>
                      <a:pt x="151" y="68"/>
                    </a:lnTo>
                    <a:lnTo>
                      <a:pt x="151" y="71"/>
                    </a:lnTo>
                    <a:lnTo>
                      <a:pt x="151" y="71"/>
                    </a:lnTo>
                    <a:lnTo>
                      <a:pt x="151" y="71"/>
                    </a:lnTo>
                    <a:lnTo>
                      <a:pt x="149" y="73"/>
                    </a:lnTo>
                    <a:lnTo>
                      <a:pt x="149" y="73"/>
                    </a:lnTo>
                    <a:lnTo>
                      <a:pt x="149" y="75"/>
                    </a:lnTo>
                    <a:lnTo>
                      <a:pt x="149" y="75"/>
                    </a:lnTo>
                    <a:lnTo>
                      <a:pt x="149" y="78"/>
                    </a:lnTo>
                    <a:lnTo>
                      <a:pt x="151" y="78"/>
                    </a:lnTo>
                    <a:lnTo>
                      <a:pt x="149" y="78"/>
                    </a:lnTo>
                    <a:lnTo>
                      <a:pt x="149" y="80"/>
                    </a:lnTo>
                    <a:lnTo>
                      <a:pt x="146" y="82"/>
                    </a:lnTo>
                    <a:lnTo>
                      <a:pt x="146" y="82"/>
                    </a:lnTo>
                    <a:lnTo>
                      <a:pt x="146" y="82"/>
                    </a:lnTo>
                    <a:lnTo>
                      <a:pt x="139" y="82"/>
                    </a:lnTo>
                    <a:lnTo>
                      <a:pt x="139" y="82"/>
                    </a:lnTo>
                    <a:lnTo>
                      <a:pt x="139" y="82"/>
                    </a:lnTo>
                    <a:lnTo>
                      <a:pt x="139" y="85"/>
                    </a:lnTo>
                    <a:lnTo>
                      <a:pt x="141" y="87"/>
                    </a:lnTo>
                    <a:lnTo>
                      <a:pt x="141" y="87"/>
                    </a:lnTo>
                    <a:lnTo>
                      <a:pt x="141" y="90"/>
                    </a:lnTo>
                    <a:lnTo>
                      <a:pt x="144" y="94"/>
                    </a:lnTo>
                    <a:lnTo>
                      <a:pt x="146" y="94"/>
                    </a:lnTo>
                    <a:lnTo>
                      <a:pt x="146" y="97"/>
                    </a:lnTo>
                    <a:lnTo>
                      <a:pt x="146" y="97"/>
                    </a:lnTo>
                    <a:lnTo>
                      <a:pt x="146" y="99"/>
                    </a:lnTo>
                    <a:lnTo>
                      <a:pt x="144" y="101"/>
                    </a:lnTo>
                    <a:lnTo>
                      <a:pt x="141" y="101"/>
                    </a:lnTo>
                    <a:lnTo>
                      <a:pt x="141" y="104"/>
                    </a:lnTo>
                    <a:lnTo>
                      <a:pt x="141" y="104"/>
                    </a:lnTo>
                    <a:lnTo>
                      <a:pt x="141" y="106"/>
                    </a:lnTo>
                    <a:lnTo>
                      <a:pt x="139" y="108"/>
                    </a:lnTo>
                    <a:lnTo>
                      <a:pt x="139" y="108"/>
                    </a:lnTo>
                    <a:lnTo>
                      <a:pt x="144" y="116"/>
                    </a:lnTo>
                    <a:lnTo>
                      <a:pt x="146" y="116"/>
                    </a:lnTo>
                    <a:lnTo>
                      <a:pt x="146" y="116"/>
                    </a:lnTo>
                    <a:lnTo>
                      <a:pt x="146" y="116"/>
                    </a:lnTo>
                    <a:lnTo>
                      <a:pt x="144" y="118"/>
                    </a:lnTo>
                    <a:lnTo>
                      <a:pt x="144" y="118"/>
                    </a:lnTo>
                    <a:lnTo>
                      <a:pt x="141" y="118"/>
                    </a:lnTo>
                    <a:lnTo>
                      <a:pt x="139" y="120"/>
                    </a:lnTo>
                    <a:lnTo>
                      <a:pt x="139" y="123"/>
                    </a:lnTo>
                    <a:lnTo>
                      <a:pt x="137" y="125"/>
                    </a:lnTo>
                    <a:lnTo>
                      <a:pt x="137" y="127"/>
                    </a:lnTo>
                    <a:lnTo>
                      <a:pt x="137" y="130"/>
                    </a:lnTo>
                    <a:lnTo>
                      <a:pt x="137" y="130"/>
                    </a:lnTo>
                    <a:lnTo>
                      <a:pt x="137" y="137"/>
                    </a:lnTo>
                    <a:lnTo>
                      <a:pt x="141" y="135"/>
                    </a:lnTo>
                    <a:lnTo>
                      <a:pt x="144" y="137"/>
                    </a:lnTo>
                    <a:lnTo>
                      <a:pt x="146" y="135"/>
                    </a:lnTo>
                    <a:lnTo>
                      <a:pt x="146" y="135"/>
                    </a:lnTo>
                    <a:lnTo>
                      <a:pt x="146" y="135"/>
                    </a:lnTo>
                    <a:lnTo>
                      <a:pt x="146" y="137"/>
                    </a:lnTo>
                    <a:lnTo>
                      <a:pt x="153" y="142"/>
                    </a:lnTo>
                    <a:lnTo>
                      <a:pt x="153" y="144"/>
                    </a:lnTo>
                    <a:lnTo>
                      <a:pt x="156" y="142"/>
                    </a:lnTo>
                    <a:lnTo>
                      <a:pt x="158" y="142"/>
                    </a:lnTo>
                    <a:lnTo>
                      <a:pt x="156" y="142"/>
                    </a:lnTo>
                    <a:lnTo>
                      <a:pt x="156" y="144"/>
                    </a:lnTo>
                    <a:lnTo>
                      <a:pt x="153" y="146"/>
                    </a:lnTo>
                    <a:lnTo>
                      <a:pt x="153" y="149"/>
                    </a:lnTo>
                    <a:lnTo>
                      <a:pt x="156" y="149"/>
                    </a:lnTo>
                    <a:lnTo>
                      <a:pt x="156" y="149"/>
                    </a:lnTo>
                    <a:lnTo>
                      <a:pt x="156" y="151"/>
                    </a:lnTo>
                    <a:lnTo>
                      <a:pt x="156" y="153"/>
                    </a:lnTo>
                    <a:lnTo>
                      <a:pt x="158" y="153"/>
                    </a:lnTo>
                    <a:lnTo>
                      <a:pt x="160" y="158"/>
                    </a:lnTo>
                    <a:lnTo>
                      <a:pt x="160" y="158"/>
                    </a:lnTo>
                    <a:lnTo>
                      <a:pt x="163" y="161"/>
                    </a:lnTo>
                    <a:lnTo>
                      <a:pt x="167" y="161"/>
                    </a:lnTo>
                    <a:lnTo>
                      <a:pt x="167" y="161"/>
                    </a:lnTo>
                    <a:lnTo>
                      <a:pt x="170" y="161"/>
                    </a:lnTo>
                    <a:lnTo>
                      <a:pt x="170" y="158"/>
                    </a:lnTo>
                    <a:lnTo>
                      <a:pt x="170" y="158"/>
                    </a:lnTo>
                    <a:lnTo>
                      <a:pt x="170" y="158"/>
                    </a:lnTo>
                    <a:lnTo>
                      <a:pt x="172" y="158"/>
                    </a:lnTo>
                    <a:lnTo>
                      <a:pt x="172" y="156"/>
                    </a:lnTo>
                    <a:lnTo>
                      <a:pt x="175" y="153"/>
                    </a:lnTo>
                    <a:lnTo>
                      <a:pt x="175" y="153"/>
                    </a:lnTo>
                    <a:lnTo>
                      <a:pt x="179" y="151"/>
                    </a:lnTo>
                    <a:lnTo>
                      <a:pt x="184" y="151"/>
                    </a:lnTo>
                    <a:lnTo>
                      <a:pt x="186" y="149"/>
                    </a:lnTo>
                    <a:lnTo>
                      <a:pt x="189" y="146"/>
                    </a:lnTo>
                    <a:lnTo>
                      <a:pt x="189" y="146"/>
                    </a:lnTo>
                    <a:lnTo>
                      <a:pt x="198" y="146"/>
                    </a:lnTo>
                    <a:lnTo>
                      <a:pt x="203" y="146"/>
                    </a:lnTo>
                    <a:lnTo>
                      <a:pt x="205" y="146"/>
                    </a:lnTo>
                    <a:lnTo>
                      <a:pt x="208" y="146"/>
                    </a:lnTo>
                    <a:lnTo>
                      <a:pt x="210" y="146"/>
                    </a:lnTo>
                    <a:lnTo>
                      <a:pt x="215" y="146"/>
                    </a:lnTo>
                    <a:lnTo>
                      <a:pt x="217" y="146"/>
                    </a:lnTo>
                    <a:lnTo>
                      <a:pt x="220" y="146"/>
                    </a:lnTo>
                    <a:lnTo>
                      <a:pt x="220" y="144"/>
                    </a:lnTo>
                    <a:lnTo>
                      <a:pt x="222" y="144"/>
                    </a:lnTo>
                    <a:lnTo>
                      <a:pt x="227" y="144"/>
                    </a:lnTo>
                    <a:lnTo>
                      <a:pt x="227" y="146"/>
                    </a:lnTo>
                    <a:lnTo>
                      <a:pt x="229" y="144"/>
                    </a:lnTo>
                    <a:lnTo>
                      <a:pt x="231" y="142"/>
                    </a:lnTo>
                    <a:lnTo>
                      <a:pt x="234" y="135"/>
                    </a:lnTo>
                    <a:lnTo>
                      <a:pt x="238" y="132"/>
                    </a:lnTo>
                    <a:lnTo>
                      <a:pt x="243" y="127"/>
                    </a:lnTo>
                    <a:lnTo>
                      <a:pt x="250" y="127"/>
                    </a:lnTo>
                    <a:lnTo>
                      <a:pt x="253" y="127"/>
                    </a:lnTo>
                    <a:lnTo>
                      <a:pt x="253" y="127"/>
                    </a:lnTo>
                    <a:lnTo>
                      <a:pt x="255" y="127"/>
                    </a:lnTo>
                    <a:lnTo>
                      <a:pt x="253" y="125"/>
                    </a:lnTo>
                    <a:lnTo>
                      <a:pt x="253" y="123"/>
                    </a:lnTo>
                    <a:lnTo>
                      <a:pt x="253" y="123"/>
                    </a:lnTo>
                    <a:lnTo>
                      <a:pt x="253" y="120"/>
                    </a:lnTo>
                    <a:lnTo>
                      <a:pt x="255" y="118"/>
                    </a:lnTo>
                    <a:lnTo>
                      <a:pt x="255" y="116"/>
                    </a:lnTo>
                    <a:lnTo>
                      <a:pt x="257" y="113"/>
                    </a:lnTo>
                    <a:lnTo>
                      <a:pt x="257" y="111"/>
                    </a:lnTo>
                    <a:lnTo>
                      <a:pt x="260" y="108"/>
                    </a:lnTo>
                    <a:lnTo>
                      <a:pt x="267" y="106"/>
                    </a:lnTo>
                    <a:lnTo>
                      <a:pt x="269" y="104"/>
                    </a:lnTo>
                    <a:lnTo>
                      <a:pt x="272" y="101"/>
                    </a:lnTo>
                    <a:lnTo>
                      <a:pt x="269" y="101"/>
                    </a:lnTo>
                    <a:lnTo>
                      <a:pt x="267" y="99"/>
                    </a:lnTo>
                    <a:lnTo>
                      <a:pt x="264" y="99"/>
                    </a:lnTo>
                    <a:lnTo>
                      <a:pt x="264" y="97"/>
                    </a:lnTo>
                    <a:lnTo>
                      <a:pt x="262" y="90"/>
                    </a:lnTo>
                    <a:lnTo>
                      <a:pt x="262" y="87"/>
                    </a:lnTo>
                    <a:lnTo>
                      <a:pt x="267" y="78"/>
                    </a:lnTo>
                    <a:lnTo>
                      <a:pt x="269" y="78"/>
                    </a:lnTo>
                    <a:lnTo>
                      <a:pt x="272" y="75"/>
                    </a:lnTo>
                    <a:lnTo>
                      <a:pt x="276" y="71"/>
                    </a:lnTo>
                    <a:lnTo>
                      <a:pt x="279" y="66"/>
                    </a:lnTo>
                    <a:lnTo>
                      <a:pt x="281" y="66"/>
                    </a:lnTo>
                    <a:lnTo>
                      <a:pt x="281" y="66"/>
                    </a:lnTo>
                    <a:lnTo>
                      <a:pt x="281" y="64"/>
                    </a:lnTo>
                    <a:lnTo>
                      <a:pt x="283" y="64"/>
                    </a:lnTo>
                    <a:lnTo>
                      <a:pt x="283" y="64"/>
                    </a:lnTo>
                    <a:lnTo>
                      <a:pt x="283" y="61"/>
                    </a:lnTo>
                    <a:lnTo>
                      <a:pt x="281" y="61"/>
                    </a:lnTo>
                    <a:lnTo>
                      <a:pt x="283" y="59"/>
                    </a:lnTo>
                    <a:lnTo>
                      <a:pt x="288" y="56"/>
                    </a:lnTo>
                    <a:lnTo>
                      <a:pt x="290" y="54"/>
                    </a:lnTo>
                    <a:lnTo>
                      <a:pt x="298" y="54"/>
                    </a:lnTo>
                    <a:lnTo>
                      <a:pt x="305" y="52"/>
                    </a:lnTo>
                    <a:lnTo>
                      <a:pt x="307" y="49"/>
                    </a:lnTo>
                    <a:lnTo>
                      <a:pt x="309" y="47"/>
                    </a:lnTo>
                    <a:lnTo>
                      <a:pt x="321" y="42"/>
                    </a:lnTo>
                  </a:path>
                </a:pathLst>
              </a:custGeom>
              <a:noFill/>
              <a:ln w="3175" cap="rnd">
                <a:solidFill>
                  <a:srgbClr val="F9F9F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77" name="Freeform 49"/>
              <p:cNvSpPr>
                <a:spLocks/>
              </p:cNvSpPr>
              <p:nvPr/>
            </p:nvSpPr>
            <p:spPr bwMode="auto">
              <a:xfrm>
                <a:off x="3198" y="2542"/>
                <a:ext cx="208" cy="185"/>
              </a:xfrm>
              <a:custGeom>
                <a:avLst/>
                <a:gdLst>
                  <a:gd name="T0" fmla="*/ 201 w 208"/>
                  <a:gd name="T1" fmla="*/ 130 h 185"/>
                  <a:gd name="T2" fmla="*/ 194 w 208"/>
                  <a:gd name="T3" fmla="*/ 114 h 185"/>
                  <a:gd name="T4" fmla="*/ 185 w 208"/>
                  <a:gd name="T5" fmla="*/ 102 h 185"/>
                  <a:gd name="T6" fmla="*/ 173 w 208"/>
                  <a:gd name="T7" fmla="*/ 95 h 185"/>
                  <a:gd name="T8" fmla="*/ 166 w 208"/>
                  <a:gd name="T9" fmla="*/ 88 h 185"/>
                  <a:gd name="T10" fmla="*/ 177 w 208"/>
                  <a:gd name="T11" fmla="*/ 80 h 185"/>
                  <a:gd name="T12" fmla="*/ 185 w 208"/>
                  <a:gd name="T13" fmla="*/ 76 h 185"/>
                  <a:gd name="T14" fmla="*/ 185 w 208"/>
                  <a:gd name="T15" fmla="*/ 59 h 185"/>
                  <a:gd name="T16" fmla="*/ 180 w 208"/>
                  <a:gd name="T17" fmla="*/ 57 h 185"/>
                  <a:gd name="T18" fmla="*/ 182 w 208"/>
                  <a:gd name="T19" fmla="*/ 50 h 185"/>
                  <a:gd name="T20" fmla="*/ 182 w 208"/>
                  <a:gd name="T21" fmla="*/ 45 h 185"/>
                  <a:gd name="T22" fmla="*/ 170 w 208"/>
                  <a:gd name="T23" fmla="*/ 33 h 185"/>
                  <a:gd name="T24" fmla="*/ 166 w 208"/>
                  <a:gd name="T25" fmla="*/ 31 h 185"/>
                  <a:gd name="T26" fmla="*/ 166 w 208"/>
                  <a:gd name="T27" fmla="*/ 12 h 185"/>
                  <a:gd name="T28" fmla="*/ 166 w 208"/>
                  <a:gd name="T29" fmla="*/ 7 h 185"/>
                  <a:gd name="T30" fmla="*/ 159 w 208"/>
                  <a:gd name="T31" fmla="*/ 0 h 185"/>
                  <a:gd name="T32" fmla="*/ 159 w 208"/>
                  <a:gd name="T33" fmla="*/ 2 h 185"/>
                  <a:gd name="T34" fmla="*/ 147 w 208"/>
                  <a:gd name="T35" fmla="*/ 5 h 185"/>
                  <a:gd name="T36" fmla="*/ 151 w 208"/>
                  <a:gd name="T37" fmla="*/ 17 h 185"/>
                  <a:gd name="T38" fmla="*/ 144 w 208"/>
                  <a:gd name="T39" fmla="*/ 33 h 185"/>
                  <a:gd name="T40" fmla="*/ 133 w 208"/>
                  <a:gd name="T41" fmla="*/ 52 h 185"/>
                  <a:gd name="T42" fmla="*/ 123 w 208"/>
                  <a:gd name="T43" fmla="*/ 52 h 185"/>
                  <a:gd name="T44" fmla="*/ 109 w 208"/>
                  <a:gd name="T45" fmla="*/ 43 h 185"/>
                  <a:gd name="T46" fmla="*/ 99 w 208"/>
                  <a:gd name="T47" fmla="*/ 52 h 185"/>
                  <a:gd name="T48" fmla="*/ 90 w 208"/>
                  <a:gd name="T49" fmla="*/ 57 h 185"/>
                  <a:gd name="T50" fmla="*/ 69 w 208"/>
                  <a:gd name="T51" fmla="*/ 54 h 185"/>
                  <a:gd name="T52" fmla="*/ 47 w 208"/>
                  <a:gd name="T53" fmla="*/ 57 h 185"/>
                  <a:gd name="T54" fmla="*/ 33 w 208"/>
                  <a:gd name="T55" fmla="*/ 43 h 185"/>
                  <a:gd name="T56" fmla="*/ 21 w 208"/>
                  <a:gd name="T57" fmla="*/ 40 h 185"/>
                  <a:gd name="T58" fmla="*/ 17 w 208"/>
                  <a:gd name="T59" fmla="*/ 45 h 185"/>
                  <a:gd name="T60" fmla="*/ 12 w 208"/>
                  <a:gd name="T61" fmla="*/ 57 h 185"/>
                  <a:gd name="T62" fmla="*/ 10 w 208"/>
                  <a:gd name="T63" fmla="*/ 64 h 185"/>
                  <a:gd name="T64" fmla="*/ 2 w 208"/>
                  <a:gd name="T65" fmla="*/ 73 h 185"/>
                  <a:gd name="T66" fmla="*/ 2 w 208"/>
                  <a:gd name="T67" fmla="*/ 80 h 185"/>
                  <a:gd name="T68" fmla="*/ 17 w 208"/>
                  <a:gd name="T69" fmla="*/ 90 h 185"/>
                  <a:gd name="T70" fmla="*/ 21 w 208"/>
                  <a:gd name="T71" fmla="*/ 102 h 185"/>
                  <a:gd name="T72" fmla="*/ 38 w 208"/>
                  <a:gd name="T73" fmla="*/ 114 h 185"/>
                  <a:gd name="T74" fmla="*/ 43 w 208"/>
                  <a:gd name="T75" fmla="*/ 125 h 185"/>
                  <a:gd name="T76" fmla="*/ 52 w 208"/>
                  <a:gd name="T77" fmla="*/ 135 h 185"/>
                  <a:gd name="T78" fmla="*/ 59 w 208"/>
                  <a:gd name="T79" fmla="*/ 142 h 185"/>
                  <a:gd name="T80" fmla="*/ 66 w 208"/>
                  <a:gd name="T81" fmla="*/ 156 h 185"/>
                  <a:gd name="T82" fmla="*/ 73 w 208"/>
                  <a:gd name="T83" fmla="*/ 163 h 185"/>
                  <a:gd name="T84" fmla="*/ 81 w 208"/>
                  <a:gd name="T85" fmla="*/ 166 h 185"/>
                  <a:gd name="T86" fmla="*/ 92 w 208"/>
                  <a:gd name="T87" fmla="*/ 163 h 185"/>
                  <a:gd name="T88" fmla="*/ 104 w 208"/>
                  <a:gd name="T89" fmla="*/ 161 h 185"/>
                  <a:gd name="T90" fmla="*/ 118 w 208"/>
                  <a:gd name="T91" fmla="*/ 175 h 185"/>
                  <a:gd name="T92" fmla="*/ 123 w 208"/>
                  <a:gd name="T93" fmla="*/ 182 h 185"/>
                  <a:gd name="T94" fmla="*/ 125 w 208"/>
                  <a:gd name="T95" fmla="*/ 182 h 185"/>
                  <a:gd name="T96" fmla="*/ 137 w 208"/>
                  <a:gd name="T97" fmla="*/ 180 h 185"/>
                  <a:gd name="T98" fmla="*/ 147 w 208"/>
                  <a:gd name="T99" fmla="*/ 182 h 185"/>
                  <a:gd name="T100" fmla="*/ 151 w 208"/>
                  <a:gd name="T101" fmla="*/ 180 h 185"/>
                  <a:gd name="T102" fmla="*/ 166 w 208"/>
                  <a:gd name="T103" fmla="*/ 175 h 185"/>
                  <a:gd name="T104" fmla="*/ 180 w 208"/>
                  <a:gd name="T105" fmla="*/ 173 h 185"/>
                  <a:gd name="T106" fmla="*/ 204 w 208"/>
                  <a:gd name="T107" fmla="*/ 14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8" h="185">
                    <a:moveTo>
                      <a:pt x="208" y="142"/>
                    </a:moveTo>
                    <a:lnTo>
                      <a:pt x="206" y="140"/>
                    </a:lnTo>
                    <a:lnTo>
                      <a:pt x="204" y="137"/>
                    </a:lnTo>
                    <a:lnTo>
                      <a:pt x="204" y="135"/>
                    </a:lnTo>
                    <a:lnTo>
                      <a:pt x="204" y="135"/>
                    </a:lnTo>
                    <a:lnTo>
                      <a:pt x="201" y="130"/>
                    </a:lnTo>
                    <a:lnTo>
                      <a:pt x="201" y="128"/>
                    </a:lnTo>
                    <a:lnTo>
                      <a:pt x="199" y="125"/>
                    </a:lnTo>
                    <a:lnTo>
                      <a:pt x="199" y="118"/>
                    </a:lnTo>
                    <a:lnTo>
                      <a:pt x="196" y="118"/>
                    </a:lnTo>
                    <a:lnTo>
                      <a:pt x="196" y="116"/>
                    </a:lnTo>
                    <a:lnTo>
                      <a:pt x="194" y="114"/>
                    </a:lnTo>
                    <a:lnTo>
                      <a:pt x="194" y="111"/>
                    </a:lnTo>
                    <a:lnTo>
                      <a:pt x="189" y="111"/>
                    </a:lnTo>
                    <a:lnTo>
                      <a:pt x="187" y="109"/>
                    </a:lnTo>
                    <a:lnTo>
                      <a:pt x="185" y="106"/>
                    </a:lnTo>
                    <a:lnTo>
                      <a:pt x="185" y="104"/>
                    </a:lnTo>
                    <a:lnTo>
                      <a:pt x="185" y="102"/>
                    </a:lnTo>
                    <a:lnTo>
                      <a:pt x="182" y="102"/>
                    </a:lnTo>
                    <a:lnTo>
                      <a:pt x="182" y="99"/>
                    </a:lnTo>
                    <a:lnTo>
                      <a:pt x="177" y="97"/>
                    </a:lnTo>
                    <a:lnTo>
                      <a:pt x="177" y="95"/>
                    </a:lnTo>
                    <a:lnTo>
                      <a:pt x="175" y="95"/>
                    </a:lnTo>
                    <a:lnTo>
                      <a:pt x="173" y="95"/>
                    </a:lnTo>
                    <a:lnTo>
                      <a:pt x="170" y="95"/>
                    </a:lnTo>
                    <a:lnTo>
                      <a:pt x="166" y="92"/>
                    </a:lnTo>
                    <a:lnTo>
                      <a:pt x="166" y="92"/>
                    </a:lnTo>
                    <a:lnTo>
                      <a:pt x="166" y="90"/>
                    </a:lnTo>
                    <a:lnTo>
                      <a:pt x="166" y="90"/>
                    </a:lnTo>
                    <a:lnTo>
                      <a:pt x="166" y="88"/>
                    </a:lnTo>
                    <a:lnTo>
                      <a:pt x="168" y="83"/>
                    </a:lnTo>
                    <a:lnTo>
                      <a:pt x="170" y="80"/>
                    </a:lnTo>
                    <a:lnTo>
                      <a:pt x="170" y="80"/>
                    </a:lnTo>
                    <a:lnTo>
                      <a:pt x="173" y="80"/>
                    </a:lnTo>
                    <a:lnTo>
                      <a:pt x="175" y="80"/>
                    </a:lnTo>
                    <a:lnTo>
                      <a:pt x="177" y="80"/>
                    </a:lnTo>
                    <a:lnTo>
                      <a:pt x="180" y="80"/>
                    </a:lnTo>
                    <a:lnTo>
                      <a:pt x="182" y="80"/>
                    </a:lnTo>
                    <a:lnTo>
                      <a:pt x="185" y="78"/>
                    </a:lnTo>
                    <a:lnTo>
                      <a:pt x="185" y="78"/>
                    </a:lnTo>
                    <a:lnTo>
                      <a:pt x="185" y="76"/>
                    </a:lnTo>
                    <a:lnTo>
                      <a:pt x="185" y="76"/>
                    </a:lnTo>
                    <a:lnTo>
                      <a:pt x="185" y="73"/>
                    </a:lnTo>
                    <a:lnTo>
                      <a:pt x="185" y="66"/>
                    </a:lnTo>
                    <a:lnTo>
                      <a:pt x="185" y="64"/>
                    </a:lnTo>
                    <a:lnTo>
                      <a:pt x="185" y="59"/>
                    </a:lnTo>
                    <a:lnTo>
                      <a:pt x="185" y="59"/>
                    </a:lnTo>
                    <a:lnTo>
                      <a:pt x="185" y="59"/>
                    </a:lnTo>
                    <a:lnTo>
                      <a:pt x="182" y="59"/>
                    </a:lnTo>
                    <a:lnTo>
                      <a:pt x="182" y="59"/>
                    </a:lnTo>
                    <a:lnTo>
                      <a:pt x="182" y="59"/>
                    </a:lnTo>
                    <a:lnTo>
                      <a:pt x="180" y="57"/>
                    </a:lnTo>
                    <a:lnTo>
                      <a:pt x="180" y="57"/>
                    </a:lnTo>
                    <a:lnTo>
                      <a:pt x="180" y="57"/>
                    </a:lnTo>
                    <a:lnTo>
                      <a:pt x="180" y="57"/>
                    </a:lnTo>
                    <a:lnTo>
                      <a:pt x="180" y="54"/>
                    </a:lnTo>
                    <a:lnTo>
                      <a:pt x="182" y="52"/>
                    </a:lnTo>
                    <a:lnTo>
                      <a:pt x="182" y="50"/>
                    </a:lnTo>
                    <a:lnTo>
                      <a:pt x="182" y="50"/>
                    </a:lnTo>
                    <a:lnTo>
                      <a:pt x="182" y="50"/>
                    </a:lnTo>
                    <a:lnTo>
                      <a:pt x="182" y="50"/>
                    </a:lnTo>
                    <a:lnTo>
                      <a:pt x="182" y="50"/>
                    </a:lnTo>
                    <a:lnTo>
                      <a:pt x="182" y="50"/>
                    </a:lnTo>
                    <a:lnTo>
                      <a:pt x="182" y="47"/>
                    </a:lnTo>
                    <a:lnTo>
                      <a:pt x="182" y="47"/>
                    </a:lnTo>
                    <a:lnTo>
                      <a:pt x="182" y="45"/>
                    </a:lnTo>
                    <a:lnTo>
                      <a:pt x="182" y="45"/>
                    </a:lnTo>
                    <a:lnTo>
                      <a:pt x="182" y="45"/>
                    </a:lnTo>
                    <a:lnTo>
                      <a:pt x="182" y="43"/>
                    </a:lnTo>
                    <a:lnTo>
                      <a:pt x="180" y="43"/>
                    </a:lnTo>
                    <a:lnTo>
                      <a:pt x="173" y="35"/>
                    </a:lnTo>
                    <a:lnTo>
                      <a:pt x="170" y="33"/>
                    </a:lnTo>
                    <a:lnTo>
                      <a:pt x="170" y="33"/>
                    </a:lnTo>
                    <a:lnTo>
                      <a:pt x="170" y="33"/>
                    </a:lnTo>
                    <a:lnTo>
                      <a:pt x="166" y="31"/>
                    </a:lnTo>
                    <a:lnTo>
                      <a:pt x="166" y="31"/>
                    </a:lnTo>
                    <a:lnTo>
                      <a:pt x="166" y="31"/>
                    </a:lnTo>
                    <a:lnTo>
                      <a:pt x="166" y="31"/>
                    </a:lnTo>
                    <a:lnTo>
                      <a:pt x="168" y="28"/>
                    </a:lnTo>
                    <a:lnTo>
                      <a:pt x="168" y="28"/>
                    </a:lnTo>
                    <a:lnTo>
                      <a:pt x="168" y="28"/>
                    </a:lnTo>
                    <a:lnTo>
                      <a:pt x="166" y="14"/>
                    </a:lnTo>
                    <a:lnTo>
                      <a:pt x="166" y="12"/>
                    </a:lnTo>
                    <a:lnTo>
                      <a:pt x="166" y="12"/>
                    </a:lnTo>
                    <a:lnTo>
                      <a:pt x="166" y="12"/>
                    </a:lnTo>
                    <a:lnTo>
                      <a:pt x="166" y="12"/>
                    </a:lnTo>
                    <a:lnTo>
                      <a:pt x="166" y="12"/>
                    </a:lnTo>
                    <a:lnTo>
                      <a:pt x="166" y="12"/>
                    </a:lnTo>
                    <a:lnTo>
                      <a:pt x="166" y="12"/>
                    </a:lnTo>
                    <a:lnTo>
                      <a:pt x="166" y="7"/>
                    </a:lnTo>
                    <a:lnTo>
                      <a:pt x="166" y="5"/>
                    </a:lnTo>
                    <a:lnTo>
                      <a:pt x="168" y="2"/>
                    </a:lnTo>
                    <a:lnTo>
                      <a:pt x="168" y="0"/>
                    </a:lnTo>
                    <a:lnTo>
                      <a:pt x="159" y="0"/>
                    </a:lnTo>
                    <a:lnTo>
                      <a:pt x="159" y="0"/>
                    </a:lnTo>
                    <a:lnTo>
                      <a:pt x="159" y="0"/>
                    </a:lnTo>
                    <a:lnTo>
                      <a:pt x="159" y="0"/>
                    </a:lnTo>
                    <a:lnTo>
                      <a:pt x="159" y="0"/>
                    </a:lnTo>
                    <a:lnTo>
                      <a:pt x="159" y="0"/>
                    </a:lnTo>
                    <a:lnTo>
                      <a:pt x="159" y="0"/>
                    </a:lnTo>
                    <a:lnTo>
                      <a:pt x="159" y="2"/>
                    </a:lnTo>
                    <a:lnTo>
                      <a:pt x="159" y="2"/>
                    </a:lnTo>
                    <a:lnTo>
                      <a:pt x="159" y="2"/>
                    </a:lnTo>
                    <a:lnTo>
                      <a:pt x="159" y="2"/>
                    </a:lnTo>
                    <a:lnTo>
                      <a:pt x="159" y="2"/>
                    </a:lnTo>
                    <a:lnTo>
                      <a:pt x="159" y="5"/>
                    </a:lnTo>
                    <a:lnTo>
                      <a:pt x="159" y="5"/>
                    </a:lnTo>
                    <a:lnTo>
                      <a:pt x="147" y="5"/>
                    </a:lnTo>
                    <a:lnTo>
                      <a:pt x="151" y="9"/>
                    </a:lnTo>
                    <a:lnTo>
                      <a:pt x="151" y="9"/>
                    </a:lnTo>
                    <a:lnTo>
                      <a:pt x="151" y="12"/>
                    </a:lnTo>
                    <a:lnTo>
                      <a:pt x="151" y="12"/>
                    </a:lnTo>
                    <a:lnTo>
                      <a:pt x="151" y="14"/>
                    </a:lnTo>
                    <a:lnTo>
                      <a:pt x="151" y="17"/>
                    </a:lnTo>
                    <a:lnTo>
                      <a:pt x="151" y="19"/>
                    </a:lnTo>
                    <a:lnTo>
                      <a:pt x="151" y="21"/>
                    </a:lnTo>
                    <a:lnTo>
                      <a:pt x="154" y="24"/>
                    </a:lnTo>
                    <a:lnTo>
                      <a:pt x="154" y="24"/>
                    </a:lnTo>
                    <a:lnTo>
                      <a:pt x="154" y="24"/>
                    </a:lnTo>
                    <a:lnTo>
                      <a:pt x="144" y="33"/>
                    </a:lnTo>
                    <a:lnTo>
                      <a:pt x="144" y="33"/>
                    </a:lnTo>
                    <a:lnTo>
                      <a:pt x="142" y="35"/>
                    </a:lnTo>
                    <a:lnTo>
                      <a:pt x="142" y="38"/>
                    </a:lnTo>
                    <a:lnTo>
                      <a:pt x="142" y="40"/>
                    </a:lnTo>
                    <a:lnTo>
                      <a:pt x="140" y="43"/>
                    </a:lnTo>
                    <a:lnTo>
                      <a:pt x="133" y="52"/>
                    </a:lnTo>
                    <a:lnTo>
                      <a:pt x="130" y="52"/>
                    </a:lnTo>
                    <a:lnTo>
                      <a:pt x="125" y="52"/>
                    </a:lnTo>
                    <a:lnTo>
                      <a:pt x="123" y="52"/>
                    </a:lnTo>
                    <a:lnTo>
                      <a:pt x="123" y="52"/>
                    </a:lnTo>
                    <a:lnTo>
                      <a:pt x="123" y="52"/>
                    </a:lnTo>
                    <a:lnTo>
                      <a:pt x="123" y="52"/>
                    </a:lnTo>
                    <a:lnTo>
                      <a:pt x="123" y="52"/>
                    </a:lnTo>
                    <a:lnTo>
                      <a:pt x="123" y="52"/>
                    </a:lnTo>
                    <a:lnTo>
                      <a:pt x="123" y="52"/>
                    </a:lnTo>
                    <a:lnTo>
                      <a:pt x="118" y="47"/>
                    </a:lnTo>
                    <a:lnTo>
                      <a:pt x="109" y="40"/>
                    </a:lnTo>
                    <a:lnTo>
                      <a:pt x="109" y="43"/>
                    </a:lnTo>
                    <a:lnTo>
                      <a:pt x="102" y="45"/>
                    </a:lnTo>
                    <a:lnTo>
                      <a:pt x="102" y="45"/>
                    </a:lnTo>
                    <a:lnTo>
                      <a:pt x="102" y="45"/>
                    </a:lnTo>
                    <a:lnTo>
                      <a:pt x="102" y="47"/>
                    </a:lnTo>
                    <a:lnTo>
                      <a:pt x="99" y="50"/>
                    </a:lnTo>
                    <a:lnTo>
                      <a:pt x="99" y="52"/>
                    </a:lnTo>
                    <a:lnTo>
                      <a:pt x="95" y="52"/>
                    </a:lnTo>
                    <a:lnTo>
                      <a:pt x="92" y="54"/>
                    </a:lnTo>
                    <a:lnTo>
                      <a:pt x="90" y="54"/>
                    </a:lnTo>
                    <a:lnTo>
                      <a:pt x="90" y="54"/>
                    </a:lnTo>
                    <a:lnTo>
                      <a:pt x="90" y="54"/>
                    </a:lnTo>
                    <a:lnTo>
                      <a:pt x="90" y="57"/>
                    </a:lnTo>
                    <a:lnTo>
                      <a:pt x="88" y="59"/>
                    </a:lnTo>
                    <a:lnTo>
                      <a:pt x="88" y="59"/>
                    </a:lnTo>
                    <a:lnTo>
                      <a:pt x="88" y="61"/>
                    </a:lnTo>
                    <a:lnTo>
                      <a:pt x="73" y="61"/>
                    </a:lnTo>
                    <a:lnTo>
                      <a:pt x="71" y="59"/>
                    </a:lnTo>
                    <a:lnTo>
                      <a:pt x="69" y="54"/>
                    </a:lnTo>
                    <a:lnTo>
                      <a:pt x="69" y="54"/>
                    </a:lnTo>
                    <a:lnTo>
                      <a:pt x="69" y="54"/>
                    </a:lnTo>
                    <a:lnTo>
                      <a:pt x="54" y="54"/>
                    </a:lnTo>
                    <a:lnTo>
                      <a:pt x="52" y="54"/>
                    </a:lnTo>
                    <a:lnTo>
                      <a:pt x="50" y="57"/>
                    </a:lnTo>
                    <a:lnTo>
                      <a:pt x="47" y="57"/>
                    </a:lnTo>
                    <a:lnTo>
                      <a:pt x="45" y="57"/>
                    </a:lnTo>
                    <a:lnTo>
                      <a:pt x="38" y="47"/>
                    </a:lnTo>
                    <a:lnTo>
                      <a:pt x="36" y="47"/>
                    </a:lnTo>
                    <a:lnTo>
                      <a:pt x="36" y="45"/>
                    </a:lnTo>
                    <a:lnTo>
                      <a:pt x="36" y="45"/>
                    </a:lnTo>
                    <a:lnTo>
                      <a:pt x="33" y="43"/>
                    </a:lnTo>
                    <a:lnTo>
                      <a:pt x="33" y="43"/>
                    </a:lnTo>
                    <a:lnTo>
                      <a:pt x="33" y="43"/>
                    </a:lnTo>
                    <a:lnTo>
                      <a:pt x="33" y="40"/>
                    </a:lnTo>
                    <a:lnTo>
                      <a:pt x="31" y="38"/>
                    </a:lnTo>
                    <a:lnTo>
                      <a:pt x="31" y="38"/>
                    </a:lnTo>
                    <a:lnTo>
                      <a:pt x="21" y="40"/>
                    </a:lnTo>
                    <a:lnTo>
                      <a:pt x="19" y="40"/>
                    </a:lnTo>
                    <a:lnTo>
                      <a:pt x="17" y="40"/>
                    </a:lnTo>
                    <a:lnTo>
                      <a:pt x="17" y="40"/>
                    </a:lnTo>
                    <a:lnTo>
                      <a:pt x="17" y="43"/>
                    </a:lnTo>
                    <a:lnTo>
                      <a:pt x="17" y="43"/>
                    </a:lnTo>
                    <a:lnTo>
                      <a:pt x="17" y="45"/>
                    </a:lnTo>
                    <a:lnTo>
                      <a:pt x="17" y="45"/>
                    </a:lnTo>
                    <a:lnTo>
                      <a:pt x="14" y="47"/>
                    </a:lnTo>
                    <a:lnTo>
                      <a:pt x="12" y="50"/>
                    </a:lnTo>
                    <a:lnTo>
                      <a:pt x="12" y="52"/>
                    </a:lnTo>
                    <a:lnTo>
                      <a:pt x="12" y="54"/>
                    </a:lnTo>
                    <a:lnTo>
                      <a:pt x="12" y="57"/>
                    </a:lnTo>
                    <a:lnTo>
                      <a:pt x="12" y="57"/>
                    </a:lnTo>
                    <a:lnTo>
                      <a:pt x="10" y="59"/>
                    </a:lnTo>
                    <a:lnTo>
                      <a:pt x="10" y="59"/>
                    </a:lnTo>
                    <a:lnTo>
                      <a:pt x="10" y="61"/>
                    </a:lnTo>
                    <a:lnTo>
                      <a:pt x="10" y="64"/>
                    </a:lnTo>
                    <a:lnTo>
                      <a:pt x="10" y="64"/>
                    </a:lnTo>
                    <a:lnTo>
                      <a:pt x="7" y="66"/>
                    </a:lnTo>
                    <a:lnTo>
                      <a:pt x="7" y="69"/>
                    </a:lnTo>
                    <a:lnTo>
                      <a:pt x="7" y="69"/>
                    </a:lnTo>
                    <a:lnTo>
                      <a:pt x="7" y="71"/>
                    </a:lnTo>
                    <a:lnTo>
                      <a:pt x="2" y="71"/>
                    </a:lnTo>
                    <a:lnTo>
                      <a:pt x="2" y="73"/>
                    </a:lnTo>
                    <a:lnTo>
                      <a:pt x="0" y="73"/>
                    </a:lnTo>
                    <a:lnTo>
                      <a:pt x="0" y="76"/>
                    </a:lnTo>
                    <a:lnTo>
                      <a:pt x="0" y="76"/>
                    </a:lnTo>
                    <a:lnTo>
                      <a:pt x="2" y="76"/>
                    </a:lnTo>
                    <a:lnTo>
                      <a:pt x="0" y="78"/>
                    </a:lnTo>
                    <a:lnTo>
                      <a:pt x="2" y="80"/>
                    </a:lnTo>
                    <a:lnTo>
                      <a:pt x="2" y="83"/>
                    </a:lnTo>
                    <a:lnTo>
                      <a:pt x="5" y="83"/>
                    </a:lnTo>
                    <a:lnTo>
                      <a:pt x="7" y="83"/>
                    </a:lnTo>
                    <a:lnTo>
                      <a:pt x="12" y="85"/>
                    </a:lnTo>
                    <a:lnTo>
                      <a:pt x="14" y="85"/>
                    </a:lnTo>
                    <a:lnTo>
                      <a:pt x="17" y="90"/>
                    </a:lnTo>
                    <a:lnTo>
                      <a:pt x="19" y="92"/>
                    </a:lnTo>
                    <a:lnTo>
                      <a:pt x="21" y="95"/>
                    </a:lnTo>
                    <a:lnTo>
                      <a:pt x="21" y="97"/>
                    </a:lnTo>
                    <a:lnTo>
                      <a:pt x="19" y="99"/>
                    </a:lnTo>
                    <a:lnTo>
                      <a:pt x="19" y="99"/>
                    </a:lnTo>
                    <a:lnTo>
                      <a:pt x="21" y="102"/>
                    </a:lnTo>
                    <a:lnTo>
                      <a:pt x="24" y="104"/>
                    </a:lnTo>
                    <a:lnTo>
                      <a:pt x="26" y="104"/>
                    </a:lnTo>
                    <a:lnTo>
                      <a:pt x="33" y="109"/>
                    </a:lnTo>
                    <a:lnTo>
                      <a:pt x="36" y="111"/>
                    </a:lnTo>
                    <a:lnTo>
                      <a:pt x="36" y="114"/>
                    </a:lnTo>
                    <a:lnTo>
                      <a:pt x="38" y="114"/>
                    </a:lnTo>
                    <a:lnTo>
                      <a:pt x="40" y="116"/>
                    </a:lnTo>
                    <a:lnTo>
                      <a:pt x="43" y="118"/>
                    </a:lnTo>
                    <a:lnTo>
                      <a:pt x="40" y="121"/>
                    </a:lnTo>
                    <a:lnTo>
                      <a:pt x="40" y="123"/>
                    </a:lnTo>
                    <a:lnTo>
                      <a:pt x="43" y="123"/>
                    </a:lnTo>
                    <a:lnTo>
                      <a:pt x="43" y="125"/>
                    </a:lnTo>
                    <a:lnTo>
                      <a:pt x="43" y="128"/>
                    </a:lnTo>
                    <a:lnTo>
                      <a:pt x="45" y="130"/>
                    </a:lnTo>
                    <a:lnTo>
                      <a:pt x="47" y="130"/>
                    </a:lnTo>
                    <a:lnTo>
                      <a:pt x="50" y="130"/>
                    </a:lnTo>
                    <a:lnTo>
                      <a:pt x="50" y="133"/>
                    </a:lnTo>
                    <a:lnTo>
                      <a:pt x="52" y="135"/>
                    </a:lnTo>
                    <a:lnTo>
                      <a:pt x="54" y="135"/>
                    </a:lnTo>
                    <a:lnTo>
                      <a:pt x="57" y="137"/>
                    </a:lnTo>
                    <a:lnTo>
                      <a:pt x="57" y="137"/>
                    </a:lnTo>
                    <a:lnTo>
                      <a:pt x="57" y="140"/>
                    </a:lnTo>
                    <a:lnTo>
                      <a:pt x="59" y="140"/>
                    </a:lnTo>
                    <a:lnTo>
                      <a:pt x="59" y="142"/>
                    </a:lnTo>
                    <a:lnTo>
                      <a:pt x="59" y="147"/>
                    </a:lnTo>
                    <a:lnTo>
                      <a:pt x="59" y="149"/>
                    </a:lnTo>
                    <a:lnTo>
                      <a:pt x="62" y="149"/>
                    </a:lnTo>
                    <a:lnTo>
                      <a:pt x="62" y="151"/>
                    </a:lnTo>
                    <a:lnTo>
                      <a:pt x="64" y="154"/>
                    </a:lnTo>
                    <a:lnTo>
                      <a:pt x="66" y="156"/>
                    </a:lnTo>
                    <a:lnTo>
                      <a:pt x="66" y="156"/>
                    </a:lnTo>
                    <a:lnTo>
                      <a:pt x="69" y="159"/>
                    </a:lnTo>
                    <a:lnTo>
                      <a:pt x="69" y="161"/>
                    </a:lnTo>
                    <a:lnTo>
                      <a:pt x="69" y="161"/>
                    </a:lnTo>
                    <a:lnTo>
                      <a:pt x="71" y="161"/>
                    </a:lnTo>
                    <a:lnTo>
                      <a:pt x="73" y="163"/>
                    </a:lnTo>
                    <a:lnTo>
                      <a:pt x="73" y="163"/>
                    </a:lnTo>
                    <a:lnTo>
                      <a:pt x="73" y="166"/>
                    </a:lnTo>
                    <a:lnTo>
                      <a:pt x="76" y="166"/>
                    </a:lnTo>
                    <a:lnTo>
                      <a:pt x="78" y="166"/>
                    </a:lnTo>
                    <a:lnTo>
                      <a:pt x="78" y="166"/>
                    </a:lnTo>
                    <a:lnTo>
                      <a:pt x="81" y="166"/>
                    </a:lnTo>
                    <a:lnTo>
                      <a:pt x="81" y="166"/>
                    </a:lnTo>
                    <a:lnTo>
                      <a:pt x="83" y="166"/>
                    </a:lnTo>
                    <a:lnTo>
                      <a:pt x="85" y="163"/>
                    </a:lnTo>
                    <a:lnTo>
                      <a:pt x="85" y="163"/>
                    </a:lnTo>
                    <a:lnTo>
                      <a:pt x="90" y="163"/>
                    </a:lnTo>
                    <a:lnTo>
                      <a:pt x="92" y="163"/>
                    </a:lnTo>
                    <a:lnTo>
                      <a:pt x="95" y="166"/>
                    </a:lnTo>
                    <a:lnTo>
                      <a:pt x="95" y="166"/>
                    </a:lnTo>
                    <a:lnTo>
                      <a:pt x="99" y="163"/>
                    </a:lnTo>
                    <a:lnTo>
                      <a:pt x="99" y="161"/>
                    </a:lnTo>
                    <a:lnTo>
                      <a:pt x="102" y="161"/>
                    </a:lnTo>
                    <a:lnTo>
                      <a:pt x="104" y="161"/>
                    </a:lnTo>
                    <a:lnTo>
                      <a:pt x="107" y="163"/>
                    </a:lnTo>
                    <a:lnTo>
                      <a:pt x="107" y="166"/>
                    </a:lnTo>
                    <a:lnTo>
                      <a:pt x="109" y="168"/>
                    </a:lnTo>
                    <a:lnTo>
                      <a:pt x="111" y="170"/>
                    </a:lnTo>
                    <a:lnTo>
                      <a:pt x="114" y="173"/>
                    </a:lnTo>
                    <a:lnTo>
                      <a:pt x="118" y="175"/>
                    </a:lnTo>
                    <a:lnTo>
                      <a:pt x="118" y="178"/>
                    </a:lnTo>
                    <a:lnTo>
                      <a:pt x="121" y="178"/>
                    </a:lnTo>
                    <a:lnTo>
                      <a:pt x="121" y="180"/>
                    </a:lnTo>
                    <a:lnTo>
                      <a:pt x="121" y="180"/>
                    </a:lnTo>
                    <a:lnTo>
                      <a:pt x="121" y="182"/>
                    </a:lnTo>
                    <a:lnTo>
                      <a:pt x="123" y="182"/>
                    </a:lnTo>
                    <a:lnTo>
                      <a:pt x="123" y="180"/>
                    </a:lnTo>
                    <a:lnTo>
                      <a:pt x="123" y="182"/>
                    </a:lnTo>
                    <a:lnTo>
                      <a:pt x="125" y="182"/>
                    </a:lnTo>
                    <a:lnTo>
                      <a:pt x="125" y="182"/>
                    </a:lnTo>
                    <a:lnTo>
                      <a:pt x="125" y="185"/>
                    </a:lnTo>
                    <a:lnTo>
                      <a:pt x="125" y="182"/>
                    </a:lnTo>
                    <a:lnTo>
                      <a:pt x="128" y="182"/>
                    </a:lnTo>
                    <a:lnTo>
                      <a:pt x="130" y="180"/>
                    </a:lnTo>
                    <a:lnTo>
                      <a:pt x="133" y="178"/>
                    </a:lnTo>
                    <a:lnTo>
                      <a:pt x="133" y="178"/>
                    </a:lnTo>
                    <a:lnTo>
                      <a:pt x="135" y="180"/>
                    </a:lnTo>
                    <a:lnTo>
                      <a:pt x="137" y="180"/>
                    </a:lnTo>
                    <a:lnTo>
                      <a:pt x="140" y="180"/>
                    </a:lnTo>
                    <a:lnTo>
                      <a:pt x="140" y="180"/>
                    </a:lnTo>
                    <a:lnTo>
                      <a:pt x="144" y="178"/>
                    </a:lnTo>
                    <a:lnTo>
                      <a:pt x="144" y="178"/>
                    </a:lnTo>
                    <a:lnTo>
                      <a:pt x="144" y="180"/>
                    </a:lnTo>
                    <a:lnTo>
                      <a:pt x="147" y="182"/>
                    </a:lnTo>
                    <a:lnTo>
                      <a:pt x="149" y="182"/>
                    </a:lnTo>
                    <a:lnTo>
                      <a:pt x="149" y="185"/>
                    </a:lnTo>
                    <a:lnTo>
                      <a:pt x="149" y="185"/>
                    </a:lnTo>
                    <a:lnTo>
                      <a:pt x="149" y="185"/>
                    </a:lnTo>
                    <a:lnTo>
                      <a:pt x="151" y="182"/>
                    </a:lnTo>
                    <a:lnTo>
                      <a:pt x="151" y="180"/>
                    </a:lnTo>
                    <a:lnTo>
                      <a:pt x="154" y="180"/>
                    </a:lnTo>
                    <a:lnTo>
                      <a:pt x="156" y="180"/>
                    </a:lnTo>
                    <a:lnTo>
                      <a:pt x="161" y="178"/>
                    </a:lnTo>
                    <a:lnTo>
                      <a:pt x="161" y="178"/>
                    </a:lnTo>
                    <a:lnTo>
                      <a:pt x="163" y="178"/>
                    </a:lnTo>
                    <a:lnTo>
                      <a:pt x="166" y="175"/>
                    </a:lnTo>
                    <a:lnTo>
                      <a:pt x="168" y="178"/>
                    </a:lnTo>
                    <a:lnTo>
                      <a:pt x="173" y="180"/>
                    </a:lnTo>
                    <a:lnTo>
                      <a:pt x="175" y="180"/>
                    </a:lnTo>
                    <a:lnTo>
                      <a:pt x="175" y="178"/>
                    </a:lnTo>
                    <a:lnTo>
                      <a:pt x="177" y="178"/>
                    </a:lnTo>
                    <a:lnTo>
                      <a:pt x="180" y="173"/>
                    </a:lnTo>
                    <a:lnTo>
                      <a:pt x="185" y="168"/>
                    </a:lnTo>
                    <a:lnTo>
                      <a:pt x="187" y="166"/>
                    </a:lnTo>
                    <a:lnTo>
                      <a:pt x="192" y="161"/>
                    </a:lnTo>
                    <a:lnTo>
                      <a:pt x="196" y="154"/>
                    </a:lnTo>
                    <a:lnTo>
                      <a:pt x="201" y="149"/>
                    </a:lnTo>
                    <a:lnTo>
                      <a:pt x="204" y="147"/>
                    </a:lnTo>
                    <a:lnTo>
                      <a:pt x="208" y="142"/>
                    </a:lnTo>
                    <a:lnTo>
                      <a:pt x="208" y="142"/>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50"/>
              <p:cNvSpPr>
                <a:spLocks noEditPoints="1"/>
              </p:cNvSpPr>
              <p:nvPr/>
            </p:nvSpPr>
            <p:spPr bwMode="auto">
              <a:xfrm>
                <a:off x="4960" y="1983"/>
                <a:ext cx="81" cy="116"/>
              </a:xfrm>
              <a:custGeom>
                <a:avLst/>
                <a:gdLst>
                  <a:gd name="T0" fmla="*/ 34 w 81"/>
                  <a:gd name="T1" fmla="*/ 111 h 116"/>
                  <a:gd name="T2" fmla="*/ 36 w 81"/>
                  <a:gd name="T3" fmla="*/ 116 h 116"/>
                  <a:gd name="T4" fmla="*/ 45 w 81"/>
                  <a:gd name="T5" fmla="*/ 111 h 116"/>
                  <a:gd name="T6" fmla="*/ 36 w 81"/>
                  <a:gd name="T7" fmla="*/ 90 h 116"/>
                  <a:gd name="T8" fmla="*/ 24 w 81"/>
                  <a:gd name="T9" fmla="*/ 85 h 116"/>
                  <a:gd name="T10" fmla="*/ 24 w 81"/>
                  <a:gd name="T11" fmla="*/ 90 h 116"/>
                  <a:gd name="T12" fmla="*/ 24 w 81"/>
                  <a:gd name="T13" fmla="*/ 85 h 116"/>
                  <a:gd name="T14" fmla="*/ 50 w 81"/>
                  <a:gd name="T15" fmla="*/ 83 h 116"/>
                  <a:gd name="T16" fmla="*/ 22 w 81"/>
                  <a:gd name="T17" fmla="*/ 83 h 116"/>
                  <a:gd name="T18" fmla="*/ 55 w 81"/>
                  <a:gd name="T19" fmla="*/ 81 h 116"/>
                  <a:gd name="T20" fmla="*/ 52 w 81"/>
                  <a:gd name="T21" fmla="*/ 83 h 116"/>
                  <a:gd name="T22" fmla="*/ 55 w 81"/>
                  <a:gd name="T23" fmla="*/ 81 h 116"/>
                  <a:gd name="T24" fmla="*/ 62 w 81"/>
                  <a:gd name="T25" fmla="*/ 81 h 116"/>
                  <a:gd name="T26" fmla="*/ 10 w 81"/>
                  <a:gd name="T27" fmla="*/ 43 h 116"/>
                  <a:gd name="T28" fmla="*/ 10 w 81"/>
                  <a:gd name="T29" fmla="*/ 43 h 116"/>
                  <a:gd name="T30" fmla="*/ 78 w 81"/>
                  <a:gd name="T31" fmla="*/ 24 h 116"/>
                  <a:gd name="T32" fmla="*/ 0 w 81"/>
                  <a:gd name="T33" fmla="*/ 17 h 116"/>
                  <a:gd name="T34" fmla="*/ 3 w 81"/>
                  <a:gd name="T35" fmla="*/ 21 h 116"/>
                  <a:gd name="T36" fmla="*/ 69 w 81"/>
                  <a:gd name="T37" fmla="*/ 55 h 116"/>
                  <a:gd name="T38" fmla="*/ 67 w 81"/>
                  <a:gd name="T39" fmla="*/ 52 h 116"/>
                  <a:gd name="T40" fmla="*/ 62 w 81"/>
                  <a:gd name="T41" fmla="*/ 40 h 116"/>
                  <a:gd name="T42" fmla="*/ 41 w 81"/>
                  <a:gd name="T43" fmla="*/ 14 h 116"/>
                  <a:gd name="T44" fmla="*/ 26 w 81"/>
                  <a:gd name="T45" fmla="*/ 5 h 116"/>
                  <a:gd name="T46" fmla="*/ 19 w 81"/>
                  <a:gd name="T47" fmla="*/ 5 h 116"/>
                  <a:gd name="T48" fmla="*/ 7 w 81"/>
                  <a:gd name="T49" fmla="*/ 7 h 116"/>
                  <a:gd name="T50" fmla="*/ 5 w 81"/>
                  <a:gd name="T51" fmla="*/ 12 h 116"/>
                  <a:gd name="T52" fmla="*/ 3 w 81"/>
                  <a:gd name="T53" fmla="*/ 19 h 116"/>
                  <a:gd name="T54" fmla="*/ 7 w 81"/>
                  <a:gd name="T55" fmla="*/ 21 h 116"/>
                  <a:gd name="T56" fmla="*/ 12 w 81"/>
                  <a:gd name="T57" fmla="*/ 31 h 116"/>
                  <a:gd name="T58" fmla="*/ 17 w 81"/>
                  <a:gd name="T59" fmla="*/ 36 h 116"/>
                  <a:gd name="T60" fmla="*/ 12 w 81"/>
                  <a:gd name="T61" fmla="*/ 36 h 116"/>
                  <a:gd name="T62" fmla="*/ 5 w 81"/>
                  <a:gd name="T63" fmla="*/ 38 h 116"/>
                  <a:gd name="T64" fmla="*/ 10 w 81"/>
                  <a:gd name="T65" fmla="*/ 40 h 116"/>
                  <a:gd name="T66" fmla="*/ 15 w 81"/>
                  <a:gd name="T67" fmla="*/ 47 h 116"/>
                  <a:gd name="T68" fmla="*/ 22 w 81"/>
                  <a:gd name="T69" fmla="*/ 55 h 116"/>
                  <a:gd name="T70" fmla="*/ 24 w 81"/>
                  <a:gd name="T71" fmla="*/ 62 h 116"/>
                  <a:gd name="T72" fmla="*/ 22 w 81"/>
                  <a:gd name="T73" fmla="*/ 64 h 116"/>
                  <a:gd name="T74" fmla="*/ 22 w 81"/>
                  <a:gd name="T75" fmla="*/ 71 h 116"/>
                  <a:gd name="T76" fmla="*/ 26 w 81"/>
                  <a:gd name="T77" fmla="*/ 81 h 116"/>
                  <a:gd name="T78" fmla="*/ 26 w 81"/>
                  <a:gd name="T79" fmla="*/ 83 h 116"/>
                  <a:gd name="T80" fmla="*/ 24 w 81"/>
                  <a:gd name="T81" fmla="*/ 83 h 116"/>
                  <a:gd name="T82" fmla="*/ 31 w 81"/>
                  <a:gd name="T83" fmla="*/ 92 h 116"/>
                  <a:gd name="T84" fmla="*/ 36 w 81"/>
                  <a:gd name="T85" fmla="*/ 88 h 116"/>
                  <a:gd name="T86" fmla="*/ 43 w 81"/>
                  <a:gd name="T87" fmla="*/ 85 h 116"/>
                  <a:gd name="T88" fmla="*/ 45 w 81"/>
                  <a:gd name="T89" fmla="*/ 88 h 116"/>
                  <a:gd name="T90" fmla="*/ 43 w 81"/>
                  <a:gd name="T91" fmla="*/ 81 h 116"/>
                  <a:gd name="T92" fmla="*/ 50 w 81"/>
                  <a:gd name="T93" fmla="*/ 83 h 116"/>
                  <a:gd name="T94" fmla="*/ 50 w 81"/>
                  <a:gd name="T95" fmla="*/ 78 h 116"/>
                  <a:gd name="T96" fmla="*/ 57 w 81"/>
                  <a:gd name="T97" fmla="*/ 78 h 116"/>
                  <a:gd name="T98" fmla="*/ 60 w 81"/>
                  <a:gd name="T99" fmla="*/ 76 h 116"/>
                  <a:gd name="T100" fmla="*/ 69 w 81"/>
                  <a:gd name="T101" fmla="*/ 74 h 116"/>
                  <a:gd name="T102" fmla="*/ 71 w 81"/>
                  <a:gd name="T103" fmla="*/ 57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1" h="116">
                    <a:moveTo>
                      <a:pt x="45" y="109"/>
                    </a:moveTo>
                    <a:lnTo>
                      <a:pt x="43" y="109"/>
                    </a:lnTo>
                    <a:lnTo>
                      <a:pt x="41" y="109"/>
                    </a:lnTo>
                    <a:lnTo>
                      <a:pt x="36" y="109"/>
                    </a:lnTo>
                    <a:lnTo>
                      <a:pt x="34" y="111"/>
                    </a:lnTo>
                    <a:lnTo>
                      <a:pt x="34" y="114"/>
                    </a:lnTo>
                    <a:lnTo>
                      <a:pt x="34" y="114"/>
                    </a:lnTo>
                    <a:lnTo>
                      <a:pt x="36" y="114"/>
                    </a:lnTo>
                    <a:lnTo>
                      <a:pt x="36" y="116"/>
                    </a:lnTo>
                    <a:lnTo>
                      <a:pt x="36" y="116"/>
                    </a:lnTo>
                    <a:lnTo>
                      <a:pt x="36" y="114"/>
                    </a:lnTo>
                    <a:lnTo>
                      <a:pt x="41" y="114"/>
                    </a:lnTo>
                    <a:lnTo>
                      <a:pt x="43" y="114"/>
                    </a:lnTo>
                    <a:lnTo>
                      <a:pt x="45" y="111"/>
                    </a:lnTo>
                    <a:lnTo>
                      <a:pt x="45" y="111"/>
                    </a:lnTo>
                    <a:lnTo>
                      <a:pt x="45" y="111"/>
                    </a:lnTo>
                    <a:lnTo>
                      <a:pt x="45" y="109"/>
                    </a:lnTo>
                    <a:close/>
                    <a:moveTo>
                      <a:pt x="34" y="92"/>
                    </a:moveTo>
                    <a:lnTo>
                      <a:pt x="36" y="92"/>
                    </a:lnTo>
                    <a:lnTo>
                      <a:pt x="36" y="90"/>
                    </a:lnTo>
                    <a:lnTo>
                      <a:pt x="34" y="90"/>
                    </a:lnTo>
                    <a:lnTo>
                      <a:pt x="34" y="90"/>
                    </a:lnTo>
                    <a:lnTo>
                      <a:pt x="34" y="90"/>
                    </a:lnTo>
                    <a:lnTo>
                      <a:pt x="34" y="92"/>
                    </a:lnTo>
                    <a:close/>
                    <a:moveTo>
                      <a:pt x="24" y="85"/>
                    </a:moveTo>
                    <a:lnTo>
                      <a:pt x="24" y="88"/>
                    </a:lnTo>
                    <a:lnTo>
                      <a:pt x="24" y="90"/>
                    </a:lnTo>
                    <a:lnTo>
                      <a:pt x="24" y="90"/>
                    </a:lnTo>
                    <a:lnTo>
                      <a:pt x="24" y="90"/>
                    </a:lnTo>
                    <a:lnTo>
                      <a:pt x="24" y="90"/>
                    </a:lnTo>
                    <a:lnTo>
                      <a:pt x="26" y="90"/>
                    </a:lnTo>
                    <a:lnTo>
                      <a:pt x="26" y="90"/>
                    </a:lnTo>
                    <a:lnTo>
                      <a:pt x="29" y="88"/>
                    </a:lnTo>
                    <a:lnTo>
                      <a:pt x="26" y="88"/>
                    </a:lnTo>
                    <a:lnTo>
                      <a:pt x="24" y="85"/>
                    </a:lnTo>
                    <a:close/>
                    <a:moveTo>
                      <a:pt x="50" y="83"/>
                    </a:moveTo>
                    <a:lnTo>
                      <a:pt x="50" y="85"/>
                    </a:lnTo>
                    <a:lnTo>
                      <a:pt x="52" y="85"/>
                    </a:lnTo>
                    <a:lnTo>
                      <a:pt x="52" y="85"/>
                    </a:lnTo>
                    <a:lnTo>
                      <a:pt x="50" y="83"/>
                    </a:lnTo>
                    <a:close/>
                    <a:moveTo>
                      <a:pt x="19" y="78"/>
                    </a:moveTo>
                    <a:lnTo>
                      <a:pt x="17" y="81"/>
                    </a:lnTo>
                    <a:lnTo>
                      <a:pt x="19" y="81"/>
                    </a:lnTo>
                    <a:lnTo>
                      <a:pt x="19" y="81"/>
                    </a:lnTo>
                    <a:lnTo>
                      <a:pt x="22" y="83"/>
                    </a:lnTo>
                    <a:lnTo>
                      <a:pt x="22" y="83"/>
                    </a:lnTo>
                    <a:lnTo>
                      <a:pt x="22" y="83"/>
                    </a:lnTo>
                    <a:lnTo>
                      <a:pt x="22" y="81"/>
                    </a:lnTo>
                    <a:lnTo>
                      <a:pt x="19" y="78"/>
                    </a:lnTo>
                    <a:close/>
                    <a:moveTo>
                      <a:pt x="55" y="81"/>
                    </a:moveTo>
                    <a:lnTo>
                      <a:pt x="52" y="81"/>
                    </a:lnTo>
                    <a:lnTo>
                      <a:pt x="50" y="78"/>
                    </a:lnTo>
                    <a:lnTo>
                      <a:pt x="50" y="81"/>
                    </a:lnTo>
                    <a:lnTo>
                      <a:pt x="50" y="81"/>
                    </a:lnTo>
                    <a:lnTo>
                      <a:pt x="52" y="83"/>
                    </a:lnTo>
                    <a:lnTo>
                      <a:pt x="52" y="83"/>
                    </a:lnTo>
                    <a:lnTo>
                      <a:pt x="52" y="83"/>
                    </a:lnTo>
                    <a:lnTo>
                      <a:pt x="55" y="83"/>
                    </a:lnTo>
                    <a:lnTo>
                      <a:pt x="55" y="83"/>
                    </a:lnTo>
                    <a:lnTo>
                      <a:pt x="55" y="81"/>
                    </a:lnTo>
                    <a:lnTo>
                      <a:pt x="55" y="81"/>
                    </a:lnTo>
                    <a:close/>
                    <a:moveTo>
                      <a:pt x="64" y="76"/>
                    </a:moveTo>
                    <a:lnTo>
                      <a:pt x="62" y="78"/>
                    </a:lnTo>
                    <a:lnTo>
                      <a:pt x="62" y="81"/>
                    </a:lnTo>
                    <a:lnTo>
                      <a:pt x="62" y="81"/>
                    </a:lnTo>
                    <a:lnTo>
                      <a:pt x="67" y="83"/>
                    </a:lnTo>
                    <a:lnTo>
                      <a:pt x="67" y="81"/>
                    </a:lnTo>
                    <a:lnTo>
                      <a:pt x="64" y="76"/>
                    </a:lnTo>
                    <a:lnTo>
                      <a:pt x="64" y="76"/>
                    </a:lnTo>
                    <a:close/>
                    <a:moveTo>
                      <a:pt x="10" y="43"/>
                    </a:moveTo>
                    <a:lnTo>
                      <a:pt x="10" y="43"/>
                    </a:lnTo>
                    <a:lnTo>
                      <a:pt x="10" y="45"/>
                    </a:lnTo>
                    <a:lnTo>
                      <a:pt x="12" y="47"/>
                    </a:lnTo>
                    <a:lnTo>
                      <a:pt x="12" y="45"/>
                    </a:lnTo>
                    <a:lnTo>
                      <a:pt x="10" y="43"/>
                    </a:lnTo>
                    <a:close/>
                    <a:moveTo>
                      <a:pt x="81" y="24"/>
                    </a:moveTo>
                    <a:lnTo>
                      <a:pt x="81" y="21"/>
                    </a:lnTo>
                    <a:lnTo>
                      <a:pt x="78" y="21"/>
                    </a:lnTo>
                    <a:lnTo>
                      <a:pt x="78" y="24"/>
                    </a:lnTo>
                    <a:lnTo>
                      <a:pt x="78" y="24"/>
                    </a:lnTo>
                    <a:lnTo>
                      <a:pt x="81" y="24"/>
                    </a:lnTo>
                    <a:lnTo>
                      <a:pt x="81" y="24"/>
                    </a:lnTo>
                    <a:lnTo>
                      <a:pt x="81" y="24"/>
                    </a:lnTo>
                    <a:close/>
                    <a:moveTo>
                      <a:pt x="0" y="17"/>
                    </a:moveTo>
                    <a:lnTo>
                      <a:pt x="0" y="17"/>
                    </a:lnTo>
                    <a:lnTo>
                      <a:pt x="0" y="17"/>
                    </a:lnTo>
                    <a:lnTo>
                      <a:pt x="0" y="19"/>
                    </a:lnTo>
                    <a:lnTo>
                      <a:pt x="3" y="21"/>
                    </a:lnTo>
                    <a:lnTo>
                      <a:pt x="3" y="21"/>
                    </a:lnTo>
                    <a:lnTo>
                      <a:pt x="3" y="21"/>
                    </a:lnTo>
                    <a:lnTo>
                      <a:pt x="3" y="19"/>
                    </a:lnTo>
                    <a:lnTo>
                      <a:pt x="0" y="17"/>
                    </a:lnTo>
                    <a:close/>
                    <a:moveTo>
                      <a:pt x="71" y="57"/>
                    </a:moveTo>
                    <a:lnTo>
                      <a:pt x="71" y="55"/>
                    </a:lnTo>
                    <a:lnTo>
                      <a:pt x="69" y="55"/>
                    </a:lnTo>
                    <a:lnTo>
                      <a:pt x="69" y="55"/>
                    </a:lnTo>
                    <a:lnTo>
                      <a:pt x="69" y="55"/>
                    </a:lnTo>
                    <a:lnTo>
                      <a:pt x="67" y="55"/>
                    </a:lnTo>
                    <a:lnTo>
                      <a:pt x="67" y="52"/>
                    </a:lnTo>
                    <a:lnTo>
                      <a:pt x="67" y="52"/>
                    </a:lnTo>
                    <a:lnTo>
                      <a:pt x="64" y="50"/>
                    </a:lnTo>
                    <a:lnTo>
                      <a:pt x="64" y="47"/>
                    </a:lnTo>
                    <a:lnTo>
                      <a:pt x="64" y="45"/>
                    </a:lnTo>
                    <a:lnTo>
                      <a:pt x="62" y="43"/>
                    </a:lnTo>
                    <a:lnTo>
                      <a:pt x="62" y="40"/>
                    </a:lnTo>
                    <a:lnTo>
                      <a:pt x="60" y="36"/>
                    </a:lnTo>
                    <a:lnTo>
                      <a:pt x="60" y="33"/>
                    </a:lnTo>
                    <a:lnTo>
                      <a:pt x="55" y="29"/>
                    </a:lnTo>
                    <a:lnTo>
                      <a:pt x="48" y="19"/>
                    </a:lnTo>
                    <a:lnTo>
                      <a:pt x="41" y="14"/>
                    </a:lnTo>
                    <a:lnTo>
                      <a:pt x="34" y="10"/>
                    </a:lnTo>
                    <a:lnTo>
                      <a:pt x="26" y="0"/>
                    </a:lnTo>
                    <a:lnTo>
                      <a:pt x="26" y="0"/>
                    </a:lnTo>
                    <a:lnTo>
                      <a:pt x="26" y="2"/>
                    </a:lnTo>
                    <a:lnTo>
                      <a:pt x="26" y="5"/>
                    </a:lnTo>
                    <a:lnTo>
                      <a:pt x="24" y="5"/>
                    </a:lnTo>
                    <a:lnTo>
                      <a:pt x="24" y="5"/>
                    </a:lnTo>
                    <a:lnTo>
                      <a:pt x="24" y="5"/>
                    </a:lnTo>
                    <a:lnTo>
                      <a:pt x="22" y="7"/>
                    </a:lnTo>
                    <a:lnTo>
                      <a:pt x="19" y="5"/>
                    </a:lnTo>
                    <a:lnTo>
                      <a:pt x="17" y="5"/>
                    </a:lnTo>
                    <a:lnTo>
                      <a:pt x="15" y="5"/>
                    </a:lnTo>
                    <a:lnTo>
                      <a:pt x="15" y="7"/>
                    </a:lnTo>
                    <a:lnTo>
                      <a:pt x="10" y="5"/>
                    </a:lnTo>
                    <a:lnTo>
                      <a:pt x="7" y="7"/>
                    </a:lnTo>
                    <a:lnTo>
                      <a:pt x="7" y="7"/>
                    </a:lnTo>
                    <a:lnTo>
                      <a:pt x="5" y="7"/>
                    </a:lnTo>
                    <a:lnTo>
                      <a:pt x="5" y="10"/>
                    </a:lnTo>
                    <a:lnTo>
                      <a:pt x="5" y="10"/>
                    </a:lnTo>
                    <a:lnTo>
                      <a:pt x="5" y="12"/>
                    </a:lnTo>
                    <a:lnTo>
                      <a:pt x="3" y="14"/>
                    </a:lnTo>
                    <a:lnTo>
                      <a:pt x="5" y="17"/>
                    </a:lnTo>
                    <a:lnTo>
                      <a:pt x="5" y="17"/>
                    </a:lnTo>
                    <a:lnTo>
                      <a:pt x="3" y="17"/>
                    </a:lnTo>
                    <a:lnTo>
                      <a:pt x="3" y="19"/>
                    </a:lnTo>
                    <a:lnTo>
                      <a:pt x="3" y="19"/>
                    </a:lnTo>
                    <a:lnTo>
                      <a:pt x="3" y="19"/>
                    </a:lnTo>
                    <a:lnTo>
                      <a:pt x="5" y="19"/>
                    </a:lnTo>
                    <a:lnTo>
                      <a:pt x="5" y="21"/>
                    </a:lnTo>
                    <a:lnTo>
                      <a:pt x="7" y="21"/>
                    </a:lnTo>
                    <a:lnTo>
                      <a:pt x="7" y="24"/>
                    </a:lnTo>
                    <a:lnTo>
                      <a:pt x="7" y="26"/>
                    </a:lnTo>
                    <a:lnTo>
                      <a:pt x="10" y="29"/>
                    </a:lnTo>
                    <a:lnTo>
                      <a:pt x="12" y="31"/>
                    </a:lnTo>
                    <a:lnTo>
                      <a:pt x="12" y="31"/>
                    </a:lnTo>
                    <a:lnTo>
                      <a:pt x="12" y="31"/>
                    </a:lnTo>
                    <a:lnTo>
                      <a:pt x="15" y="36"/>
                    </a:lnTo>
                    <a:lnTo>
                      <a:pt x="17" y="36"/>
                    </a:lnTo>
                    <a:lnTo>
                      <a:pt x="17" y="36"/>
                    </a:lnTo>
                    <a:lnTo>
                      <a:pt x="17" y="36"/>
                    </a:lnTo>
                    <a:lnTo>
                      <a:pt x="17" y="38"/>
                    </a:lnTo>
                    <a:lnTo>
                      <a:pt x="17" y="38"/>
                    </a:lnTo>
                    <a:lnTo>
                      <a:pt x="17" y="38"/>
                    </a:lnTo>
                    <a:lnTo>
                      <a:pt x="15" y="36"/>
                    </a:lnTo>
                    <a:lnTo>
                      <a:pt x="12" y="36"/>
                    </a:lnTo>
                    <a:lnTo>
                      <a:pt x="10" y="33"/>
                    </a:lnTo>
                    <a:lnTo>
                      <a:pt x="7" y="33"/>
                    </a:lnTo>
                    <a:lnTo>
                      <a:pt x="7" y="36"/>
                    </a:lnTo>
                    <a:lnTo>
                      <a:pt x="7" y="36"/>
                    </a:lnTo>
                    <a:lnTo>
                      <a:pt x="5" y="38"/>
                    </a:lnTo>
                    <a:lnTo>
                      <a:pt x="5" y="38"/>
                    </a:lnTo>
                    <a:lnTo>
                      <a:pt x="5" y="40"/>
                    </a:lnTo>
                    <a:lnTo>
                      <a:pt x="7" y="40"/>
                    </a:lnTo>
                    <a:lnTo>
                      <a:pt x="10" y="43"/>
                    </a:lnTo>
                    <a:lnTo>
                      <a:pt x="10" y="40"/>
                    </a:lnTo>
                    <a:lnTo>
                      <a:pt x="12" y="40"/>
                    </a:lnTo>
                    <a:lnTo>
                      <a:pt x="12" y="43"/>
                    </a:lnTo>
                    <a:lnTo>
                      <a:pt x="15" y="45"/>
                    </a:lnTo>
                    <a:lnTo>
                      <a:pt x="15" y="47"/>
                    </a:lnTo>
                    <a:lnTo>
                      <a:pt x="15" y="47"/>
                    </a:lnTo>
                    <a:lnTo>
                      <a:pt x="17" y="50"/>
                    </a:lnTo>
                    <a:lnTo>
                      <a:pt x="17" y="52"/>
                    </a:lnTo>
                    <a:lnTo>
                      <a:pt x="17" y="55"/>
                    </a:lnTo>
                    <a:lnTo>
                      <a:pt x="19" y="55"/>
                    </a:lnTo>
                    <a:lnTo>
                      <a:pt x="22" y="55"/>
                    </a:lnTo>
                    <a:lnTo>
                      <a:pt x="19" y="57"/>
                    </a:lnTo>
                    <a:lnTo>
                      <a:pt x="22" y="57"/>
                    </a:lnTo>
                    <a:lnTo>
                      <a:pt x="22" y="57"/>
                    </a:lnTo>
                    <a:lnTo>
                      <a:pt x="22" y="59"/>
                    </a:lnTo>
                    <a:lnTo>
                      <a:pt x="24" y="62"/>
                    </a:lnTo>
                    <a:lnTo>
                      <a:pt x="22" y="62"/>
                    </a:lnTo>
                    <a:lnTo>
                      <a:pt x="22" y="62"/>
                    </a:lnTo>
                    <a:lnTo>
                      <a:pt x="19" y="64"/>
                    </a:lnTo>
                    <a:lnTo>
                      <a:pt x="19" y="64"/>
                    </a:lnTo>
                    <a:lnTo>
                      <a:pt x="22" y="64"/>
                    </a:lnTo>
                    <a:lnTo>
                      <a:pt x="24" y="64"/>
                    </a:lnTo>
                    <a:lnTo>
                      <a:pt x="22" y="66"/>
                    </a:lnTo>
                    <a:lnTo>
                      <a:pt x="22" y="66"/>
                    </a:lnTo>
                    <a:lnTo>
                      <a:pt x="22" y="66"/>
                    </a:lnTo>
                    <a:lnTo>
                      <a:pt x="22" y="71"/>
                    </a:lnTo>
                    <a:lnTo>
                      <a:pt x="22" y="74"/>
                    </a:lnTo>
                    <a:lnTo>
                      <a:pt x="22" y="74"/>
                    </a:lnTo>
                    <a:lnTo>
                      <a:pt x="22" y="76"/>
                    </a:lnTo>
                    <a:lnTo>
                      <a:pt x="24" y="78"/>
                    </a:lnTo>
                    <a:lnTo>
                      <a:pt x="26" y="81"/>
                    </a:lnTo>
                    <a:lnTo>
                      <a:pt x="26" y="81"/>
                    </a:lnTo>
                    <a:lnTo>
                      <a:pt x="29" y="81"/>
                    </a:lnTo>
                    <a:lnTo>
                      <a:pt x="29" y="81"/>
                    </a:lnTo>
                    <a:lnTo>
                      <a:pt x="29" y="83"/>
                    </a:lnTo>
                    <a:lnTo>
                      <a:pt x="26" y="83"/>
                    </a:lnTo>
                    <a:lnTo>
                      <a:pt x="29" y="83"/>
                    </a:lnTo>
                    <a:lnTo>
                      <a:pt x="29" y="83"/>
                    </a:lnTo>
                    <a:lnTo>
                      <a:pt x="26" y="83"/>
                    </a:lnTo>
                    <a:lnTo>
                      <a:pt x="24" y="83"/>
                    </a:lnTo>
                    <a:lnTo>
                      <a:pt x="24" y="83"/>
                    </a:lnTo>
                    <a:lnTo>
                      <a:pt x="26" y="85"/>
                    </a:lnTo>
                    <a:lnTo>
                      <a:pt x="29" y="88"/>
                    </a:lnTo>
                    <a:lnTo>
                      <a:pt x="31" y="90"/>
                    </a:lnTo>
                    <a:lnTo>
                      <a:pt x="31" y="90"/>
                    </a:lnTo>
                    <a:lnTo>
                      <a:pt x="31" y="92"/>
                    </a:lnTo>
                    <a:lnTo>
                      <a:pt x="34" y="92"/>
                    </a:lnTo>
                    <a:lnTo>
                      <a:pt x="34" y="90"/>
                    </a:lnTo>
                    <a:lnTo>
                      <a:pt x="34" y="88"/>
                    </a:lnTo>
                    <a:lnTo>
                      <a:pt x="36" y="88"/>
                    </a:lnTo>
                    <a:lnTo>
                      <a:pt x="36" y="88"/>
                    </a:lnTo>
                    <a:lnTo>
                      <a:pt x="38" y="90"/>
                    </a:lnTo>
                    <a:lnTo>
                      <a:pt x="38" y="85"/>
                    </a:lnTo>
                    <a:lnTo>
                      <a:pt x="41" y="83"/>
                    </a:lnTo>
                    <a:lnTo>
                      <a:pt x="41" y="83"/>
                    </a:lnTo>
                    <a:lnTo>
                      <a:pt x="43" y="85"/>
                    </a:lnTo>
                    <a:lnTo>
                      <a:pt x="41" y="85"/>
                    </a:lnTo>
                    <a:lnTo>
                      <a:pt x="41" y="88"/>
                    </a:lnTo>
                    <a:lnTo>
                      <a:pt x="45" y="88"/>
                    </a:lnTo>
                    <a:lnTo>
                      <a:pt x="45" y="88"/>
                    </a:lnTo>
                    <a:lnTo>
                      <a:pt x="45" y="88"/>
                    </a:lnTo>
                    <a:lnTo>
                      <a:pt x="45" y="85"/>
                    </a:lnTo>
                    <a:lnTo>
                      <a:pt x="45" y="83"/>
                    </a:lnTo>
                    <a:lnTo>
                      <a:pt x="43" y="83"/>
                    </a:lnTo>
                    <a:lnTo>
                      <a:pt x="43" y="81"/>
                    </a:lnTo>
                    <a:lnTo>
                      <a:pt x="43" y="81"/>
                    </a:lnTo>
                    <a:lnTo>
                      <a:pt x="45" y="81"/>
                    </a:lnTo>
                    <a:lnTo>
                      <a:pt x="45" y="83"/>
                    </a:lnTo>
                    <a:lnTo>
                      <a:pt x="48" y="83"/>
                    </a:lnTo>
                    <a:lnTo>
                      <a:pt x="50" y="83"/>
                    </a:lnTo>
                    <a:lnTo>
                      <a:pt x="50" y="83"/>
                    </a:lnTo>
                    <a:lnTo>
                      <a:pt x="48" y="81"/>
                    </a:lnTo>
                    <a:lnTo>
                      <a:pt x="48" y="81"/>
                    </a:lnTo>
                    <a:lnTo>
                      <a:pt x="48" y="78"/>
                    </a:lnTo>
                    <a:lnTo>
                      <a:pt x="48" y="78"/>
                    </a:lnTo>
                    <a:lnTo>
                      <a:pt x="50" y="78"/>
                    </a:lnTo>
                    <a:lnTo>
                      <a:pt x="52" y="76"/>
                    </a:lnTo>
                    <a:lnTo>
                      <a:pt x="52" y="76"/>
                    </a:lnTo>
                    <a:lnTo>
                      <a:pt x="55" y="78"/>
                    </a:lnTo>
                    <a:lnTo>
                      <a:pt x="55" y="78"/>
                    </a:lnTo>
                    <a:lnTo>
                      <a:pt x="57" y="78"/>
                    </a:lnTo>
                    <a:lnTo>
                      <a:pt x="60" y="81"/>
                    </a:lnTo>
                    <a:lnTo>
                      <a:pt x="62" y="81"/>
                    </a:lnTo>
                    <a:lnTo>
                      <a:pt x="60" y="78"/>
                    </a:lnTo>
                    <a:lnTo>
                      <a:pt x="60" y="76"/>
                    </a:lnTo>
                    <a:lnTo>
                      <a:pt x="60" y="76"/>
                    </a:lnTo>
                    <a:lnTo>
                      <a:pt x="60" y="76"/>
                    </a:lnTo>
                    <a:lnTo>
                      <a:pt x="62" y="74"/>
                    </a:lnTo>
                    <a:lnTo>
                      <a:pt x="64" y="76"/>
                    </a:lnTo>
                    <a:lnTo>
                      <a:pt x="69" y="76"/>
                    </a:lnTo>
                    <a:lnTo>
                      <a:pt x="69" y="74"/>
                    </a:lnTo>
                    <a:lnTo>
                      <a:pt x="71" y="74"/>
                    </a:lnTo>
                    <a:lnTo>
                      <a:pt x="74" y="71"/>
                    </a:lnTo>
                    <a:lnTo>
                      <a:pt x="74" y="66"/>
                    </a:lnTo>
                    <a:lnTo>
                      <a:pt x="71" y="62"/>
                    </a:lnTo>
                    <a:lnTo>
                      <a:pt x="71" y="57"/>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51"/>
              <p:cNvSpPr>
                <a:spLocks noEditPoints="1"/>
              </p:cNvSpPr>
              <p:nvPr/>
            </p:nvSpPr>
            <p:spPr bwMode="auto">
              <a:xfrm>
                <a:off x="3051" y="3269"/>
                <a:ext cx="298" cy="267"/>
              </a:xfrm>
              <a:custGeom>
                <a:avLst/>
                <a:gdLst>
                  <a:gd name="T0" fmla="*/ 282 w 298"/>
                  <a:gd name="T1" fmla="*/ 97 h 267"/>
                  <a:gd name="T2" fmla="*/ 270 w 298"/>
                  <a:gd name="T3" fmla="*/ 106 h 267"/>
                  <a:gd name="T4" fmla="*/ 261 w 298"/>
                  <a:gd name="T5" fmla="*/ 90 h 267"/>
                  <a:gd name="T6" fmla="*/ 272 w 298"/>
                  <a:gd name="T7" fmla="*/ 76 h 267"/>
                  <a:gd name="T8" fmla="*/ 282 w 298"/>
                  <a:gd name="T9" fmla="*/ 76 h 267"/>
                  <a:gd name="T10" fmla="*/ 284 w 298"/>
                  <a:gd name="T11" fmla="*/ 47 h 267"/>
                  <a:gd name="T12" fmla="*/ 280 w 298"/>
                  <a:gd name="T13" fmla="*/ 33 h 267"/>
                  <a:gd name="T14" fmla="*/ 275 w 298"/>
                  <a:gd name="T15" fmla="*/ 14 h 267"/>
                  <a:gd name="T16" fmla="*/ 265 w 298"/>
                  <a:gd name="T17" fmla="*/ 2 h 267"/>
                  <a:gd name="T18" fmla="*/ 237 w 298"/>
                  <a:gd name="T19" fmla="*/ 0 h 267"/>
                  <a:gd name="T20" fmla="*/ 220 w 298"/>
                  <a:gd name="T21" fmla="*/ 9 h 267"/>
                  <a:gd name="T22" fmla="*/ 209 w 298"/>
                  <a:gd name="T23" fmla="*/ 21 h 267"/>
                  <a:gd name="T24" fmla="*/ 201 w 298"/>
                  <a:gd name="T25" fmla="*/ 26 h 267"/>
                  <a:gd name="T26" fmla="*/ 194 w 298"/>
                  <a:gd name="T27" fmla="*/ 33 h 267"/>
                  <a:gd name="T28" fmla="*/ 178 w 298"/>
                  <a:gd name="T29" fmla="*/ 52 h 267"/>
                  <a:gd name="T30" fmla="*/ 168 w 298"/>
                  <a:gd name="T31" fmla="*/ 69 h 267"/>
                  <a:gd name="T32" fmla="*/ 157 w 298"/>
                  <a:gd name="T33" fmla="*/ 76 h 267"/>
                  <a:gd name="T34" fmla="*/ 140 w 298"/>
                  <a:gd name="T35" fmla="*/ 73 h 267"/>
                  <a:gd name="T36" fmla="*/ 126 w 298"/>
                  <a:gd name="T37" fmla="*/ 66 h 267"/>
                  <a:gd name="T38" fmla="*/ 116 w 298"/>
                  <a:gd name="T39" fmla="*/ 73 h 267"/>
                  <a:gd name="T40" fmla="*/ 104 w 298"/>
                  <a:gd name="T41" fmla="*/ 92 h 267"/>
                  <a:gd name="T42" fmla="*/ 95 w 298"/>
                  <a:gd name="T43" fmla="*/ 99 h 267"/>
                  <a:gd name="T44" fmla="*/ 78 w 298"/>
                  <a:gd name="T45" fmla="*/ 99 h 267"/>
                  <a:gd name="T46" fmla="*/ 81 w 298"/>
                  <a:gd name="T47" fmla="*/ 83 h 267"/>
                  <a:gd name="T48" fmla="*/ 74 w 298"/>
                  <a:gd name="T49" fmla="*/ 64 h 267"/>
                  <a:gd name="T50" fmla="*/ 64 w 298"/>
                  <a:gd name="T51" fmla="*/ 92 h 267"/>
                  <a:gd name="T52" fmla="*/ 60 w 298"/>
                  <a:gd name="T53" fmla="*/ 135 h 267"/>
                  <a:gd name="T54" fmla="*/ 50 w 298"/>
                  <a:gd name="T55" fmla="*/ 142 h 267"/>
                  <a:gd name="T56" fmla="*/ 29 w 298"/>
                  <a:gd name="T57" fmla="*/ 140 h 267"/>
                  <a:gd name="T58" fmla="*/ 17 w 298"/>
                  <a:gd name="T59" fmla="*/ 135 h 267"/>
                  <a:gd name="T60" fmla="*/ 15 w 298"/>
                  <a:gd name="T61" fmla="*/ 128 h 267"/>
                  <a:gd name="T62" fmla="*/ 8 w 298"/>
                  <a:gd name="T63" fmla="*/ 128 h 267"/>
                  <a:gd name="T64" fmla="*/ 0 w 298"/>
                  <a:gd name="T65" fmla="*/ 135 h 267"/>
                  <a:gd name="T66" fmla="*/ 22 w 298"/>
                  <a:gd name="T67" fmla="*/ 187 h 267"/>
                  <a:gd name="T68" fmla="*/ 31 w 298"/>
                  <a:gd name="T69" fmla="*/ 220 h 267"/>
                  <a:gd name="T70" fmla="*/ 26 w 298"/>
                  <a:gd name="T71" fmla="*/ 230 h 267"/>
                  <a:gd name="T72" fmla="*/ 34 w 298"/>
                  <a:gd name="T73" fmla="*/ 246 h 267"/>
                  <a:gd name="T74" fmla="*/ 34 w 298"/>
                  <a:gd name="T75" fmla="*/ 253 h 267"/>
                  <a:gd name="T76" fmla="*/ 41 w 298"/>
                  <a:gd name="T77" fmla="*/ 253 h 267"/>
                  <a:gd name="T78" fmla="*/ 45 w 298"/>
                  <a:gd name="T79" fmla="*/ 258 h 267"/>
                  <a:gd name="T80" fmla="*/ 55 w 298"/>
                  <a:gd name="T81" fmla="*/ 265 h 267"/>
                  <a:gd name="T82" fmla="*/ 76 w 298"/>
                  <a:gd name="T83" fmla="*/ 258 h 267"/>
                  <a:gd name="T84" fmla="*/ 102 w 298"/>
                  <a:gd name="T85" fmla="*/ 251 h 267"/>
                  <a:gd name="T86" fmla="*/ 126 w 298"/>
                  <a:gd name="T87" fmla="*/ 248 h 267"/>
                  <a:gd name="T88" fmla="*/ 154 w 298"/>
                  <a:gd name="T89" fmla="*/ 248 h 267"/>
                  <a:gd name="T90" fmla="*/ 175 w 298"/>
                  <a:gd name="T91" fmla="*/ 244 h 267"/>
                  <a:gd name="T92" fmla="*/ 213 w 298"/>
                  <a:gd name="T93" fmla="*/ 220 h 267"/>
                  <a:gd name="T94" fmla="*/ 246 w 298"/>
                  <a:gd name="T95" fmla="*/ 187 h 267"/>
                  <a:gd name="T96" fmla="*/ 277 w 298"/>
                  <a:gd name="T97" fmla="*/ 142 h 267"/>
                  <a:gd name="T98" fmla="*/ 294 w 298"/>
                  <a:gd name="T99" fmla="*/ 116 h 267"/>
                  <a:gd name="T100" fmla="*/ 232 w 298"/>
                  <a:gd name="T101" fmla="*/ 154 h 267"/>
                  <a:gd name="T102" fmla="*/ 225 w 298"/>
                  <a:gd name="T103" fmla="*/ 166 h 267"/>
                  <a:gd name="T104" fmla="*/ 216 w 298"/>
                  <a:gd name="T105" fmla="*/ 168 h 267"/>
                  <a:gd name="T106" fmla="*/ 209 w 298"/>
                  <a:gd name="T107" fmla="*/ 177 h 267"/>
                  <a:gd name="T108" fmla="*/ 199 w 298"/>
                  <a:gd name="T109" fmla="*/ 175 h 267"/>
                  <a:gd name="T110" fmla="*/ 194 w 298"/>
                  <a:gd name="T111" fmla="*/ 170 h 267"/>
                  <a:gd name="T112" fmla="*/ 190 w 298"/>
                  <a:gd name="T113" fmla="*/ 158 h 267"/>
                  <a:gd name="T114" fmla="*/ 199 w 298"/>
                  <a:gd name="T115" fmla="*/ 151 h 267"/>
                  <a:gd name="T116" fmla="*/ 209 w 298"/>
                  <a:gd name="T117" fmla="*/ 142 h 267"/>
                  <a:gd name="T118" fmla="*/ 220 w 298"/>
                  <a:gd name="T119" fmla="*/ 137 h 267"/>
                  <a:gd name="T120" fmla="*/ 230 w 298"/>
                  <a:gd name="T121" fmla="*/ 147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98" h="267">
                    <a:moveTo>
                      <a:pt x="294" y="99"/>
                    </a:moveTo>
                    <a:lnTo>
                      <a:pt x="291" y="99"/>
                    </a:lnTo>
                    <a:lnTo>
                      <a:pt x="289" y="99"/>
                    </a:lnTo>
                    <a:lnTo>
                      <a:pt x="287" y="99"/>
                    </a:lnTo>
                    <a:lnTo>
                      <a:pt x="284" y="99"/>
                    </a:lnTo>
                    <a:lnTo>
                      <a:pt x="284" y="99"/>
                    </a:lnTo>
                    <a:lnTo>
                      <a:pt x="282" y="97"/>
                    </a:lnTo>
                    <a:lnTo>
                      <a:pt x="282" y="97"/>
                    </a:lnTo>
                    <a:lnTo>
                      <a:pt x="282" y="102"/>
                    </a:lnTo>
                    <a:lnTo>
                      <a:pt x="282" y="106"/>
                    </a:lnTo>
                    <a:lnTo>
                      <a:pt x="282" y="109"/>
                    </a:lnTo>
                    <a:lnTo>
                      <a:pt x="277" y="109"/>
                    </a:lnTo>
                    <a:lnTo>
                      <a:pt x="272" y="109"/>
                    </a:lnTo>
                    <a:lnTo>
                      <a:pt x="270" y="106"/>
                    </a:lnTo>
                    <a:lnTo>
                      <a:pt x="265" y="104"/>
                    </a:lnTo>
                    <a:lnTo>
                      <a:pt x="263" y="99"/>
                    </a:lnTo>
                    <a:lnTo>
                      <a:pt x="263" y="97"/>
                    </a:lnTo>
                    <a:lnTo>
                      <a:pt x="261" y="97"/>
                    </a:lnTo>
                    <a:lnTo>
                      <a:pt x="261" y="97"/>
                    </a:lnTo>
                    <a:lnTo>
                      <a:pt x="261" y="95"/>
                    </a:lnTo>
                    <a:lnTo>
                      <a:pt x="261" y="90"/>
                    </a:lnTo>
                    <a:lnTo>
                      <a:pt x="261" y="90"/>
                    </a:lnTo>
                    <a:lnTo>
                      <a:pt x="263" y="85"/>
                    </a:lnTo>
                    <a:lnTo>
                      <a:pt x="265" y="83"/>
                    </a:lnTo>
                    <a:lnTo>
                      <a:pt x="268" y="80"/>
                    </a:lnTo>
                    <a:lnTo>
                      <a:pt x="270" y="78"/>
                    </a:lnTo>
                    <a:lnTo>
                      <a:pt x="272" y="76"/>
                    </a:lnTo>
                    <a:lnTo>
                      <a:pt x="272" y="76"/>
                    </a:lnTo>
                    <a:lnTo>
                      <a:pt x="272" y="76"/>
                    </a:lnTo>
                    <a:lnTo>
                      <a:pt x="277" y="78"/>
                    </a:lnTo>
                    <a:lnTo>
                      <a:pt x="282" y="80"/>
                    </a:lnTo>
                    <a:lnTo>
                      <a:pt x="282" y="80"/>
                    </a:lnTo>
                    <a:lnTo>
                      <a:pt x="282" y="80"/>
                    </a:lnTo>
                    <a:lnTo>
                      <a:pt x="282" y="78"/>
                    </a:lnTo>
                    <a:lnTo>
                      <a:pt x="282" y="76"/>
                    </a:lnTo>
                    <a:lnTo>
                      <a:pt x="284" y="73"/>
                    </a:lnTo>
                    <a:lnTo>
                      <a:pt x="284" y="66"/>
                    </a:lnTo>
                    <a:lnTo>
                      <a:pt x="284" y="66"/>
                    </a:lnTo>
                    <a:lnTo>
                      <a:pt x="284" y="61"/>
                    </a:lnTo>
                    <a:lnTo>
                      <a:pt x="284" y="57"/>
                    </a:lnTo>
                    <a:lnTo>
                      <a:pt x="284" y="52"/>
                    </a:lnTo>
                    <a:lnTo>
                      <a:pt x="284" y="47"/>
                    </a:lnTo>
                    <a:lnTo>
                      <a:pt x="284" y="47"/>
                    </a:lnTo>
                    <a:lnTo>
                      <a:pt x="284" y="45"/>
                    </a:lnTo>
                    <a:lnTo>
                      <a:pt x="282" y="42"/>
                    </a:lnTo>
                    <a:lnTo>
                      <a:pt x="282" y="40"/>
                    </a:lnTo>
                    <a:lnTo>
                      <a:pt x="282" y="35"/>
                    </a:lnTo>
                    <a:lnTo>
                      <a:pt x="280" y="33"/>
                    </a:lnTo>
                    <a:lnTo>
                      <a:pt x="280" y="33"/>
                    </a:lnTo>
                    <a:lnTo>
                      <a:pt x="280" y="31"/>
                    </a:lnTo>
                    <a:lnTo>
                      <a:pt x="277" y="28"/>
                    </a:lnTo>
                    <a:lnTo>
                      <a:pt x="277" y="28"/>
                    </a:lnTo>
                    <a:lnTo>
                      <a:pt x="277" y="26"/>
                    </a:lnTo>
                    <a:lnTo>
                      <a:pt x="277" y="24"/>
                    </a:lnTo>
                    <a:lnTo>
                      <a:pt x="275" y="19"/>
                    </a:lnTo>
                    <a:lnTo>
                      <a:pt x="275" y="14"/>
                    </a:lnTo>
                    <a:lnTo>
                      <a:pt x="275" y="9"/>
                    </a:lnTo>
                    <a:lnTo>
                      <a:pt x="272" y="7"/>
                    </a:lnTo>
                    <a:lnTo>
                      <a:pt x="272" y="7"/>
                    </a:lnTo>
                    <a:lnTo>
                      <a:pt x="272" y="5"/>
                    </a:lnTo>
                    <a:lnTo>
                      <a:pt x="272" y="5"/>
                    </a:lnTo>
                    <a:lnTo>
                      <a:pt x="270" y="2"/>
                    </a:lnTo>
                    <a:lnTo>
                      <a:pt x="265" y="2"/>
                    </a:lnTo>
                    <a:lnTo>
                      <a:pt x="263" y="2"/>
                    </a:lnTo>
                    <a:lnTo>
                      <a:pt x="258" y="2"/>
                    </a:lnTo>
                    <a:lnTo>
                      <a:pt x="254" y="2"/>
                    </a:lnTo>
                    <a:lnTo>
                      <a:pt x="249" y="0"/>
                    </a:lnTo>
                    <a:lnTo>
                      <a:pt x="244" y="0"/>
                    </a:lnTo>
                    <a:lnTo>
                      <a:pt x="239" y="0"/>
                    </a:lnTo>
                    <a:lnTo>
                      <a:pt x="237" y="0"/>
                    </a:lnTo>
                    <a:lnTo>
                      <a:pt x="235" y="0"/>
                    </a:lnTo>
                    <a:lnTo>
                      <a:pt x="232" y="2"/>
                    </a:lnTo>
                    <a:lnTo>
                      <a:pt x="230" y="5"/>
                    </a:lnTo>
                    <a:lnTo>
                      <a:pt x="228" y="7"/>
                    </a:lnTo>
                    <a:lnTo>
                      <a:pt x="225" y="7"/>
                    </a:lnTo>
                    <a:lnTo>
                      <a:pt x="223" y="9"/>
                    </a:lnTo>
                    <a:lnTo>
                      <a:pt x="220" y="9"/>
                    </a:lnTo>
                    <a:lnTo>
                      <a:pt x="216" y="12"/>
                    </a:lnTo>
                    <a:lnTo>
                      <a:pt x="213" y="14"/>
                    </a:lnTo>
                    <a:lnTo>
                      <a:pt x="211" y="16"/>
                    </a:lnTo>
                    <a:lnTo>
                      <a:pt x="211" y="19"/>
                    </a:lnTo>
                    <a:lnTo>
                      <a:pt x="211" y="19"/>
                    </a:lnTo>
                    <a:lnTo>
                      <a:pt x="209" y="19"/>
                    </a:lnTo>
                    <a:lnTo>
                      <a:pt x="209" y="21"/>
                    </a:lnTo>
                    <a:lnTo>
                      <a:pt x="209" y="21"/>
                    </a:lnTo>
                    <a:lnTo>
                      <a:pt x="209" y="21"/>
                    </a:lnTo>
                    <a:lnTo>
                      <a:pt x="206" y="21"/>
                    </a:lnTo>
                    <a:lnTo>
                      <a:pt x="206" y="24"/>
                    </a:lnTo>
                    <a:lnTo>
                      <a:pt x="204" y="24"/>
                    </a:lnTo>
                    <a:lnTo>
                      <a:pt x="204" y="26"/>
                    </a:lnTo>
                    <a:lnTo>
                      <a:pt x="201" y="26"/>
                    </a:lnTo>
                    <a:lnTo>
                      <a:pt x="199" y="26"/>
                    </a:lnTo>
                    <a:lnTo>
                      <a:pt x="199" y="28"/>
                    </a:lnTo>
                    <a:lnTo>
                      <a:pt x="197" y="28"/>
                    </a:lnTo>
                    <a:lnTo>
                      <a:pt x="197" y="28"/>
                    </a:lnTo>
                    <a:lnTo>
                      <a:pt x="197" y="31"/>
                    </a:lnTo>
                    <a:lnTo>
                      <a:pt x="194" y="33"/>
                    </a:lnTo>
                    <a:lnTo>
                      <a:pt x="194" y="33"/>
                    </a:lnTo>
                    <a:lnTo>
                      <a:pt x="190" y="42"/>
                    </a:lnTo>
                    <a:lnTo>
                      <a:pt x="190" y="45"/>
                    </a:lnTo>
                    <a:lnTo>
                      <a:pt x="187" y="47"/>
                    </a:lnTo>
                    <a:lnTo>
                      <a:pt x="185" y="50"/>
                    </a:lnTo>
                    <a:lnTo>
                      <a:pt x="183" y="52"/>
                    </a:lnTo>
                    <a:lnTo>
                      <a:pt x="183" y="52"/>
                    </a:lnTo>
                    <a:lnTo>
                      <a:pt x="178" y="52"/>
                    </a:lnTo>
                    <a:lnTo>
                      <a:pt x="175" y="54"/>
                    </a:lnTo>
                    <a:lnTo>
                      <a:pt x="173" y="54"/>
                    </a:lnTo>
                    <a:lnTo>
                      <a:pt x="173" y="54"/>
                    </a:lnTo>
                    <a:lnTo>
                      <a:pt x="173" y="59"/>
                    </a:lnTo>
                    <a:lnTo>
                      <a:pt x="171" y="64"/>
                    </a:lnTo>
                    <a:lnTo>
                      <a:pt x="171" y="66"/>
                    </a:lnTo>
                    <a:lnTo>
                      <a:pt x="168" y="69"/>
                    </a:lnTo>
                    <a:lnTo>
                      <a:pt x="168" y="73"/>
                    </a:lnTo>
                    <a:lnTo>
                      <a:pt x="166" y="73"/>
                    </a:lnTo>
                    <a:lnTo>
                      <a:pt x="164" y="76"/>
                    </a:lnTo>
                    <a:lnTo>
                      <a:pt x="164" y="76"/>
                    </a:lnTo>
                    <a:lnTo>
                      <a:pt x="161" y="76"/>
                    </a:lnTo>
                    <a:lnTo>
                      <a:pt x="159" y="76"/>
                    </a:lnTo>
                    <a:lnTo>
                      <a:pt x="157" y="76"/>
                    </a:lnTo>
                    <a:lnTo>
                      <a:pt x="154" y="78"/>
                    </a:lnTo>
                    <a:lnTo>
                      <a:pt x="152" y="78"/>
                    </a:lnTo>
                    <a:lnTo>
                      <a:pt x="149" y="76"/>
                    </a:lnTo>
                    <a:lnTo>
                      <a:pt x="145" y="76"/>
                    </a:lnTo>
                    <a:lnTo>
                      <a:pt x="145" y="76"/>
                    </a:lnTo>
                    <a:lnTo>
                      <a:pt x="142" y="73"/>
                    </a:lnTo>
                    <a:lnTo>
                      <a:pt x="140" y="73"/>
                    </a:lnTo>
                    <a:lnTo>
                      <a:pt x="138" y="73"/>
                    </a:lnTo>
                    <a:lnTo>
                      <a:pt x="138" y="73"/>
                    </a:lnTo>
                    <a:lnTo>
                      <a:pt x="135" y="71"/>
                    </a:lnTo>
                    <a:lnTo>
                      <a:pt x="133" y="69"/>
                    </a:lnTo>
                    <a:lnTo>
                      <a:pt x="131" y="66"/>
                    </a:lnTo>
                    <a:lnTo>
                      <a:pt x="128" y="66"/>
                    </a:lnTo>
                    <a:lnTo>
                      <a:pt x="126" y="66"/>
                    </a:lnTo>
                    <a:lnTo>
                      <a:pt x="123" y="66"/>
                    </a:lnTo>
                    <a:lnTo>
                      <a:pt x="121" y="66"/>
                    </a:lnTo>
                    <a:lnTo>
                      <a:pt x="121" y="66"/>
                    </a:lnTo>
                    <a:lnTo>
                      <a:pt x="119" y="69"/>
                    </a:lnTo>
                    <a:lnTo>
                      <a:pt x="119" y="69"/>
                    </a:lnTo>
                    <a:lnTo>
                      <a:pt x="116" y="73"/>
                    </a:lnTo>
                    <a:lnTo>
                      <a:pt x="116" y="73"/>
                    </a:lnTo>
                    <a:lnTo>
                      <a:pt x="116" y="78"/>
                    </a:lnTo>
                    <a:lnTo>
                      <a:pt x="114" y="83"/>
                    </a:lnTo>
                    <a:lnTo>
                      <a:pt x="114" y="83"/>
                    </a:lnTo>
                    <a:lnTo>
                      <a:pt x="112" y="85"/>
                    </a:lnTo>
                    <a:lnTo>
                      <a:pt x="112" y="85"/>
                    </a:lnTo>
                    <a:lnTo>
                      <a:pt x="107" y="90"/>
                    </a:lnTo>
                    <a:lnTo>
                      <a:pt x="104" y="92"/>
                    </a:lnTo>
                    <a:lnTo>
                      <a:pt x="102" y="95"/>
                    </a:lnTo>
                    <a:lnTo>
                      <a:pt x="100" y="95"/>
                    </a:lnTo>
                    <a:lnTo>
                      <a:pt x="100" y="95"/>
                    </a:lnTo>
                    <a:lnTo>
                      <a:pt x="97" y="97"/>
                    </a:lnTo>
                    <a:lnTo>
                      <a:pt x="97" y="97"/>
                    </a:lnTo>
                    <a:lnTo>
                      <a:pt x="95" y="99"/>
                    </a:lnTo>
                    <a:lnTo>
                      <a:pt x="95" y="99"/>
                    </a:lnTo>
                    <a:lnTo>
                      <a:pt x="93" y="99"/>
                    </a:lnTo>
                    <a:lnTo>
                      <a:pt x="93" y="99"/>
                    </a:lnTo>
                    <a:lnTo>
                      <a:pt x="86" y="99"/>
                    </a:lnTo>
                    <a:lnTo>
                      <a:pt x="83" y="99"/>
                    </a:lnTo>
                    <a:lnTo>
                      <a:pt x="81" y="97"/>
                    </a:lnTo>
                    <a:lnTo>
                      <a:pt x="78" y="99"/>
                    </a:lnTo>
                    <a:lnTo>
                      <a:pt x="78" y="99"/>
                    </a:lnTo>
                    <a:lnTo>
                      <a:pt x="76" y="97"/>
                    </a:lnTo>
                    <a:lnTo>
                      <a:pt x="76" y="92"/>
                    </a:lnTo>
                    <a:lnTo>
                      <a:pt x="76" y="90"/>
                    </a:lnTo>
                    <a:lnTo>
                      <a:pt x="78" y="87"/>
                    </a:lnTo>
                    <a:lnTo>
                      <a:pt x="78" y="87"/>
                    </a:lnTo>
                    <a:lnTo>
                      <a:pt x="81" y="85"/>
                    </a:lnTo>
                    <a:lnTo>
                      <a:pt x="81" y="83"/>
                    </a:lnTo>
                    <a:lnTo>
                      <a:pt x="81" y="83"/>
                    </a:lnTo>
                    <a:lnTo>
                      <a:pt x="81" y="80"/>
                    </a:lnTo>
                    <a:lnTo>
                      <a:pt x="81" y="78"/>
                    </a:lnTo>
                    <a:lnTo>
                      <a:pt x="78" y="76"/>
                    </a:lnTo>
                    <a:lnTo>
                      <a:pt x="76" y="71"/>
                    </a:lnTo>
                    <a:lnTo>
                      <a:pt x="74" y="64"/>
                    </a:lnTo>
                    <a:lnTo>
                      <a:pt x="74" y="64"/>
                    </a:lnTo>
                    <a:lnTo>
                      <a:pt x="71" y="61"/>
                    </a:lnTo>
                    <a:lnTo>
                      <a:pt x="67" y="57"/>
                    </a:lnTo>
                    <a:lnTo>
                      <a:pt x="67" y="54"/>
                    </a:lnTo>
                    <a:lnTo>
                      <a:pt x="67" y="64"/>
                    </a:lnTo>
                    <a:lnTo>
                      <a:pt x="67" y="73"/>
                    </a:lnTo>
                    <a:lnTo>
                      <a:pt x="64" y="83"/>
                    </a:lnTo>
                    <a:lnTo>
                      <a:pt x="64" y="92"/>
                    </a:lnTo>
                    <a:lnTo>
                      <a:pt x="64" y="102"/>
                    </a:lnTo>
                    <a:lnTo>
                      <a:pt x="64" y="111"/>
                    </a:lnTo>
                    <a:lnTo>
                      <a:pt x="64" y="121"/>
                    </a:lnTo>
                    <a:lnTo>
                      <a:pt x="64" y="130"/>
                    </a:lnTo>
                    <a:lnTo>
                      <a:pt x="64" y="132"/>
                    </a:lnTo>
                    <a:lnTo>
                      <a:pt x="62" y="132"/>
                    </a:lnTo>
                    <a:lnTo>
                      <a:pt x="60" y="135"/>
                    </a:lnTo>
                    <a:lnTo>
                      <a:pt x="57" y="135"/>
                    </a:lnTo>
                    <a:lnTo>
                      <a:pt x="55" y="137"/>
                    </a:lnTo>
                    <a:lnTo>
                      <a:pt x="55" y="137"/>
                    </a:lnTo>
                    <a:lnTo>
                      <a:pt x="52" y="140"/>
                    </a:lnTo>
                    <a:lnTo>
                      <a:pt x="52" y="140"/>
                    </a:lnTo>
                    <a:lnTo>
                      <a:pt x="52" y="142"/>
                    </a:lnTo>
                    <a:lnTo>
                      <a:pt x="50" y="142"/>
                    </a:lnTo>
                    <a:lnTo>
                      <a:pt x="50" y="142"/>
                    </a:lnTo>
                    <a:lnTo>
                      <a:pt x="48" y="142"/>
                    </a:lnTo>
                    <a:lnTo>
                      <a:pt x="43" y="142"/>
                    </a:lnTo>
                    <a:lnTo>
                      <a:pt x="38" y="142"/>
                    </a:lnTo>
                    <a:lnTo>
                      <a:pt x="34" y="142"/>
                    </a:lnTo>
                    <a:lnTo>
                      <a:pt x="31" y="142"/>
                    </a:lnTo>
                    <a:lnTo>
                      <a:pt x="29" y="140"/>
                    </a:lnTo>
                    <a:lnTo>
                      <a:pt x="26" y="140"/>
                    </a:lnTo>
                    <a:lnTo>
                      <a:pt x="24" y="140"/>
                    </a:lnTo>
                    <a:lnTo>
                      <a:pt x="22" y="140"/>
                    </a:lnTo>
                    <a:lnTo>
                      <a:pt x="19" y="137"/>
                    </a:lnTo>
                    <a:lnTo>
                      <a:pt x="19" y="137"/>
                    </a:lnTo>
                    <a:lnTo>
                      <a:pt x="17" y="135"/>
                    </a:lnTo>
                    <a:lnTo>
                      <a:pt x="17" y="135"/>
                    </a:lnTo>
                    <a:lnTo>
                      <a:pt x="17" y="132"/>
                    </a:lnTo>
                    <a:lnTo>
                      <a:pt x="17" y="132"/>
                    </a:lnTo>
                    <a:lnTo>
                      <a:pt x="17" y="130"/>
                    </a:lnTo>
                    <a:lnTo>
                      <a:pt x="17" y="128"/>
                    </a:lnTo>
                    <a:lnTo>
                      <a:pt x="17" y="128"/>
                    </a:lnTo>
                    <a:lnTo>
                      <a:pt x="15" y="128"/>
                    </a:lnTo>
                    <a:lnTo>
                      <a:pt x="15" y="128"/>
                    </a:lnTo>
                    <a:lnTo>
                      <a:pt x="15" y="125"/>
                    </a:lnTo>
                    <a:lnTo>
                      <a:pt x="15" y="125"/>
                    </a:lnTo>
                    <a:lnTo>
                      <a:pt x="12" y="123"/>
                    </a:lnTo>
                    <a:lnTo>
                      <a:pt x="10" y="125"/>
                    </a:lnTo>
                    <a:lnTo>
                      <a:pt x="8" y="125"/>
                    </a:lnTo>
                    <a:lnTo>
                      <a:pt x="8" y="128"/>
                    </a:lnTo>
                    <a:lnTo>
                      <a:pt x="8" y="128"/>
                    </a:lnTo>
                    <a:lnTo>
                      <a:pt x="8" y="130"/>
                    </a:lnTo>
                    <a:lnTo>
                      <a:pt x="8" y="132"/>
                    </a:lnTo>
                    <a:lnTo>
                      <a:pt x="8" y="132"/>
                    </a:lnTo>
                    <a:lnTo>
                      <a:pt x="5" y="132"/>
                    </a:lnTo>
                    <a:lnTo>
                      <a:pt x="5" y="132"/>
                    </a:lnTo>
                    <a:lnTo>
                      <a:pt x="5" y="132"/>
                    </a:lnTo>
                    <a:lnTo>
                      <a:pt x="0" y="135"/>
                    </a:lnTo>
                    <a:lnTo>
                      <a:pt x="0" y="137"/>
                    </a:lnTo>
                    <a:lnTo>
                      <a:pt x="0" y="137"/>
                    </a:lnTo>
                    <a:lnTo>
                      <a:pt x="5" y="144"/>
                    </a:lnTo>
                    <a:lnTo>
                      <a:pt x="10" y="154"/>
                    </a:lnTo>
                    <a:lnTo>
                      <a:pt x="15" y="168"/>
                    </a:lnTo>
                    <a:lnTo>
                      <a:pt x="17" y="175"/>
                    </a:lnTo>
                    <a:lnTo>
                      <a:pt x="22" y="187"/>
                    </a:lnTo>
                    <a:lnTo>
                      <a:pt x="26" y="194"/>
                    </a:lnTo>
                    <a:lnTo>
                      <a:pt x="31" y="201"/>
                    </a:lnTo>
                    <a:lnTo>
                      <a:pt x="31" y="201"/>
                    </a:lnTo>
                    <a:lnTo>
                      <a:pt x="34" y="211"/>
                    </a:lnTo>
                    <a:lnTo>
                      <a:pt x="34" y="213"/>
                    </a:lnTo>
                    <a:lnTo>
                      <a:pt x="34" y="218"/>
                    </a:lnTo>
                    <a:lnTo>
                      <a:pt x="31" y="220"/>
                    </a:lnTo>
                    <a:lnTo>
                      <a:pt x="29" y="222"/>
                    </a:lnTo>
                    <a:lnTo>
                      <a:pt x="29" y="225"/>
                    </a:lnTo>
                    <a:lnTo>
                      <a:pt x="26" y="222"/>
                    </a:lnTo>
                    <a:lnTo>
                      <a:pt x="24" y="222"/>
                    </a:lnTo>
                    <a:lnTo>
                      <a:pt x="24" y="225"/>
                    </a:lnTo>
                    <a:lnTo>
                      <a:pt x="24" y="227"/>
                    </a:lnTo>
                    <a:lnTo>
                      <a:pt x="26" y="230"/>
                    </a:lnTo>
                    <a:lnTo>
                      <a:pt x="26" y="232"/>
                    </a:lnTo>
                    <a:lnTo>
                      <a:pt x="29" y="232"/>
                    </a:lnTo>
                    <a:lnTo>
                      <a:pt x="29" y="237"/>
                    </a:lnTo>
                    <a:lnTo>
                      <a:pt x="31" y="237"/>
                    </a:lnTo>
                    <a:lnTo>
                      <a:pt x="31" y="239"/>
                    </a:lnTo>
                    <a:lnTo>
                      <a:pt x="34" y="244"/>
                    </a:lnTo>
                    <a:lnTo>
                      <a:pt x="34" y="246"/>
                    </a:lnTo>
                    <a:lnTo>
                      <a:pt x="34" y="248"/>
                    </a:lnTo>
                    <a:lnTo>
                      <a:pt x="34" y="248"/>
                    </a:lnTo>
                    <a:lnTo>
                      <a:pt x="31" y="251"/>
                    </a:lnTo>
                    <a:lnTo>
                      <a:pt x="34" y="253"/>
                    </a:lnTo>
                    <a:lnTo>
                      <a:pt x="34" y="256"/>
                    </a:lnTo>
                    <a:lnTo>
                      <a:pt x="34" y="258"/>
                    </a:lnTo>
                    <a:lnTo>
                      <a:pt x="34" y="253"/>
                    </a:lnTo>
                    <a:lnTo>
                      <a:pt x="36" y="251"/>
                    </a:lnTo>
                    <a:lnTo>
                      <a:pt x="36" y="251"/>
                    </a:lnTo>
                    <a:lnTo>
                      <a:pt x="36" y="251"/>
                    </a:lnTo>
                    <a:lnTo>
                      <a:pt x="38" y="251"/>
                    </a:lnTo>
                    <a:lnTo>
                      <a:pt x="41" y="251"/>
                    </a:lnTo>
                    <a:lnTo>
                      <a:pt x="41" y="251"/>
                    </a:lnTo>
                    <a:lnTo>
                      <a:pt x="41" y="253"/>
                    </a:lnTo>
                    <a:lnTo>
                      <a:pt x="41" y="256"/>
                    </a:lnTo>
                    <a:lnTo>
                      <a:pt x="41" y="256"/>
                    </a:lnTo>
                    <a:lnTo>
                      <a:pt x="41" y="258"/>
                    </a:lnTo>
                    <a:lnTo>
                      <a:pt x="43" y="258"/>
                    </a:lnTo>
                    <a:lnTo>
                      <a:pt x="43" y="258"/>
                    </a:lnTo>
                    <a:lnTo>
                      <a:pt x="45" y="258"/>
                    </a:lnTo>
                    <a:lnTo>
                      <a:pt x="45" y="258"/>
                    </a:lnTo>
                    <a:lnTo>
                      <a:pt x="48" y="258"/>
                    </a:lnTo>
                    <a:lnTo>
                      <a:pt x="48" y="258"/>
                    </a:lnTo>
                    <a:lnTo>
                      <a:pt x="50" y="260"/>
                    </a:lnTo>
                    <a:lnTo>
                      <a:pt x="50" y="263"/>
                    </a:lnTo>
                    <a:lnTo>
                      <a:pt x="50" y="263"/>
                    </a:lnTo>
                    <a:lnTo>
                      <a:pt x="50" y="263"/>
                    </a:lnTo>
                    <a:lnTo>
                      <a:pt x="55" y="265"/>
                    </a:lnTo>
                    <a:lnTo>
                      <a:pt x="60" y="265"/>
                    </a:lnTo>
                    <a:lnTo>
                      <a:pt x="60" y="265"/>
                    </a:lnTo>
                    <a:lnTo>
                      <a:pt x="62" y="267"/>
                    </a:lnTo>
                    <a:lnTo>
                      <a:pt x="69" y="260"/>
                    </a:lnTo>
                    <a:lnTo>
                      <a:pt x="71" y="260"/>
                    </a:lnTo>
                    <a:lnTo>
                      <a:pt x="76" y="258"/>
                    </a:lnTo>
                    <a:lnTo>
                      <a:pt x="76" y="258"/>
                    </a:lnTo>
                    <a:lnTo>
                      <a:pt x="78" y="258"/>
                    </a:lnTo>
                    <a:lnTo>
                      <a:pt x="81" y="258"/>
                    </a:lnTo>
                    <a:lnTo>
                      <a:pt x="83" y="258"/>
                    </a:lnTo>
                    <a:lnTo>
                      <a:pt x="86" y="258"/>
                    </a:lnTo>
                    <a:lnTo>
                      <a:pt x="88" y="258"/>
                    </a:lnTo>
                    <a:lnTo>
                      <a:pt x="93" y="258"/>
                    </a:lnTo>
                    <a:lnTo>
                      <a:pt x="102" y="251"/>
                    </a:lnTo>
                    <a:lnTo>
                      <a:pt x="104" y="251"/>
                    </a:lnTo>
                    <a:lnTo>
                      <a:pt x="107" y="251"/>
                    </a:lnTo>
                    <a:lnTo>
                      <a:pt x="109" y="251"/>
                    </a:lnTo>
                    <a:lnTo>
                      <a:pt x="114" y="251"/>
                    </a:lnTo>
                    <a:lnTo>
                      <a:pt x="119" y="251"/>
                    </a:lnTo>
                    <a:lnTo>
                      <a:pt x="121" y="251"/>
                    </a:lnTo>
                    <a:lnTo>
                      <a:pt x="126" y="248"/>
                    </a:lnTo>
                    <a:lnTo>
                      <a:pt x="128" y="248"/>
                    </a:lnTo>
                    <a:lnTo>
                      <a:pt x="135" y="251"/>
                    </a:lnTo>
                    <a:lnTo>
                      <a:pt x="142" y="253"/>
                    </a:lnTo>
                    <a:lnTo>
                      <a:pt x="147" y="253"/>
                    </a:lnTo>
                    <a:lnTo>
                      <a:pt x="149" y="251"/>
                    </a:lnTo>
                    <a:lnTo>
                      <a:pt x="149" y="248"/>
                    </a:lnTo>
                    <a:lnTo>
                      <a:pt x="154" y="248"/>
                    </a:lnTo>
                    <a:lnTo>
                      <a:pt x="159" y="251"/>
                    </a:lnTo>
                    <a:lnTo>
                      <a:pt x="161" y="251"/>
                    </a:lnTo>
                    <a:lnTo>
                      <a:pt x="161" y="251"/>
                    </a:lnTo>
                    <a:lnTo>
                      <a:pt x="161" y="246"/>
                    </a:lnTo>
                    <a:lnTo>
                      <a:pt x="164" y="244"/>
                    </a:lnTo>
                    <a:lnTo>
                      <a:pt x="168" y="244"/>
                    </a:lnTo>
                    <a:lnTo>
                      <a:pt x="175" y="244"/>
                    </a:lnTo>
                    <a:lnTo>
                      <a:pt x="178" y="244"/>
                    </a:lnTo>
                    <a:lnTo>
                      <a:pt x="187" y="239"/>
                    </a:lnTo>
                    <a:lnTo>
                      <a:pt x="192" y="237"/>
                    </a:lnTo>
                    <a:lnTo>
                      <a:pt x="199" y="230"/>
                    </a:lnTo>
                    <a:lnTo>
                      <a:pt x="201" y="230"/>
                    </a:lnTo>
                    <a:lnTo>
                      <a:pt x="209" y="225"/>
                    </a:lnTo>
                    <a:lnTo>
                      <a:pt x="213" y="220"/>
                    </a:lnTo>
                    <a:lnTo>
                      <a:pt x="220" y="213"/>
                    </a:lnTo>
                    <a:lnTo>
                      <a:pt x="225" y="208"/>
                    </a:lnTo>
                    <a:lnTo>
                      <a:pt x="232" y="201"/>
                    </a:lnTo>
                    <a:lnTo>
                      <a:pt x="237" y="196"/>
                    </a:lnTo>
                    <a:lnTo>
                      <a:pt x="239" y="196"/>
                    </a:lnTo>
                    <a:lnTo>
                      <a:pt x="242" y="194"/>
                    </a:lnTo>
                    <a:lnTo>
                      <a:pt x="246" y="187"/>
                    </a:lnTo>
                    <a:lnTo>
                      <a:pt x="251" y="180"/>
                    </a:lnTo>
                    <a:lnTo>
                      <a:pt x="254" y="175"/>
                    </a:lnTo>
                    <a:lnTo>
                      <a:pt x="258" y="168"/>
                    </a:lnTo>
                    <a:lnTo>
                      <a:pt x="261" y="163"/>
                    </a:lnTo>
                    <a:lnTo>
                      <a:pt x="265" y="156"/>
                    </a:lnTo>
                    <a:lnTo>
                      <a:pt x="268" y="151"/>
                    </a:lnTo>
                    <a:lnTo>
                      <a:pt x="277" y="142"/>
                    </a:lnTo>
                    <a:lnTo>
                      <a:pt x="277" y="142"/>
                    </a:lnTo>
                    <a:lnTo>
                      <a:pt x="280" y="142"/>
                    </a:lnTo>
                    <a:lnTo>
                      <a:pt x="282" y="142"/>
                    </a:lnTo>
                    <a:lnTo>
                      <a:pt x="287" y="137"/>
                    </a:lnTo>
                    <a:lnTo>
                      <a:pt x="287" y="132"/>
                    </a:lnTo>
                    <a:lnTo>
                      <a:pt x="291" y="128"/>
                    </a:lnTo>
                    <a:lnTo>
                      <a:pt x="294" y="116"/>
                    </a:lnTo>
                    <a:lnTo>
                      <a:pt x="294" y="111"/>
                    </a:lnTo>
                    <a:lnTo>
                      <a:pt x="298" y="104"/>
                    </a:lnTo>
                    <a:lnTo>
                      <a:pt x="298" y="99"/>
                    </a:lnTo>
                    <a:lnTo>
                      <a:pt x="296" y="99"/>
                    </a:lnTo>
                    <a:lnTo>
                      <a:pt x="294" y="99"/>
                    </a:lnTo>
                    <a:close/>
                    <a:moveTo>
                      <a:pt x="232" y="151"/>
                    </a:moveTo>
                    <a:lnTo>
                      <a:pt x="232" y="154"/>
                    </a:lnTo>
                    <a:lnTo>
                      <a:pt x="230" y="156"/>
                    </a:lnTo>
                    <a:lnTo>
                      <a:pt x="230" y="156"/>
                    </a:lnTo>
                    <a:lnTo>
                      <a:pt x="230" y="158"/>
                    </a:lnTo>
                    <a:lnTo>
                      <a:pt x="228" y="158"/>
                    </a:lnTo>
                    <a:lnTo>
                      <a:pt x="228" y="161"/>
                    </a:lnTo>
                    <a:lnTo>
                      <a:pt x="228" y="163"/>
                    </a:lnTo>
                    <a:lnTo>
                      <a:pt x="225" y="166"/>
                    </a:lnTo>
                    <a:lnTo>
                      <a:pt x="225" y="166"/>
                    </a:lnTo>
                    <a:lnTo>
                      <a:pt x="223" y="166"/>
                    </a:lnTo>
                    <a:lnTo>
                      <a:pt x="220" y="168"/>
                    </a:lnTo>
                    <a:lnTo>
                      <a:pt x="218" y="168"/>
                    </a:lnTo>
                    <a:lnTo>
                      <a:pt x="218" y="168"/>
                    </a:lnTo>
                    <a:lnTo>
                      <a:pt x="218" y="168"/>
                    </a:lnTo>
                    <a:lnTo>
                      <a:pt x="216" y="168"/>
                    </a:lnTo>
                    <a:lnTo>
                      <a:pt x="216" y="168"/>
                    </a:lnTo>
                    <a:lnTo>
                      <a:pt x="213" y="168"/>
                    </a:lnTo>
                    <a:lnTo>
                      <a:pt x="213" y="170"/>
                    </a:lnTo>
                    <a:lnTo>
                      <a:pt x="211" y="175"/>
                    </a:lnTo>
                    <a:lnTo>
                      <a:pt x="209" y="175"/>
                    </a:lnTo>
                    <a:lnTo>
                      <a:pt x="209" y="177"/>
                    </a:lnTo>
                    <a:lnTo>
                      <a:pt x="209" y="177"/>
                    </a:lnTo>
                    <a:lnTo>
                      <a:pt x="209" y="177"/>
                    </a:lnTo>
                    <a:lnTo>
                      <a:pt x="206" y="180"/>
                    </a:lnTo>
                    <a:lnTo>
                      <a:pt x="204" y="177"/>
                    </a:lnTo>
                    <a:lnTo>
                      <a:pt x="201" y="177"/>
                    </a:lnTo>
                    <a:lnTo>
                      <a:pt x="201" y="177"/>
                    </a:lnTo>
                    <a:lnTo>
                      <a:pt x="199" y="175"/>
                    </a:lnTo>
                    <a:lnTo>
                      <a:pt x="199" y="175"/>
                    </a:lnTo>
                    <a:lnTo>
                      <a:pt x="199" y="173"/>
                    </a:lnTo>
                    <a:lnTo>
                      <a:pt x="197" y="173"/>
                    </a:lnTo>
                    <a:lnTo>
                      <a:pt x="197" y="173"/>
                    </a:lnTo>
                    <a:lnTo>
                      <a:pt x="197" y="173"/>
                    </a:lnTo>
                    <a:lnTo>
                      <a:pt x="197" y="173"/>
                    </a:lnTo>
                    <a:lnTo>
                      <a:pt x="197" y="170"/>
                    </a:lnTo>
                    <a:lnTo>
                      <a:pt x="194" y="170"/>
                    </a:lnTo>
                    <a:lnTo>
                      <a:pt x="197" y="168"/>
                    </a:lnTo>
                    <a:lnTo>
                      <a:pt x="194" y="168"/>
                    </a:lnTo>
                    <a:lnTo>
                      <a:pt x="194" y="166"/>
                    </a:lnTo>
                    <a:lnTo>
                      <a:pt x="192" y="163"/>
                    </a:lnTo>
                    <a:lnTo>
                      <a:pt x="192" y="161"/>
                    </a:lnTo>
                    <a:lnTo>
                      <a:pt x="192" y="161"/>
                    </a:lnTo>
                    <a:lnTo>
                      <a:pt x="190" y="158"/>
                    </a:lnTo>
                    <a:lnTo>
                      <a:pt x="190" y="158"/>
                    </a:lnTo>
                    <a:lnTo>
                      <a:pt x="192" y="156"/>
                    </a:lnTo>
                    <a:lnTo>
                      <a:pt x="194" y="156"/>
                    </a:lnTo>
                    <a:lnTo>
                      <a:pt x="194" y="156"/>
                    </a:lnTo>
                    <a:lnTo>
                      <a:pt x="197" y="154"/>
                    </a:lnTo>
                    <a:lnTo>
                      <a:pt x="197" y="151"/>
                    </a:lnTo>
                    <a:lnTo>
                      <a:pt x="199" y="151"/>
                    </a:lnTo>
                    <a:lnTo>
                      <a:pt x="199" y="149"/>
                    </a:lnTo>
                    <a:lnTo>
                      <a:pt x="199" y="149"/>
                    </a:lnTo>
                    <a:lnTo>
                      <a:pt x="201" y="147"/>
                    </a:lnTo>
                    <a:lnTo>
                      <a:pt x="201" y="144"/>
                    </a:lnTo>
                    <a:lnTo>
                      <a:pt x="204" y="142"/>
                    </a:lnTo>
                    <a:lnTo>
                      <a:pt x="206" y="142"/>
                    </a:lnTo>
                    <a:lnTo>
                      <a:pt x="209" y="142"/>
                    </a:lnTo>
                    <a:lnTo>
                      <a:pt x="211" y="140"/>
                    </a:lnTo>
                    <a:lnTo>
                      <a:pt x="213" y="137"/>
                    </a:lnTo>
                    <a:lnTo>
                      <a:pt x="218" y="137"/>
                    </a:lnTo>
                    <a:lnTo>
                      <a:pt x="218" y="135"/>
                    </a:lnTo>
                    <a:lnTo>
                      <a:pt x="220" y="135"/>
                    </a:lnTo>
                    <a:lnTo>
                      <a:pt x="220" y="135"/>
                    </a:lnTo>
                    <a:lnTo>
                      <a:pt x="220" y="137"/>
                    </a:lnTo>
                    <a:lnTo>
                      <a:pt x="220" y="137"/>
                    </a:lnTo>
                    <a:lnTo>
                      <a:pt x="223" y="140"/>
                    </a:lnTo>
                    <a:lnTo>
                      <a:pt x="223" y="140"/>
                    </a:lnTo>
                    <a:lnTo>
                      <a:pt x="225" y="142"/>
                    </a:lnTo>
                    <a:lnTo>
                      <a:pt x="228" y="144"/>
                    </a:lnTo>
                    <a:lnTo>
                      <a:pt x="230" y="144"/>
                    </a:lnTo>
                    <a:lnTo>
                      <a:pt x="230" y="147"/>
                    </a:lnTo>
                    <a:lnTo>
                      <a:pt x="232" y="147"/>
                    </a:lnTo>
                    <a:lnTo>
                      <a:pt x="232" y="147"/>
                    </a:lnTo>
                    <a:lnTo>
                      <a:pt x="232" y="149"/>
                    </a:lnTo>
                    <a:lnTo>
                      <a:pt x="232" y="149"/>
                    </a:lnTo>
                    <a:lnTo>
                      <a:pt x="232" y="151"/>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52"/>
              <p:cNvSpPr>
                <a:spLocks/>
              </p:cNvSpPr>
              <p:nvPr/>
            </p:nvSpPr>
            <p:spPr bwMode="auto">
              <a:xfrm>
                <a:off x="3513" y="2547"/>
                <a:ext cx="191" cy="289"/>
              </a:xfrm>
              <a:custGeom>
                <a:avLst/>
                <a:gdLst>
                  <a:gd name="T0" fmla="*/ 187 w 191"/>
                  <a:gd name="T1" fmla="*/ 30 h 289"/>
                  <a:gd name="T2" fmla="*/ 184 w 191"/>
                  <a:gd name="T3" fmla="*/ 33 h 289"/>
                  <a:gd name="T4" fmla="*/ 187 w 191"/>
                  <a:gd name="T5" fmla="*/ 28 h 289"/>
                  <a:gd name="T6" fmla="*/ 187 w 191"/>
                  <a:gd name="T7" fmla="*/ 7 h 289"/>
                  <a:gd name="T8" fmla="*/ 179 w 191"/>
                  <a:gd name="T9" fmla="*/ 0 h 289"/>
                  <a:gd name="T10" fmla="*/ 165 w 191"/>
                  <a:gd name="T11" fmla="*/ 9 h 289"/>
                  <a:gd name="T12" fmla="*/ 144 w 191"/>
                  <a:gd name="T13" fmla="*/ 16 h 289"/>
                  <a:gd name="T14" fmla="*/ 135 w 191"/>
                  <a:gd name="T15" fmla="*/ 14 h 289"/>
                  <a:gd name="T16" fmla="*/ 116 w 191"/>
                  <a:gd name="T17" fmla="*/ 16 h 289"/>
                  <a:gd name="T18" fmla="*/ 99 w 191"/>
                  <a:gd name="T19" fmla="*/ 26 h 289"/>
                  <a:gd name="T20" fmla="*/ 85 w 191"/>
                  <a:gd name="T21" fmla="*/ 26 h 289"/>
                  <a:gd name="T22" fmla="*/ 59 w 191"/>
                  <a:gd name="T23" fmla="*/ 33 h 289"/>
                  <a:gd name="T24" fmla="*/ 42 w 191"/>
                  <a:gd name="T25" fmla="*/ 14 h 289"/>
                  <a:gd name="T26" fmla="*/ 33 w 191"/>
                  <a:gd name="T27" fmla="*/ 21 h 289"/>
                  <a:gd name="T28" fmla="*/ 30 w 191"/>
                  <a:gd name="T29" fmla="*/ 26 h 289"/>
                  <a:gd name="T30" fmla="*/ 30 w 191"/>
                  <a:gd name="T31" fmla="*/ 30 h 289"/>
                  <a:gd name="T32" fmla="*/ 33 w 191"/>
                  <a:gd name="T33" fmla="*/ 38 h 289"/>
                  <a:gd name="T34" fmla="*/ 40 w 191"/>
                  <a:gd name="T35" fmla="*/ 47 h 289"/>
                  <a:gd name="T36" fmla="*/ 47 w 191"/>
                  <a:gd name="T37" fmla="*/ 56 h 289"/>
                  <a:gd name="T38" fmla="*/ 54 w 191"/>
                  <a:gd name="T39" fmla="*/ 64 h 289"/>
                  <a:gd name="T40" fmla="*/ 78 w 191"/>
                  <a:gd name="T41" fmla="*/ 71 h 289"/>
                  <a:gd name="T42" fmla="*/ 104 w 191"/>
                  <a:gd name="T43" fmla="*/ 83 h 289"/>
                  <a:gd name="T44" fmla="*/ 125 w 191"/>
                  <a:gd name="T45" fmla="*/ 90 h 289"/>
                  <a:gd name="T46" fmla="*/ 104 w 191"/>
                  <a:gd name="T47" fmla="*/ 111 h 289"/>
                  <a:gd name="T48" fmla="*/ 85 w 191"/>
                  <a:gd name="T49" fmla="*/ 132 h 289"/>
                  <a:gd name="T50" fmla="*/ 73 w 191"/>
                  <a:gd name="T51" fmla="*/ 149 h 289"/>
                  <a:gd name="T52" fmla="*/ 56 w 191"/>
                  <a:gd name="T53" fmla="*/ 149 h 289"/>
                  <a:gd name="T54" fmla="*/ 47 w 191"/>
                  <a:gd name="T55" fmla="*/ 151 h 289"/>
                  <a:gd name="T56" fmla="*/ 35 w 191"/>
                  <a:gd name="T57" fmla="*/ 158 h 289"/>
                  <a:gd name="T58" fmla="*/ 26 w 191"/>
                  <a:gd name="T59" fmla="*/ 163 h 289"/>
                  <a:gd name="T60" fmla="*/ 16 w 191"/>
                  <a:gd name="T61" fmla="*/ 170 h 289"/>
                  <a:gd name="T62" fmla="*/ 2 w 191"/>
                  <a:gd name="T63" fmla="*/ 189 h 289"/>
                  <a:gd name="T64" fmla="*/ 0 w 191"/>
                  <a:gd name="T65" fmla="*/ 206 h 289"/>
                  <a:gd name="T66" fmla="*/ 0 w 191"/>
                  <a:gd name="T67" fmla="*/ 270 h 289"/>
                  <a:gd name="T68" fmla="*/ 9 w 191"/>
                  <a:gd name="T69" fmla="*/ 284 h 289"/>
                  <a:gd name="T70" fmla="*/ 12 w 191"/>
                  <a:gd name="T71" fmla="*/ 286 h 289"/>
                  <a:gd name="T72" fmla="*/ 19 w 191"/>
                  <a:gd name="T73" fmla="*/ 274 h 289"/>
                  <a:gd name="T74" fmla="*/ 26 w 191"/>
                  <a:gd name="T75" fmla="*/ 265 h 289"/>
                  <a:gd name="T76" fmla="*/ 33 w 191"/>
                  <a:gd name="T77" fmla="*/ 258 h 289"/>
                  <a:gd name="T78" fmla="*/ 64 w 191"/>
                  <a:gd name="T79" fmla="*/ 225 h 289"/>
                  <a:gd name="T80" fmla="*/ 111 w 191"/>
                  <a:gd name="T81" fmla="*/ 184 h 289"/>
                  <a:gd name="T82" fmla="*/ 142 w 191"/>
                  <a:gd name="T83" fmla="*/ 137 h 289"/>
                  <a:gd name="T84" fmla="*/ 156 w 191"/>
                  <a:gd name="T85" fmla="*/ 106 h 289"/>
                  <a:gd name="T86" fmla="*/ 163 w 191"/>
                  <a:gd name="T87" fmla="*/ 85 h 289"/>
                  <a:gd name="T88" fmla="*/ 175 w 191"/>
                  <a:gd name="T89" fmla="*/ 66 h 289"/>
                  <a:gd name="T90" fmla="*/ 182 w 191"/>
                  <a:gd name="T91" fmla="*/ 47 h 289"/>
                  <a:gd name="T92" fmla="*/ 184 w 191"/>
                  <a:gd name="T93" fmla="*/ 33 h 289"/>
                  <a:gd name="T94" fmla="*/ 191 w 191"/>
                  <a:gd name="T95" fmla="*/ 33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1" h="289">
                    <a:moveTo>
                      <a:pt x="191" y="33"/>
                    </a:moveTo>
                    <a:lnTo>
                      <a:pt x="189" y="30"/>
                    </a:lnTo>
                    <a:lnTo>
                      <a:pt x="187" y="30"/>
                    </a:lnTo>
                    <a:lnTo>
                      <a:pt x="187" y="30"/>
                    </a:lnTo>
                    <a:lnTo>
                      <a:pt x="187" y="30"/>
                    </a:lnTo>
                    <a:lnTo>
                      <a:pt x="184" y="33"/>
                    </a:lnTo>
                    <a:lnTo>
                      <a:pt x="184" y="33"/>
                    </a:lnTo>
                    <a:lnTo>
                      <a:pt x="184" y="33"/>
                    </a:lnTo>
                    <a:lnTo>
                      <a:pt x="184" y="30"/>
                    </a:lnTo>
                    <a:lnTo>
                      <a:pt x="187" y="30"/>
                    </a:lnTo>
                    <a:lnTo>
                      <a:pt x="187" y="28"/>
                    </a:lnTo>
                    <a:lnTo>
                      <a:pt x="187" y="28"/>
                    </a:lnTo>
                    <a:lnTo>
                      <a:pt x="184" y="19"/>
                    </a:lnTo>
                    <a:lnTo>
                      <a:pt x="184" y="14"/>
                    </a:lnTo>
                    <a:lnTo>
                      <a:pt x="184" y="9"/>
                    </a:lnTo>
                    <a:lnTo>
                      <a:pt x="187" y="7"/>
                    </a:lnTo>
                    <a:lnTo>
                      <a:pt x="187" y="4"/>
                    </a:lnTo>
                    <a:lnTo>
                      <a:pt x="187" y="2"/>
                    </a:lnTo>
                    <a:lnTo>
                      <a:pt x="187" y="2"/>
                    </a:lnTo>
                    <a:lnTo>
                      <a:pt x="179" y="0"/>
                    </a:lnTo>
                    <a:lnTo>
                      <a:pt x="175" y="0"/>
                    </a:lnTo>
                    <a:lnTo>
                      <a:pt x="175" y="2"/>
                    </a:lnTo>
                    <a:lnTo>
                      <a:pt x="172" y="4"/>
                    </a:lnTo>
                    <a:lnTo>
                      <a:pt x="165" y="9"/>
                    </a:lnTo>
                    <a:lnTo>
                      <a:pt x="158" y="12"/>
                    </a:lnTo>
                    <a:lnTo>
                      <a:pt x="153" y="14"/>
                    </a:lnTo>
                    <a:lnTo>
                      <a:pt x="146" y="14"/>
                    </a:lnTo>
                    <a:lnTo>
                      <a:pt x="144" y="16"/>
                    </a:lnTo>
                    <a:lnTo>
                      <a:pt x="144" y="16"/>
                    </a:lnTo>
                    <a:lnTo>
                      <a:pt x="139" y="14"/>
                    </a:lnTo>
                    <a:lnTo>
                      <a:pt x="137" y="14"/>
                    </a:lnTo>
                    <a:lnTo>
                      <a:pt x="135" y="14"/>
                    </a:lnTo>
                    <a:lnTo>
                      <a:pt x="127" y="19"/>
                    </a:lnTo>
                    <a:lnTo>
                      <a:pt x="123" y="19"/>
                    </a:lnTo>
                    <a:lnTo>
                      <a:pt x="118" y="16"/>
                    </a:lnTo>
                    <a:lnTo>
                      <a:pt x="116" y="16"/>
                    </a:lnTo>
                    <a:lnTo>
                      <a:pt x="113" y="19"/>
                    </a:lnTo>
                    <a:lnTo>
                      <a:pt x="109" y="21"/>
                    </a:lnTo>
                    <a:lnTo>
                      <a:pt x="101" y="26"/>
                    </a:lnTo>
                    <a:lnTo>
                      <a:pt x="99" y="26"/>
                    </a:lnTo>
                    <a:lnTo>
                      <a:pt x="94" y="26"/>
                    </a:lnTo>
                    <a:lnTo>
                      <a:pt x="92" y="26"/>
                    </a:lnTo>
                    <a:lnTo>
                      <a:pt x="87" y="23"/>
                    </a:lnTo>
                    <a:lnTo>
                      <a:pt x="85" y="26"/>
                    </a:lnTo>
                    <a:lnTo>
                      <a:pt x="78" y="28"/>
                    </a:lnTo>
                    <a:lnTo>
                      <a:pt x="71" y="33"/>
                    </a:lnTo>
                    <a:lnTo>
                      <a:pt x="61" y="33"/>
                    </a:lnTo>
                    <a:lnTo>
                      <a:pt x="59" y="33"/>
                    </a:lnTo>
                    <a:lnTo>
                      <a:pt x="56" y="30"/>
                    </a:lnTo>
                    <a:lnTo>
                      <a:pt x="52" y="26"/>
                    </a:lnTo>
                    <a:lnTo>
                      <a:pt x="47" y="21"/>
                    </a:lnTo>
                    <a:lnTo>
                      <a:pt x="42" y="14"/>
                    </a:lnTo>
                    <a:lnTo>
                      <a:pt x="40" y="9"/>
                    </a:lnTo>
                    <a:lnTo>
                      <a:pt x="38" y="14"/>
                    </a:lnTo>
                    <a:lnTo>
                      <a:pt x="35" y="16"/>
                    </a:lnTo>
                    <a:lnTo>
                      <a:pt x="33" y="21"/>
                    </a:lnTo>
                    <a:lnTo>
                      <a:pt x="33" y="21"/>
                    </a:lnTo>
                    <a:lnTo>
                      <a:pt x="33" y="23"/>
                    </a:lnTo>
                    <a:lnTo>
                      <a:pt x="30" y="23"/>
                    </a:lnTo>
                    <a:lnTo>
                      <a:pt x="30" y="26"/>
                    </a:lnTo>
                    <a:lnTo>
                      <a:pt x="28" y="28"/>
                    </a:lnTo>
                    <a:lnTo>
                      <a:pt x="28" y="28"/>
                    </a:lnTo>
                    <a:lnTo>
                      <a:pt x="28" y="30"/>
                    </a:lnTo>
                    <a:lnTo>
                      <a:pt x="30" y="30"/>
                    </a:lnTo>
                    <a:lnTo>
                      <a:pt x="30" y="33"/>
                    </a:lnTo>
                    <a:lnTo>
                      <a:pt x="33" y="35"/>
                    </a:lnTo>
                    <a:lnTo>
                      <a:pt x="33" y="38"/>
                    </a:lnTo>
                    <a:lnTo>
                      <a:pt x="33" y="38"/>
                    </a:lnTo>
                    <a:lnTo>
                      <a:pt x="35" y="42"/>
                    </a:lnTo>
                    <a:lnTo>
                      <a:pt x="38" y="42"/>
                    </a:lnTo>
                    <a:lnTo>
                      <a:pt x="38" y="45"/>
                    </a:lnTo>
                    <a:lnTo>
                      <a:pt x="40" y="47"/>
                    </a:lnTo>
                    <a:lnTo>
                      <a:pt x="40" y="49"/>
                    </a:lnTo>
                    <a:lnTo>
                      <a:pt x="42" y="52"/>
                    </a:lnTo>
                    <a:lnTo>
                      <a:pt x="45" y="54"/>
                    </a:lnTo>
                    <a:lnTo>
                      <a:pt x="47" y="56"/>
                    </a:lnTo>
                    <a:lnTo>
                      <a:pt x="47" y="56"/>
                    </a:lnTo>
                    <a:lnTo>
                      <a:pt x="52" y="59"/>
                    </a:lnTo>
                    <a:lnTo>
                      <a:pt x="54" y="64"/>
                    </a:lnTo>
                    <a:lnTo>
                      <a:pt x="54" y="64"/>
                    </a:lnTo>
                    <a:lnTo>
                      <a:pt x="59" y="66"/>
                    </a:lnTo>
                    <a:lnTo>
                      <a:pt x="66" y="68"/>
                    </a:lnTo>
                    <a:lnTo>
                      <a:pt x="71" y="68"/>
                    </a:lnTo>
                    <a:lnTo>
                      <a:pt x="78" y="71"/>
                    </a:lnTo>
                    <a:lnTo>
                      <a:pt x="82" y="73"/>
                    </a:lnTo>
                    <a:lnTo>
                      <a:pt x="90" y="75"/>
                    </a:lnTo>
                    <a:lnTo>
                      <a:pt x="97" y="80"/>
                    </a:lnTo>
                    <a:lnTo>
                      <a:pt x="104" y="83"/>
                    </a:lnTo>
                    <a:lnTo>
                      <a:pt x="109" y="83"/>
                    </a:lnTo>
                    <a:lnTo>
                      <a:pt x="111" y="85"/>
                    </a:lnTo>
                    <a:lnTo>
                      <a:pt x="130" y="85"/>
                    </a:lnTo>
                    <a:lnTo>
                      <a:pt x="125" y="90"/>
                    </a:lnTo>
                    <a:lnTo>
                      <a:pt x="118" y="94"/>
                    </a:lnTo>
                    <a:lnTo>
                      <a:pt x="113" y="101"/>
                    </a:lnTo>
                    <a:lnTo>
                      <a:pt x="111" y="104"/>
                    </a:lnTo>
                    <a:lnTo>
                      <a:pt x="104" y="111"/>
                    </a:lnTo>
                    <a:lnTo>
                      <a:pt x="101" y="116"/>
                    </a:lnTo>
                    <a:lnTo>
                      <a:pt x="97" y="120"/>
                    </a:lnTo>
                    <a:lnTo>
                      <a:pt x="92" y="125"/>
                    </a:lnTo>
                    <a:lnTo>
                      <a:pt x="85" y="132"/>
                    </a:lnTo>
                    <a:lnTo>
                      <a:pt x="82" y="137"/>
                    </a:lnTo>
                    <a:lnTo>
                      <a:pt x="78" y="144"/>
                    </a:lnTo>
                    <a:lnTo>
                      <a:pt x="73" y="149"/>
                    </a:lnTo>
                    <a:lnTo>
                      <a:pt x="73" y="149"/>
                    </a:lnTo>
                    <a:lnTo>
                      <a:pt x="68" y="149"/>
                    </a:lnTo>
                    <a:lnTo>
                      <a:pt x="64" y="149"/>
                    </a:lnTo>
                    <a:lnTo>
                      <a:pt x="56" y="149"/>
                    </a:lnTo>
                    <a:lnTo>
                      <a:pt x="56" y="149"/>
                    </a:lnTo>
                    <a:lnTo>
                      <a:pt x="54" y="149"/>
                    </a:lnTo>
                    <a:lnTo>
                      <a:pt x="52" y="149"/>
                    </a:lnTo>
                    <a:lnTo>
                      <a:pt x="47" y="151"/>
                    </a:lnTo>
                    <a:lnTo>
                      <a:pt x="47" y="151"/>
                    </a:lnTo>
                    <a:lnTo>
                      <a:pt x="42" y="154"/>
                    </a:lnTo>
                    <a:lnTo>
                      <a:pt x="40" y="156"/>
                    </a:lnTo>
                    <a:lnTo>
                      <a:pt x="38" y="156"/>
                    </a:lnTo>
                    <a:lnTo>
                      <a:pt x="35" y="158"/>
                    </a:lnTo>
                    <a:lnTo>
                      <a:pt x="35" y="161"/>
                    </a:lnTo>
                    <a:lnTo>
                      <a:pt x="35" y="161"/>
                    </a:lnTo>
                    <a:lnTo>
                      <a:pt x="33" y="163"/>
                    </a:lnTo>
                    <a:lnTo>
                      <a:pt x="26" y="163"/>
                    </a:lnTo>
                    <a:lnTo>
                      <a:pt x="23" y="165"/>
                    </a:lnTo>
                    <a:lnTo>
                      <a:pt x="19" y="165"/>
                    </a:lnTo>
                    <a:lnTo>
                      <a:pt x="16" y="168"/>
                    </a:lnTo>
                    <a:lnTo>
                      <a:pt x="16" y="170"/>
                    </a:lnTo>
                    <a:lnTo>
                      <a:pt x="14" y="173"/>
                    </a:lnTo>
                    <a:lnTo>
                      <a:pt x="12" y="177"/>
                    </a:lnTo>
                    <a:lnTo>
                      <a:pt x="7" y="184"/>
                    </a:lnTo>
                    <a:lnTo>
                      <a:pt x="2" y="189"/>
                    </a:lnTo>
                    <a:lnTo>
                      <a:pt x="0" y="194"/>
                    </a:lnTo>
                    <a:lnTo>
                      <a:pt x="0" y="194"/>
                    </a:lnTo>
                    <a:lnTo>
                      <a:pt x="0" y="196"/>
                    </a:lnTo>
                    <a:lnTo>
                      <a:pt x="0" y="206"/>
                    </a:lnTo>
                    <a:lnTo>
                      <a:pt x="0" y="225"/>
                    </a:lnTo>
                    <a:lnTo>
                      <a:pt x="0" y="241"/>
                    </a:lnTo>
                    <a:lnTo>
                      <a:pt x="0" y="260"/>
                    </a:lnTo>
                    <a:lnTo>
                      <a:pt x="0" y="270"/>
                    </a:lnTo>
                    <a:lnTo>
                      <a:pt x="0" y="272"/>
                    </a:lnTo>
                    <a:lnTo>
                      <a:pt x="2" y="274"/>
                    </a:lnTo>
                    <a:lnTo>
                      <a:pt x="4" y="279"/>
                    </a:lnTo>
                    <a:lnTo>
                      <a:pt x="9" y="284"/>
                    </a:lnTo>
                    <a:lnTo>
                      <a:pt x="9" y="286"/>
                    </a:lnTo>
                    <a:lnTo>
                      <a:pt x="12" y="286"/>
                    </a:lnTo>
                    <a:lnTo>
                      <a:pt x="12" y="289"/>
                    </a:lnTo>
                    <a:lnTo>
                      <a:pt x="12" y="286"/>
                    </a:lnTo>
                    <a:lnTo>
                      <a:pt x="14" y="284"/>
                    </a:lnTo>
                    <a:lnTo>
                      <a:pt x="16" y="279"/>
                    </a:lnTo>
                    <a:lnTo>
                      <a:pt x="16" y="277"/>
                    </a:lnTo>
                    <a:lnTo>
                      <a:pt x="19" y="274"/>
                    </a:lnTo>
                    <a:lnTo>
                      <a:pt x="19" y="274"/>
                    </a:lnTo>
                    <a:lnTo>
                      <a:pt x="21" y="272"/>
                    </a:lnTo>
                    <a:lnTo>
                      <a:pt x="23" y="270"/>
                    </a:lnTo>
                    <a:lnTo>
                      <a:pt x="26" y="265"/>
                    </a:lnTo>
                    <a:lnTo>
                      <a:pt x="28" y="262"/>
                    </a:lnTo>
                    <a:lnTo>
                      <a:pt x="30" y="260"/>
                    </a:lnTo>
                    <a:lnTo>
                      <a:pt x="30" y="258"/>
                    </a:lnTo>
                    <a:lnTo>
                      <a:pt x="33" y="258"/>
                    </a:lnTo>
                    <a:lnTo>
                      <a:pt x="47" y="239"/>
                    </a:lnTo>
                    <a:lnTo>
                      <a:pt x="52" y="234"/>
                    </a:lnTo>
                    <a:lnTo>
                      <a:pt x="56" y="229"/>
                    </a:lnTo>
                    <a:lnTo>
                      <a:pt x="64" y="225"/>
                    </a:lnTo>
                    <a:lnTo>
                      <a:pt x="73" y="215"/>
                    </a:lnTo>
                    <a:lnTo>
                      <a:pt x="90" y="203"/>
                    </a:lnTo>
                    <a:lnTo>
                      <a:pt x="94" y="201"/>
                    </a:lnTo>
                    <a:lnTo>
                      <a:pt x="111" y="184"/>
                    </a:lnTo>
                    <a:lnTo>
                      <a:pt x="120" y="170"/>
                    </a:lnTo>
                    <a:lnTo>
                      <a:pt x="130" y="158"/>
                    </a:lnTo>
                    <a:lnTo>
                      <a:pt x="135" y="149"/>
                    </a:lnTo>
                    <a:lnTo>
                      <a:pt x="142" y="137"/>
                    </a:lnTo>
                    <a:lnTo>
                      <a:pt x="149" y="123"/>
                    </a:lnTo>
                    <a:lnTo>
                      <a:pt x="151" y="118"/>
                    </a:lnTo>
                    <a:lnTo>
                      <a:pt x="153" y="111"/>
                    </a:lnTo>
                    <a:lnTo>
                      <a:pt x="156" y="106"/>
                    </a:lnTo>
                    <a:lnTo>
                      <a:pt x="158" y="99"/>
                    </a:lnTo>
                    <a:lnTo>
                      <a:pt x="161" y="94"/>
                    </a:lnTo>
                    <a:lnTo>
                      <a:pt x="163" y="92"/>
                    </a:lnTo>
                    <a:lnTo>
                      <a:pt x="163" y="85"/>
                    </a:lnTo>
                    <a:lnTo>
                      <a:pt x="168" y="80"/>
                    </a:lnTo>
                    <a:lnTo>
                      <a:pt x="172" y="73"/>
                    </a:lnTo>
                    <a:lnTo>
                      <a:pt x="172" y="71"/>
                    </a:lnTo>
                    <a:lnTo>
                      <a:pt x="175" y="66"/>
                    </a:lnTo>
                    <a:lnTo>
                      <a:pt x="177" y="61"/>
                    </a:lnTo>
                    <a:lnTo>
                      <a:pt x="179" y="59"/>
                    </a:lnTo>
                    <a:lnTo>
                      <a:pt x="182" y="54"/>
                    </a:lnTo>
                    <a:lnTo>
                      <a:pt x="182" y="47"/>
                    </a:lnTo>
                    <a:lnTo>
                      <a:pt x="182" y="42"/>
                    </a:lnTo>
                    <a:lnTo>
                      <a:pt x="182" y="35"/>
                    </a:lnTo>
                    <a:lnTo>
                      <a:pt x="182" y="35"/>
                    </a:lnTo>
                    <a:lnTo>
                      <a:pt x="184" y="33"/>
                    </a:lnTo>
                    <a:lnTo>
                      <a:pt x="187" y="33"/>
                    </a:lnTo>
                    <a:lnTo>
                      <a:pt x="189" y="33"/>
                    </a:lnTo>
                    <a:lnTo>
                      <a:pt x="191" y="33"/>
                    </a:lnTo>
                    <a:lnTo>
                      <a:pt x="191" y="33"/>
                    </a:lnTo>
                    <a:lnTo>
                      <a:pt x="191" y="33"/>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53"/>
              <p:cNvSpPr>
                <a:spLocks/>
              </p:cNvSpPr>
              <p:nvPr/>
            </p:nvSpPr>
            <p:spPr bwMode="auto">
              <a:xfrm>
                <a:off x="2992" y="1813"/>
                <a:ext cx="52" cy="28"/>
              </a:xfrm>
              <a:custGeom>
                <a:avLst/>
                <a:gdLst>
                  <a:gd name="T0" fmla="*/ 50 w 52"/>
                  <a:gd name="T1" fmla="*/ 4 h 28"/>
                  <a:gd name="T2" fmla="*/ 50 w 52"/>
                  <a:gd name="T3" fmla="*/ 2 h 28"/>
                  <a:gd name="T4" fmla="*/ 50 w 52"/>
                  <a:gd name="T5" fmla="*/ 0 h 28"/>
                  <a:gd name="T6" fmla="*/ 45 w 52"/>
                  <a:gd name="T7" fmla="*/ 0 h 28"/>
                  <a:gd name="T8" fmla="*/ 43 w 52"/>
                  <a:gd name="T9" fmla="*/ 2 h 28"/>
                  <a:gd name="T10" fmla="*/ 38 w 52"/>
                  <a:gd name="T11" fmla="*/ 2 h 28"/>
                  <a:gd name="T12" fmla="*/ 31 w 52"/>
                  <a:gd name="T13" fmla="*/ 4 h 28"/>
                  <a:gd name="T14" fmla="*/ 26 w 52"/>
                  <a:gd name="T15" fmla="*/ 4 h 28"/>
                  <a:gd name="T16" fmla="*/ 24 w 52"/>
                  <a:gd name="T17" fmla="*/ 7 h 28"/>
                  <a:gd name="T18" fmla="*/ 22 w 52"/>
                  <a:gd name="T19" fmla="*/ 9 h 28"/>
                  <a:gd name="T20" fmla="*/ 19 w 52"/>
                  <a:gd name="T21" fmla="*/ 9 h 28"/>
                  <a:gd name="T22" fmla="*/ 12 w 52"/>
                  <a:gd name="T23" fmla="*/ 7 h 28"/>
                  <a:gd name="T24" fmla="*/ 10 w 52"/>
                  <a:gd name="T25" fmla="*/ 7 h 28"/>
                  <a:gd name="T26" fmla="*/ 5 w 52"/>
                  <a:gd name="T27" fmla="*/ 7 h 28"/>
                  <a:gd name="T28" fmla="*/ 3 w 52"/>
                  <a:gd name="T29" fmla="*/ 9 h 28"/>
                  <a:gd name="T30" fmla="*/ 3 w 52"/>
                  <a:gd name="T31" fmla="*/ 11 h 28"/>
                  <a:gd name="T32" fmla="*/ 3 w 52"/>
                  <a:gd name="T33" fmla="*/ 11 h 28"/>
                  <a:gd name="T34" fmla="*/ 5 w 52"/>
                  <a:gd name="T35" fmla="*/ 14 h 28"/>
                  <a:gd name="T36" fmla="*/ 3 w 52"/>
                  <a:gd name="T37" fmla="*/ 16 h 28"/>
                  <a:gd name="T38" fmla="*/ 3 w 52"/>
                  <a:gd name="T39" fmla="*/ 16 h 28"/>
                  <a:gd name="T40" fmla="*/ 5 w 52"/>
                  <a:gd name="T41" fmla="*/ 21 h 28"/>
                  <a:gd name="T42" fmla="*/ 7 w 52"/>
                  <a:gd name="T43" fmla="*/ 21 h 28"/>
                  <a:gd name="T44" fmla="*/ 10 w 52"/>
                  <a:gd name="T45" fmla="*/ 26 h 28"/>
                  <a:gd name="T46" fmla="*/ 5 w 52"/>
                  <a:gd name="T47" fmla="*/ 26 h 28"/>
                  <a:gd name="T48" fmla="*/ 10 w 52"/>
                  <a:gd name="T49" fmla="*/ 28 h 28"/>
                  <a:gd name="T50" fmla="*/ 12 w 52"/>
                  <a:gd name="T51" fmla="*/ 28 h 28"/>
                  <a:gd name="T52" fmla="*/ 14 w 52"/>
                  <a:gd name="T53" fmla="*/ 28 h 28"/>
                  <a:gd name="T54" fmla="*/ 19 w 52"/>
                  <a:gd name="T55" fmla="*/ 28 h 28"/>
                  <a:gd name="T56" fmla="*/ 22 w 52"/>
                  <a:gd name="T57" fmla="*/ 23 h 28"/>
                  <a:gd name="T58" fmla="*/ 22 w 52"/>
                  <a:gd name="T59" fmla="*/ 26 h 28"/>
                  <a:gd name="T60" fmla="*/ 26 w 52"/>
                  <a:gd name="T61" fmla="*/ 28 h 28"/>
                  <a:gd name="T62" fmla="*/ 31 w 52"/>
                  <a:gd name="T63" fmla="*/ 28 h 28"/>
                  <a:gd name="T64" fmla="*/ 33 w 52"/>
                  <a:gd name="T65" fmla="*/ 28 h 28"/>
                  <a:gd name="T66" fmla="*/ 33 w 52"/>
                  <a:gd name="T67" fmla="*/ 26 h 28"/>
                  <a:gd name="T68" fmla="*/ 33 w 52"/>
                  <a:gd name="T69" fmla="*/ 23 h 28"/>
                  <a:gd name="T70" fmla="*/ 38 w 52"/>
                  <a:gd name="T71" fmla="*/ 21 h 28"/>
                  <a:gd name="T72" fmla="*/ 40 w 52"/>
                  <a:gd name="T73" fmla="*/ 16 h 28"/>
                  <a:gd name="T74" fmla="*/ 38 w 52"/>
                  <a:gd name="T75" fmla="*/ 14 h 28"/>
                  <a:gd name="T76" fmla="*/ 40 w 52"/>
                  <a:gd name="T77" fmla="*/ 11 h 28"/>
                  <a:gd name="T78" fmla="*/ 43 w 52"/>
                  <a:gd name="T79" fmla="*/ 11 h 28"/>
                  <a:gd name="T80" fmla="*/ 48 w 52"/>
                  <a:gd name="T81" fmla="*/ 9 h 28"/>
                  <a:gd name="T82" fmla="*/ 48 w 52"/>
                  <a:gd name="T83" fmla="*/ 7 h 28"/>
                  <a:gd name="T84" fmla="*/ 50 w 52"/>
                  <a:gd name="T85" fmla="*/ 7 h 28"/>
                  <a:gd name="T86" fmla="*/ 52 w 52"/>
                  <a:gd name="T87" fmla="*/ 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2" h="28">
                    <a:moveTo>
                      <a:pt x="52" y="7"/>
                    </a:moveTo>
                    <a:lnTo>
                      <a:pt x="52" y="4"/>
                    </a:lnTo>
                    <a:lnTo>
                      <a:pt x="50" y="4"/>
                    </a:lnTo>
                    <a:lnTo>
                      <a:pt x="50" y="2"/>
                    </a:lnTo>
                    <a:lnTo>
                      <a:pt x="50" y="2"/>
                    </a:lnTo>
                    <a:lnTo>
                      <a:pt x="50" y="2"/>
                    </a:lnTo>
                    <a:lnTo>
                      <a:pt x="50" y="0"/>
                    </a:lnTo>
                    <a:lnTo>
                      <a:pt x="50" y="0"/>
                    </a:lnTo>
                    <a:lnTo>
                      <a:pt x="50" y="0"/>
                    </a:lnTo>
                    <a:lnTo>
                      <a:pt x="45" y="0"/>
                    </a:lnTo>
                    <a:lnTo>
                      <a:pt x="45" y="0"/>
                    </a:lnTo>
                    <a:lnTo>
                      <a:pt x="45" y="0"/>
                    </a:lnTo>
                    <a:lnTo>
                      <a:pt x="45" y="2"/>
                    </a:lnTo>
                    <a:lnTo>
                      <a:pt x="45" y="2"/>
                    </a:lnTo>
                    <a:lnTo>
                      <a:pt x="43" y="2"/>
                    </a:lnTo>
                    <a:lnTo>
                      <a:pt x="40" y="2"/>
                    </a:lnTo>
                    <a:lnTo>
                      <a:pt x="40" y="2"/>
                    </a:lnTo>
                    <a:lnTo>
                      <a:pt x="38" y="2"/>
                    </a:lnTo>
                    <a:lnTo>
                      <a:pt x="38" y="4"/>
                    </a:lnTo>
                    <a:lnTo>
                      <a:pt x="36" y="4"/>
                    </a:lnTo>
                    <a:lnTo>
                      <a:pt x="31" y="4"/>
                    </a:lnTo>
                    <a:lnTo>
                      <a:pt x="29" y="4"/>
                    </a:lnTo>
                    <a:lnTo>
                      <a:pt x="26" y="4"/>
                    </a:lnTo>
                    <a:lnTo>
                      <a:pt x="26" y="4"/>
                    </a:lnTo>
                    <a:lnTo>
                      <a:pt x="26" y="4"/>
                    </a:lnTo>
                    <a:lnTo>
                      <a:pt x="24" y="4"/>
                    </a:lnTo>
                    <a:lnTo>
                      <a:pt x="24" y="7"/>
                    </a:lnTo>
                    <a:lnTo>
                      <a:pt x="24" y="7"/>
                    </a:lnTo>
                    <a:lnTo>
                      <a:pt x="22" y="7"/>
                    </a:lnTo>
                    <a:lnTo>
                      <a:pt x="22" y="9"/>
                    </a:lnTo>
                    <a:lnTo>
                      <a:pt x="22" y="9"/>
                    </a:lnTo>
                    <a:lnTo>
                      <a:pt x="19" y="9"/>
                    </a:lnTo>
                    <a:lnTo>
                      <a:pt x="19" y="9"/>
                    </a:lnTo>
                    <a:lnTo>
                      <a:pt x="19" y="7"/>
                    </a:lnTo>
                    <a:lnTo>
                      <a:pt x="17" y="7"/>
                    </a:lnTo>
                    <a:lnTo>
                      <a:pt x="12" y="7"/>
                    </a:lnTo>
                    <a:lnTo>
                      <a:pt x="12" y="7"/>
                    </a:lnTo>
                    <a:lnTo>
                      <a:pt x="10" y="7"/>
                    </a:lnTo>
                    <a:lnTo>
                      <a:pt x="10" y="7"/>
                    </a:lnTo>
                    <a:lnTo>
                      <a:pt x="7" y="7"/>
                    </a:lnTo>
                    <a:lnTo>
                      <a:pt x="7" y="7"/>
                    </a:lnTo>
                    <a:lnTo>
                      <a:pt x="5" y="7"/>
                    </a:lnTo>
                    <a:lnTo>
                      <a:pt x="5" y="7"/>
                    </a:lnTo>
                    <a:lnTo>
                      <a:pt x="5" y="9"/>
                    </a:lnTo>
                    <a:lnTo>
                      <a:pt x="3" y="9"/>
                    </a:lnTo>
                    <a:lnTo>
                      <a:pt x="3" y="9"/>
                    </a:lnTo>
                    <a:lnTo>
                      <a:pt x="0" y="11"/>
                    </a:lnTo>
                    <a:lnTo>
                      <a:pt x="3" y="11"/>
                    </a:lnTo>
                    <a:lnTo>
                      <a:pt x="3" y="11"/>
                    </a:lnTo>
                    <a:lnTo>
                      <a:pt x="3" y="11"/>
                    </a:lnTo>
                    <a:lnTo>
                      <a:pt x="3" y="11"/>
                    </a:lnTo>
                    <a:lnTo>
                      <a:pt x="5" y="14"/>
                    </a:lnTo>
                    <a:lnTo>
                      <a:pt x="5" y="14"/>
                    </a:lnTo>
                    <a:lnTo>
                      <a:pt x="5" y="14"/>
                    </a:lnTo>
                    <a:lnTo>
                      <a:pt x="5" y="14"/>
                    </a:lnTo>
                    <a:lnTo>
                      <a:pt x="5" y="14"/>
                    </a:lnTo>
                    <a:lnTo>
                      <a:pt x="3" y="16"/>
                    </a:lnTo>
                    <a:lnTo>
                      <a:pt x="3" y="16"/>
                    </a:lnTo>
                    <a:lnTo>
                      <a:pt x="3" y="16"/>
                    </a:lnTo>
                    <a:lnTo>
                      <a:pt x="3" y="16"/>
                    </a:lnTo>
                    <a:lnTo>
                      <a:pt x="5" y="16"/>
                    </a:lnTo>
                    <a:lnTo>
                      <a:pt x="5" y="19"/>
                    </a:lnTo>
                    <a:lnTo>
                      <a:pt x="5" y="21"/>
                    </a:lnTo>
                    <a:lnTo>
                      <a:pt x="5" y="21"/>
                    </a:lnTo>
                    <a:lnTo>
                      <a:pt x="5" y="21"/>
                    </a:lnTo>
                    <a:lnTo>
                      <a:pt x="7" y="21"/>
                    </a:lnTo>
                    <a:lnTo>
                      <a:pt x="10" y="23"/>
                    </a:lnTo>
                    <a:lnTo>
                      <a:pt x="10" y="26"/>
                    </a:lnTo>
                    <a:lnTo>
                      <a:pt x="10" y="26"/>
                    </a:lnTo>
                    <a:lnTo>
                      <a:pt x="7" y="26"/>
                    </a:lnTo>
                    <a:lnTo>
                      <a:pt x="7" y="26"/>
                    </a:lnTo>
                    <a:lnTo>
                      <a:pt x="5" y="26"/>
                    </a:lnTo>
                    <a:lnTo>
                      <a:pt x="5" y="26"/>
                    </a:lnTo>
                    <a:lnTo>
                      <a:pt x="5" y="28"/>
                    </a:lnTo>
                    <a:lnTo>
                      <a:pt x="10" y="28"/>
                    </a:lnTo>
                    <a:lnTo>
                      <a:pt x="10" y="28"/>
                    </a:lnTo>
                    <a:lnTo>
                      <a:pt x="12" y="28"/>
                    </a:lnTo>
                    <a:lnTo>
                      <a:pt x="12" y="28"/>
                    </a:lnTo>
                    <a:lnTo>
                      <a:pt x="12" y="26"/>
                    </a:lnTo>
                    <a:lnTo>
                      <a:pt x="12" y="28"/>
                    </a:lnTo>
                    <a:lnTo>
                      <a:pt x="14" y="28"/>
                    </a:lnTo>
                    <a:lnTo>
                      <a:pt x="17" y="28"/>
                    </a:lnTo>
                    <a:lnTo>
                      <a:pt x="17" y="28"/>
                    </a:lnTo>
                    <a:lnTo>
                      <a:pt x="19" y="28"/>
                    </a:lnTo>
                    <a:lnTo>
                      <a:pt x="19" y="26"/>
                    </a:lnTo>
                    <a:lnTo>
                      <a:pt x="22" y="23"/>
                    </a:lnTo>
                    <a:lnTo>
                      <a:pt x="22" y="23"/>
                    </a:lnTo>
                    <a:lnTo>
                      <a:pt x="22" y="23"/>
                    </a:lnTo>
                    <a:lnTo>
                      <a:pt x="22" y="26"/>
                    </a:lnTo>
                    <a:lnTo>
                      <a:pt x="22" y="26"/>
                    </a:lnTo>
                    <a:lnTo>
                      <a:pt x="24" y="26"/>
                    </a:lnTo>
                    <a:lnTo>
                      <a:pt x="24" y="28"/>
                    </a:lnTo>
                    <a:lnTo>
                      <a:pt x="26" y="28"/>
                    </a:lnTo>
                    <a:lnTo>
                      <a:pt x="26" y="28"/>
                    </a:lnTo>
                    <a:lnTo>
                      <a:pt x="29" y="28"/>
                    </a:lnTo>
                    <a:lnTo>
                      <a:pt x="31" y="28"/>
                    </a:lnTo>
                    <a:lnTo>
                      <a:pt x="33" y="28"/>
                    </a:lnTo>
                    <a:lnTo>
                      <a:pt x="33" y="28"/>
                    </a:lnTo>
                    <a:lnTo>
                      <a:pt x="33" y="28"/>
                    </a:lnTo>
                    <a:lnTo>
                      <a:pt x="33" y="26"/>
                    </a:lnTo>
                    <a:lnTo>
                      <a:pt x="33" y="26"/>
                    </a:lnTo>
                    <a:lnTo>
                      <a:pt x="33" y="26"/>
                    </a:lnTo>
                    <a:lnTo>
                      <a:pt x="33" y="23"/>
                    </a:lnTo>
                    <a:lnTo>
                      <a:pt x="33" y="23"/>
                    </a:lnTo>
                    <a:lnTo>
                      <a:pt x="33" y="23"/>
                    </a:lnTo>
                    <a:lnTo>
                      <a:pt x="33" y="23"/>
                    </a:lnTo>
                    <a:lnTo>
                      <a:pt x="36" y="21"/>
                    </a:lnTo>
                    <a:lnTo>
                      <a:pt x="38" y="21"/>
                    </a:lnTo>
                    <a:lnTo>
                      <a:pt x="38" y="19"/>
                    </a:lnTo>
                    <a:lnTo>
                      <a:pt x="40" y="19"/>
                    </a:lnTo>
                    <a:lnTo>
                      <a:pt x="40" y="16"/>
                    </a:lnTo>
                    <a:lnTo>
                      <a:pt x="40" y="16"/>
                    </a:lnTo>
                    <a:lnTo>
                      <a:pt x="38" y="14"/>
                    </a:lnTo>
                    <a:lnTo>
                      <a:pt x="38" y="14"/>
                    </a:lnTo>
                    <a:lnTo>
                      <a:pt x="38" y="14"/>
                    </a:lnTo>
                    <a:lnTo>
                      <a:pt x="38" y="11"/>
                    </a:lnTo>
                    <a:lnTo>
                      <a:pt x="40" y="11"/>
                    </a:lnTo>
                    <a:lnTo>
                      <a:pt x="40" y="11"/>
                    </a:lnTo>
                    <a:lnTo>
                      <a:pt x="43" y="11"/>
                    </a:lnTo>
                    <a:lnTo>
                      <a:pt x="43" y="11"/>
                    </a:lnTo>
                    <a:lnTo>
                      <a:pt x="45" y="11"/>
                    </a:lnTo>
                    <a:lnTo>
                      <a:pt x="45" y="9"/>
                    </a:lnTo>
                    <a:lnTo>
                      <a:pt x="48" y="9"/>
                    </a:lnTo>
                    <a:lnTo>
                      <a:pt x="48" y="9"/>
                    </a:lnTo>
                    <a:lnTo>
                      <a:pt x="50" y="9"/>
                    </a:lnTo>
                    <a:lnTo>
                      <a:pt x="48" y="7"/>
                    </a:lnTo>
                    <a:lnTo>
                      <a:pt x="50" y="7"/>
                    </a:lnTo>
                    <a:lnTo>
                      <a:pt x="50" y="7"/>
                    </a:lnTo>
                    <a:lnTo>
                      <a:pt x="50" y="7"/>
                    </a:lnTo>
                    <a:lnTo>
                      <a:pt x="52" y="7"/>
                    </a:lnTo>
                    <a:lnTo>
                      <a:pt x="52" y="7"/>
                    </a:lnTo>
                    <a:lnTo>
                      <a:pt x="52" y="7"/>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54"/>
              <p:cNvSpPr>
                <a:spLocks/>
              </p:cNvSpPr>
              <p:nvPr/>
            </p:nvSpPr>
            <p:spPr bwMode="auto">
              <a:xfrm>
                <a:off x="3049" y="1756"/>
                <a:ext cx="92" cy="38"/>
              </a:xfrm>
              <a:custGeom>
                <a:avLst/>
                <a:gdLst>
                  <a:gd name="T0" fmla="*/ 85 w 92"/>
                  <a:gd name="T1" fmla="*/ 7 h 38"/>
                  <a:gd name="T2" fmla="*/ 83 w 92"/>
                  <a:gd name="T3" fmla="*/ 5 h 38"/>
                  <a:gd name="T4" fmla="*/ 73 w 92"/>
                  <a:gd name="T5" fmla="*/ 2 h 38"/>
                  <a:gd name="T6" fmla="*/ 69 w 92"/>
                  <a:gd name="T7" fmla="*/ 2 h 38"/>
                  <a:gd name="T8" fmla="*/ 66 w 92"/>
                  <a:gd name="T9" fmla="*/ 5 h 38"/>
                  <a:gd name="T10" fmla="*/ 62 w 92"/>
                  <a:gd name="T11" fmla="*/ 5 h 38"/>
                  <a:gd name="T12" fmla="*/ 59 w 92"/>
                  <a:gd name="T13" fmla="*/ 5 h 38"/>
                  <a:gd name="T14" fmla="*/ 57 w 92"/>
                  <a:gd name="T15" fmla="*/ 5 h 38"/>
                  <a:gd name="T16" fmla="*/ 52 w 92"/>
                  <a:gd name="T17" fmla="*/ 7 h 38"/>
                  <a:gd name="T18" fmla="*/ 50 w 92"/>
                  <a:gd name="T19" fmla="*/ 7 h 38"/>
                  <a:gd name="T20" fmla="*/ 47 w 92"/>
                  <a:gd name="T21" fmla="*/ 7 h 38"/>
                  <a:gd name="T22" fmla="*/ 47 w 92"/>
                  <a:gd name="T23" fmla="*/ 5 h 38"/>
                  <a:gd name="T24" fmla="*/ 45 w 92"/>
                  <a:gd name="T25" fmla="*/ 2 h 38"/>
                  <a:gd name="T26" fmla="*/ 43 w 92"/>
                  <a:gd name="T27" fmla="*/ 2 h 38"/>
                  <a:gd name="T28" fmla="*/ 40 w 92"/>
                  <a:gd name="T29" fmla="*/ 0 h 38"/>
                  <a:gd name="T30" fmla="*/ 38 w 92"/>
                  <a:gd name="T31" fmla="*/ 5 h 38"/>
                  <a:gd name="T32" fmla="*/ 33 w 92"/>
                  <a:gd name="T33" fmla="*/ 2 h 38"/>
                  <a:gd name="T34" fmla="*/ 31 w 92"/>
                  <a:gd name="T35" fmla="*/ 2 h 38"/>
                  <a:gd name="T36" fmla="*/ 26 w 92"/>
                  <a:gd name="T37" fmla="*/ 2 h 38"/>
                  <a:gd name="T38" fmla="*/ 24 w 92"/>
                  <a:gd name="T39" fmla="*/ 5 h 38"/>
                  <a:gd name="T40" fmla="*/ 21 w 92"/>
                  <a:gd name="T41" fmla="*/ 7 h 38"/>
                  <a:gd name="T42" fmla="*/ 21 w 92"/>
                  <a:gd name="T43" fmla="*/ 9 h 38"/>
                  <a:gd name="T44" fmla="*/ 17 w 92"/>
                  <a:gd name="T45" fmla="*/ 12 h 38"/>
                  <a:gd name="T46" fmla="*/ 14 w 92"/>
                  <a:gd name="T47" fmla="*/ 14 h 38"/>
                  <a:gd name="T48" fmla="*/ 7 w 92"/>
                  <a:gd name="T49" fmla="*/ 14 h 38"/>
                  <a:gd name="T50" fmla="*/ 5 w 92"/>
                  <a:gd name="T51" fmla="*/ 16 h 38"/>
                  <a:gd name="T52" fmla="*/ 2 w 92"/>
                  <a:gd name="T53" fmla="*/ 21 h 38"/>
                  <a:gd name="T54" fmla="*/ 0 w 92"/>
                  <a:gd name="T55" fmla="*/ 23 h 38"/>
                  <a:gd name="T56" fmla="*/ 5 w 92"/>
                  <a:gd name="T57" fmla="*/ 31 h 38"/>
                  <a:gd name="T58" fmla="*/ 7 w 92"/>
                  <a:gd name="T59" fmla="*/ 33 h 38"/>
                  <a:gd name="T60" fmla="*/ 10 w 92"/>
                  <a:gd name="T61" fmla="*/ 33 h 38"/>
                  <a:gd name="T62" fmla="*/ 17 w 92"/>
                  <a:gd name="T63" fmla="*/ 38 h 38"/>
                  <a:gd name="T64" fmla="*/ 28 w 92"/>
                  <a:gd name="T65" fmla="*/ 38 h 38"/>
                  <a:gd name="T66" fmla="*/ 33 w 92"/>
                  <a:gd name="T67" fmla="*/ 35 h 38"/>
                  <a:gd name="T68" fmla="*/ 33 w 92"/>
                  <a:gd name="T69" fmla="*/ 33 h 38"/>
                  <a:gd name="T70" fmla="*/ 43 w 92"/>
                  <a:gd name="T71" fmla="*/ 31 h 38"/>
                  <a:gd name="T72" fmla="*/ 45 w 92"/>
                  <a:gd name="T73" fmla="*/ 28 h 38"/>
                  <a:gd name="T74" fmla="*/ 50 w 92"/>
                  <a:gd name="T75" fmla="*/ 31 h 38"/>
                  <a:gd name="T76" fmla="*/ 57 w 92"/>
                  <a:gd name="T77" fmla="*/ 26 h 38"/>
                  <a:gd name="T78" fmla="*/ 62 w 92"/>
                  <a:gd name="T79" fmla="*/ 21 h 38"/>
                  <a:gd name="T80" fmla="*/ 69 w 92"/>
                  <a:gd name="T81" fmla="*/ 21 h 38"/>
                  <a:gd name="T82" fmla="*/ 76 w 92"/>
                  <a:gd name="T83" fmla="*/ 21 h 38"/>
                  <a:gd name="T84" fmla="*/ 78 w 92"/>
                  <a:gd name="T85" fmla="*/ 23 h 38"/>
                  <a:gd name="T86" fmla="*/ 80 w 92"/>
                  <a:gd name="T87" fmla="*/ 23 h 38"/>
                  <a:gd name="T88" fmla="*/ 88 w 92"/>
                  <a:gd name="T89" fmla="*/ 23 h 38"/>
                  <a:gd name="T90" fmla="*/ 90 w 92"/>
                  <a:gd name="T91" fmla="*/ 19 h 38"/>
                  <a:gd name="T92" fmla="*/ 92 w 92"/>
                  <a:gd name="T93" fmla="*/ 14 h 38"/>
                  <a:gd name="T94" fmla="*/ 92 w 92"/>
                  <a:gd name="T95" fmla="*/ 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2" h="38">
                    <a:moveTo>
                      <a:pt x="92" y="9"/>
                    </a:moveTo>
                    <a:lnTo>
                      <a:pt x="88" y="9"/>
                    </a:lnTo>
                    <a:lnTo>
                      <a:pt x="85" y="7"/>
                    </a:lnTo>
                    <a:lnTo>
                      <a:pt x="83" y="7"/>
                    </a:lnTo>
                    <a:lnTo>
                      <a:pt x="83" y="5"/>
                    </a:lnTo>
                    <a:lnTo>
                      <a:pt x="83" y="5"/>
                    </a:lnTo>
                    <a:lnTo>
                      <a:pt x="78" y="5"/>
                    </a:lnTo>
                    <a:lnTo>
                      <a:pt x="78" y="2"/>
                    </a:lnTo>
                    <a:lnTo>
                      <a:pt x="73" y="2"/>
                    </a:lnTo>
                    <a:lnTo>
                      <a:pt x="71" y="2"/>
                    </a:lnTo>
                    <a:lnTo>
                      <a:pt x="69" y="2"/>
                    </a:lnTo>
                    <a:lnTo>
                      <a:pt x="69" y="2"/>
                    </a:lnTo>
                    <a:lnTo>
                      <a:pt x="69" y="5"/>
                    </a:lnTo>
                    <a:lnTo>
                      <a:pt x="66" y="5"/>
                    </a:lnTo>
                    <a:lnTo>
                      <a:pt x="66" y="5"/>
                    </a:lnTo>
                    <a:lnTo>
                      <a:pt x="64" y="5"/>
                    </a:lnTo>
                    <a:lnTo>
                      <a:pt x="64" y="5"/>
                    </a:lnTo>
                    <a:lnTo>
                      <a:pt x="62" y="5"/>
                    </a:lnTo>
                    <a:lnTo>
                      <a:pt x="59" y="5"/>
                    </a:lnTo>
                    <a:lnTo>
                      <a:pt x="59" y="5"/>
                    </a:lnTo>
                    <a:lnTo>
                      <a:pt x="59" y="5"/>
                    </a:lnTo>
                    <a:lnTo>
                      <a:pt x="57" y="5"/>
                    </a:lnTo>
                    <a:lnTo>
                      <a:pt x="57" y="5"/>
                    </a:lnTo>
                    <a:lnTo>
                      <a:pt x="57" y="5"/>
                    </a:lnTo>
                    <a:lnTo>
                      <a:pt x="54" y="5"/>
                    </a:lnTo>
                    <a:lnTo>
                      <a:pt x="54" y="5"/>
                    </a:lnTo>
                    <a:lnTo>
                      <a:pt x="52" y="7"/>
                    </a:lnTo>
                    <a:lnTo>
                      <a:pt x="52" y="7"/>
                    </a:lnTo>
                    <a:lnTo>
                      <a:pt x="50" y="7"/>
                    </a:lnTo>
                    <a:lnTo>
                      <a:pt x="50" y="7"/>
                    </a:lnTo>
                    <a:lnTo>
                      <a:pt x="47" y="7"/>
                    </a:lnTo>
                    <a:lnTo>
                      <a:pt x="47" y="7"/>
                    </a:lnTo>
                    <a:lnTo>
                      <a:pt x="47" y="7"/>
                    </a:lnTo>
                    <a:lnTo>
                      <a:pt x="47" y="7"/>
                    </a:lnTo>
                    <a:lnTo>
                      <a:pt x="47" y="5"/>
                    </a:lnTo>
                    <a:lnTo>
                      <a:pt x="47" y="5"/>
                    </a:lnTo>
                    <a:lnTo>
                      <a:pt x="47" y="5"/>
                    </a:lnTo>
                    <a:lnTo>
                      <a:pt x="45" y="5"/>
                    </a:lnTo>
                    <a:lnTo>
                      <a:pt x="45" y="2"/>
                    </a:lnTo>
                    <a:lnTo>
                      <a:pt x="45" y="2"/>
                    </a:lnTo>
                    <a:lnTo>
                      <a:pt x="45" y="2"/>
                    </a:lnTo>
                    <a:lnTo>
                      <a:pt x="43" y="2"/>
                    </a:lnTo>
                    <a:lnTo>
                      <a:pt x="43" y="0"/>
                    </a:lnTo>
                    <a:lnTo>
                      <a:pt x="43" y="0"/>
                    </a:lnTo>
                    <a:lnTo>
                      <a:pt x="40" y="0"/>
                    </a:lnTo>
                    <a:lnTo>
                      <a:pt x="40" y="0"/>
                    </a:lnTo>
                    <a:lnTo>
                      <a:pt x="38" y="2"/>
                    </a:lnTo>
                    <a:lnTo>
                      <a:pt x="38" y="5"/>
                    </a:lnTo>
                    <a:lnTo>
                      <a:pt x="36" y="5"/>
                    </a:lnTo>
                    <a:lnTo>
                      <a:pt x="33" y="2"/>
                    </a:lnTo>
                    <a:lnTo>
                      <a:pt x="33" y="2"/>
                    </a:lnTo>
                    <a:lnTo>
                      <a:pt x="33" y="2"/>
                    </a:lnTo>
                    <a:lnTo>
                      <a:pt x="31" y="2"/>
                    </a:lnTo>
                    <a:lnTo>
                      <a:pt x="31" y="2"/>
                    </a:lnTo>
                    <a:lnTo>
                      <a:pt x="28" y="2"/>
                    </a:lnTo>
                    <a:lnTo>
                      <a:pt x="28" y="2"/>
                    </a:lnTo>
                    <a:lnTo>
                      <a:pt x="26" y="2"/>
                    </a:lnTo>
                    <a:lnTo>
                      <a:pt x="26" y="2"/>
                    </a:lnTo>
                    <a:lnTo>
                      <a:pt x="26" y="5"/>
                    </a:lnTo>
                    <a:lnTo>
                      <a:pt x="24" y="5"/>
                    </a:lnTo>
                    <a:lnTo>
                      <a:pt x="24" y="5"/>
                    </a:lnTo>
                    <a:lnTo>
                      <a:pt x="21" y="7"/>
                    </a:lnTo>
                    <a:lnTo>
                      <a:pt x="21" y="7"/>
                    </a:lnTo>
                    <a:lnTo>
                      <a:pt x="21" y="7"/>
                    </a:lnTo>
                    <a:lnTo>
                      <a:pt x="21" y="9"/>
                    </a:lnTo>
                    <a:lnTo>
                      <a:pt x="21" y="9"/>
                    </a:lnTo>
                    <a:lnTo>
                      <a:pt x="19" y="12"/>
                    </a:lnTo>
                    <a:lnTo>
                      <a:pt x="19" y="12"/>
                    </a:lnTo>
                    <a:lnTo>
                      <a:pt x="17" y="12"/>
                    </a:lnTo>
                    <a:lnTo>
                      <a:pt x="17" y="12"/>
                    </a:lnTo>
                    <a:lnTo>
                      <a:pt x="17" y="14"/>
                    </a:lnTo>
                    <a:lnTo>
                      <a:pt x="14" y="14"/>
                    </a:lnTo>
                    <a:lnTo>
                      <a:pt x="12" y="14"/>
                    </a:lnTo>
                    <a:lnTo>
                      <a:pt x="10" y="16"/>
                    </a:lnTo>
                    <a:lnTo>
                      <a:pt x="7" y="14"/>
                    </a:lnTo>
                    <a:lnTo>
                      <a:pt x="5" y="14"/>
                    </a:lnTo>
                    <a:lnTo>
                      <a:pt x="5" y="14"/>
                    </a:lnTo>
                    <a:lnTo>
                      <a:pt x="5" y="16"/>
                    </a:lnTo>
                    <a:lnTo>
                      <a:pt x="2" y="19"/>
                    </a:lnTo>
                    <a:lnTo>
                      <a:pt x="2" y="21"/>
                    </a:lnTo>
                    <a:lnTo>
                      <a:pt x="2" y="21"/>
                    </a:lnTo>
                    <a:lnTo>
                      <a:pt x="2" y="21"/>
                    </a:lnTo>
                    <a:lnTo>
                      <a:pt x="2" y="21"/>
                    </a:lnTo>
                    <a:lnTo>
                      <a:pt x="0" y="23"/>
                    </a:lnTo>
                    <a:lnTo>
                      <a:pt x="0" y="23"/>
                    </a:lnTo>
                    <a:lnTo>
                      <a:pt x="2" y="28"/>
                    </a:lnTo>
                    <a:lnTo>
                      <a:pt x="5" y="31"/>
                    </a:lnTo>
                    <a:lnTo>
                      <a:pt x="5" y="31"/>
                    </a:lnTo>
                    <a:lnTo>
                      <a:pt x="5" y="33"/>
                    </a:lnTo>
                    <a:lnTo>
                      <a:pt x="7" y="33"/>
                    </a:lnTo>
                    <a:lnTo>
                      <a:pt x="7" y="33"/>
                    </a:lnTo>
                    <a:lnTo>
                      <a:pt x="7" y="33"/>
                    </a:lnTo>
                    <a:lnTo>
                      <a:pt x="10" y="33"/>
                    </a:lnTo>
                    <a:lnTo>
                      <a:pt x="12" y="35"/>
                    </a:lnTo>
                    <a:lnTo>
                      <a:pt x="14" y="35"/>
                    </a:lnTo>
                    <a:lnTo>
                      <a:pt x="17" y="38"/>
                    </a:lnTo>
                    <a:lnTo>
                      <a:pt x="19" y="38"/>
                    </a:lnTo>
                    <a:lnTo>
                      <a:pt x="21" y="38"/>
                    </a:lnTo>
                    <a:lnTo>
                      <a:pt x="28" y="38"/>
                    </a:lnTo>
                    <a:lnTo>
                      <a:pt x="31" y="38"/>
                    </a:lnTo>
                    <a:lnTo>
                      <a:pt x="33" y="35"/>
                    </a:lnTo>
                    <a:lnTo>
                      <a:pt x="33" y="35"/>
                    </a:lnTo>
                    <a:lnTo>
                      <a:pt x="33" y="35"/>
                    </a:lnTo>
                    <a:lnTo>
                      <a:pt x="33" y="33"/>
                    </a:lnTo>
                    <a:lnTo>
                      <a:pt x="33" y="33"/>
                    </a:lnTo>
                    <a:lnTo>
                      <a:pt x="36" y="31"/>
                    </a:lnTo>
                    <a:lnTo>
                      <a:pt x="40" y="31"/>
                    </a:lnTo>
                    <a:lnTo>
                      <a:pt x="43" y="31"/>
                    </a:lnTo>
                    <a:lnTo>
                      <a:pt x="45" y="28"/>
                    </a:lnTo>
                    <a:lnTo>
                      <a:pt x="45" y="28"/>
                    </a:lnTo>
                    <a:lnTo>
                      <a:pt x="45" y="28"/>
                    </a:lnTo>
                    <a:lnTo>
                      <a:pt x="47" y="28"/>
                    </a:lnTo>
                    <a:lnTo>
                      <a:pt x="50" y="28"/>
                    </a:lnTo>
                    <a:lnTo>
                      <a:pt x="50" y="31"/>
                    </a:lnTo>
                    <a:lnTo>
                      <a:pt x="52" y="28"/>
                    </a:lnTo>
                    <a:lnTo>
                      <a:pt x="54" y="28"/>
                    </a:lnTo>
                    <a:lnTo>
                      <a:pt x="57" y="26"/>
                    </a:lnTo>
                    <a:lnTo>
                      <a:pt x="59" y="21"/>
                    </a:lnTo>
                    <a:lnTo>
                      <a:pt x="59" y="21"/>
                    </a:lnTo>
                    <a:lnTo>
                      <a:pt x="62" y="21"/>
                    </a:lnTo>
                    <a:lnTo>
                      <a:pt x="66" y="21"/>
                    </a:lnTo>
                    <a:lnTo>
                      <a:pt x="69" y="21"/>
                    </a:lnTo>
                    <a:lnTo>
                      <a:pt x="69" y="21"/>
                    </a:lnTo>
                    <a:lnTo>
                      <a:pt x="71" y="21"/>
                    </a:lnTo>
                    <a:lnTo>
                      <a:pt x="76" y="21"/>
                    </a:lnTo>
                    <a:lnTo>
                      <a:pt x="76" y="21"/>
                    </a:lnTo>
                    <a:lnTo>
                      <a:pt x="76" y="21"/>
                    </a:lnTo>
                    <a:lnTo>
                      <a:pt x="78" y="21"/>
                    </a:lnTo>
                    <a:lnTo>
                      <a:pt x="78" y="23"/>
                    </a:lnTo>
                    <a:lnTo>
                      <a:pt x="78" y="23"/>
                    </a:lnTo>
                    <a:lnTo>
                      <a:pt x="78" y="23"/>
                    </a:lnTo>
                    <a:lnTo>
                      <a:pt x="80" y="23"/>
                    </a:lnTo>
                    <a:lnTo>
                      <a:pt x="80" y="26"/>
                    </a:lnTo>
                    <a:lnTo>
                      <a:pt x="80" y="26"/>
                    </a:lnTo>
                    <a:lnTo>
                      <a:pt x="88" y="23"/>
                    </a:lnTo>
                    <a:lnTo>
                      <a:pt x="88" y="23"/>
                    </a:lnTo>
                    <a:lnTo>
                      <a:pt x="88" y="21"/>
                    </a:lnTo>
                    <a:lnTo>
                      <a:pt x="90" y="19"/>
                    </a:lnTo>
                    <a:lnTo>
                      <a:pt x="90" y="16"/>
                    </a:lnTo>
                    <a:lnTo>
                      <a:pt x="90" y="14"/>
                    </a:lnTo>
                    <a:lnTo>
                      <a:pt x="92" y="14"/>
                    </a:lnTo>
                    <a:lnTo>
                      <a:pt x="92" y="12"/>
                    </a:lnTo>
                    <a:lnTo>
                      <a:pt x="92" y="12"/>
                    </a:lnTo>
                    <a:lnTo>
                      <a:pt x="92" y="9"/>
                    </a:lnTo>
                    <a:lnTo>
                      <a:pt x="92" y="9"/>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55"/>
              <p:cNvSpPr>
                <a:spLocks/>
              </p:cNvSpPr>
              <p:nvPr/>
            </p:nvSpPr>
            <p:spPr bwMode="auto">
              <a:xfrm>
                <a:off x="4684" y="2769"/>
                <a:ext cx="4" cy="5"/>
              </a:xfrm>
              <a:custGeom>
                <a:avLst/>
                <a:gdLst>
                  <a:gd name="T0" fmla="*/ 4 w 4"/>
                  <a:gd name="T1" fmla="*/ 3 h 5"/>
                  <a:gd name="T2" fmla="*/ 4 w 4"/>
                  <a:gd name="T3" fmla="*/ 0 h 5"/>
                  <a:gd name="T4" fmla="*/ 2 w 4"/>
                  <a:gd name="T5" fmla="*/ 0 h 5"/>
                  <a:gd name="T6" fmla="*/ 0 w 4"/>
                  <a:gd name="T7" fmla="*/ 0 h 5"/>
                  <a:gd name="T8" fmla="*/ 0 w 4"/>
                  <a:gd name="T9" fmla="*/ 3 h 5"/>
                  <a:gd name="T10" fmla="*/ 2 w 4"/>
                  <a:gd name="T11" fmla="*/ 5 h 5"/>
                  <a:gd name="T12" fmla="*/ 4 w 4"/>
                  <a:gd name="T13" fmla="*/ 3 h 5"/>
                  <a:gd name="T14" fmla="*/ 4 w 4"/>
                  <a:gd name="T15" fmla="*/ 3 h 5"/>
                  <a:gd name="T16" fmla="*/ 4 w 4"/>
                  <a:gd name="T17"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5">
                    <a:moveTo>
                      <a:pt x="4" y="3"/>
                    </a:moveTo>
                    <a:lnTo>
                      <a:pt x="4" y="0"/>
                    </a:lnTo>
                    <a:lnTo>
                      <a:pt x="2" y="0"/>
                    </a:lnTo>
                    <a:lnTo>
                      <a:pt x="0" y="0"/>
                    </a:lnTo>
                    <a:lnTo>
                      <a:pt x="0" y="3"/>
                    </a:lnTo>
                    <a:lnTo>
                      <a:pt x="2" y="5"/>
                    </a:lnTo>
                    <a:lnTo>
                      <a:pt x="4" y="3"/>
                    </a:lnTo>
                    <a:lnTo>
                      <a:pt x="4" y="3"/>
                    </a:lnTo>
                    <a:lnTo>
                      <a:pt x="4" y="3"/>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56"/>
              <p:cNvSpPr>
                <a:spLocks noEditPoints="1"/>
              </p:cNvSpPr>
              <p:nvPr/>
            </p:nvSpPr>
            <p:spPr bwMode="auto">
              <a:xfrm>
                <a:off x="2503" y="2589"/>
                <a:ext cx="54" cy="64"/>
              </a:xfrm>
              <a:custGeom>
                <a:avLst/>
                <a:gdLst>
                  <a:gd name="T0" fmla="*/ 11 w 54"/>
                  <a:gd name="T1" fmla="*/ 50 h 64"/>
                  <a:gd name="T2" fmla="*/ 4 w 54"/>
                  <a:gd name="T3" fmla="*/ 50 h 64"/>
                  <a:gd name="T4" fmla="*/ 14 w 54"/>
                  <a:gd name="T5" fmla="*/ 55 h 64"/>
                  <a:gd name="T6" fmla="*/ 14 w 54"/>
                  <a:gd name="T7" fmla="*/ 52 h 64"/>
                  <a:gd name="T8" fmla="*/ 14 w 54"/>
                  <a:gd name="T9" fmla="*/ 50 h 64"/>
                  <a:gd name="T10" fmla="*/ 52 w 54"/>
                  <a:gd name="T11" fmla="*/ 33 h 64"/>
                  <a:gd name="T12" fmla="*/ 49 w 54"/>
                  <a:gd name="T13" fmla="*/ 36 h 64"/>
                  <a:gd name="T14" fmla="*/ 47 w 54"/>
                  <a:gd name="T15" fmla="*/ 36 h 64"/>
                  <a:gd name="T16" fmla="*/ 47 w 54"/>
                  <a:gd name="T17" fmla="*/ 33 h 64"/>
                  <a:gd name="T18" fmla="*/ 49 w 54"/>
                  <a:gd name="T19" fmla="*/ 31 h 64"/>
                  <a:gd name="T20" fmla="*/ 52 w 54"/>
                  <a:gd name="T21" fmla="*/ 26 h 64"/>
                  <a:gd name="T22" fmla="*/ 49 w 54"/>
                  <a:gd name="T23" fmla="*/ 24 h 64"/>
                  <a:gd name="T24" fmla="*/ 49 w 54"/>
                  <a:gd name="T25" fmla="*/ 19 h 64"/>
                  <a:gd name="T26" fmla="*/ 47 w 54"/>
                  <a:gd name="T27" fmla="*/ 19 h 64"/>
                  <a:gd name="T28" fmla="*/ 47 w 54"/>
                  <a:gd name="T29" fmla="*/ 17 h 64"/>
                  <a:gd name="T30" fmla="*/ 47 w 54"/>
                  <a:gd name="T31" fmla="*/ 14 h 64"/>
                  <a:gd name="T32" fmla="*/ 47 w 54"/>
                  <a:gd name="T33" fmla="*/ 12 h 64"/>
                  <a:gd name="T34" fmla="*/ 42 w 54"/>
                  <a:gd name="T35" fmla="*/ 7 h 64"/>
                  <a:gd name="T36" fmla="*/ 40 w 54"/>
                  <a:gd name="T37" fmla="*/ 3 h 64"/>
                  <a:gd name="T38" fmla="*/ 37 w 54"/>
                  <a:gd name="T39" fmla="*/ 0 h 64"/>
                  <a:gd name="T40" fmla="*/ 33 w 54"/>
                  <a:gd name="T41" fmla="*/ 0 h 64"/>
                  <a:gd name="T42" fmla="*/ 26 w 54"/>
                  <a:gd name="T43" fmla="*/ 0 h 64"/>
                  <a:gd name="T44" fmla="*/ 21 w 54"/>
                  <a:gd name="T45" fmla="*/ 3 h 64"/>
                  <a:gd name="T46" fmla="*/ 16 w 54"/>
                  <a:gd name="T47" fmla="*/ 3 h 64"/>
                  <a:gd name="T48" fmla="*/ 14 w 54"/>
                  <a:gd name="T49" fmla="*/ 5 h 64"/>
                  <a:gd name="T50" fmla="*/ 11 w 54"/>
                  <a:gd name="T51" fmla="*/ 7 h 64"/>
                  <a:gd name="T52" fmla="*/ 11 w 54"/>
                  <a:gd name="T53" fmla="*/ 7 h 64"/>
                  <a:gd name="T54" fmla="*/ 11 w 54"/>
                  <a:gd name="T55" fmla="*/ 10 h 64"/>
                  <a:gd name="T56" fmla="*/ 7 w 54"/>
                  <a:gd name="T57" fmla="*/ 14 h 64"/>
                  <a:gd name="T58" fmla="*/ 4 w 54"/>
                  <a:gd name="T59" fmla="*/ 17 h 64"/>
                  <a:gd name="T60" fmla="*/ 4 w 54"/>
                  <a:gd name="T61" fmla="*/ 19 h 64"/>
                  <a:gd name="T62" fmla="*/ 2 w 54"/>
                  <a:gd name="T63" fmla="*/ 19 h 64"/>
                  <a:gd name="T64" fmla="*/ 0 w 54"/>
                  <a:gd name="T65" fmla="*/ 19 h 64"/>
                  <a:gd name="T66" fmla="*/ 2 w 54"/>
                  <a:gd name="T67" fmla="*/ 24 h 64"/>
                  <a:gd name="T68" fmla="*/ 4 w 54"/>
                  <a:gd name="T69" fmla="*/ 24 h 64"/>
                  <a:gd name="T70" fmla="*/ 0 w 54"/>
                  <a:gd name="T71" fmla="*/ 26 h 64"/>
                  <a:gd name="T72" fmla="*/ 2 w 54"/>
                  <a:gd name="T73" fmla="*/ 29 h 64"/>
                  <a:gd name="T74" fmla="*/ 2 w 54"/>
                  <a:gd name="T75" fmla="*/ 29 h 64"/>
                  <a:gd name="T76" fmla="*/ 7 w 54"/>
                  <a:gd name="T77" fmla="*/ 29 h 64"/>
                  <a:gd name="T78" fmla="*/ 7 w 54"/>
                  <a:gd name="T79" fmla="*/ 29 h 64"/>
                  <a:gd name="T80" fmla="*/ 2 w 54"/>
                  <a:gd name="T81" fmla="*/ 33 h 64"/>
                  <a:gd name="T82" fmla="*/ 0 w 54"/>
                  <a:gd name="T83" fmla="*/ 31 h 64"/>
                  <a:gd name="T84" fmla="*/ 0 w 54"/>
                  <a:gd name="T85" fmla="*/ 33 h 64"/>
                  <a:gd name="T86" fmla="*/ 2 w 54"/>
                  <a:gd name="T87" fmla="*/ 38 h 64"/>
                  <a:gd name="T88" fmla="*/ 4 w 54"/>
                  <a:gd name="T89" fmla="*/ 38 h 64"/>
                  <a:gd name="T90" fmla="*/ 7 w 54"/>
                  <a:gd name="T91" fmla="*/ 45 h 64"/>
                  <a:gd name="T92" fmla="*/ 9 w 54"/>
                  <a:gd name="T93" fmla="*/ 45 h 64"/>
                  <a:gd name="T94" fmla="*/ 11 w 54"/>
                  <a:gd name="T95" fmla="*/ 48 h 64"/>
                  <a:gd name="T96" fmla="*/ 14 w 54"/>
                  <a:gd name="T97" fmla="*/ 48 h 64"/>
                  <a:gd name="T98" fmla="*/ 14 w 54"/>
                  <a:gd name="T99" fmla="*/ 52 h 64"/>
                  <a:gd name="T100" fmla="*/ 14 w 54"/>
                  <a:gd name="T101" fmla="*/ 55 h 64"/>
                  <a:gd name="T102" fmla="*/ 23 w 54"/>
                  <a:gd name="T103" fmla="*/ 59 h 64"/>
                  <a:gd name="T104" fmla="*/ 30 w 54"/>
                  <a:gd name="T105" fmla="*/ 64 h 64"/>
                  <a:gd name="T106" fmla="*/ 33 w 54"/>
                  <a:gd name="T107" fmla="*/ 64 h 64"/>
                  <a:gd name="T108" fmla="*/ 37 w 54"/>
                  <a:gd name="T109" fmla="*/ 57 h 64"/>
                  <a:gd name="T110" fmla="*/ 40 w 54"/>
                  <a:gd name="T111" fmla="*/ 55 h 64"/>
                  <a:gd name="T112" fmla="*/ 45 w 54"/>
                  <a:gd name="T113" fmla="*/ 52 h 64"/>
                  <a:gd name="T114" fmla="*/ 47 w 54"/>
                  <a:gd name="T115" fmla="*/ 48 h 64"/>
                  <a:gd name="T116" fmla="*/ 49 w 54"/>
                  <a:gd name="T117" fmla="*/ 41 h 64"/>
                  <a:gd name="T118" fmla="*/ 54 w 54"/>
                  <a:gd name="T119" fmla="*/ 38 h 64"/>
                  <a:gd name="T120" fmla="*/ 54 w 54"/>
                  <a:gd name="T121" fmla="*/ 36 h 64"/>
                  <a:gd name="T122" fmla="*/ 54 w 54"/>
                  <a:gd name="T123" fmla="*/ 31 h 64"/>
                  <a:gd name="T124" fmla="*/ 54 w 54"/>
                  <a:gd name="T125" fmla="*/ 3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4" h="64">
                    <a:moveTo>
                      <a:pt x="14" y="50"/>
                    </a:moveTo>
                    <a:lnTo>
                      <a:pt x="11" y="50"/>
                    </a:lnTo>
                    <a:lnTo>
                      <a:pt x="7" y="50"/>
                    </a:lnTo>
                    <a:lnTo>
                      <a:pt x="4" y="50"/>
                    </a:lnTo>
                    <a:lnTo>
                      <a:pt x="11" y="52"/>
                    </a:lnTo>
                    <a:lnTo>
                      <a:pt x="14" y="55"/>
                    </a:lnTo>
                    <a:lnTo>
                      <a:pt x="14" y="55"/>
                    </a:lnTo>
                    <a:lnTo>
                      <a:pt x="14" y="52"/>
                    </a:lnTo>
                    <a:lnTo>
                      <a:pt x="14" y="50"/>
                    </a:lnTo>
                    <a:lnTo>
                      <a:pt x="14" y="50"/>
                    </a:lnTo>
                    <a:close/>
                    <a:moveTo>
                      <a:pt x="54" y="31"/>
                    </a:moveTo>
                    <a:lnTo>
                      <a:pt x="52" y="33"/>
                    </a:lnTo>
                    <a:lnTo>
                      <a:pt x="49" y="36"/>
                    </a:lnTo>
                    <a:lnTo>
                      <a:pt x="49" y="36"/>
                    </a:lnTo>
                    <a:lnTo>
                      <a:pt x="47" y="36"/>
                    </a:lnTo>
                    <a:lnTo>
                      <a:pt x="47" y="36"/>
                    </a:lnTo>
                    <a:lnTo>
                      <a:pt x="47" y="36"/>
                    </a:lnTo>
                    <a:lnTo>
                      <a:pt x="47" y="33"/>
                    </a:lnTo>
                    <a:lnTo>
                      <a:pt x="47" y="33"/>
                    </a:lnTo>
                    <a:lnTo>
                      <a:pt x="49" y="31"/>
                    </a:lnTo>
                    <a:lnTo>
                      <a:pt x="52" y="29"/>
                    </a:lnTo>
                    <a:lnTo>
                      <a:pt x="52" y="26"/>
                    </a:lnTo>
                    <a:lnTo>
                      <a:pt x="49" y="26"/>
                    </a:lnTo>
                    <a:lnTo>
                      <a:pt x="49" y="24"/>
                    </a:lnTo>
                    <a:lnTo>
                      <a:pt x="49" y="22"/>
                    </a:lnTo>
                    <a:lnTo>
                      <a:pt x="49" y="19"/>
                    </a:lnTo>
                    <a:lnTo>
                      <a:pt x="47" y="19"/>
                    </a:lnTo>
                    <a:lnTo>
                      <a:pt x="47" y="19"/>
                    </a:lnTo>
                    <a:lnTo>
                      <a:pt x="47" y="19"/>
                    </a:lnTo>
                    <a:lnTo>
                      <a:pt x="47" y="17"/>
                    </a:lnTo>
                    <a:lnTo>
                      <a:pt x="47" y="14"/>
                    </a:lnTo>
                    <a:lnTo>
                      <a:pt x="47" y="14"/>
                    </a:lnTo>
                    <a:lnTo>
                      <a:pt x="47" y="14"/>
                    </a:lnTo>
                    <a:lnTo>
                      <a:pt x="47" y="12"/>
                    </a:lnTo>
                    <a:lnTo>
                      <a:pt x="45" y="10"/>
                    </a:lnTo>
                    <a:lnTo>
                      <a:pt x="42" y="7"/>
                    </a:lnTo>
                    <a:lnTo>
                      <a:pt x="42" y="5"/>
                    </a:lnTo>
                    <a:lnTo>
                      <a:pt x="40" y="3"/>
                    </a:lnTo>
                    <a:lnTo>
                      <a:pt x="40" y="0"/>
                    </a:lnTo>
                    <a:lnTo>
                      <a:pt x="37" y="0"/>
                    </a:lnTo>
                    <a:lnTo>
                      <a:pt x="37" y="0"/>
                    </a:lnTo>
                    <a:lnTo>
                      <a:pt x="33" y="0"/>
                    </a:lnTo>
                    <a:lnTo>
                      <a:pt x="28" y="0"/>
                    </a:lnTo>
                    <a:lnTo>
                      <a:pt x="26" y="0"/>
                    </a:lnTo>
                    <a:lnTo>
                      <a:pt x="26" y="0"/>
                    </a:lnTo>
                    <a:lnTo>
                      <a:pt x="21" y="3"/>
                    </a:lnTo>
                    <a:lnTo>
                      <a:pt x="19" y="0"/>
                    </a:lnTo>
                    <a:lnTo>
                      <a:pt x="16" y="3"/>
                    </a:lnTo>
                    <a:lnTo>
                      <a:pt x="14" y="3"/>
                    </a:lnTo>
                    <a:lnTo>
                      <a:pt x="14" y="5"/>
                    </a:lnTo>
                    <a:lnTo>
                      <a:pt x="14" y="5"/>
                    </a:lnTo>
                    <a:lnTo>
                      <a:pt x="11" y="7"/>
                    </a:lnTo>
                    <a:lnTo>
                      <a:pt x="11" y="7"/>
                    </a:lnTo>
                    <a:lnTo>
                      <a:pt x="11" y="7"/>
                    </a:lnTo>
                    <a:lnTo>
                      <a:pt x="11" y="10"/>
                    </a:lnTo>
                    <a:lnTo>
                      <a:pt x="11" y="10"/>
                    </a:lnTo>
                    <a:lnTo>
                      <a:pt x="9" y="12"/>
                    </a:lnTo>
                    <a:lnTo>
                      <a:pt x="7" y="14"/>
                    </a:lnTo>
                    <a:lnTo>
                      <a:pt x="4" y="14"/>
                    </a:lnTo>
                    <a:lnTo>
                      <a:pt x="4" y="17"/>
                    </a:lnTo>
                    <a:lnTo>
                      <a:pt x="4" y="19"/>
                    </a:lnTo>
                    <a:lnTo>
                      <a:pt x="4" y="19"/>
                    </a:lnTo>
                    <a:lnTo>
                      <a:pt x="2" y="19"/>
                    </a:lnTo>
                    <a:lnTo>
                      <a:pt x="2" y="19"/>
                    </a:lnTo>
                    <a:lnTo>
                      <a:pt x="0" y="19"/>
                    </a:lnTo>
                    <a:lnTo>
                      <a:pt x="0" y="19"/>
                    </a:lnTo>
                    <a:lnTo>
                      <a:pt x="0" y="22"/>
                    </a:lnTo>
                    <a:lnTo>
                      <a:pt x="2" y="24"/>
                    </a:lnTo>
                    <a:lnTo>
                      <a:pt x="4" y="24"/>
                    </a:lnTo>
                    <a:lnTo>
                      <a:pt x="4" y="24"/>
                    </a:lnTo>
                    <a:lnTo>
                      <a:pt x="0" y="24"/>
                    </a:lnTo>
                    <a:lnTo>
                      <a:pt x="0" y="26"/>
                    </a:lnTo>
                    <a:lnTo>
                      <a:pt x="0" y="26"/>
                    </a:lnTo>
                    <a:lnTo>
                      <a:pt x="2" y="29"/>
                    </a:lnTo>
                    <a:lnTo>
                      <a:pt x="2" y="29"/>
                    </a:lnTo>
                    <a:lnTo>
                      <a:pt x="2" y="29"/>
                    </a:lnTo>
                    <a:lnTo>
                      <a:pt x="4" y="29"/>
                    </a:lnTo>
                    <a:lnTo>
                      <a:pt x="7" y="29"/>
                    </a:lnTo>
                    <a:lnTo>
                      <a:pt x="7" y="29"/>
                    </a:lnTo>
                    <a:lnTo>
                      <a:pt x="7" y="29"/>
                    </a:lnTo>
                    <a:lnTo>
                      <a:pt x="4" y="31"/>
                    </a:lnTo>
                    <a:lnTo>
                      <a:pt x="2" y="33"/>
                    </a:lnTo>
                    <a:lnTo>
                      <a:pt x="2" y="33"/>
                    </a:lnTo>
                    <a:lnTo>
                      <a:pt x="0" y="31"/>
                    </a:lnTo>
                    <a:lnTo>
                      <a:pt x="0" y="31"/>
                    </a:lnTo>
                    <a:lnTo>
                      <a:pt x="0" y="33"/>
                    </a:lnTo>
                    <a:lnTo>
                      <a:pt x="0" y="36"/>
                    </a:lnTo>
                    <a:lnTo>
                      <a:pt x="2" y="38"/>
                    </a:lnTo>
                    <a:lnTo>
                      <a:pt x="4" y="38"/>
                    </a:lnTo>
                    <a:lnTo>
                      <a:pt x="4" y="38"/>
                    </a:lnTo>
                    <a:lnTo>
                      <a:pt x="7" y="41"/>
                    </a:lnTo>
                    <a:lnTo>
                      <a:pt x="7" y="45"/>
                    </a:lnTo>
                    <a:lnTo>
                      <a:pt x="7" y="45"/>
                    </a:lnTo>
                    <a:lnTo>
                      <a:pt x="9" y="45"/>
                    </a:lnTo>
                    <a:lnTo>
                      <a:pt x="9" y="48"/>
                    </a:lnTo>
                    <a:lnTo>
                      <a:pt x="11" y="48"/>
                    </a:lnTo>
                    <a:lnTo>
                      <a:pt x="14" y="48"/>
                    </a:lnTo>
                    <a:lnTo>
                      <a:pt x="14" y="48"/>
                    </a:lnTo>
                    <a:lnTo>
                      <a:pt x="14" y="50"/>
                    </a:lnTo>
                    <a:lnTo>
                      <a:pt x="14" y="52"/>
                    </a:lnTo>
                    <a:lnTo>
                      <a:pt x="14" y="55"/>
                    </a:lnTo>
                    <a:lnTo>
                      <a:pt x="14" y="55"/>
                    </a:lnTo>
                    <a:lnTo>
                      <a:pt x="16" y="55"/>
                    </a:lnTo>
                    <a:lnTo>
                      <a:pt x="23" y="59"/>
                    </a:lnTo>
                    <a:lnTo>
                      <a:pt x="28" y="62"/>
                    </a:lnTo>
                    <a:lnTo>
                      <a:pt x="30" y="64"/>
                    </a:lnTo>
                    <a:lnTo>
                      <a:pt x="33" y="64"/>
                    </a:lnTo>
                    <a:lnTo>
                      <a:pt x="33" y="64"/>
                    </a:lnTo>
                    <a:lnTo>
                      <a:pt x="35" y="62"/>
                    </a:lnTo>
                    <a:lnTo>
                      <a:pt x="37" y="57"/>
                    </a:lnTo>
                    <a:lnTo>
                      <a:pt x="37" y="57"/>
                    </a:lnTo>
                    <a:lnTo>
                      <a:pt x="40" y="55"/>
                    </a:lnTo>
                    <a:lnTo>
                      <a:pt x="42" y="52"/>
                    </a:lnTo>
                    <a:lnTo>
                      <a:pt x="45" y="52"/>
                    </a:lnTo>
                    <a:lnTo>
                      <a:pt x="47" y="48"/>
                    </a:lnTo>
                    <a:lnTo>
                      <a:pt x="47" y="48"/>
                    </a:lnTo>
                    <a:lnTo>
                      <a:pt x="49" y="45"/>
                    </a:lnTo>
                    <a:lnTo>
                      <a:pt x="49" y="41"/>
                    </a:lnTo>
                    <a:lnTo>
                      <a:pt x="52" y="38"/>
                    </a:lnTo>
                    <a:lnTo>
                      <a:pt x="54" y="38"/>
                    </a:lnTo>
                    <a:lnTo>
                      <a:pt x="54" y="38"/>
                    </a:lnTo>
                    <a:lnTo>
                      <a:pt x="54" y="36"/>
                    </a:lnTo>
                    <a:lnTo>
                      <a:pt x="54" y="33"/>
                    </a:lnTo>
                    <a:lnTo>
                      <a:pt x="54" y="31"/>
                    </a:lnTo>
                    <a:lnTo>
                      <a:pt x="54" y="31"/>
                    </a:lnTo>
                    <a:lnTo>
                      <a:pt x="54" y="31"/>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57"/>
              <p:cNvSpPr>
                <a:spLocks/>
              </p:cNvSpPr>
              <p:nvPr/>
            </p:nvSpPr>
            <p:spPr bwMode="auto">
              <a:xfrm>
                <a:off x="3085" y="1827"/>
                <a:ext cx="70" cy="80"/>
              </a:xfrm>
              <a:custGeom>
                <a:avLst/>
                <a:gdLst>
                  <a:gd name="T0" fmla="*/ 63 w 70"/>
                  <a:gd name="T1" fmla="*/ 57 h 80"/>
                  <a:gd name="T2" fmla="*/ 61 w 70"/>
                  <a:gd name="T3" fmla="*/ 52 h 80"/>
                  <a:gd name="T4" fmla="*/ 61 w 70"/>
                  <a:gd name="T5" fmla="*/ 45 h 80"/>
                  <a:gd name="T6" fmla="*/ 66 w 70"/>
                  <a:gd name="T7" fmla="*/ 40 h 80"/>
                  <a:gd name="T8" fmla="*/ 63 w 70"/>
                  <a:gd name="T9" fmla="*/ 38 h 80"/>
                  <a:gd name="T10" fmla="*/ 66 w 70"/>
                  <a:gd name="T11" fmla="*/ 33 h 80"/>
                  <a:gd name="T12" fmla="*/ 59 w 70"/>
                  <a:gd name="T13" fmla="*/ 31 h 80"/>
                  <a:gd name="T14" fmla="*/ 49 w 70"/>
                  <a:gd name="T15" fmla="*/ 31 h 80"/>
                  <a:gd name="T16" fmla="*/ 42 w 70"/>
                  <a:gd name="T17" fmla="*/ 28 h 80"/>
                  <a:gd name="T18" fmla="*/ 44 w 70"/>
                  <a:gd name="T19" fmla="*/ 26 h 80"/>
                  <a:gd name="T20" fmla="*/ 42 w 70"/>
                  <a:gd name="T21" fmla="*/ 24 h 80"/>
                  <a:gd name="T22" fmla="*/ 44 w 70"/>
                  <a:gd name="T23" fmla="*/ 21 h 80"/>
                  <a:gd name="T24" fmla="*/ 42 w 70"/>
                  <a:gd name="T25" fmla="*/ 19 h 80"/>
                  <a:gd name="T26" fmla="*/ 35 w 70"/>
                  <a:gd name="T27" fmla="*/ 16 h 80"/>
                  <a:gd name="T28" fmla="*/ 33 w 70"/>
                  <a:gd name="T29" fmla="*/ 12 h 80"/>
                  <a:gd name="T30" fmla="*/ 33 w 70"/>
                  <a:gd name="T31" fmla="*/ 7 h 80"/>
                  <a:gd name="T32" fmla="*/ 30 w 70"/>
                  <a:gd name="T33" fmla="*/ 7 h 80"/>
                  <a:gd name="T34" fmla="*/ 23 w 70"/>
                  <a:gd name="T35" fmla="*/ 2 h 80"/>
                  <a:gd name="T36" fmla="*/ 16 w 70"/>
                  <a:gd name="T37" fmla="*/ 0 h 80"/>
                  <a:gd name="T38" fmla="*/ 9 w 70"/>
                  <a:gd name="T39" fmla="*/ 2 h 80"/>
                  <a:gd name="T40" fmla="*/ 4 w 70"/>
                  <a:gd name="T41" fmla="*/ 2 h 80"/>
                  <a:gd name="T42" fmla="*/ 0 w 70"/>
                  <a:gd name="T43" fmla="*/ 5 h 80"/>
                  <a:gd name="T44" fmla="*/ 0 w 70"/>
                  <a:gd name="T45" fmla="*/ 7 h 80"/>
                  <a:gd name="T46" fmla="*/ 4 w 70"/>
                  <a:gd name="T47" fmla="*/ 12 h 80"/>
                  <a:gd name="T48" fmla="*/ 7 w 70"/>
                  <a:gd name="T49" fmla="*/ 16 h 80"/>
                  <a:gd name="T50" fmla="*/ 9 w 70"/>
                  <a:gd name="T51" fmla="*/ 19 h 80"/>
                  <a:gd name="T52" fmla="*/ 4 w 70"/>
                  <a:gd name="T53" fmla="*/ 19 h 80"/>
                  <a:gd name="T54" fmla="*/ 4 w 70"/>
                  <a:gd name="T55" fmla="*/ 26 h 80"/>
                  <a:gd name="T56" fmla="*/ 4 w 70"/>
                  <a:gd name="T57" fmla="*/ 28 h 80"/>
                  <a:gd name="T58" fmla="*/ 9 w 70"/>
                  <a:gd name="T59" fmla="*/ 28 h 80"/>
                  <a:gd name="T60" fmla="*/ 4 w 70"/>
                  <a:gd name="T61" fmla="*/ 35 h 80"/>
                  <a:gd name="T62" fmla="*/ 7 w 70"/>
                  <a:gd name="T63" fmla="*/ 40 h 80"/>
                  <a:gd name="T64" fmla="*/ 14 w 70"/>
                  <a:gd name="T65" fmla="*/ 45 h 80"/>
                  <a:gd name="T66" fmla="*/ 9 w 70"/>
                  <a:gd name="T67" fmla="*/ 45 h 80"/>
                  <a:gd name="T68" fmla="*/ 11 w 70"/>
                  <a:gd name="T69" fmla="*/ 52 h 80"/>
                  <a:gd name="T70" fmla="*/ 9 w 70"/>
                  <a:gd name="T71" fmla="*/ 54 h 80"/>
                  <a:gd name="T72" fmla="*/ 7 w 70"/>
                  <a:gd name="T73" fmla="*/ 57 h 80"/>
                  <a:gd name="T74" fmla="*/ 16 w 70"/>
                  <a:gd name="T75" fmla="*/ 61 h 80"/>
                  <a:gd name="T76" fmla="*/ 26 w 70"/>
                  <a:gd name="T77" fmla="*/ 66 h 80"/>
                  <a:gd name="T78" fmla="*/ 30 w 70"/>
                  <a:gd name="T79" fmla="*/ 69 h 80"/>
                  <a:gd name="T80" fmla="*/ 33 w 70"/>
                  <a:gd name="T81" fmla="*/ 64 h 80"/>
                  <a:gd name="T82" fmla="*/ 33 w 70"/>
                  <a:gd name="T83" fmla="*/ 61 h 80"/>
                  <a:gd name="T84" fmla="*/ 35 w 70"/>
                  <a:gd name="T85" fmla="*/ 64 h 80"/>
                  <a:gd name="T86" fmla="*/ 42 w 70"/>
                  <a:gd name="T87" fmla="*/ 69 h 80"/>
                  <a:gd name="T88" fmla="*/ 52 w 70"/>
                  <a:gd name="T89" fmla="*/ 73 h 80"/>
                  <a:gd name="T90" fmla="*/ 49 w 70"/>
                  <a:gd name="T91" fmla="*/ 78 h 80"/>
                  <a:gd name="T92" fmla="*/ 49 w 70"/>
                  <a:gd name="T93" fmla="*/ 80 h 80"/>
                  <a:gd name="T94" fmla="*/ 56 w 70"/>
                  <a:gd name="T95" fmla="*/ 80 h 80"/>
                  <a:gd name="T96" fmla="*/ 61 w 70"/>
                  <a:gd name="T97" fmla="*/ 80 h 80"/>
                  <a:gd name="T98" fmla="*/ 63 w 70"/>
                  <a:gd name="T99" fmla="*/ 76 h 80"/>
                  <a:gd name="T100" fmla="*/ 63 w 70"/>
                  <a:gd name="T101" fmla="*/ 71 h 80"/>
                  <a:gd name="T102" fmla="*/ 68 w 70"/>
                  <a:gd name="T103" fmla="*/ 69 h 80"/>
                  <a:gd name="T104" fmla="*/ 70 w 70"/>
                  <a:gd name="T105" fmla="*/ 64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0" h="80">
                    <a:moveTo>
                      <a:pt x="68" y="61"/>
                    </a:moveTo>
                    <a:lnTo>
                      <a:pt x="68" y="59"/>
                    </a:lnTo>
                    <a:lnTo>
                      <a:pt x="68" y="59"/>
                    </a:lnTo>
                    <a:lnTo>
                      <a:pt x="66" y="59"/>
                    </a:lnTo>
                    <a:lnTo>
                      <a:pt x="63" y="57"/>
                    </a:lnTo>
                    <a:lnTo>
                      <a:pt x="63" y="54"/>
                    </a:lnTo>
                    <a:lnTo>
                      <a:pt x="63" y="54"/>
                    </a:lnTo>
                    <a:lnTo>
                      <a:pt x="61" y="52"/>
                    </a:lnTo>
                    <a:lnTo>
                      <a:pt x="61" y="52"/>
                    </a:lnTo>
                    <a:lnTo>
                      <a:pt x="61" y="52"/>
                    </a:lnTo>
                    <a:lnTo>
                      <a:pt x="61" y="50"/>
                    </a:lnTo>
                    <a:lnTo>
                      <a:pt x="61" y="47"/>
                    </a:lnTo>
                    <a:lnTo>
                      <a:pt x="61" y="47"/>
                    </a:lnTo>
                    <a:lnTo>
                      <a:pt x="61" y="45"/>
                    </a:lnTo>
                    <a:lnTo>
                      <a:pt x="61" y="45"/>
                    </a:lnTo>
                    <a:lnTo>
                      <a:pt x="63" y="45"/>
                    </a:lnTo>
                    <a:lnTo>
                      <a:pt x="63" y="42"/>
                    </a:lnTo>
                    <a:lnTo>
                      <a:pt x="63" y="42"/>
                    </a:lnTo>
                    <a:lnTo>
                      <a:pt x="66" y="40"/>
                    </a:lnTo>
                    <a:lnTo>
                      <a:pt x="66" y="40"/>
                    </a:lnTo>
                    <a:lnTo>
                      <a:pt x="66" y="40"/>
                    </a:lnTo>
                    <a:lnTo>
                      <a:pt x="66" y="40"/>
                    </a:lnTo>
                    <a:lnTo>
                      <a:pt x="63" y="40"/>
                    </a:lnTo>
                    <a:lnTo>
                      <a:pt x="63" y="38"/>
                    </a:lnTo>
                    <a:lnTo>
                      <a:pt x="63" y="38"/>
                    </a:lnTo>
                    <a:lnTo>
                      <a:pt x="61" y="38"/>
                    </a:lnTo>
                    <a:lnTo>
                      <a:pt x="61" y="35"/>
                    </a:lnTo>
                    <a:lnTo>
                      <a:pt x="63" y="35"/>
                    </a:lnTo>
                    <a:lnTo>
                      <a:pt x="63" y="33"/>
                    </a:lnTo>
                    <a:lnTo>
                      <a:pt x="66" y="33"/>
                    </a:lnTo>
                    <a:lnTo>
                      <a:pt x="66" y="33"/>
                    </a:lnTo>
                    <a:lnTo>
                      <a:pt x="66" y="33"/>
                    </a:lnTo>
                    <a:lnTo>
                      <a:pt x="63" y="33"/>
                    </a:lnTo>
                    <a:lnTo>
                      <a:pt x="61" y="31"/>
                    </a:lnTo>
                    <a:lnTo>
                      <a:pt x="59" y="31"/>
                    </a:lnTo>
                    <a:lnTo>
                      <a:pt x="56" y="33"/>
                    </a:lnTo>
                    <a:lnTo>
                      <a:pt x="54" y="35"/>
                    </a:lnTo>
                    <a:lnTo>
                      <a:pt x="54" y="33"/>
                    </a:lnTo>
                    <a:lnTo>
                      <a:pt x="52" y="33"/>
                    </a:lnTo>
                    <a:lnTo>
                      <a:pt x="49" y="31"/>
                    </a:lnTo>
                    <a:lnTo>
                      <a:pt x="47" y="31"/>
                    </a:lnTo>
                    <a:lnTo>
                      <a:pt x="47" y="31"/>
                    </a:lnTo>
                    <a:lnTo>
                      <a:pt x="44" y="28"/>
                    </a:lnTo>
                    <a:lnTo>
                      <a:pt x="42" y="28"/>
                    </a:lnTo>
                    <a:lnTo>
                      <a:pt x="42" y="28"/>
                    </a:lnTo>
                    <a:lnTo>
                      <a:pt x="42" y="28"/>
                    </a:lnTo>
                    <a:lnTo>
                      <a:pt x="44" y="28"/>
                    </a:lnTo>
                    <a:lnTo>
                      <a:pt x="44" y="28"/>
                    </a:lnTo>
                    <a:lnTo>
                      <a:pt x="44" y="26"/>
                    </a:lnTo>
                    <a:lnTo>
                      <a:pt x="44" y="26"/>
                    </a:lnTo>
                    <a:lnTo>
                      <a:pt x="44" y="26"/>
                    </a:lnTo>
                    <a:lnTo>
                      <a:pt x="42" y="26"/>
                    </a:lnTo>
                    <a:lnTo>
                      <a:pt x="42" y="26"/>
                    </a:lnTo>
                    <a:lnTo>
                      <a:pt x="42" y="26"/>
                    </a:lnTo>
                    <a:lnTo>
                      <a:pt x="42" y="24"/>
                    </a:lnTo>
                    <a:lnTo>
                      <a:pt x="42" y="24"/>
                    </a:lnTo>
                    <a:lnTo>
                      <a:pt x="42" y="24"/>
                    </a:lnTo>
                    <a:lnTo>
                      <a:pt x="42" y="24"/>
                    </a:lnTo>
                    <a:lnTo>
                      <a:pt x="42" y="21"/>
                    </a:lnTo>
                    <a:lnTo>
                      <a:pt x="44" y="21"/>
                    </a:lnTo>
                    <a:lnTo>
                      <a:pt x="44" y="21"/>
                    </a:lnTo>
                    <a:lnTo>
                      <a:pt x="44" y="21"/>
                    </a:lnTo>
                    <a:lnTo>
                      <a:pt x="44" y="19"/>
                    </a:lnTo>
                    <a:lnTo>
                      <a:pt x="42" y="19"/>
                    </a:lnTo>
                    <a:lnTo>
                      <a:pt x="42" y="19"/>
                    </a:lnTo>
                    <a:lnTo>
                      <a:pt x="40" y="19"/>
                    </a:lnTo>
                    <a:lnTo>
                      <a:pt x="37" y="16"/>
                    </a:lnTo>
                    <a:lnTo>
                      <a:pt x="37" y="16"/>
                    </a:lnTo>
                    <a:lnTo>
                      <a:pt x="35" y="16"/>
                    </a:lnTo>
                    <a:lnTo>
                      <a:pt x="35" y="16"/>
                    </a:lnTo>
                    <a:lnTo>
                      <a:pt x="33" y="14"/>
                    </a:lnTo>
                    <a:lnTo>
                      <a:pt x="33" y="14"/>
                    </a:lnTo>
                    <a:lnTo>
                      <a:pt x="33" y="14"/>
                    </a:lnTo>
                    <a:lnTo>
                      <a:pt x="33" y="14"/>
                    </a:lnTo>
                    <a:lnTo>
                      <a:pt x="33" y="12"/>
                    </a:lnTo>
                    <a:lnTo>
                      <a:pt x="33" y="12"/>
                    </a:lnTo>
                    <a:lnTo>
                      <a:pt x="33" y="12"/>
                    </a:lnTo>
                    <a:lnTo>
                      <a:pt x="33" y="9"/>
                    </a:lnTo>
                    <a:lnTo>
                      <a:pt x="33" y="9"/>
                    </a:lnTo>
                    <a:lnTo>
                      <a:pt x="33" y="7"/>
                    </a:lnTo>
                    <a:lnTo>
                      <a:pt x="30" y="7"/>
                    </a:lnTo>
                    <a:lnTo>
                      <a:pt x="30" y="7"/>
                    </a:lnTo>
                    <a:lnTo>
                      <a:pt x="30" y="9"/>
                    </a:lnTo>
                    <a:lnTo>
                      <a:pt x="30" y="9"/>
                    </a:lnTo>
                    <a:lnTo>
                      <a:pt x="30" y="7"/>
                    </a:lnTo>
                    <a:lnTo>
                      <a:pt x="28" y="5"/>
                    </a:lnTo>
                    <a:lnTo>
                      <a:pt x="28" y="5"/>
                    </a:lnTo>
                    <a:lnTo>
                      <a:pt x="26" y="5"/>
                    </a:lnTo>
                    <a:lnTo>
                      <a:pt x="23" y="2"/>
                    </a:lnTo>
                    <a:lnTo>
                      <a:pt x="23" y="2"/>
                    </a:lnTo>
                    <a:lnTo>
                      <a:pt x="23" y="0"/>
                    </a:lnTo>
                    <a:lnTo>
                      <a:pt x="21" y="0"/>
                    </a:lnTo>
                    <a:lnTo>
                      <a:pt x="21" y="0"/>
                    </a:lnTo>
                    <a:lnTo>
                      <a:pt x="16" y="0"/>
                    </a:lnTo>
                    <a:lnTo>
                      <a:pt x="16" y="0"/>
                    </a:lnTo>
                    <a:lnTo>
                      <a:pt x="14" y="0"/>
                    </a:lnTo>
                    <a:lnTo>
                      <a:pt x="11" y="0"/>
                    </a:lnTo>
                    <a:lnTo>
                      <a:pt x="11" y="0"/>
                    </a:lnTo>
                    <a:lnTo>
                      <a:pt x="9" y="0"/>
                    </a:lnTo>
                    <a:lnTo>
                      <a:pt x="9" y="2"/>
                    </a:lnTo>
                    <a:lnTo>
                      <a:pt x="9" y="2"/>
                    </a:lnTo>
                    <a:lnTo>
                      <a:pt x="7" y="2"/>
                    </a:lnTo>
                    <a:lnTo>
                      <a:pt x="7" y="2"/>
                    </a:lnTo>
                    <a:lnTo>
                      <a:pt x="4" y="2"/>
                    </a:lnTo>
                    <a:lnTo>
                      <a:pt x="4" y="2"/>
                    </a:lnTo>
                    <a:lnTo>
                      <a:pt x="4" y="2"/>
                    </a:lnTo>
                    <a:lnTo>
                      <a:pt x="2" y="2"/>
                    </a:lnTo>
                    <a:lnTo>
                      <a:pt x="2" y="2"/>
                    </a:lnTo>
                    <a:lnTo>
                      <a:pt x="2" y="5"/>
                    </a:lnTo>
                    <a:lnTo>
                      <a:pt x="0" y="5"/>
                    </a:lnTo>
                    <a:lnTo>
                      <a:pt x="0" y="5"/>
                    </a:lnTo>
                    <a:lnTo>
                      <a:pt x="0" y="5"/>
                    </a:lnTo>
                    <a:lnTo>
                      <a:pt x="0" y="5"/>
                    </a:lnTo>
                    <a:lnTo>
                      <a:pt x="0" y="7"/>
                    </a:lnTo>
                    <a:lnTo>
                      <a:pt x="0" y="7"/>
                    </a:lnTo>
                    <a:lnTo>
                      <a:pt x="2" y="9"/>
                    </a:lnTo>
                    <a:lnTo>
                      <a:pt x="0" y="12"/>
                    </a:lnTo>
                    <a:lnTo>
                      <a:pt x="2" y="12"/>
                    </a:lnTo>
                    <a:lnTo>
                      <a:pt x="2" y="12"/>
                    </a:lnTo>
                    <a:lnTo>
                      <a:pt x="4" y="12"/>
                    </a:lnTo>
                    <a:lnTo>
                      <a:pt x="2" y="14"/>
                    </a:lnTo>
                    <a:lnTo>
                      <a:pt x="2" y="14"/>
                    </a:lnTo>
                    <a:lnTo>
                      <a:pt x="2" y="14"/>
                    </a:lnTo>
                    <a:lnTo>
                      <a:pt x="4" y="16"/>
                    </a:lnTo>
                    <a:lnTo>
                      <a:pt x="7" y="16"/>
                    </a:lnTo>
                    <a:lnTo>
                      <a:pt x="9" y="19"/>
                    </a:lnTo>
                    <a:lnTo>
                      <a:pt x="9" y="19"/>
                    </a:lnTo>
                    <a:lnTo>
                      <a:pt x="9" y="19"/>
                    </a:lnTo>
                    <a:lnTo>
                      <a:pt x="9" y="19"/>
                    </a:lnTo>
                    <a:lnTo>
                      <a:pt x="9" y="19"/>
                    </a:lnTo>
                    <a:lnTo>
                      <a:pt x="9" y="19"/>
                    </a:lnTo>
                    <a:lnTo>
                      <a:pt x="7" y="19"/>
                    </a:lnTo>
                    <a:lnTo>
                      <a:pt x="7" y="19"/>
                    </a:lnTo>
                    <a:lnTo>
                      <a:pt x="4" y="19"/>
                    </a:lnTo>
                    <a:lnTo>
                      <a:pt x="4" y="19"/>
                    </a:lnTo>
                    <a:lnTo>
                      <a:pt x="4" y="21"/>
                    </a:lnTo>
                    <a:lnTo>
                      <a:pt x="4" y="21"/>
                    </a:lnTo>
                    <a:lnTo>
                      <a:pt x="4" y="26"/>
                    </a:lnTo>
                    <a:lnTo>
                      <a:pt x="4" y="26"/>
                    </a:lnTo>
                    <a:lnTo>
                      <a:pt x="4" y="26"/>
                    </a:lnTo>
                    <a:lnTo>
                      <a:pt x="4" y="26"/>
                    </a:lnTo>
                    <a:lnTo>
                      <a:pt x="2" y="26"/>
                    </a:lnTo>
                    <a:lnTo>
                      <a:pt x="2" y="26"/>
                    </a:lnTo>
                    <a:lnTo>
                      <a:pt x="2" y="28"/>
                    </a:lnTo>
                    <a:lnTo>
                      <a:pt x="4" y="28"/>
                    </a:lnTo>
                    <a:lnTo>
                      <a:pt x="4" y="26"/>
                    </a:lnTo>
                    <a:lnTo>
                      <a:pt x="7" y="26"/>
                    </a:lnTo>
                    <a:lnTo>
                      <a:pt x="9" y="28"/>
                    </a:lnTo>
                    <a:lnTo>
                      <a:pt x="9" y="28"/>
                    </a:lnTo>
                    <a:lnTo>
                      <a:pt x="9" y="28"/>
                    </a:lnTo>
                    <a:lnTo>
                      <a:pt x="9" y="31"/>
                    </a:lnTo>
                    <a:lnTo>
                      <a:pt x="7" y="31"/>
                    </a:lnTo>
                    <a:lnTo>
                      <a:pt x="7" y="33"/>
                    </a:lnTo>
                    <a:lnTo>
                      <a:pt x="7" y="35"/>
                    </a:lnTo>
                    <a:lnTo>
                      <a:pt x="4" y="35"/>
                    </a:lnTo>
                    <a:lnTo>
                      <a:pt x="4" y="38"/>
                    </a:lnTo>
                    <a:lnTo>
                      <a:pt x="4" y="38"/>
                    </a:lnTo>
                    <a:lnTo>
                      <a:pt x="4" y="38"/>
                    </a:lnTo>
                    <a:lnTo>
                      <a:pt x="7" y="40"/>
                    </a:lnTo>
                    <a:lnTo>
                      <a:pt x="7" y="40"/>
                    </a:lnTo>
                    <a:lnTo>
                      <a:pt x="9" y="40"/>
                    </a:lnTo>
                    <a:lnTo>
                      <a:pt x="11" y="42"/>
                    </a:lnTo>
                    <a:lnTo>
                      <a:pt x="11" y="45"/>
                    </a:lnTo>
                    <a:lnTo>
                      <a:pt x="14" y="45"/>
                    </a:lnTo>
                    <a:lnTo>
                      <a:pt x="14" y="45"/>
                    </a:lnTo>
                    <a:lnTo>
                      <a:pt x="14" y="45"/>
                    </a:lnTo>
                    <a:lnTo>
                      <a:pt x="11" y="45"/>
                    </a:lnTo>
                    <a:lnTo>
                      <a:pt x="9" y="45"/>
                    </a:lnTo>
                    <a:lnTo>
                      <a:pt x="9" y="45"/>
                    </a:lnTo>
                    <a:lnTo>
                      <a:pt x="9" y="45"/>
                    </a:lnTo>
                    <a:lnTo>
                      <a:pt x="7" y="47"/>
                    </a:lnTo>
                    <a:lnTo>
                      <a:pt x="7" y="47"/>
                    </a:lnTo>
                    <a:lnTo>
                      <a:pt x="9" y="50"/>
                    </a:lnTo>
                    <a:lnTo>
                      <a:pt x="11" y="52"/>
                    </a:lnTo>
                    <a:lnTo>
                      <a:pt x="11" y="52"/>
                    </a:lnTo>
                    <a:lnTo>
                      <a:pt x="11" y="54"/>
                    </a:lnTo>
                    <a:lnTo>
                      <a:pt x="11" y="54"/>
                    </a:lnTo>
                    <a:lnTo>
                      <a:pt x="11" y="54"/>
                    </a:lnTo>
                    <a:lnTo>
                      <a:pt x="9" y="54"/>
                    </a:lnTo>
                    <a:lnTo>
                      <a:pt x="9" y="54"/>
                    </a:lnTo>
                    <a:lnTo>
                      <a:pt x="9" y="54"/>
                    </a:lnTo>
                    <a:lnTo>
                      <a:pt x="7" y="54"/>
                    </a:lnTo>
                    <a:lnTo>
                      <a:pt x="7" y="54"/>
                    </a:lnTo>
                    <a:lnTo>
                      <a:pt x="7" y="57"/>
                    </a:lnTo>
                    <a:lnTo>
                      <a:pt x="7" y="57"/>
                    </a:lnTo>
                    <a:lnTo>
                      <a:pt x="9" y="57"/>
                    </a:lnTo>
                    <a:lnTo>
                      <a:pt x="11" y="59"/>
                    </a:lnTo>
                    <a:lnTo>
                      <a:pt x="14" y="61"/>
                    </a:lnTo>
                    <a:lnTo>
                      <a:pt x="14" y="61"/>
                    </a:lnTo>
                    <a:lnTo>
                      <a:pt x="16" y="61"/>
                    </a:lnTo>
                    <a:lnTo>
                      <a:pt x="16" y="64"/>
                    </a:lnTo>
                    <a:lnTo>
                      <a:pt x="18" y="64"/>
                    </a:lnTo>
                    <a:lnTo>
                      <a:pt x="21" y="64"/>
                    </a:lnTo>
                    <a:lnTo>
                      <a:pt x="23" y="66"/>
                    </a:lnTo>
                    <a:lnTo>
                      <a:pt x="26" y="66"/>
                    </a:lnTo>
                    <a:lnTo>
                      <a:pt x="28" y="69"/>
                    </a:lnTo>
                    <a:lnTo>
                      <a:pt x="28" y="69"/>
                    </a:lnTo>
                    <a:lnTo>
                      <a:pt x="28" y="69"/>
                    </a:lnTo>
                    <a:lnTo>
                      <a:pt x="30" y="69"/>
                    </a:lnTo>
                    <a:lnTo>
                      <a:pt x="30" y="69"/>
                    </a:lnTo>
                    <a:lnTo>
                      <a:pt x="28" y="69"/>
                    </a:lnTo>
                    <a:lnTo>
                      <a:pt x="30" y="66"/>
                    </a:lnTo>
                    <a:lnTo>
                      <a:pt x="33" y="66"/>
                    </a:lnTo>
                    <a:lnTo>
                      <a:pt x="33" y="64"/>
                    </a:lnTo>
                    <a:lnTo>
                      <a:pt x="33" y="64"/>
                    </a:lnTo>
                    <a:lnTo>
                      <a:pt x="33" y="64"/>
                    </a:lnTo>
                    <a:lnTo>
                      <a:pt x="30" y="61"/>
                    </a:lnTo>
                    <a:lnTo>
                      <a:pt x="30" y="61"/>
                    </a:lnTo>
                    <a:lnTo>
                      <a:pt x="33" y="61"/>
                    </a:lnTo>
                    <a:lnTo>
                      <a:pt x="33" y="61"/>
                    </a:lnTo>
                    <a:lnTo>
                      <a:pt x="35" y="61"/>
                    </a:lnTo>
                    <a:lnTo>
                      <a:pt x="35" y="61"/>
                    </a:lnTo>
                    <a:lnTo>
                      <a:pt x="35" y="61"/>
                    </a:lnTo>
                    <a:lnTo>
                      <a:pt x="35" y="61"/>
                    </a:lnTo>
                    <a:lnTo>
                      <a:pt x="35" y="64"/>
                    </a:lnTo>
                    <a:lnTo>
                      <a:pt x="37" y="64"/>
                    </a:lnTo>
                    <a:lnTo>
                      <a:pt x="40" y="64"/>
                    </a:lnTo>
                    <a:lnTo>
                      <a:pt x="40" y="66"/>
                    </a:lnTo>
                    <a:lnTo>
                      <a:pt x="42" y="66"/>
                    </a:lnTo>
                    <a:lnTo>
                      <a:pt x="42" y="69"/>
                    </a:lnTo>
                    <a:lnTo>
                      <a:pt x="44" y="69"/>
                    </a:lnTo>
                    <a:lnTo>
                      <a:pt x="44" y="69"/>
                    </a:lnTo>
                    <a:lnTo>
                      <a:pt x="44" y="71"/>
                    </a:lnTo>
                    <a:lnTo>
                      <a:pt x="49" y="73"/>
                    </a:lnTo>
                    <a:lnTo>
                      <a:pt x="52" y="73"/>
                    </a:lnTo>
                    <a:lnTo>
                      <a:pt x="52" y="73"/>
                    </a:lnTo>
                    <a:lnTo>
                      <a:pt x="52" y="73"/>
                    </a:lnTo>
                    <a:lnTo>
                      <a:pt x="52" y="73"/>
                    </a:lnTo>
                    <a:lnTo>
                      <a:pt x="49" y="78"/>
                    </a:lnTo>
                    <a:lnTo>
                      <a:pt x="49" y="78"/>
                    </a:lnTo>
                    <a:lnTo>
                      <a:pt x="47" y="78"/>
                    </a:lnTo>
                    <a:lnTo>
                      <a:pt x="47" y="80"/>
                    </a:lnTo>
                    <a:lnTo>
                      <a:pt x="47" y="80"/>
                    </a:lnTo>
                    <a:lnTo>
                      <a:pt x="49" y="80"/>
                    </a:lnTo>
                    <a:lnTo>
                      <a:pt x="49" y="80"/>
                    </a:lnTo>
                    <a:lnTo>
                      <a:pt x="52" y="80"/>
                    </a:lnTo>
                    <a:lnTo>
                      <a:pt x="52" y="80"/>
                    </a:lnTo>
                    <a:lnTo>
                      <a:pt x="54" y="80"/>
                    </a:lnTo>
                    <a:lnTo>
                      <a:pt x="54" y="80"/>
                    </a:lnTo>
                    <a:lnTo>
                      <a:pt x="56" y="80"/>
                    </a:lnTo>
                    <a:lnTo>
                      <a:pt x="56" y="80"/>
                    </a:lnTo>
                    <a:lnTo>
                      <a:pt x="59" y="80"/>
                    </a:lnTo>
                    <a:lnTo>
                      <a:pt x="59" y="78"/>
                    </a:lnTo>
                    <a:lnTo>
                      <a:pt x="61" y="78"/>
                    </a:lnTo>
                    <a:lnTo>
                      <a:pt x="61" y="80"/>
                    </a:lnTo>
                    <a:lnTo>
                      <a:pt x="61" y="80"/>
                    </a:lnTo>
                    <a:lnTo>
                      <a:pt x="63" y="80"/>
                    </a:lnTo>
                    <a:lnTo>
                      <a:pt x="63" y="78"/>
                    </a:lnTo>
                    <a:lnTo>
                      <a:pt x="63" y="78"/>
                    </a:lnTo>
                    <a:lnTo>
                      <a:pt x="63" y="76"/>
                    </a:lnTo>
                    <a:lnTo>
                      <a:pt x="63" y="76"/>
                    </a:lnTo>
                    <a:lnTo>
                      <a:pt x="63" y="76"/>
                    </a:lnTo>
                    <a:lnTo>
                      <a:pt x="63" y="73"/>
                    </a:lnTo>
                    <a:lnTo>
                      <a:pt x="63" y="71"/>
                    </a:lnTo>
                    <a:lnTo>
                      <a:pt x="63" y="71"/>
                    </a:lnTo>
                    <a:lnTo>
                      <a:pt x="63" y="71"/>
                    </a:lnTo>
                    <a:lnTo>
                      <a:pt x="63" y="69"/>
                    </a:lnTo>
                    <a:lnTo>
                      <a:pt x="63" y="69"/>
                    </a:lnTo>
                    <a:lnTo>
                      <a:pt x="63" y="69"/>
                    </a:lnTo>
                    <a:lnTo>
                      <a:pt x="68" y="69"/>
                    </a:lnTo>
                    <a:lnTo>
                      <a:pt x="68" y="66"/>
                    </a:lnTo>
                    <a:lnTo>
                      <a:pt x="70" y="66"/>
                    </a:lnTo>
                    <a:lnTo>
                      <a:pt x="70" y="64"/>
                    </a:lnTo>
                    <a:lnTo>
                      <a:pt x="70" y="64"/>
                    </a:lnTo>
                    <a:lnTo>
                      <a:pt x="70" y="64"/>
                    </a:lnTo>
                    <a:lnTo>
                      <a:pt x="70" y="61"/>
                    </a:lnTo>
                    <a:lnTo>
                      <a:pt x="68" y="61"/>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58"/>
              <p:cNvSpPr>
                <a:spLocks/>
              </p:cNvSpPr>
              <p:nvPr/>
            </p:nvSpPr>
            <p:spPr bwMode="auto">
              <a:xfrm>
                <a:off x="2427" y="2447"/>
                <a:ext cx="111" cy="93"/>
              </a:xfrm>
              <a:custGeom>
                <a:avLst/>
                <a:gdLst>
                  <a:gd name="T0" fmla="*/ 111 w 111"/>
                  <a:gd name="T1" fmla="*/ 81 h 93"/>
                  <a:gd name="T2" fmla="*/ 111 w 111"/>
                  <a:gd name="T3" fmla="*/ 76 h 93"/>
                  <a:gd name="T4" fmla="*/ 109 w 111"/>
                  <a:gd name="T5" fmla="*/ 71 h 93"/>
                  <a:gd name="T6" fmla="*/ 104 w 111"/>
                  <a:gd name="T7" fmla="*/ 71 h 93"/>
                  <a:gd name="T8" fmla="*/ 104 w 111"/>
                  <a:gd name="T9" fmla="*/ 69 h 93"/>
                  <a:gd name="T10" fmla="*/ 102 w 111"/>
                  <a:gd name="T11" fmla="*/ 62 h 93"/>
                  <a:gd name="T12" fmla="*/ 102 w 111"/>
                  <a:gd name="T13" fmla="*/ 57 h 93"/>
                  <a:gd name="T14" fmla="*/ 99 w 111"/>
                  <a:gd name="T15" fmla="*/ 50 h 93"/>
                  <a:gd name="T16" fmla="*/ 99 w 111"/>
                  <a:gd name="T17" fmla="*/ 43 h 93"/>
                  <a:gd name="T18" fmla="*/ 92 w 111"/>
                  <a:gd name="T19" fmla="*/ 36 h 93"/>
                  <a:gd name="T20" fmla="*/ 87 w 111"/>
                  <a:gd name="T21" fmla="*/ 31 h 93"/>
                  <a:gd name="T22" fmla="*/ 87 w 111"/>
                  <a:gd name="T23" fmla="*/ 31 h 93"/>
                  <a:gd name="T24" fmla="*/ 83 w 111"/>
                  <a:gd name="T25" fmla="*/ 26 h 93"/>
                  <a:gd name="T26" fmla="*/ 80 w 111"/>
                  <a:gd name="T27" fmla="*/ 24 h 93"/>
                  <a:gd name="T28" fmla="*/ 78 w 111"/>
                  <a:gd name="T29" fmla="*/ 14 h 93"/>
                  <a:gd name="T30" fmla="*/ 76 w 111"/>
                  <a:gd name="T31" fmla="*/ 12 h 93"/>
                  <a:gd name="T32" fmla="*/ 71 w 111"/>
                  <a:gd name="T33" fmla="*/ 12 h 93"/>
                  <a:gd name="T34" fmla="*/ 69 w 111"/>
                  <a:gd name="T35" fmla="*/ 12 h 93"/>
                  <a:gd name="T36" fmla="*/ 64 w 111"/>
                  <a:gd name="T37" fmla="*/ 5 h 93"/>
                  <a:gd name="T38" fmla="*/ 50 w 111"/>
                  <a:gd name="T39" fmla="*/ 0 h 93"/>
                  <a:gd name="T40" fmla="*/ 47 w 111"/>
                  <a:gd name="T41" fmla="*/ 0 h 93"/>
                  <a:gd name="T42" fmla="*/ 42 w 111"/>
                  <a:gd name="T43" fmla="*/ 3 h 93"/>
                  <a:gd name="T44" fmla="*/ 33 w 111"/>
                  <a:gd name="T45" fmla="*/ 5 h 93"/>
                  <a:gd name="T46" fmla="*/ 26 w 111"/>
                  <a:gd name="T47" fmla="*/ 3 h 93"/>
                  <a:gd name="T48" fmla="*/ 21 w 111"/>
                  <a:gd name="T49" fmla="*/ 10 h 93"/>
                  <a:gd name="T50" fmla="*/ 19 w 111"/>
                  <a:gd name="T51" fmla="*/ 19 h 93"/>
                  <a:gd name="T52" fmla="*/ 2 w 111"/>
                  <a:gd name="T53" fmla="*/ 40 h 93"/>
                  <a:gd name="T54" fmla="*/ 2 w 111"/>
                  <a:gd name="T55" fmla="*/ 43 h 93"/>
                  <a:gd name="T56" fmla="*/ 9 w 111"/>
                  <a:gd name="T57" fmla="*/ 48 h 93"/>
                  <a:gd name="T58" fmla="*/ 14 w 111"/>
                  <a:gd name="T59" fmla="*/ 57 h 93"/>
                  <a:gd name="T60" fmla="*/ 14 w 111"/>
                  <a:gd name="T61" fmla="*/ 57 h 93"/>
                  <a:gd name="T62" fmla="*/ 16 w 111"/>
                  <a:gd name="T63" fmla="*/ 64 h 93"/>
                  <a:gd name="T64" fmla="*/ 33 w 111"/>
                  <a:gd name="T65" fmla="*/ 67 h 93"/>
                  <a:gd name="T66" fmla="*/ 42 w 111"/>
                  <a:gd name="T67" fmla="*/ 62 h 93"/>
                  <a:gd name="T68" fmla="*/ 52 w 111"/>
                  <a:gd name="T69" fmla="*/ 64 h 93"/>
                  <a:gd name="T70" fmla="*/ 59 w 111"/>
                  <a:gd name="T71" fmla="*/ 69 h 93"/>
                  <a:gd name="T72" fmla="*/ 64 w 111"/>
                  <a:gd name="T73" fmla="*/ 67 h 93"/>
                  <a:gd name="T74" fmla="*/ 64 w 111"/>
                  <a:gd name="T75" fmla="*/ 71 h 93"/>
                  <a:gd name="T76" fmla="*/ 50 w 111"/>
                  <a:gd name="T77" fmla="*/ 69 h 93"/>
                  <a:gd name="T78" fmla="*/ 45 w 111"/>
                  <a:gd name="T79" fmla="*/ 67 h 93"/>
                  <a:gd name="T80" fmla="*/ 40 w 111"/>
                  <a:gd name="T81" fmla="*/ 69 h 93"/>
                  <a:gd name="T82" fmla="*/ 31 w 111"/>
                  <a:gd name="T83" fmla="*/ 71 h 93"/>
                  <a:gd name="T84" fmla="*/ 24 w 111"/>
                  <a:gd name="T85" fmla="*/ 76 h 93"/>
                  <a:gd name="T86" fmla="*/ 12 w 111"/>
                  <a:gd name="T87" fmla="*/ 76 h 93"/>
                  <a:gd name="T88" fmla="*/ 12 w 111"/>
                  <a:gd name="T89" fmla="*/ 85 h 93"/>
                  <a:gd name="T90" fmla="*/ 14 w 111"/>
                  <a:gd name="T91" fmla="*/ 85 h 93"/>
                  <a:gd name="T92" fmla="*/ 19 w 111"/>
                  <a:gd name="T93" fmla="*/ 85 h 93"/>
                  <a:gd name="T94" fmla="*/ 16 w 111"/>
                  <a:gd name="T95" fmla="*/ 85 h 93"/>
                  <a:gd name="T96" fmla="*/ 12 w 111"/>
                  <a:gd name="T97" fmla="*/ 90 h 93"/>
                  <a:gd name="T98" fmla="*/ 19 w 111"/>
                  <a:gd name="T99" fmla="*/ 93 h 93"/>
                  <a:gd name="T100" fmla="*/ 28 w 111"/>
                  <a:gd name="T101" fmla="*/ 90 h 93"/>
                  <a:gd name="T102" fmla="*/ 45 w 111"/>
                  <a:gd name="T103" fmla="*/ 85 h 93"/>
                  <a:gd name="T104" fmla="*/ 69 w 111"/>
                  <a:gd name="T105" fmla="*/ 85 h 93"/>
                  <a:gd name="T106" fmla="*/ 80 w 111"/>
                  <a:gd name="T107" fmla="*/ 85 h 93"/>
                  <a:gd name="T108" fmla="*/ 80 w 111"/>
                  <a:gd name="T109" fmla="*/ 88 h 93"/>
                  <a:gd name="T110" fmla="*/ 83 w 111"/>
                  <a:gd name="T111" fmla="*/ 88 h 93"/>
                  <a:gd name="T112" fmla="*/ 87 w 111"/>
                  <a:gd name="T113" fmla="*/ 90 h 93"/>
                  <a:gd name="T114" fmla="*/ 92 w 111"/>
                  <a:gd name="T115" fmla="*/ 93 h 93"/>
                  <a:gd name="T116" fmla="*/ 102 w 111"/>
                  <a:gd name="T117" fmla="*/ 90 h 93"/>
                  <a:gd name="T118" fmla="*/ 111 w 111"/>
                  <a:gd name="T119"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1" h="93">
                    <a:moveTo>
                      <a:pt x="111" y="88"/>
                    </a:moveTo>
                    <a:lnTo>
                      <a:pt x="111" y="85"/>
                    </a:lnTo>
                    <a:lnTo>
                      <a:pt x="111" y="83"/>
                    </a:lnTo>
                    <a:lnTo>
                      <a:pt x="111" y="81"/>
                    </a:lnTo>
                    <a:lnTo>
                      <a:pt x="111" y="78"/>
                    </a:lnTo>
                    <a:lnTo>
                      <a:pt x="111" y="78"/>
                    </a:lnTo>
                    <a:lnTo>
                      <a:pt x="111" y="78"/>
                    </a:lnTo>
                    <a:lnTo>
                      <a:pt x="111" y="76"/>
                    </a:lnTo>
                    <a:lnTo>
                      <a:pt x="109" y="74"/>
                    </a:lnTo>
                    <a:lnTo>
                      <a:pt x="109" y="74"/>
                    </a:lnTo>
                    <a:lnTo>
                      <a:pt x="109" y="71"/>
                    </a:lnTo>
                    <a:lnTo>
                      <a:pt x="109" y="71"/>
                    </a:lnTo>
                    <a:lnTo>
                      <a:pt x="106" y="71"/>
                    </a:lnTo>
                    <a:lnTo>
                      <a:pt x="106" y="69"/>
                    </a:lnTo>
                    <a:lnTo>
                      <a:pt x="104" y="71"/>
                    </a:lnTo>
                    <a:lnTo>
                      <a:pt x="104" y="71"/>
                    </a:lnTo>
                    <a:lnTo>
                      <a:pt x="104" y="71"/>
                    </a:lnTo>
                    <a:lnTo>
                      <a:pt x="104" y="71"/>
                    </a:lnTo>
                    <a:lnTo>
                      <a:pt x="104" y="69"/>
                    </a:lnTo>
                    <a:lnTo>
                      <a:pt x="104" y="69"/>
                    </a:lnTo>
                    <a:lnTo>
                      <a:pt x="102" y="67"/>
                    </a:lnTo>
                    <a:lnTo>
                      <a:pt x="99" y="64"/>
                    </a:lnTo>
                    <a:lnTo>
                      <a:pt x="99" y="62"/>
                    </a:lnTo>
                    <a:lnTo>
                      <a:pt x="102" y="62"/>
                    </a:lnTo>
                    <a:lnTo>
                      <a:pt x="102" y="62"/>
                    </a:lnTo>
                    <a:lnTo>
                      <a:pt x="102" y="59"/>
                    </a:lnTo>
                    <a:lnTo>
                      <a:pt x="102" y="59"/>
                    </a:lnTo>
                    <a:lnTo>
                      <a:pt x="102" y="57"/>
                    </a:lnTo>
                    <a:lnTo>
                      <a:pt x="102" y="55"/>
                    </a:lnTo>
                    <a:lnTo>
                      <a:pt x="102" y="52"/>
                    </a:lnTo>
                    <a:lnTo>
                      <a:pt x="99" y="52"/>
                    </a:lnTo>
                    <a:lnTo>
                      <a:pt x="99" y="50"/>
                    </a:lnTo>
                    <a:lnTo>
                      <a:pt x="99" y="50"/>
                    </a:lnTo>
                    <a:lnTo>
                      <a:pt x="97" y="48"/>
                    </a:lnTo>
                    <a:lnTo>
                      <a:pt x="97" y="45"/>
                    </a:lnTo>
                    <a:lnTo>
                      <a:pt x="99" y="43"/>
                    </a:lnTo>
                    <a:lnTo>
                      <a:pt x="97" y="40"/>
                    </a:lnTo>
                    <a:lnTo>
                      <a:pt x="97" y="40"/>
                    </a:lnTo>
                    <a:lnTo>
                      <a:pt x="95" y="38"/>
                    </a:lnTo>
                    <a:lnTo>
                      <a:pt x="92" y="36"/>
                    </a:lnTo>
                    <a:lnTo>
                      <a:pt x="92" y="36"/>
                    </a:lnTo>
                    <a:lnTo>
                      <a:pt x="90" y="33"/>
                    </a:lnTo>
                    <a:lnTo>
                      <a:pt x="87" y="33"/>
                    </a:lnTo>
                    <a:lnTo>
                      <a:pt x="87" y="31"/>
                    </a:lnTo>
                    <a:lnTo>
                      <a:pt x="87" y="31"/>
                    </a:lnTo>
                    <a:lnTo>
                      <a:pt x="85" y="31"/>
                    </a:lnTo>
                    <a:lnTo>
                      <a:pt x="85" y="31"/>
                    </a:lnTo>
                    <a:lnTo>
                      <a:pt x="87" y="31"/>
                    </a:lnTo>
                    <a:lnTo>
                      <a:pt x="85" y="29"/>
                    </a:lnTo>
                    <a:lnTo>
                      <a:pt x="85" y="26"/>
                    </a:lnTo>
                    <a:lnTo>
                      <a:pt x="83" y="26"/>
                    </a:lnTo>
                    <a:lnTo>
                      <a:pt x="83" y="26"/>
                    </a:lnTo>
                    <a:lnTo>
                      <a:pt x="83" y="26"/>
                    </a:lnTo>
                    <a:lnTo>
                      <a:pt x="83" y="24"/>
                    </a:lnTo>
                    <a:lnTo>
                      <a:pt x="83" y="24"/>
                    </a:lnTo>
                    <a:lnTo>
                      <a:pt x="80" y="24"/>
                    </a:lnTo>
                    <a:lnTo>
                      <a:pt x="80" y="24"/>
                    </a:lnTo>
                    <a:lnTo>
                      <a:pt x="78" y="22"/>
                    </a:lnTo>
                    <a:lnTo>
                      <a:pt x="78" y="17"/>
                    </a:lnTo>
                    <a:lnTo>
                      <a:pt x="78" y="14"/>
                    </a:lnTo>
                    <a:lnTo>
                      <a:pt x="76" y="14"/>
                    </a:lnTo>
                    <a:lnTo>
                      <a:pt x="76" y="12"/>
                    </a:lnTo>
                    <a:lnTo>
                      <a:pt x="76" y="12"/>
                    </a:lnTo>
                    <a:lnTo>
                      <a:pt x="76" y="12"/>
                    </a:lnTo>
                    <a:lnTo>
                      <a:pt x="76" y="12"/>
                    </a:lnTo>
                    <a:lnTo>
                      <a:pt x="73" y="12"/>
                    </a:lnTo>
                    <a:lnTo>
                      <a:pt x="73" y="12"/>
                    </a:lnTo>
                    <a:lnTo>
                      <a:pt x="71" y="12"/>
                    </a:lnTo>
                    <a:lnTo>
                      <a:pt x="71" y="12"/>
                    </a:lnTo>
                    <a:lnTo>
                      <a:pt x="71" y="12"/>
                    </a:lnTo>
                    <a:lnTo>
                      <a:pt x="69" y="12"/>
                    </a:lnTo>
                    <a:lnTo>
                      <a:pt x="69" y="12"/>
                    </a:lnTo>
                    <a:lnTo>
                      <a:pt x="66" y="10"/>
                    </a:lnTo>
                    <a:lnTo>
                      <a:pt x="66" y="10"/>
                    </a:lnTo>
                    <a:lnTo>
                      <a:pt x="66" y="7"/>
                    </a:lnTo>
                    <a:lnTo>
                      <a:pt x="64" y="5"/>
                    </a:lnTo>
                    <a:lnTo>
                      <a:pt x="61" y="3"/>
                    </a:lnTo>
                    <a:lnTo>
                      <a:pt x="57" y="0"/>
                    </a:lnTo>
                    <a:lnTo>
                      <a:pt x="52" y="0"/>
                    </a:lnTo>
                    <a:lnTo>
                      <a:pt x="50" y="0"/>
                    </a:lnTo>
                    <a:lnTo>
                      <a:pt x="47" y="0"/>
                    </a:lnTo>
                    <a:lnTo>
                      <a:pt x="47" y="0"/>
                    </a:lnTo>
                    <a:lnTo>
                      <a:pt x="47" y="0"/>
                    </a:lnTo>
                    <a:lnTo>
                      <a:pt x="47" y="0"/>
                    </a:lnTo>
                    <a:lnTo>
                      <a:pt x="45" y="0"/>
                    </a:lnTo>
                    <a:lnTo>
                      <a:pt x="45" y="0"/>
                    </a:lnTo>
                    <a:lnTo>
                      <a:pt x="45" y="3"/>
                    </a:lnTo>
                    <a:lnTo>
                      <a:pt x="42" y="3"/>
                    </a:lnTo>
                    <a:lnTo>
                      <a:pt x="40" y="3"/>
                    </a:lnTo>
                    <a:lnTo>
                      <a:pt x="38" y="3"/>
                    </a:lnTo>
                    <a:lnTo>
                      <a:pt x="35" y="5"/>
                    </a:lnTo>
                    <a:lnTo>
                      <a:pt x="33" y="5"/>
                    </a:lnTo>
                    <a:lnTo>
                      <a:pt x="31" y="5"/>
                    </a:lnTo>
                    <a:lnTo>
                      <a:pt x="28" y="5"/>
                    </a:lnTo>
                    <a:lnTo>
                      <a:pt x="26" y="3"/>
                    </a:lnTo>
                    <a:lnTo>
                      <a:pt x="26" y="3"/>
                    </a:lnTo>
                    <a:lnTo>
                      <a:pt x="24" y="3"/>
                    </a:lnTo>
                    <a:lnTo>
                      <a:pt x="24" y="5"/>
                    </a:lnTo>
                    <a:lnTo>
                      <a:pt x="21" y="7"/>
                    </a:lnTo>
                    <a:lnTo>
                      <a:pt x="21" y="10"/>
                    </a:lnTo>
                    <a:lnTo>
                      <a:pt x="21" y="10"/>
                    </a:lnTo>
                    <a:lnTo>
                      <a:pt x="19" y="12"/>
                    </a:lnTo>
                    <a:lnTo>
                      <a:pt x="19" y="17"/>
                    </a:lnTo>
                    <a:lnTo>
                      <a:pt x="19" y="19"/>
                    </a:lnTo>
                    <a:lnTo>
                      <a:pt x="19" y="22"/>
                    </a:lnTo>
                    <a:lnTo>
                      <a:pt x="12" y="29"/>
                    </a:lnTo>
                    <a:lnTo>
                      <a:pt x="7" y="38"/>
                    </a:lnTo>
                    <a:lnTo>
                      <a:pt x="2" y="40"/>
                    </a:lnTo>
                    <a:lnTo>
                      <a:pt x="0" y="40"/>
                    </a:lnTo>
                    <a:lnTo>
                      <a:pt x="0" y="43"/>
                    </a:lnTo>
                    <a:lnTo>
                      <a:pt x="2" y="43"/>
                    </a:lnTo>
                    <a:lnTo>
                      <a:pt x="2" y="43"/>
                    </a:lnTo>
                    <a:lnTo>
                      <a:pt x="5" y="43"/>
                    </a:lnTo>
                    <a:lnTo>
                      <a:pt x="7" y="43"/>
                    </a:lnTo>
                    <a:lnTo>
                      <a:pt x="7" y="48"/>
                    </a:lnTo>
                    <a:lnTo>
                      <a:pt x="9" y="48"/>
                    </a:lnTo>
                    <a:lnTo>
                      <a:pt x="12" y="52"/>
                    </a:lnTo>
                    <a:lnTo>
                      <a:pt x="12" y="55"/>
                    </a:lnTo>
                    <a:lnTo>
                      <a:pt x="12" y="57"/>
                    </a:lnTo>
                    <a:lnTo>
                      <a:pt x="14" y="57"/>
                    </a:lnTo>
                    <a:lnTo>
                      <a:pt x="14" y="57"/>
                    </a:lnTo>
                    <a:lnTo>
                      <a:pt x="16" y="57"/>
                    </a:lnTo>
                    <a:lnTo>
                      <a:pt x="16" y="57"/>
                    </a:lnTo>
                    <a:lnTo>
                      <a:pt x="14" y="57"/>
                    </a:lnTo>
                    <a:lnTo>
                      <a:pt x="14" y="59"/>
                    </a:lnTo>
                    <a:lnTo>
                      <a:pt x="14" y="59"/>
                    </a:lnTo>
                    <a:lnTo>
                      <a:pt x="14" y="62"/>
                    </a:lnTo>
                    <a:lnTo>
                      <a:pt x="16" y="64"/>
                    </a:lnTo>
                    <a:lnTo>
                      <a:pt x="16" y="67"/>
                    </a:lnTo>
                    <a:lnTo>
                      <a:pt x="21" y="67"/>
                    </a:lnTo>
                    <a:lnTo>
                      <a:pt x="26" y="67"/>
                    </a:lnTo>
                    <a:lnTo>
                      <a:pt x="33" y="67"/>
                    </a:lnTo>
                    <a:lnTo>
                      <a:pt x="35" y="67"/>
                    </a:lnTo>
                    <a:lnTo>
                      <a:pt x="38" y="62"/>
                    </a:lnTo>
                    <a:lnTo>
                      <a:pt x="40" y="62"/>
                    </a:lnTo>
                    <a:lnTo>
                      <a:pt x="42" y="62"/>
                    </a:lnTo>
                    <a:lnTo>
                      <a:pt x="45" y="62"/>
                    </a:lnTo>
                    <a:lnTo>
                      <a:pt x="47" y="62"/>
                    </a:lnTo>
                    <a:lnTo>
                      <a:pt x="50" y="64"/>
                    </a:lnTo>
                    <a:lnTo>
                      <a:pt x="52" y="64"/>
                    </a:lnTo>
                    <a:lnTo>
                      <a:pt x="54" y="64"/>
                    </a:lnTo>
                    <a:lnTo>
                      <a:pt x="54" y="67"/>
                    </a:lnTo>
                    <a:lnTo>
                      <a:pt x="57" y="67"/>
                    </a:lnTo>
                    <a:lnTo>
                      <a:pt x="59" y="69"/>
                    </a:lnTo>
                    <a:lnTo>
                      <a:pt x="59" y="69"/>
                    </a:lnTo>
                    <a:lnTo>
                      <a:pt x="61" y="67"/>
                    </a:lnTo>
                    <a:lnTo>
                      <a:pt x="61" y="67"/>
                    </a:lnTo>
                    <a:lnTo>
                      <a:pt x="64" y="67"/>
                    </a:lnTo>
                    <a:lnTo>
                      <a:pt x="66" y="69"/>
                    </a:lnTo>
                    <a:lnTo>
                      <a:pt x="66" y="69"/>
                    </a:lnTo>
                    <a:lnTo>
                      <a:pt x="66" y="71"/>
                    </a:lnTo>
                    <a:lnTo>
                      <a:pt x="64" y="71"/>
                    </a:lnTo>
                    <a:lnTo>
                      <a:pt x="59" y="74"/>
                    </a:lnTo>
                    <a:lnTo>
                      <a:pt x="57" y="74"/>
                    </a:lnTo>
                    <a:lnTo>
                      <a:pt x="52" y="71"/>
                    </a:lnTo>
                    <a:lnTo>
                      <a:pt x="50" y="69"/>
                    </a:lnTo>
                    <a:lnTo>
                      <a:pt x="47" y="69"/>
                    </a:lnTo>
                    <a:lnTo>
                      <a:pt x="47" y="69"/>
                    </a:lnTo>
                    <a:lnTo>
                      <a:pt x="45" y="67"/>
                    </a:lnTo>
                    <a:lnTo>
                      <a:pt x="45" y="67"/>
                    </a:lnTo>
                    <a:lnTo>
                      <a:pt x="42" y="67"/>
                    </a:lnTo>
                    <a:lnTo>
                      <a:pt x="42" y="67"/>
                    </a:lnTo>
                    <a:lnTo>
                      <a:pt x="42" y="69"/>
                    </a:lnTo>
                    <a:lnTo>
                      <a:pt x="40" y="69"/>
                    </a:lnTo>
                    <a:lnTo>
                      <a:pt x="40" y="69"/>
                    </a:lnTo>
                    <a:lnTo>
                      <a:pt x="35" y="71"/>
                    </a:lnTo>
                    <a:lnTo>
                      <a:pt x="33" y="71"/>
                    </a:lnTo>
                    <a:lnTo>
                      <a:pt x="31" y="71"/>
                    </a:lnTo>
                    <a:lnTo>
                      <a:pt x="31" y="71"/>
                    </a:lnTo>
                    <a:lnTo>
                      <a:pt x="31" y="76"/>
                    </a:lnTo>
                    <a:lnTo>
                      <a:pt x="26" y="76"/>
                    </a:lnTo>
                    <a:lnTo>
                      <a:pt x="24" y="76"/>
                    </a:lnTo>
                    <a:lnTo>
                      <a:pt x="19" y="76"/>
                    </a:lnTo>
                    <a:lnTo>
                      <a:pt x="14" y="76"/>
                    </a:lnTo>
                    <a:lnTo>
                      <a:pt x="14" y="76"/>
                    </a:lnTo>
                    <a:lnTo>
                      <a:pt x="12" y="76"/>
                    </a:lnTo>
                    <a:lnTo>
                      <a:pt x="12" y="78"/>
                    </a:lnTo>
                    <a:lnTo>
                      <a:pt x="12" y="81"/>
                    </a:lnTo>
                    <a:lnTo>
                      <a:pt x="12" y="85"/>
                    </a:lnTo>
                    <a:lnTo>
                      <a:pt x="12" y="85"/>
                    </a:lnTo>
                    <a:lnTo>
                      <a:pt x="12" y="85"/>
                    </a:lnTo>
                    <a:lnTo>
                      <a:pt x="12" y="88"/>
                    </a:lnTo>
                    <a:lnTo>
                      <a:pt x="14" y="88"/>
                    </a:lnTo>
                    <a:lnTo>
                      <a:pt x="14" y="85"/>
                    </a:lnTo>
                    <a:lnTo>
                      <a:pt x="14" y="85"/>
                    </a:lnTo>
                    <a:lnTo>
                      <a:pt x="16" y="85"/>
                    </a:lnTo>
                    <a:lnTo>
                      <a:pt x="16" y="85"/>
                    </a:lnTo>
                    <a:lnTo>
                      <a:pt x="19" y="85"/>
                    </a:lnTo>
                    <a:lnTo>
                      <a:pt x="19" y="85"/>
                    </a:lnTo>
                    <a:lnTo>
                      <a:pt x="19" y="88"/>
                    </a:lnTo>
                    <a:lnTo>
                      <a:pt x="16" y="88"/>
                    </a:lnTo>
                    <a:lnTo>
                      <a:pt x="16" y="85"/>
                    </a:lnTo>
                    <a:lnTo>
                      <a:pt x="14" y="88"/>
                    </a:lnTo>
                    <a:lnTo>
                      <a:pt x="12" y="88"/>
                    </a:lnTo>
                    <a:lnTo>
                      <a:pt x="12" y="90"/>
                    </a:lnTo>
                    <a:lnTo>
                      <a:pt x="12" y="90"/>
                    </a:lnTo>
                    <a:lnTo>
                      <a:pt x="14" y="93"/>
                    </a:lnTo>
                    <a:lnTo>
                      <a:pt x="14" y="93"/>
                    </a:lnTo>
                    <a:lnTo>
                      <a:pt x="16" y="93"/>
                    </a:lnTo>
                    <a:lnTo>
                      <a:pt x="19" y="93"/>
                    </a:lnTo>
                    <a:lnTo>
                      <a:pt x="19" y="90"/>
                    </a:lnTo>
                    <a:lnTo>
                      <a:pt x="21" y="90"/>
                    </a:lnTo>
                    <a:lnTo>
                      <a:pt x="24" y="90"/>
                    </a:lnTo>
                    <a:lnTo>
                      <a:pt x="28" y="90"/>
                    </a:lnTo>
                    <a:lnTo>
                      <a:pt x="35" y="90"/>
                    </a:lnTo>
                    <a:lnTo>
                      <a:pt x="38" y="88"/>
                    </a:lnTo>
                    <a:lnTo>
                      <a:pt x="42" y="85"/>
                    </a:lnTo>
                    <a:lnTo>
                      <a:pt x="45" y="85"/>
                    </a:lnTo>
                    <a:lnTo>
                      <a:pt x="50" y="85"/>
                    </a:lnTo>
                    <a:lnTo>
                      <a:pt x="57" y="85"/>
                    </a:lnTo>
                    <a:lnTo>
                      <a:pt x="61" y="85"/>
                    </a:lnTo>
                    <a:lnTo>
                      <a:pt x="69" y="85"/>
                    </a:lnTo>
                    <a:lnTo>
                      <a:pt x="76" y="85"/>
                    </a:lnTo>
                    <a:lnTo>
                      <a:pt x="76" y="85"/>
                    </a:lnTo>
                    <a:lnTo>
                      <a:pt x="78" y="85"/>
                    </a:lnTo>
                    <a:lnTo>
                      <a:pt x="80" y="85"/>
                    </a:lnTo>
                    <a:lnTo>
                      <a:pt x="80" y="85"/>
                    </a:lnTo>
                    <a:lnTo>
                      <a:pt x="80" y="85"/>
                    </a:lnTo>
                    <a:lnTo>
                      <a:pt x="80" y="88"/>
                    </a:lnTo>
                    <a:lnTo>
                      <a:pt x="80" y="88"/>
                    </a:lnTo>
                    <a:lnTo>
                      <a:pt x="80" y="90"/>
                    </a:lnTo>
                    <a:lnTo>
                      <a:pt x="83" y="90"/>
                    </a:lnTo>
                    <a:lnTo>
                      <a:pt x="83" y="90"/>
                    </a:lnTo>
                    <a:lnTo>
                      <a:pt x="83" y="88"/>
                    </a:lnTo>
                    <a:lnTo>
                      <a:pt x="83" y="88"/>
                    </a:lnTo>
                    <a:lnTo>
                      <a:pt x="85" y="88"/>
                    </a:lnTo>
                    <a:lnTo>
                      <a:pt x="85" y="90"/>
                    </a:lnTo>
                    <a:lnTo>
                      <a:pt x="87" y="90"/>
                    </a:lnTo>
                    <a:lnTo>
                      <a:pt x="90" y="90"/>
                    </a:lnTo>
                    <a:lnTo>
                      <a:pt x="90" y="93"/>
                    </a:lnTo>
                    <a:lnTo>
                      <a:pt x="92" y="93"/>
                    </a:lnTo>
                    <a:lnTo>
                      <a:pt x="92" y="93"/>
                    </a:lnTo>
                    <a:lnTo>
                      <a:pt x="95" y="93"/>
                    </a:lnTo>
                    <a:lnTo>
                      <a:pt x="97" y="93"/>
                    </a:lnTo>
                    <a:lnTo>
                      <a:pt x="99" y="90"/>
                    </a:lnTo>
                    <a:lnTo>
                      <a:pt x="102" y="90"/>
                    </a:lnTo>
                    <a:lnTo>
                      <a:pt x="104" y="90"/>
                    </a:lnTo>
                    <a:lnTo>
                      <a:pt x="109" y="90"/>
                    </a:lnTo>
                    <a:lnTo>
                      <a:pt x="111" y="90"/>
                    </a:lnTo>
                    <a:lnTo>
                      <a:pt x="111" y="90"/>
                    </a:lnTo>
                    <a:lnTo>
                      <a:pt x="111" y="90"/>
                    </a:lnTo>
                    <a:lnTo>
                      <a:pt x="111" y="88"/>
                    </a:lnTo>
                    <a:lnTo>
                      <a:pt x="111" y="88"/>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59"/>
              <p:cNvSpPr>
                <a:spLocks noEditPoints="1"/>
              </p:cNvSpPr>
              <p:nvPr/>
            </p:nvSpPr>
            <p:spPr bwMode="auto">
              <a:xfrm>
                <a:off x="2869" y="2765"/>
                <a:ext cx="19" cy="35"/>
              </a:xfrm>
              <a:custGeom>
                <a:avLst/>
                <a:gdLst>
                  <a:gd name="T0" fmla="*/ 5 w 19"/>
                  <a:gd name="T1" fmla="*/ 26 h 35"/>
                  <a:gd name="T2" fmla="*/ 3 w 19"/>
                  <a:gd name="T3" fmla="*/ 26 h 35"/>
                  <a:gd name="T4" fmla="*/ 0 w 19"/>
                  <a:gd name="T5" fmla="*/ 28 h 35"/>
                  <a:gd name="T6" fmla="*/ 0 w 19"/>
                  <a:gd name="T7" fmla="*/ 30 h 35"/>
                  <a:gd name="T8" fmla="*/ 0 w 19"/>
                  <a:gd name="T9" fmla="*/ 30 h 35"/>
                  <a:gd name="T10" fmla="*/ 0 w 19"/>
                  <a:gd name="T11" fmla="*/ 33 h 35"/>
                  <a:gd name="T12" fmla="*/ 0 w 19"/>
                  <a:gd name="T13" fmla="*/ 33 h 35"/>
                  <a:gd name="T14" fmla="*/ 3 w 19"/>
                  <a:gd name="T15" fmla="*/ 35 h 35"/>
                  <a:gd name="T16" fmla="*/ 3 w 19"/>
                  <a:gd name="T17" fmla="*/ 33 h 35"/>
                  <a:gd name="T18" fmla="*/ 5 w 19"/>
                  <a:gd name="T19" fmla="*/ 30 h 35"/>
                  <a:gd name="T20" fmla="*/ 5 w 19"/>
                  <a:gd name="T21" fmla="*/ 28 h 35"/>
                  <a:gd name="T22" fmla="*/ 5 w 19"/>
                  <a:gd name="T23" fmla="*/ 26 h 35"/>
                  <a:gd name="T24" fmla="*/ 19 w 19"/>
                  <a:gd name="T25" fmla="*/ 0 h 35"/>
                  <a:gd name="T26" fmla="*/ 19 w 19"/>
                  <a:gd name="T27" fmla="*/ 0 h 35"/>
                  <a:gd name="T28" fmla="*/ 17 w 19"/>
                  <a:gd name="T29" fmla="*/ 0 h 35"/>
                  <a:gd name="T30" fmla="*/ 17 w 19"/>
                  <a:gd name="T31" fmla="*/ 0 h 35"/>
                  <a:gd name="T32" fmla="*/ 17 w 19"/>
                  <a:gd name="T33" fmla="*/ 2 h 35"/>
                  <a:gd name="T34" fmla="*/ 17 w 19"/>
                  <a:gd name="T35" fmla="*/ 2 h 35"/>
                  <a:gd name="T36" fmla="*/ 17 w 19"/>
                  <a:gd name="T37" fmla="*/ 2 h 35"/>
                  <a:gd name="T38" fmla="*/ 19 w 19"/>
                  <a:gd name="T39" fmla="*/ 2 h 35"/>
                  <a:gd name="T40" fmla="*/ 19 w 19"/>
                  <a:gd name="T41" fmla="*/ 0 h 35"/>
                  <a:gd name="T42" fmla="*/ 19 w 19"/>
                  <a:gd name="T4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 h="35">
                    <a:moveTo>
                      <a:pt x="5" y="26"/>
                    </a:moveTo>
                    <a:lnTo>
                      <a:pt x="3" y="26"/>
                    </a:lnTo>
                    <a:lnTo>
                      <a:pt x="0" y="28"/>
                    </a:lnTo>
                    <a:lnTo>
                      <a:pt x="0" y="30"/>
                    </a:lnTo>
                    <a:lnTo>
                      <a:pt x="0" y="30"/>
                    </a:lnTo>
                    <a:lnTo>
                      <a:pt x="0" y="33"/>
                    </a:lnTo>
                    <a:lnTo>
                      <a:pt x="0" y="33"/>
                    </a:lnTo>
                    <a:lnTo>
                      <a:pt x="3" y="35"/>
                    </a:lnTo>
                    <a:lnTo>
                      <a:pt x="3" y="33"/>
                    </a:lnTo>
                    <a:lnTo>
                      <a:pt x="5" y="30"/>
                    </a:lnTo>
                    <a:lnTo>
                      <a:pt x="5" y="28"/>
                    </a:lnTo>
                    <a:lnTo>
                      <a:pt x="5" y="26"/>
                    </a:lnTo>
                    <a:close/>
                    <a:moveTo>
                      <a:pt x="19" y="0"/>
                    </a:moveTo>
                    <a:lnTo>
                      <a:pt x="19" y="0"/>
                    </a:lnTo>
                    <a:lnTo>
                      <a:pt x="17" y="0"/>
                    </a:lnTo>
                    <a:lnTo>
                      <a:pt x="17" y="0"/>
                    </a:lnTo>
                    <a:lnTo>
                      <a:pt x="17" y="2"/>
                    </a:lnTo>
                    <a:lnTo>
                      <a:pt x="17" y="2"/>
                    </a:lnTo>
                    <a:lnTo>
                      <a:pt x="17" y="2"/>
                    </a:lnTo>
                    <a:lnTo>
                      <a:pt x="19" y="2"/>
                    </a:lnTo>
                    <a:lnTo>
                      <a:pt x="19" y="0"/>
                    </a:lnTo>
                    <a:lnTo>
                      <a:pt x="19" y="0"/>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60"/>
              <p:cNvSpPr>
                <a:spLocks/>
              </p:cNvSpPr>
              <p:nvPr/>
            </p:nvSpPr>
            <p:spPr bwMode="auto">
              <a:xfrm>
                <a:off x="2978" y="1872"/>
                <a:ext cx="0" cy="2"/>
              </a:xfrm>
              <a:custGeom>
                <a:avLst/>
                <a:gdLst>
                  <a:gd name="T0" fmla="*/ 0 h 2"/>
                  <a:gd name="T1" fmla="*/ 0 h 2"/>
                  <a:gd name="T2" fmla="*/ 2 h 2"/>
                  <a:gd name="T3" fmla="*/ 2 h 2"/>
                  <a:gd name="T4" fmla="*/ 2 h 2"/>
                  <a:gd name="T5" fmla="*/ 2 h 2"/>
                  <a:gd name="T6" fmla="*/ 0 h 2"/>
                </a:gdLst>
                <a:ahLst/>
                <a:cxnLst>
                  <a:cxn ang="0">
                    <a:pos x="0" y="T0"/>
                  </a:cxn>
                  <a:cxn ang="0">
                    <a:pos x="0" y="T1"/>
                  </a:cxn>
                  <a:cxn ang="0">
                    <a:pos x="0" y="T2"/>
                  </a:cxn>
                  <a:cxn ang="0">
                    <a:pos x="0" y="T3"/>
                  </a:cxn>
                  <a:cxn ang="0">
                    <a:pos x="0" y="T4"/>
                  </a:cxn>
                  <a:cxn ang="0">
                    <a:pos x="0" y="T5"/>
                  </a:cxn>
                  <a:cxn ang="0">
                    <a:pos x="0" y="T6"/>
                  </a:cxn>
                </a:cxnLst>
                <a:rect l="0" t="0" r="r" b="b"/>
                <a:pathLst>
                  <a:path h="2">
                    <a:moveTo>
                      <a:pt x="0" y="0"/>
                    </a:moveTo>
                    <a:lnTo>
                      <a:pt x="0" y="0"/>
                    </a:lnTo>
                    <a:lnTo>
                      <a:pt x="0" y="2"/>
                    </a:lnTo>
                    <a:lnTo>
                      <a:pt x="0" y="2"/>
                    </a:lnTo>
                    <a:lnTo>
                      <a:pt x="0" y="2"/>
                    </a:lnTo>
                    <a:lnTo>
                      <a:pt x="0" y="2"/>
                    </a:lnTo>
                    <a:lnTo>
                      <a:pt x="0" y="0"/>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61"/>
              <p:cNvSpPr>
                <a:spLocks/>
              </p:cNvSpPr>
              <p:nvPr/>
            </p:nvSpPr>
            <p:spPr bwMode="auto">
              <a:xfrm>
                <a:off x="3288" y="2824"/>
                <a:ext cx="35" cy="35"/>
              </a:xfrm>
              <a:custGeom>
                <a:avLst/>
                <a:gdLst>
                  <a:gd name="T0" fmla="*/ 35 w 35"/>
                  <a:gd name="T1" fmla="*/ 19 h 35"/>
                  <a:gd name="T2" fmla="*/ 35 w 35"/>
                  <a:gd name="T3" fmla="*/ 12 h 35"/>
                  <a:gd name="T4" fmla="*/ 35 w 35"/>
                  <a:gd name="T5" fmla="*/ 7 h 35"/>
                  <a:gd name="T6" fmla="*/ 33 w 35"/>
                  <a:gd name="T7" fmla="*/ 4 h 35"/>
                  <a:gd name="T8" fmla="*/ 28 w 35"/>
                  <a:gd name="T9" fmla="*/ 0 h 35"/>
                  <a:gd name="T10" fmla="*/ 31 w 35"/>
                  <a:gd name="T11" fmla="*/ 0 h 35"/>
                  <a:gd name="T12" fmla="*/ 28 w 35"/>
                  <a:gd name="T13" fmla="*/ 0 h 35"/>
                  <a:gd name="T14" fmla="*/ 26 w 35"/>
                  <a:gd name="T15" fmla="*/ 0 h 35"/>
                  <a:gd name="T16" fmla="*/ 24 w 35"/>
                  <a:gd name="T17" fmla="*/ 2 h 35"/>
                  <a:gd name="T18" fmla="*/ 21 w 35"/>
                  <a:gd name="T19" fmla="*/ 4 h 35"/>
                  <a:gd name="T20" fmla="*/ 19 w 35"/>
                  <a:gd name="T21" fmla="*/ 7 h 35"/>
                  <a:gd name="T22" fmla="*/ 19 w 35"/>
                  <a:gd name="T23" fmla="*/ 7 h 35"/>
                  <a:gd name="T24" fmla="*/ 17 w 35"/>
                  <a:gd name="T25" fmla="*/ 4 h 35"/>
                  <a:gd name="T26" fmla="*/ 12 w 35"/>
                  <a:gd name="T27" fmla="*/ 4 h 35"/>
                  <a:gd name="T28" fmla="*/ 9 w 35"/>
                  <a:gd name="T29" fmla="*/ 7 h 35"/>
                  <a:gd name="T30" fmla="*/ 7 w 35"/>
                  <a:gd name="T31" fmla="*/ 9 h 35"/>
                  <a:gd name="T32" fmla="*/ 5 w 35"/>
                  <a:gd name="T33" fmla="*/ 12 h 35"/>
                  <a:gd name="T34" fmla="*/ 5 w 35"/>
                  <a:gd name="T35" fmla="*/ 16 h 35"/>
                  <a:gd name="T36" fmla="*/ 5 w 35"/>
                  <a:gd name="T37" fmla="*/ 21 h 35"/>
                  <a:gd name="T38" fmla="*/ 5 w 35"/>
                  <a:gd name="T39" fmla="*/ 23 h 35"/>
                  <a:gd name="T40" fmla="*/ 0 w 35"/>
                  <a:gd name="T41" fmla="*/ 26 h 35"/>
                  <a:gd name="T42" fmla="*/ 0 w 35"/>
                  <a:gd name="T43" fmla="*/ 28 h 35"/>
                  <a:gd name="T44" fmla="*/ 0 w 35"/>
                  <a:gd name="T45" fmla="*/ 33 h 35"/>
                  <a:gd name="T46" fmla="*/ 2 w 35"/>
                  <a:gd name="T47" fmla="*/ 33 h 35"/>
                  <a:gd name="T48" fmla="*/ 2 w 35"/>
                  <a:gd name="T49" fmla="*/ 30 h 35"/>
                  <a:gd name="T50" fmla="*/ 5 w 35"/>
                  <a:gd name="T51" fmla="*/ 30 h 35"/>
                  <a:gd name="T52" fmla="*/ 7 w 35"/>
                  <a:gd name="T53" fmla="*/ 35 h 35"/>
                  <a:gd name="T54" fmla="*/ 9 w 35"/>
                  <a:gd name="T55" fmla="*/ 35 h 35"/>
                  <a:gd name="T56" fmla="*/ 14 w 35"/>
                  <a:gd name="T57" fmla="*/ 35 h 35"/>
                  <a:gd name="T58" fmla="*/ 19 w 35"/>
                  <a:gd name="T59" fmla="*/ 33 h 35"/>
                  <a:gd name="T60" fmla="*/ 19 w 35"/>
                  <a:gd name="T61" fmla="*/ 30 h 35"/>
                  <a:gd name="T62" fmla="*/ 19 w 35"/>
                  <a:gd name="T63" fmla="*/ 26 h 35"/>
                  <a:gd name="T64" fmla="*/ 21 w 35"/>
                  <a:gd name="T65" fmla="*/ 28 h 35"/>
                  <a:gd name="T66" fmla="*/ 24 w 35"/>
                  <a:gd name="T67" fmla="*/ 26 h 35"/>
                  <a:gd name="T68" fmla="*/ 26 w 35"/>
                  <a:gd name="T69" fmla="*/ 26 h 35"/>
                  <a:gd name="T70" fmla="*/ 28 w 35"/>
                  <a:gd name="T71" fmla="*/ 26 h 35"/>
                  <a:gd name="T72" fmla="*/ 31 w 35"/>
                  <a:gd name="T73" fmla="*/ 26 h 35"/>
                  <a:gd name="T74" fmla="*/ 33 w 35"/>
                  <a:gd name="T75" fmla="*/ 26 h 35"/>
                  <a:gd name="T76" fmla="*/ 35 w 35"/>
                  <a:gd name="T77" fmla="*/ 26 h 35"/>
                  <a:gd name="T78" fmla="*/ 35 w 35"/>
                  <a:gd name="T79" fmla="*/ 26 h 35"/>
                  <a:gd name="T80" fmla="*/ 35 w 35"/>
                  <a:gd name="T81" fmla="*/ 21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5" h="35">
                    <a:moveTo>
                      <a:pt x="35" y="19"/>
                    </a:moveTo>
                    <a:lnTo>
                      <a:pt x="35" y="19"/>
                    </a:lnTo>
                    <a:lnTo>
                      <a:pt x="35" y="16"/>
                    </a:lnTo>
                    <a:lnTo>
                      <a:pt x="35" y="12"/>
                    </a:lnTo>
                    <a:lnTo>
                      <a:pt x="35" y="9"/>
                    </a:lnTo>
                    <a:lnTo>
                      <a:pt x="35" y="7"/>
                    </a:lnTo>
                    <a:lnTo>
                      <a:pt x="33" y="4"/>
                    </a:lnTo>
                    <a:lnTo>
                      <a:pt x="33" y="4"/>
                    </a:lnTo>
                    <a:lnTo>
                      <a:pt x="31" y="2"/>
                    </a:lnTo>
                    <a:lnTo>
                      <a:pt x="28" y="0"/>
                    </a:lnTo>
                    <a:lnTo>
                      <a:pt x="28" y="0"/>
                    </a:lnTo>
                    <a:lnTo>
                      <a:pt x="31" y="0"/>
                    </a:lnTo>
                    <a:lnTo>
                      <a:pt x="28" y="0"/>
                    </a:lnTo>
                    <a:lnTo>
                      <a:pt x="28" y="0"/>
                    </a:lnTo>
                    <a:lnTo>
                      <a:pt x="26" y="0"/>
                    </a:lnTo>
                    <a:lnTo>
                      <a:pt x="26" y="0"/>
                    </a:lnTo>
                    <a:lnTo>
                      <a:pt x="26" y="2"/>
                    </a:lnTo>
                    <a:lnTo>
                      <a:pt x="24" y="2"/>
                    </a:lnTo>
                    <a:lnTo>
                      <a:pt x="24" y="4"/>
                    </a:lnTo>
                    <a:lnTo>
                      <a:pt x="21" y="4"/>
                    </a:lnTo>
                    <a:lnTo>
                      <a:pt x="21" y="7"/>
                    </a:lnTo>
                    <a:lnTo>
                      <a:pt x="19" y="7"/>
                    </a:lnTo>
                    <a:lnTo>
                      <a:pt x="19" y="7"/>
                    </a:lnTo>
                    <a:lnTo>
                      <a:pt x="19" y="7"/>
                    </a:lnTo>
                    <a:lnTo>
                      <a:pt x="17" y="4"/>
                    </a:lnTo>
                    <a:lnTo>
                      <a:pt x="17" y="4"/>
                    </a:lnTo>
                    <a:lnTo>
                      <a:pt x="14" y="4"/>
                    </a:lnTo>
                    <a:lnTo>
                      <a:pt x="12" y="4"/>
                    </a:lnTo>
                    <a:lnTo>
                      <a:pt x="12" y="7"/>
                    </a:lnTo>
                    <a:lnTo>
                      <a:pt x="9" y="7"/>
                    </a:lnTo>
                    <a:lnTo>
                      <a:pt x="9" y="7"/>
                    </a:lnTo>
                    <a:lnTo>
                      <a:pt x="7" y="9"/>
                    </a:lnTo>
                    <a:lnTo>
                      <a:pt x="7" y="12"/>
                    </a:lnTo>
                    <a:lnTo>
                      <a:pt x="5" y="12"/>
                    </a:lnTo>
                    <a:lnTo>
                      <a:pt x="5" y="14"/>
                    </a:lnTo>
                    <a:lnTo>
                      <a:pt x="5" y="16"/>
                    </a:lnTo>
                    <a:lnTo>
                      <a:pt x="5" y="19"/>
                    </a:lnTo>
                    <a:lnTo>
                      <a:pt x="5" y="21"/>
                    </a:lnTo>
                    <a:lnTo>
                      <a:pt x="5" y="23"/>
                    </a:lnTo>
                    <a:lnTo>
                      <a:pt x="5" y="23"/>
                    </a:lnTo>
                    <a:lnTo>
                      <a:pt x="2" y="26"/>
                    </a:lnTo>
                    <a:lnTo>
                      <a:pt x="0" y="26"/>
                    </a:lnTo>
                    <a:lnTo>
                      <a:pt x="0" y="26"/>
                    </a:lnTo>
                    <a:lnTo>
                      <a:pt x="0" y="28"/>
                    </a:lnTo>
                    <a:lnTo>
                      <a:pt x="0" y="30"/>
                    </a:lnTo>
                    <a:lnTo>
                      <a:pt x="0" y="33"/>
                    </a:lnTo>
                    <a:lnTo>
                      <a:pt x="0" y="33"/>
                    </a:lnTo>
                    <a:lnTo>
                      <a:pt x="2" y="33"/>
                    </a:lnTo>
                    <a:lnTo>
                      <a:pt x="2" y="33"/>
                    </a:lnTo>
                    <a:lnTo>
                      <a:pt x="2" y="30"/>
                    </a:lnTo>
                    <a:lnTo>
                      <a:pt x="2" y="30"/>
                    </a:lnTo>
                    <a:lnTo>
                      <a:pt x="5" y="30"/>
                    </a:lnTo>
                    <a:lnTo>
                      <a:pt x="7" y="33"/>
                    </a:lnTo>
                    <a:lnTo>
                      <a:pt x="7" y="35"/>
                    </a:lnTo>
                    <a:lnTo>
                      <a:pt x="9" y="35"/>
                    </a:lnTo>
                    <a:lnTo>
                      <a:pt x="9" y="35"/>
                    </a:lnTo>
                    <a:lnTo>
                      <a:pt x="14" y="35"/>
                    </a:lnTo>
                    <a:lnTo>
                      <a:pt x="14" y="35"/>
                    </a:lnTo>
                    <a:lnTo>
                      <a:pt x="17" y="35"/>
                    </a:lnTo>
                    <a:lnTo>
                      <a:pt x="19" y="33"/>
                    </a:lnTo>
                    <a:lnTo>
                      <a:pt x="19" y="33"/>
                    </a:lnTo>
                    <a:lnTo>
                      <a:pt x="19" y="30"/>
                    </a:lnTo>
                    <a:lnTo>
                      <a:pt x="19" y="26"/>
                    </a:lnTo>
                    <a:lnTo>
                      <a:pt x="19" y="26"/>
                    </a:lnTo>
                    <a:lnTo>
                      <a:pt x="21" y="28"/>
                    </a:lnTo>
                    <a:lnTo>
                      <a:pt x="21" y="28"/>
                    </a:lnTo>
                    <a:lnTo>
                      <a:pt x="24" y="28"/>
                    </a:lnTo>
                    <a:lnTo>
                      <a:pt x="24" y="26"/>
                    </a:lnTo>
                    <a:lnTo>
                      <a:pt x="24" y="26"/>
                    </a:lnTo>
                    <a:lnTo>
                      <a:pt x="26" y="26"/>
                    </a:lnTo>
                    <a:lnTo>
                      <a:pt x="28" y="26"/>
                    </a:lnTo>
                    <a:lnTo>
                      <a:pt x="28" y="26"/>
                    </a:lnTo>
                    <a:lnTo>
                      <a:pt x="31" y="26"/>
                    </a:lnTo>
                    <a:lnTo>
                      <a:pt x="31" y="26"/>
                    </a:lnTo>
                    <a:lnTo>
                      <a:pt x="31" y="26"/>
                    </a:lnTo>
                    <a:lnTo>
                      <a:pt x="33" y="26"/>
                    </a:lnTo>
                    <a:lnTo>
                      <a:pt x="33" y="26"/>
                    </a:lnTo>
                    <a:lnTo>
                      <a:pt x="35" y="26"/>
                    </a:lnTo>
                    <a:lnTo>
                      <a:pt x="35" y="26"/>
                    </a:lnTo>
                    <a:lnTo>
                      <a:pt x="35" y="26"/>
                    </a:lnTo>
                    <a:lnTo>
                      <a:pt x="35" y="23"/>
                    </a:lnTo>
                    <a:lnTo>
                      <a:pt x="35" y="21"/>
                    </a:lnTo>
                    <a:lnTo>
                      <a:pt x="35" y="19"/>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62"/>
              <p:cNvSpPr>
                <a:spLocks noEditPoints="1"/>
              </p:cNvSpPr>
              <p:nvPr/>
            </p:nvSpPr>
            <p:spPr bwMode="auto">
              <a:xfrm>
                <a:off x="3089" y="1233"/>
                <a:ext cx="2385" cy="696"/>
              </a:xfrm>
              <a:custGeom>
                <a:avLst/>
                <a:gdLst>
                  <a:gd name="T0" fmla="*/ 625 w 2385"/>
                  <a:gd name="T1" fmla="*/ 75 h 696"/>
                  <a:gd name="T2" fmla="*/ 436 w 2385"/>
                  <a:gd name="T3" fmla="*/ 108 h 696"/>
                  <a:gd name="T4" fmla="*/ 776 w 2385"/>
                  <a:gd name="T5" fmla="*/ 59 h 696"/>
                  <a:gd name="T6" fmla="*/ 1893 w 2385"/>
                  <a:gd name="T7" fmla="*/ 137 h 696"/>
                  <a:gd name="T8" fmla="*/ 2195 w 2385"/>
                  <a:gd name="T9" fmla="*/ 575 h 696"/>
                  <a:gd name="T10" fmla="*/ 2143 w 2385"/>
                  <a:gd name="T11" fmla="*/ 651 h 696"/>
                  <a:gd name="T12" fmla="*/ 2165 w 2385"/>
                  <a:gd name="T13" fmla="*/ 608 h 696"/>
                  <a:gd name="T14" fmla="*/ 2169 w 2385"/>
                  <a:gd name="T15" fmla="*/ 343 h 696"/>
                  <a:gd name="T16" fmla="*/ 1462 w 2385"/>
                  <a:gd name="T17" fmla="*/ 111 h 696"/>
                  <a:gd name="T18" fmla="*/ 1306 w 2385"/>
                  <a:gd name="T19" fmla="*/ 66 h 696"/>
                  <a:gd name="T20" fmla="*/ 1145 w 2385"/>
                  <a:gd name="T21" fmla="*/ 61 h 696"/>
                  <a:gd name="T22" fmla="*/ 1126 w 2385"/>
                  <a:gd name="T23" fmla="*/ 23 h 696"/>
                  <a:gd name="T24" fmla="*/ 949 w 2385"/>
                  <a:gd name="T25" fmla="*/ 21 h 696"/>
                  <a:gd name="T26" fmla="*/ 819 w 2385"/>
                  <a:gd name="T27" fmla="*/ 52 h 696"/>
                  <a:gd name="T28" fmla="*/ 819 w 2385"/>
                  <a:gd name="T29" fmla="*/ 104 h 696"/>
                  <a:gd name="T30" fmla="*/ 753 w 2385"/>
                  <a:gd name="T31" fmla="*/ 106 h 696"/>
                  <a:gd name="T32" fmla="*/ 781 w 2385"/>
                  <a:gd name="T33" fmla="*/ 170 h 696"/>
                  <a:gd name="T34" fmla="*/ 719 w 2385"/>
                  <a:gd name="T35" fmla="*/ 156 h 696"/>
                  <a:gd name="T36" fmla="*/ 648 w 2385"/>
                  <a:gd name="T37" fmla="*/ 149 h 696"/>
                  <a:gd name="T38" fmla="*/ 452 w 2385"/>
                  <a:gd name="T39" fmla="*/ 156 h 696"/>
                  <a:gd name="T40" fmla="*/ 320 w 2385"/>
                  <a:gd name="T41" fmla="*/ 163 h 696"/>
                  <a:gd name="T42" fmla="*/ 244 w 2385"/>
                  <a:gd name="T43" fmla="*/ 241 h 696"/>
                  <a:gd name="T44" fmla="*/ 277 w 2385"/>
                  <a:gd name="T45" fmla="*/ 170 h 696"/>
                  <a:gd name="T46" fmla="*/ 109 w 2385"/>
                  <a:gd name="T47" fmla="*/ 146 h 696"/>
                  <a:gd name="T48" fmla="*/ 161 w 2385"/>
                  <a:gd name="T49" fmla="*/ 260 h 696"/>
                  <a:gd name="T50" fmla="*/ 116 w 2385"/>
                  <a:gd name="T51" fmla="*/ 359 h 696"/>
                  <a:gd name="T52" fmla="*/ 180 w 2385"/>
                  <a:gd name="T53" fmla="*/ 423 h 696"/>
                  <a:gd name="T54" fmla="*/ 237 w 2385"/>
                  <a:gd name="T55" fmla="*/ 487 h 696"/>
                  <a:gd name="T56" fmla="*/ 334 w 2385"/>
                  <a:gd name="T57" fmla="*/ 537 h 696"/>
                  <a:gd name="T58" fmla="*/ 313 w 2385"/>
                  <a:gd name="T59" fmla="*/ 601 h 696"/>
                  <a:gd name="T60" fmla="*/ 454 w 2385"/>
                  <a:gd name="T61" fmla="*/ 670 h 696"/>
                  <a:gd name="T62" fmla="*/ 473 w 2385"/>
                  <a:gd name="T63" fmla="*/ 606 h 696"/>
                  <a:gd name="T64" fmla="*/ 462 w 2385"/>
                  <a:gd name="T65" fmla="*/ 509 h 696"/>
                  <a:gd name="T66" fmla="*/ 587 w 2385"/>
                  <a:gd name="T67" fmla="*/ 502 h 696"/>
                  <a:gd name="T68" fmla="*/ 672 w 2385"/>
                  <a:gd name="T69" fmla="*/ 452 h 696"/>
                  <a:gd name="T70" fmla="*/ 783 w 2385"/>
                  <a:gd name="T71" fmla="*/ 409 h 696"/>
                  <a:gd name="T72" fmla="*/ 894 w 2385"/>
                  <a:gd name="T73" fmla="*/ 430 h 696"/>
                  <a:gd name="T74" fmla="*/ 1062 w 2385"/>
                  <a:gd name="T75" fmla="*/ 516 h 696"/>
                  <a:gd name="T76" fmla="*/ 1159 w 2385"/>
                  <a:gd name="T77" fmla="*/ 504 h 696"/>
                  <a:gd name="T78" fmla="*/ 1273 w 2385"/>
                  <a:gd name="T79" fmla="*/ 513 h 696"/>
                  <a:gd name="T80" fmla="*/ 1363 w 2385"/>
                  <a:gd name="T81" fmla="*/ 511 h 696"/>
                  <a:gd name="T82" fmla="*/ 1554 w 2385"/>
                  <a:gd name="T83" fmla="*/ 516 h 696"/>
                  <a:gd name="T84" fmla="*/ 1675 w 2385"/>
                  <a:gd name="T85" fmla="*/ 452 h 696"/>
                  <a:gd name="T86" fmla="*/ 1817 w 2385"/>
                  <a:gd name="T87" fmla="*/ 537 h 696"/>
                  <a:gd name="T88" fmla="*/ 1905 w 2385"/>
                  <a:gd name="T89" fmla="*/ 606 h 696"/>
                  <a:gd name="T90" fmla="*/ 1909 w 2385"/>
                  <a:gd name="T91" fmla="*/ 658 h 696"/>
                  <a:gd name="T92" fmla="*/ 1921 w 2385"/>
                  <a:gd name="T93" fmla="*/ 452 h 696"/>
                  <a:gd name="T94" fmla="*/ 1822 w 2385"/>
                  <a:gd name="T95" fmla="*/ 385 h 696"/>
                  <a:gd name="T96" fmla="*/ 2002 w 2385"/>
                  <a:gd name="T97" fmla="*/ 336 h 696"/>
                  <a:gd name="T98" fmla="*/ 2094 w 2385"/>
                  <a:gd name="T99" fmla="*/ 284 h 696"/>
                  <a:gd name="T100" fmla="*/ 2091 w 2385"/>
                  <a:gd name="T101" fmla="*/ 378 h 696"/>
                  <a:gd name="T102" fmla="*/ 2203 w 2385"/>
                  <a:gd name="T103" fmla="*/ 388 h 696"/>
                  <a:gd name="T104" fmla="*/ 2181 w 2385"/>
                  <a:gd name="T105" fmla="*/ 310 h 696"/>
                  <a:gd name="T106" fmla="*/ 2311 w 2385"/>
                  <a:gd name="T107" fmla="*/ 265 h 696"/>
                  <a:gd name="T108" fmla="*/ 2257 w 2385"/>
                  <a:gd name="T109" fmla="*/ 222 h 696"/>
                  <a:gd name="T110" fmla="*/ 2375 w 2385"/>
                  <a:gd name="T111" fmla="*/ 234 h 696"/>
                  <a:gd name="T112" fmla="*/ 2368 w 2385"/>
                  <a:gd name="T113" fmla="*/ 198 h 696"/>
                  <a:gd name="T114" fmla="*/ 2271 w 2385"/>
                  <a:gd name="T115" fmla="*/ 177 h 696"/>
                  <a:gd name="T116" fmla="*/ 2011 w 2385"/>
                  <a:gd name="T117" fmla="*/ 146 h 696"/>
                  <a:gd name="T118" fmla="*/ 1675 w 2385"/>
                  <a:gd name="T119" fmla="*/ 99 h 696"/>
                  <a:gd name="T120" fmla="*/ 369 w 2385"/>
                  <a:gd name="T121" fmla="*/ 142 h 696"/>
                  <a:gd name="T122" fmla="*/ 1935 w 2385"/>
                  <a:gd name="T123" fmla="*/ 430 h 696"/>
                  <a:gd name="T124" fmla="*/ 2063 w 2385"/>
                  <a:gd name="T125" fmla="*/ 591 h 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385" h="696">
                    <a:moveTo>
                      <a:pt x="779" y="59"/>
                    </a:moveTo>
                    <a:lnTo>
                      <a:pt x="783" y="59"/>
                    </a:lnTo>
                    <a:lnTo>
                      <a:pt x="788" y="59"/>
                    </a:lnTo>
                    <a:lnTo>
                      <a:pt x="788" y="59"/>
                    </a:lnTo>
                    <a:lnTo>
                      <a:pt x="788" y="59"/>
                    </a:lnTo>
                    <a:lnTo>
                      <a:pt x="788" y="59"/>
                    </a:lnTo>
                    <a:lnTo>
                      <a:pt x="788" y="59"/>
                    </a:lnTo>
                    <a:lnTo>
                      <a:pt x="788" y="59"/>
                    </a:lnTo>
                    <a:lnTo>
                      <a:pt x="783" y="59"/>
                    </a:lnTo>
                    <a:lnTo>
                      <a:pt x="779" y="59"/>
                    </a:lnTo>
                    <a:lnTo>
                      <a:pt x="779" y="59"/>
                    </a:lnTo>
                    <a:close/>
                    <a:moveTo>
                      <a:pt x="797" y="52"/>
                    </a:moveTo>
                    <a:lnTo>
                      <a:pt x="795" y="52"/>
                    </a:lnTo>
                    <a:lnTo>
                      <a:pt x="795" y="52"/>
                    </a:lnTo>
                    <a:lnTo>
                      <a:pt x="795" y="54"/>
                    </a:lnTo>
                    <a:lnTo>
                      <a:pt x="800" y="54"/>
                    </a:lnTo>
                    <a:lnTo>
                      <a:pt x="800" y="52"/>
                    </a:lnTo>
                    <a:lnTo>
                      <a:pt x="800" y="52"/>
                    </a:lnTo>
                    <a:lnTo>
                      <a:pt x="797" y="52"/>
                    </a:lnTo>
                    <a:close/>
                    <a:moveTo>
                      <a:pt x="748" y="37"/>
                    </a:moveTo>
                    <a:lnTo>
                      <a:pt x="748" y="40"/>
                    </a:lnTo>
                    <a:lnTo>
                      <a:pt x="750" y="40"/>
                    </a:lnTo>
                    <a:lnTo>
                      <a:pt x="750" y="37"/>
                    </a:lnTo>
                    <a:lnTo>
                      <a:pt x="753" y="40"/>
                    </a:lnTo>
                    <a:lnTo>
                      <a:pt x="753" y="40"/>
                    </a:lnTo>
                    <a:lnTo>
                      <a:pt x="753" y="37"/>
                    </a:lnTo>
                    <a:lnTo>
                      <a:pt x="755" y="37"/>
                    </a:lnTo>
                    <a:lnTo>
                      <a:pt x="755" y="37"/>
                    </a:lnTo>
                    <a:lnTo>
                      <a:pt x="755" y="37"/>
                    </a:lnTo>
                    <a:lnTo>
                      <a:pt x="753" y="37"/>
                    </a:lnTo>
                    <a:lnTo>
                      <a:pt x="753" y="35"/>
                    </a:lnTo>
                    <a:lnTo>
                      <a:pt x="750" y="35"/>
                    </a:lnTo>
                    <a:lnTo>
                      <a:pt x="750" y="35"/>
                    </a:lnTo>
                    <a:lnTo>
                      <a:pt x="750" y="35"/>
                    </a:lnTo>
                    <a:lnTo>
                      <a:pt x="750" y="37"/>
                    </a:lnTo>
                    <a:lnTo>
                      <a:pt x="750" y="37"/>
                    </a:lnTo>
                    <a:lnTo>
                      <a:pt x="748" y="35"/>
                    </a:lnTo>
                    <a:lnTo>
                      <a:pt x="745" y="37"/>
                    </a:lnTo>
                    <a:lnTo>
                      <a:pt x="745" y="37"/>
                    </a:lnTo>
                    <a:lnTo>
                      <a:pt x="748" y="37"/>
                    </a:lnTo>
                    <a:close/>
                    <a:moveTo>
                      <a:pt x="417" y="108"/>
                    </a:moveTo>
                    <a:lnTo>
                      <a:pt x="419" y="111"/>
                    </a:lnTo>
                    <a:lnTo>
                      <a:pt x="421" y="111"/>
                    </a:lnTo>
                    <a:lnTo>
                      <a:pt x="421" y="111"/>
                    </a:lnTo>
                    <a:lnTo>
                      <a:pt x="421" y="113"/>
                    </a:lnTo>
                    <a:lnTo>
                      <a:pt x="424" y="111"/>
                    </a:lnTo>
                    <a:lnTo>
                      <a:pt x="424" y="111"/>
                    </a:lnTo>
                    <a:lnTo>
                      <a:pt x="421" y="111"/>
                    </a:lnTo>
                    <a:lnTo>
                      <a:pt x="421" y="111"/>
                    </a:lnTo>
                    <a:lnTo>
                      <a:pt x="417" y="108"/>
                    </a:lnTo>
                    <a:close/>
                    <a:moveTo>
                      <a:pt x="741" y="80"/>
                    </a:moveTo>
                    <a:lnTo>
                      <a:pt x="745" y="82"/>
                    </a:lnTo>
                    <a:lnTo>
                      <a:pt x="753" y="82"/>
                    </a:lnTo>
                    <a:lnTo>
                      <a:pt x="753" y="82"/>
                    </a:lnTo>
                    <a:lnTo>
                      <a:pt x="753" y="80"/>
                    </a:lnTo>
                    <a:lnTo>
                      <a:pt x="750" y="78"/>
                    </a:lnTo>
                    <a:lnTo>
                      <a:pt x="748" y="78"/>
                    </a:lnTo>
                    <a:lnTo>
                      <a:pt x="748" y="75"/>
                    </a:lnTo>
                    <a:lnTo>
                      <a:pt x="743" y="75"/>
                    </a:lnTo>
                    <a:lnTo>
                      <a:pt x="741" y="80"/>
                    </a:lnTo>
                    <a:lnTo>
                      <a:pt x="741" y="80"/>
                    </a:lnTo>
                    <a:lnTo>
                      <a:pt x="741" y="80"/>
                    </a:lnTo>
                    <a:close/>
                    <a:moveTo>
                      <a:pt x="904" y="9"/>
                    </a:moveTo>
                    <a:lnTo>
                      <a:pt x="904" y="9"/>
                    </a:lnTo>
                    <a:lnTo>
                      <a:pt x="897" y="9"/>
                    </a:lnTo>
                    <a:lnTo>
                      <a:pt x="892" y="11"/>
                    </a:lnTo>
                    <a:lnTo>
                      <a:pt x="892" y="11"/>
                    </a:lnTo>
                    <a:lnTo>
                      <a:pt x="892" y="11"/>
                    </a:lnTo>
                    <a:lnTo>
                      <a:pt x="897" y="11"/>
                    </a:lnTo>
                    <a:lnTo>
                      <a:pt x="897" y="11"/>
                    </a:lnTo>
                    <a:lnTo>
                      <a:pt x="899" y="11"/>
                    </a:lnTo>
                    <a:lnTo>
                      <a:pt x="902" y="11"/>
                    </a:lnTo>
                    <a:lnTo>
                      <a:pt x="904" y="11"/>
                    </a:lnTo>
                    <a:lnTo>
                      <a:pt x="904" y="11"/>
                    </a:lnTo>
                    <a:lnTo>
                      <a:pt x="904" y="11"/>
                    </a:lnTo>
                    <a:lnTo>
                      <a:pt x="904" y="9"/>
                    </a:lnTo>
                    <a:lnTo>
                      <a:pt x="904" y="9"/>
                    </a:lnTo>
                    <a:lnTo>
                      <a:pt x="904" y="9"/>
                    </a:lnTo>
                    <a:close/>
                    <a:moveTo>
                      <a:pt x="814" y="45"/>
                    </a:moveTo>
                    <a:lnTo>
                      <a:pt x="814" y="45"/>
                    </a:lnTo>
                    <a:lnTo>
                      <a:pt x="812" y="45"/>
                    </a:lnTo>
                    <a:lnTo>
                      <a:pt x="812" y="45"/>
                    </a:lnTo>
                    <a:lnTo>
                      <a:pt x="814" y="47"/>
                    </a:lnTo>
                    <a:lnTo>
                      <a:pt x="819" y="47"/>
                    </a:lnTo>
                    <a:lnTo>
                      <a:pt x="821" y="47"/>
                    </a:lnTo>
                    <a:lnTo>
                      <a:pt x="821" y="47"/>
                    </a:lnTo>
                    <a:lnTo>
                      <a:pt x="821" y="45"/>
                    </a:lnTo>
                    <a:lnTo>
                      <a:pt x="821" y="45"/>
                    </a:lnTo>
                    <a:lnTo>
                      <a:pt x="819" y="45"/>
                    </a:lnTo>
                    <a:lnTo>
                      <a:pt x="816" y="45"/>
                    </a:lnTo>
                    <a:lnTo>
                      <a:pt x="816" y="45"/>
                    </a:lnTo>
                    <a:lnTo>
                      <a:pt x="814" y="45"/>
                    </a:lnTo>
                    <a:close/>
                    <a:moveTo>
                      <a:pt x="625" y="75"/>
                    </a:moveTo>
                    <a:lnTo>
                      <a:pt x="625" y="75"/>
                    </a:lnTo>
                    <a:lnTo>
                      <a:pt x="625" y="75"/>
                    </a:lnTo>
                    <a:lnTo>
                      <a:pt x="627" y="75"/>
                    </a:lnTo>
                    <a:lnTo>
                      <a:pt x="627" y="75"/>
                    </a:lnTo>
                    <a:lnTo>
                      <a:pt x="629" y="75"/>
                    </a:lnTo>
                    <a:lnTo>
                      <a:pt x="632" y="75"/>
                    </a:lnTo>
                    <a:lnTo>
                      <a:pt x="634" y="75"/>
                    </a:lnTo>
                    <a:lnTo>
                      <a:pt x="637" y="75"/>
                    </a:lnTo>
                    <a:lnTo>
                      <a:pt x="644" y="75"/>
                    </a:lnTo>
                    <a:lnTo>
                      <a:pt x="646" y="75"/>
                    </a:lnTo>
                    <a:lnTo>
                      <a:pt x="646" y="73"/>
                    </a:lnTo>
                    <a:lnTo>
                      <a:pt x="644" y="73"/>
                    </a:lnTo>
                    <a:lnTo>
                      <a:pt x="641" y="71"/>
                    </a:lnTo>
                    <a:lnTo>
                      <a:pt x="641" y="71"/>
                    </a:lnTo>
                    <a:lnTo>
                      <a:pt x="639" y="71"/>
                    </a:lnTo>
                    <a:lnTo>
                      <a:pt x="637" y="68"/>
                    </a:lnTo>
                    <a:lnTo>
                      <a:pt x="634" y="68"/>
                    </a:lnTo>
                    <a:lnTo>
                      <a:pt x="634" y="68"/>
                    </a:lnTo>
                    <a:lnTo>
                      <a:pt x="627" y="68"/>
                    </a:lnTo>
                    <a:lnTo>
                      <a:pt x="625" y="71"/>
                    </a:lnTo>
                    <a:lnTo>
                      <a:pt x="622" y="71"/>
                    </a:lnTo>
                    <a:lnTo>
                      <a:pt x="625" y="73"/>
                    </a:lnTo>
                    <a:lnTo>
                      <a:pt x="625" y="75"/>
                    </a:lnTo>
                    <a:close/>
                    <a:moveTo>
                      <a:pt x="724" y="90"/>
                    </a:moveTo>
                    <a:lnTo>
                      <a:pt x="726" y="90"/>
                    </a:lnTo>
                    <a:lnTo>
                      <a:pt x="734" y="90"/>
                    </a:lnTo>
                    <a:lnTo>
                      <a:pt x="736" y="90"/>
                    </a:lnTo>
                    <a:lnTo>
                      <a:pt x="738" y="87"/>
                    </a:lnTo>
                    <a:lnTo>
                      <a:pt x="738" y="87"/>
                    </a:lnTo>
                    <a:lnTo>
                      <a:pt x="741" y="85"/>
                    </a:lnTo>
                    <a:lnTo>
                      <a:pt x="741" y="85"/>
                    </a:lnTo>
                    <a:lnTo>
                      <a:pt x="738" y="85"/>
                    </a:lnTo>
                    <a:lnTo>
                      <a:pt x="731" y="82"/>
                    </a:lnTo>
                    <a:lnTo>
                      <a:pt x="729" y="82"/>
                    </a:lnTo>
                    <a:lnTo>
                      <a:pt x="726" y="85"/>
                    </a:lnTo>
                    <a:lnTo>
                      <a:pt x="726" y="85"/>
                    </a:lnTo>
                    <a:lnTo>
                      <a:pt x="726" y="87"/>
                    </a:lnTo>
                    <a:lnTo>
                      <a:pt x="724" y="87"/>
                    </a:lnTo>
                    <a:lnTo>
                      <a:pt x="724" y="90"/>
                    </a:lnTo>
                    <a:lnTo>
                      <a:pt x="724" y="90"/>
                    </a:lnTo>
                    <a:close/>
                    <a:moveTo>
                      <a:pt x="431" y="108"/>
                    </a:moveTo>
                    <a:lnTo>
                      <a:pt x="433" y="111"/>
                    </a:lnTo>
                    <a:lnTo>
                      <a:pt x="428" y="111"/>
                    </a:lnTo>
                    <a:lnTo>
                      <a:pt x="428" y="111"/>
                    </a:lnTo>
                    <a:lnTo>
                      <a:pt x="428" y="111"/>
                    </a:lnTo>
                    <a:lnTo>
                      <a:pt x="431" y="113"/>
                    </a:lnTo>
                    <a:lnTo>
                      <a:pt x="431" y="113"/>
                    </a:lnTo>
                    <a:lnTo>
                      <a:pt x="428" y="113"/>
                    </a:lnTo>
                    <a:lnTo>
                      <a:pt x="426" y="113"/>
                    </a:lnTo>
                    <a:lnTo>
                      <a:pt x="433" y="116"/>
                    </a:lnTo>
                    <a:lnTo>
                      <a:pt x="438" y="116"/>
                    </a:lnTo>
                    <a:lnTo>
                      <a:pt x="440" y="116"/>
                    </a:lnTo>
                    <a:lnTo>
                      <a:pt x="443" y="118"/>
                    </a:lnTo>
                    <a:lnTo>
                      <a:pt x="445" y="118"/>
                    </a:lnTo>
                    <a:lnTo>
                      <a:pt x="445" y="116"/>
                    </a:lnTo>
                    <a:lnTo>
                      <a:pt x="445" y="116"/>
                    </a:lnTo>
                    <a:lnTo>
                      <a:pt x="447" y="118"/>
                    </a:lnTo>
                    <a:lnTo>
                      <a:pt x="450" y="118"/>
                    </a:lnTo>
                    <a:lnTo>
                      <a:pt x="454" y="118"/>
                    </a:lnTo>
                    <a:lnTo>
                      <a:pt x="459" y="118"/>
                    </a:lnTo>
                    <a:lnTo>
                      <a:pt x="459" y="118"/>
                    </a:lnTo>
                    <a:lnTo>
                      <a:pt x="459" y="118"/>
                    </a:lnTo>
                    <a:lnTo>
                      <a:pt x="462" y="118"/>
                    </a:lnTo>
                    <a:lnTo>
                      <a:pt x="462" y="118"/>
                    </a:lnTo>
                    <a:lnTo>
                      <a:pt x="464" y="118"/>
                    </a:lnTo>
                    <a:lnTo>
                      <a:pt x="464" y="118"/>
                    </a:lnTo>
                    <a:lnTo>
                      <a:pt x="466" y="118"/>
                    </a:lnTo>
                    <a:lnTo>
                      <a:pt x="466" y="118"/>
                    </a:lnTo>
                    <a:lnTo>
                      <a:pt x="471" y="120"/>
                    </a:lnTo>
                    <a:lnTo>
                      <a:pt x="471" y="118"/>
                    </a:lnTo>
                    <a:lnTo>
                      <a:pt x="471" y="118"/>
                    </a:lnTo>
                    <a:lnTo>
                      <a:pt x="469" y="118"/>
                    </a:lnTo>
                    <a:lnTo>
                      <a:pt x="469" y="118"/>
                    </a:lnTo>
                    <a:lnTo>
                      <a:pt x="466" y="116"/>
                    </a:lnTo>
                    <a:lnTo>
                      <a:pt x="469" y="116"/>
                    </a:lnTo>
                    <a:lnTo>
                      <a:pt x="469" y="116"/>
                    </a:lnTo>
                    <a:lnTo>
                      <a:pt x="471" y="118"/>
                    </a:lnTo>
                    <a:lnTo>
                      <a:pt x="471" y="118"/>
                    </a:lnTo>
                    <a:lnTo>
                      <a:pt x="473" y="118"/>
                    </a:lnTo>
                    <a:lnTo>
                      <a:pt x="478" y="118"/>
                    </a:lnTo>
                    <a:lnTo>
                      <a:pt x="480" y="118"/>
                    </a:lnTo>
                    <a:lnTo>
                      <a:pt x="480" y="118"/>
                    </a:lnTo>
                    <a:lnTo>
                      <a:pt x="483" y="118"/>
                    </a:lnTo>
                    <a:lnTo>
                      <a:pt x="485" y="116"/>
                    </a:lnTo>
                    <a:lnTo>
                      <a:pt x="483" y="116"/>
                    </a:lnTo>
                    <a:lnTo>
                      <a:pt x="483" y="116"/>
                    </a:lnTo>
                    <a:lnTo>
                      <a:pt x="476" y="113"/>
                    </a:lnTo>
                    <a:lnTo>
                      <a:pt x="473" y="113"/>
                    </a:lnTo>
                    <a:lnTo>
                      <a:pt x="466" y="108"/>
                    </a:lnTo>
                    <a:lnTo>
                      <a:pt x="431" y="108"/>
                    </a:lnTo>
                    <a:close/>
                    <a:moveTo>
                      <a:pt x="436" y="108"/>
                    </a:moveTo>
                    <a:lnTo>
                      <a:pt x="436" y="111"/>
                    </a:lnTo>
                    <a:lnTo>
                      <a:pt x="436" y="108"/>
                    </a:lnTo>
                    <a:close/>
                    <a:moveTo>
                      <a:pt x="528" y="130"/>
                    </a:moveTo>
                    <a:lnTo>
                      <a:pt x="528" y="130"/>
                    </a:lnTo>
                    <a:lnTo>
                      <a:pt x="523" y="130"/>
                    </a:lnTo>
                    <a:lnTo>
                      <a:pt x="521" y="127"/>
                    </a:lnTo>
                    <a:lnTo>
                      <a:pt x="516" y="125"/>
                    </a:lnTo>
                    <a:lnTo>
                      <a:pt x="514" y="125"/>
                    </a:lnTo>
                    <a:lnTo>
                      <a:pt x="511" y="123"/>
                    </a:lnTo>
                    <a:lnTo>
                      <a:pt x="509" y="123"/>
                    </a:lnTo>
                    <a:lnTo>
                      <a:pt x="506" y="120"/>
                    </a:lnTo>
                    <a:lnTo>
                      <a:pt x="506" y="120"/>
                    </a:lnTo>
                    <a:lnTo>
                      <a:pt x="504" y="120"/>
                    </a:lnTo>
                    <a:lnTo>
                      <a:pt x="502" y="120"/>
                    </a:lnTo>
                    <a:lnTo>
                      <a:pt x="502" y="123"/>
                    </a:lnTo>
                    <a:lnTo>
                      <a:pt x="502" y="123"/>
                    </a:lnTo>
                    <a:lnTo>
                      <a:pt x="499" y="123"/>
                    </a:lnTo>
                    <a:lnTo>
                      <a:pt x="499" y="125"/>
                    </a:lnTo>
                    <a:lnTo>
                      <a:pt x="502" y="127"/>
                    </a:lnTo>
                    <a:lnTo>
                      <a:pt x="502" y="127"/>
                    </a:lnTo>
                    <a:lnTo>
                      <a:pt x="502" y="127"/>
                    </a:lnTo>
                    <a:lnTo>
                      <a:pt x="504" y="127"/>
                    </a:lnTo>
                    <a:lnTo>
                      <a:pt x="509" y="130"/>
                    </a:lnTo>
                    <a:lnTo>
                      <a:pt x="509" y="132"/>
                    </a:lnTo>
                    <a:lnTo>
                      <a:pt x="511" y="130"/>
                    </a:lnTo>
                    <a:lnTo>
                      <a:pt x="511" y="130"/>
                    </a:lnTo>
                    <a:lnTo>
                      <a:pt x="514" y="130"/>
                    </a:lnTo>
                    <a:lnTo>
                      <a:pt x="514" y="132"/>
                    </a:lnTo>
                    <a:lnTo>
                      <a:pt x="516" y="132"/>
                    </a:lnTo>
                    <a:lnTo>
                      <a:pt x="518" y="132"/>
                    </a:lnTo>
                    <a:lnTo>
                      <a:pt x="518" y="134"/>
                    </a:lnTo>
                    <a:lnTo>
                      <a:pt x="518" y="134"/>
                    </a:lnTo>
                    <a:lnTo>
                      <a:pt x="521" y="134"/>
                    </a:lnTo>
                    <a:lnTo>
                      <a:pt x="521" y="134"/>
                    </a:lnTo>
                    <a:lnTo>
                      <a:pt x="523" y="134"/>
                    </a:lnTo>
                    <a:lnTo>
                      <a:pt x="525" y="134"/>
                    </a:lnTo>
                    <a:lnTo>
                      <a:pt x="528" y="134"/>
                    </a:lnTo>
                    <a:lnTo>
                      <a:pt x="528" y="134"/>
                    </a:lnTo>
                    <a:lnTo>
                      <a:pt x="530" y="134"/>
                    </a:lnTo>
                    <a:lnTo>
                      <a:pt x="530" y="132"/>
                    </a:lnTo>
                    <a:lnTo>
                      <a:pt x="530" y="132"/>
                    </a:lnTo>
                    <a:lnTo>
                      <a:pt x="528" y="130"/>
                    </a:lnTo>
                    <a:close/>
                    <a:moveTo>
                      <a:pt x="603" y="120"/>
                    </a:moveTo>
                    <a:lnTo>
                      <a:pt x="606" y="120"/>
                    </a:lnTo>
                    <a:lnTo>
                      <a:pt x="606" y="120"/>
                    </a:lnTo>
                    <a:lnTo>
                      <a:pt x="606" y="120"/>
                    </a:lnTo>
                    <a:lnTo>
                      <a:pt x="601" y="118"/>
                    </a:lnTo>
                    <a:lnTo>
                      <a:pt x="601" y="116"/>
                    </a:lnTo>
                    <a:lnTo>
                      <a:pt x="601" y="116"/>
                    </a:lnTo>
                    <a:lnTo>
                      <a:pt x="601" y="116"/>
                    </a:lnTo>
                    <a:lnTo>
                      <a:pt x="601" y="116"/>
                    </a:lnTo>
                    <a:lnTo>
                      <a:pt x="603" y="118"/>
                    </a:lnTo>
                    <a:lnTo>
                      <a:pt x="603" y="120"/>
                    </a:lnTo>
                    <a:close/>
                    <a:moveTo>
                      <a:pt x="693" y="71"/>
                    </a:moveTo>
                    <a:lnTo>
                      <a:pt x="698" y="68"/>
                    </a:lnTo>
                    <a:lnTo>
                      <a:pt x="698" y="68"/>
                    </a:lnTo>
                    <a:lnTo>
                      <a:pt x="698" y="68"/>
                    </a:lnTo>
                    <a:lnTo>
                      <a:pt x="698" y="68"/>
                    </a:lnTo>
                    <a:lnTo>
                      <a:pt x="698" y="68"/>
                    </a:lnTo>
                    <a:lnTo>
                      <a:pt x="693" y="68"/>
                    </a:lnTo>
                    <a:lnTo>
                      <a:pt x="691" y="68"/>
                    </a:lnTo>
                    <a:lnTo>
                      <a:pt x="691" y="71"/>
                    </a:lnTo>
                    <a:lnTo>
                      <a:pt x="693" y="71"/>
                    </a:lnTo>
                    <a:close/>
                    <a:moveTo>
                      <a:pt x="708" y="71"/>
                    </a:moveTo>
                    <a:lnTo>
                      <a:pt x="710" y="71"/>
                    </a:lnTo>
                    <a:lnTo>
                      <a:pt x="700" y="68"/>
                    </a:lnTo>
                    <a:lnTo>
                      <a:pt x="700" y="68"/>
                    </a:lnTo>
                    <a:lnTo>
                      <a:pt x="700" y="68"/>
                    </a:lnTo>
                    <a:lnTo>
                      <a:pt x="703" y="68"/>
                    </a:lnTo>
                    <a:lnTo>
                      <a:pt x="708" y="71"/>
                    </a:lnTo>
                    <a:close/>
                    <a:moveTo>
                      <a:pt x="682" y="78"/>
                    </a:moveTo>
                    <a:lnTo>
                      <a:pt x="686" y="78"/>
                    </a:lnTo>
                    <a:lnTo>
                      <a:pt x="689" y="80"/>
                    </a:lnTo>
                    <a:lnTo>
                      <a:pt x="689" y="80"/>
                    </a:lnTo>
                    <a:lnTo>
                      <a:pt x="689" y="80"/>
                    </a:lnTo>
                    <a:lnTo>
                      <a:pt x="689" y="78"/>
                    </a:lnTo>
                    <a:lnTo>
                      <a:pt x="689" y="78"/>
                    </a:lnTo>
                    <a:lnTo>
                      <a:pt x="686" y="78"/>
                    </a:lnTo>
                    <a:lnTo>
                      <a:pt x="689" y="78"/>
                    </a:lnTo>
                    <a:lnTo>
                      <a:pt x="691" y="75"/>
                    </a:lnTo>
                    <a:lnTo>
                      <a:pt x="686" y="75"/>
                    </a:lnTo>
                    <a:lnTo>
                      <a:pt x="684" y="75"/>
                    </a:lnTo>
                    <a:lnTo>
                      <a:pt x="682" y="75"/>
                    </a:lnTo>
                    <a:lnTo>
                      <a:pt x="679" y="75"/>
                    </a:lnTo>
                    <a:lnTo>
                      <a:pt x="679" y="75"/>
                    </a:lnTo>
                    <a:lnTo>
                      <a:pt x="679" y="78"/>
                    </a:lnTo>
                    <a:lnTo>
                      <a:pt x="682" y="78"/>
                    </a:lnTo>
                    <a:close/>
                    <a:moveTo>
                      <a:pt x="774" y="59"/>
                    </a:moveTo>
                    <a:lnTo>
                      <a:pt x="771" y="59"/>
                    </a:lnTo>
                    <a:lnTo>
                      <a:pt x="771" y="59"/>
                    </a:lnTo>
                    <a:lnTo>
                      <a:pt x="774" y="59"/>
                    </a:lnTo>
                    <a:lnTo>
                      <a:pt x="774" y="59"/>
                    </a:lnTo>
                    <a:lnTo>
                      <a:pt x="776" y="59"/>
                    </a:lnTo>
                    <a:lnTo>
                      <a:pt x="779" y="59"/>
                    </a:lnTo>
                    <a:lnTo>
                      <a:pt x="776" y="59"/>
                    </a:lnTo>
                    <a:lnTo>
                      <a:pt x="776" y="59"/>
                    </a:lnTo>
                    <a:lnTo>
                      <a:pt x="774" y="59"/>
                    </a:lnTo>
                    <a:close/>
                    <a:moveTo>
                      <a:pt x="909" y="23"/>
                    </a:moveTo>
                    <a:lnTo>
                      <a:pt x="904" y="23"/>
                    </a:lnTo>
                    <a:lnTo>
                      <a:pt x="904" y="23"/>
                    </a:lnTo>
                    <a:lnTo>
                      <a:pt x="904" y="23"/>
                    </a:lnTo>
                    <a:lnTo>
                      <a:pt x="909" y="23"/>
                    </a:lnTo>
                    <a:lnTo>
                      <a:pt x="911" y="26"/>
                    </a:lnTo>
                    <a:lnTo>
                      <a:pt x="916" y="26"/>
                    </a:lnTo>
                    <a:lnTo>
                      <a:pt x="918" y="26"/>
                    </a:lnTo>
                    <a:lnTo>
                      <a:pt x="918" y="23"/>
                    </a:lnTo>
                    <a:lnTo>
                      <a:pt x="918" y="23"/>
                    </a:lnTo>
                    <a:lnTo>
                      <a:pt x="918" y="23"/>
                    </a:lnTo>
                    <a:lnTo>
                      <a:pt x="920" y="23"/>
                    </a:lnTo>
                    <a:lnTo>
                      <a:pt x="920" y="23"/>
                    </a:lnTo>
                    <a:lnTo>
                      <a:pt x="918" y="23"/>
                    </a:lnTo>
                    <a:lnTo>
                      <a:pt x="916" y="23"/>
                    </a:lnTo>
                    <a:lnTo>
                      <a:pt x="913" y="23"/>
                    </a:lnTo>
                    <a:lnTo>
                      <a:pt x="909" y="23"/>
                    </a:lnTo>
                    <a:lnTo>
                      <a:pt x="909" y="23"/>
                    </a:lnTo>
                    <a:close/>
                    <a:moveTo>
                      <a:pt x="1526" y="101"/>
                    </a:moveTo>
                    <a:lnTo>
                      <a:pt x="1524" y="101"/>
                    </a:lnTo>
                    <a:lnTo>
                      <a:pt x="1524" y="101"/>
                    </a:lnTo>
                    <a:lnTo>
                      <a:pt x="1524" y="101"/>
                    </a:lnTo>
                    <a:lnTo>
                      <a:pt x="1526" y="104"/>
                    </a:lnTo>
                    <a:lnTo>
                      <a:pt x="1528" y="104"/>
                    </a:lnTo>
                    <a:lnTo>
                      <a:pt x="1528" y="104"/>
                    </a:lnTo>
                    <a:lnTo>
                      <a:pt x="1531" y="104"/>
                    </a:lnTo>
                    <a:lnTo>
                      <a:pt x="1531" y="104"/>
                    </a:lnTo>
                    <a:lnTo>
                      <a:pt x="1531" y="104"/>
                    </a:lnTo>
                    <a:lnTo>
                      <a:pt x="1533" y="104"/>
                    </a:lnTo>
                    <a:lnTo>
                      <a:pt x="1535" y="104"/>
                    </a:lnTo>
                    <a:lnTo>
                      <a:pt x="1535" y="104"/>
                    </a:lnTo>
                    <a:lnTo>
                      <a:pt x="1535" y="101"/>
                    </a:lnTo>
                    <a:lnTo>
                      <a:pt x="1533" y="101"/>
                    </a:lnTo>
                    <a:lnTo>
                      <a:pt x="1533" y="101"/>
                    </a:lnTo>
                    <a:lnTo>
                      <a:pt x="1526" y="101"/>
                    </a:lnTo>
                    <a:lnTo>
                      <a:pt x="1526" y="101"/>
                    </a:lnTo>
                    <a:close/>
                    <a:moveTo>
                      <a:pt x="1971" y="132"/>
                    </a:moveTo>
                    <a:lnTo>
                      <a:pt x="1973" y="132"/>
                    </a:lnTo>
                    <a:lnTo>
                      <a:pt x="1975" y="132"/>
                    </a:lnTo>
                    <a:lnTo>
                      <a:pt x="1980" y="134"/>
                    </a:lnTo>
                    <a:lnTo>
                      <a:pt x="1983" y="134"/>
                    </a:lnTo>
                    <a:lnTo>
                      <a:pt x="1992" y="137"/>
                    </a:lnTo>
                    <a:lnTo>
                      <a:pt x="1997" y="137"/>
                    </a:lnTo>
                    <a:lnTo>
                      <a:pt x="1997" y="137"/>
                    </a:lnTo>
                    <a:lnTo>
                      <a:pt x="1997" y="134"/>
                    </a:lnTo>
                    <a:lnTo>
                      <a:pt x="1994" y="134"/>
                    </a:lnTo>
                    <a:lnTo>
                      <a:pt x="1994" y="132"/>
                    </a:lnTo>
                    <a:lnTo>
                      <a:pt x="1994" y="132"/>
                    </a:lnTo>
                    <a:lnTo>
                      <a:pt x="1994" y="132"/>
                    </a:lnTo>
                    <a:lnTo>
                      <a:pt x="1992" y="132"/>
                    </a:lnTo>
                    <a:lnTo>
                      <a:pt x="1992" y="132"/>
                    </a:lnTo>
                    <a:lnTo>
                      <a:pt x="1975" y="130"/>
                    </a:lnTo>
                    <a:lnTo>
                      <a:pt x="1973" y="130"/>
                    </a:lnTo>
                    <a:lnTo>
                      <a:pt x="1971" y="130"/>
                    </a:lnTo>
                    <a:lnTo>
                      <a:pt x="1971" y="130"/>
                    </a:lnTo>
                    <a:lnTo>
                      <a:pt x="1971" y="132"/>
                    </a:lnTo>
                    <a:lnTo>
                      <a:pt x="1971" y="132"/>
                    </a:lnTo>
                    <a:close/>
                    <a:moveTo>
                      <a:pt x="1848" y="113"/>
                    </a:moveTo>
                    <a:lnTo>
                      <a:pt x="1850" y="116"/>
                    </a:lnTo>
                    <a:lnTo>
                      <a:pt x="1852" y="116"/>
                    </a:lnTo>
                    <a:lnTo>
                      <a:pt x="1852" y="116"/>
                    </a:lnTo>
                    <a:lnTo>
                      <a:pt x="1850" y="113"/>
                    </a:lnTo>
                    <a:lnTo>
                      <a:pt x="1848" y="113"/>
                    </a:lnTo>
                    <a:lnTo>
                      <a:pt x="1845" y="113"/>
                    </a:lnTo>
                    <a:lnTo>
                      <a:pt x="1848" y="113"/>
                    </a:lnTo>
                    <a:lnTo>
                      <a:pt x="1848" y="113"/>
                    </a:lnTo>
                    <a:close/>
                    <a:moveTo>
                      <a:pt x="1893" y="139"/>
                    </a:moveTo>
                    <a:lnTo>
                      <a:pt x="1895" y="142"/>
                    </a:lnTo>
                    <a:lnTo>
                      <a:pt x="1897" y="144"/>
                    </a:lnTo>
                    <a:lnTo>
                      <a:pt x="1900" y="144"/>
                    </a:lnTo>
                    <a:lnTo>
                      <a:pt x="1900" y="146"/>
                    </a:lnTo>
                    <a:lnTo>
                      <a:pt x="1905" y="146"/>
                    </a:lnTo>
                    <a:lnTo>
                      <a:pt x="1907" y="146"/>
                    </a:lnTo>
                    <a:lnTo>
                      <a:pt x="1907" y="146"/>
                    </a:lnTo>
                    <a:lnTo>
                      <a:pt x="1907" y="149"/>
                    </a:lnTo>
                    <a:lnTo>
                      <a:pt x="1909" y="149"/>
                    </a:lnTo>
                    <a:lnTo>
                      <a:pt x="1909" y="149"/>
                    </a:lnTo>
                    <a:lnTo>
                      <a:pt x="1907" y="146"/>
                    </a:lnTo>
                    <a:lnTo>
                      <a:pt x="1907" y="146"/>
                    </a:lnTo>
                    <a:lnTo>
                      <a:pt x="1902" y="144"/>
                    </a:lnTo>
                    <a:lnTo>
                      <a:pt x="1900" y="144"/>
                    </a:lnTo>
                    <a:lnTo>
                      <a:pt x="1897" y="142"/>
                    </a:lnTo>
                    <a:lnTo>
                      <a:pt x="1895" y="139"/>
                    </a:lnTo>
                    <a:lnTo>
                      <a:pt x="1895" y="139"/>
                    </a:lnTo>
                    <a:lnTo>
                      <a:pt x="1897" y="139"/>
                    </a:lnTo>
                    <a:lnTo>
                      <a:pt x="1897" y="137"/>
                    </a:lnTo>
                    <a:lnTo>
                      <a:pt x="1895" y="137"/>
                    </a:lnTo>
                    <a:lnTo>
                      <a:pt x="1893" y="134"/>
                    </a:lnTo>
                    <a:lnTo>
                      <a:pt x="1893" y="134"/>
                    </a:lnTo>
                    <a:lnTo>
                      <a:pt x="1890" y="137"/>
                    </a:lnTo>
                    <a:lnTo>
                      <a:pt x="1893" y="137"/>
                    </a:lnTo>
                    <a:lnTo>
                      <a:pt x="1890" y="139"/>
                    </a:lnTo>
                    <a:lnTo>
                      <a:pt x="1893" y="139"/>
                    </a:lnTo>
                    <a:close/>
                    <a:moveTo>
                      <a:pt x="920" y="23"/>
                    </a:moveTo>
                    <a:lnTo>
                      <a:pt x="923" y="23"/>
                    </a:lnTo>
                    <a:lnTo>
                      <a:pt x="923" y="23"/>
                    </a:lnTo>
                    <a:lnTo>
                      <a:pt x="923" y="23"/>
                    </a:lnTo>
                    <a:lnTo>
                      <a:pt x="923" y="23"/>
                    </a:lnTo>
                    <a:lnTo>
                      <a:pt x="925" y="23"/>
                    </a:lnTo>
                    <a:lnTo>
                      <a:pt x="925" y="23"/>
                    </a:lnTo>
                    <a:lnTo>
                      <a:pt x="925" y="23"/>
                    </a:lnTo>
                    <a:lnTo>
                      <a:pt x="923" y="21"/>
                    </a:lnTo>
                    <a:lnTo>
                      <a:pt x="923" y="21"/>
                    </a:lnTo>
                    <a:lnTo>
                      <a:pt x="920" y="21"/>
                    </a:lnTo>
                    <a:lnTo>
                      <a:pt x="923" y="21"/>
                    </a:lnTo>
                    <a:lnTo>
                      <a:pt x="920" y="23"/>
                    </a:lnTo>
                    <a:close/>
                    <a:moveTo>
                      <a:pt x="925" y="18"/>
                    </a:moveTo>
                    <a:lnTo>
                      <a:pt x="925" y="18"/>
                    </a:lnTo>
                    <a:lnTo>
                      <a:pt x="928" y="18"/>
                    </a:lnTo>
                    <a:lnTo>
                      <a:pt x="923" y="16"/>
                    </a:lnTo>
                    <a:lnTo>
                      <a:pt x="920" y="16"/>
                    </a:lnTo>
                    <a:lnTo>
                      <a:pt x="923" y="16"/>
                    </a:lnTo>
                    <a:lnTo>
                      <a:pt x="925" y="18"/>
                    </a:lnTo>
                    <a:close/>
                    <a:moveTo>
                      <a:pt x="1105" y="18"/>
                    </a:moveTo>
                    <a:lnTo>
                      <a:pt x="1107" y="18"/>
                    </a:lnTo>
                    <a:lnTo>
                      <a:pt x="1110" y="18"/>
                    </a:lnTo>
                    <a:lnTo>
                      <a:pt x="1112" y="21"/>
                    </a:lnTo>
                    <a:lnTo>
                      <a:pt x="1112" y="21"/>
                    </a:lnTo>
                    <a:lnTo>
                      <a:pt x="1112" y="18"/>
                    </a:lnTo>
                    <a:lnTo>
                      <a:pt x="1112" y="18"/>
                    </a:lnTo>
                    <a:lnTo>
                      <a:pt x="1112" y="18"/>
                    </a:lnTo>
                    <a:lnTo>
                      <a:pt x="1112" y="18"/>
                    </a:lnTo>
                    <a:lnTo>
                      <a:pt x="1110" y="16"/>
                    </a:lnTo>
                    <a:lnTo>
                      <a:pt x="1107" y="16"/>
                    </a:lnTo>
                    <a:lnTo>
                      <a:pt x="1107" y="16"/>
                    </a:lnTo>
                    <a:lnTo>
                      <a:pt x="1103" y="16"/>
                    </a:lnTo>
                    <a:lnTo>
                      <a:pt x="1103" y="16"/>
                    </a:lnTo>
                    <a:lnTo>
                      <a:pt x="1103" y="18"/>
                    </a:lnTo>
                    <a:lnTo>
                      <a:pt x="1105" y="18"/>
                    </a:lnTo>
                    <a:close/>
                    <a:moveTo>
                      <a:pt x="1273" y="75"/>
                    </a:moveTo>
                    <a:lnTo>
                      <a:pt x="1275" y="75"/>
                    </a:lnTo>
                    <a:lnTo>
                      <a:pt x="1273" y="75"/>
                    </a:lnTo>
                    <a:lnTo>
                      <a:pt x="1271" y="75"/>
                    </a:lnTo>
                    <a:lnTo>
                      <a:pt x="1268" y="75"/>
                    </a:lnTo>
                    <a:lnTo>
                      <a:pt x="1266" y="75"/>
                    </a:lnTo>
                    <a:lnTo>
                      <a:pt x="1266" y="75"/>
                    </a:lnTo>
                    <a:lnTo>
                      <a:pt x="1268" y="75"/>
                    </a:lnTo>
                    <a:lnTo>
                      <a:pt x="1273" y="75"/>
                    </a:lnTo>
                    <a:close/>
                    <a:moveTo>
                      <a:pt x="1034" y="7"/>
                    </a:moveTo>
                    <a:lnTo>
                      <a:pt x="1036" y="7"/>
                    </a:lnTo>
                    <a:lnTo>
                      <a:pt x="1036" y="7"/>
                    </a:lnTo>
                    <a:lnTo>
                      <a:pt x="1036" y="7"/>
                    </a:lnTo>
                    <a:lnTo>
                      <a:pt x="1036" y="7"/>
                    </a:lnTo>
                    <a:lnTo>
                      <a:pt x="1034" y="7"/>
                    </a:lnTo>
                    <a:lnTo>
                      <a:pt x="1032" y="7"/>
                    </a:lnTo>
                    <a:lnTo>
                      <a:pt x="1032" y="7"/>
                    </a:lnTo>
                    <a:lnTo>
                      <a:pt x="1034" y="7"/>
                    </a:lnTo>
                    <a:lnTo>
                      <a:pt x="1034" y="7"/>
                    </a:lnTo>
                    <a:close/>
                    <a:moveTo>
                      <a:pt x="1313" y="63"/>
                    </a:moveTo>
                    <a:lnTo>
                      <a:pt x="1313" y="63"/>
                    </a:lnTo>
                    <a:lnTo>
                      <a:pt x="1315" y="63"/>
                    </a:lnTo>
                    <a:lnTo>
                      <a:pt x="1315" y="61"/>
                    </a:lnTo>
                    <a:lnTo>
                      <a:pt x="1315" y="61"/>
                    </a:lnTo>
                    <a:lnTo>
                      <a:pt x="1313" y="61"/>
                    </a:lnTo>
                    <a:lnTo>
                      <a:pt x="1311" y="61"/>
                    </a:lnTo>
                    <a:lnTo>
                      <a:pt x="1311" y="61"/>
                    </a:lnTo>
                    <a:lnTo>
                      <a:pt x="1311" y="61"/>
                    </a:lnTo>
                    <a:lnTo>
                      <a:pt x="1313" y="63"/>
                    </a:lnTo>
                    <a:close/>
                    <a:moveTo>
                      <a:pt x="1143" y="52"/>
                    </a:moveTo>
                    <a:lnTo>
                      <a:pt x="1143" y="52"/>
                    </a:lnTo>
                    <a:lnTo>
                      <a:pt x="1143" y="52"/>
                    </a:lnTo>
                    <a:lnTo>
                      <a:pt x="1145" y="54"/>
                    </a:lnTo>
                    <a:lnTo>
                      <a:pt x="1143" y="54"/>
                    </a:lnTo>
                    <a:lnTo>
                      <a:pt x="1140" y="54"/>
                    </a:lnTo>
                    <a:lnTo>
                      <a:pt x="1140" y="54"/>
                    </a:lnTo>
                    <a:lnTo>
                      <a:pt x="1138" y="54"/>
                    </a:lnTo>
                    <a:lnTo>
                      <a:pt x="1143" y="56"/>
                    </a:lnTo>
                    <a:lnTo>
                      <a:pt x="1148" y="56"/>
                    </a:lnTo>
                    <a:lnTo>
                      <a:pt x="1150" y="56"/>
                    </a:lnTo>
                    <a:lnTo>
                      <a:pt x="1152" y="59"/>
                    </a:lnTo>
                    <a:lnTo>
                      <a:pt x="1159" y="59"/>
                    </a:lnTo>
                    <a:lnTo>
                      <a:pt x="1159" y="59"/>
                    </a:lnTo>
                    <a:lnTo>
                      <a:pt x="1162" y="56"/>
                    </a:lnTo>
                    <a:lnTo>
                      <a:pt x="1162" y="56"/>
                    </a:lnTo>
                    <a:lnTo>
                      <a:pt x="1164" y="56"/>
                    </a:lnTo>
                    <a:lnTo>
                      <a:pt x="1162" y="54"/>
                    </a:lnTo>
                    <a:lnTo>
                      <a:pt x="1162" y="54"/>
                    </a:lnTo>
                    <a:lnTo>
                      <a:pt x="1162" y="54"/>
                    </a:lnTo>
                    <a:lnTo>
                      <a:pt x="1159" y="54"/>
                    </a:lnTo>
                    <a:lnTo>
                      <a:pt x="1155" y="52"/>
                    </a:lnTo>
                    <a:lnTo>
                      <a:pt x="1143" y="52"/>
                    </a:lnTo>
                    <a:lnTo>
                      <a:pt x="1143" y="52"/>
                    </a:lnTo>
                    <a:close/>
                    <a:moveTo>
                      <a:pt x="2195" y="575"/>
                    </a:moveTo>
                    <a:lnTo>
                      <a:pt x="2195" y="575"/>
                    </a:lnTo>
                    <a:lnTo>
                      <a:pt x="2193" y="580"/>
                    </a:lnTo>
                    <a:lnTo>
                      <a:pt x="2191" y="580"/>
                    </a:lnTo>
                    <a:lnTo>
                      <a:pt x="2193" y="580"/>
                    </a:lnTo>
                    <a:lnTo>
                      <a:pt x="2193" y="580"/>
                    </a:lnTo>
                    <a:lnTo>
                      <a:pt x="2195" y="580"/>
                    </a:lnTo>
                    <a:lnTo>
                      <a:pt x="2195" y="577"/>
                    </a:lnTo>
                    <a:lnTo>
                      <a:pt x="2198" y="573"/>
                    </a:lnTo>
                    <a:lnTo>
                      <a:pt x="2195" y="573"/>
                    </a:lnTo>
                    <a:lnTo>
                      <a:pt x="2195" y="575"/>
                    </a:lnTo>
                    <a:close/>
                    <a:moveTo>
                      <a:pt x="2179" y="591"/>
                    </a:moveTo>
                    <a:lnTo>
                      <a:pt x="2179" y="591"/>
                    </a:lnTo>
                    <a:lnTo>
                      <a:pt x="2174" y="596"/>
                    </a:lnTo>
                    <a:lnTo>
                      <a:pt x="2174" y="599"/>
                    </a:lnTo>
                    <a:lnTo>
                      <a:pt x="2172" y="601"/>
                    </a:lnTo>
                    <a:lnTo>
                      <a:pt x="2172" y="606"/>
                    </a:lnTo>
                    <a:lnTo>
                      <a:pt x="2174" y="606"/>
                    </a:lnTo>
                    <a:lnTo>
                      <a:pt x="2174" y="603"/>
                    </a:lnTo>
                    <a:lnTo>
                      <a:pt x="2177" y="601"/>
                    </a:lnTo>
                    <a:lnTo>
                      <a:pt x="2177" y="601"/>
                    </a:lnTo>
                    <a:lnTo>
                      <a:pt x="2179" y="601"/>
                    </a:lnTo>
                    <a:lnTo>
                      <a:pt x="2179" y="599"/>
                    </a:lnTo>
                    <a:lnTo>
                      <a:pt x="2179" y="596"/>
                    </a:lnTo>
                    <a:lnTo>
                      <a:pt x="2181" y="591"/>
                    </a:lnTo>
                    <a:lnTo>
                      <a:pt x="2179" y="591"/>
                    </a:lnTo>
                    <a:close/>
                    <a:moveTo>
                      <a:pt x="2193" y="497"/>
                    </a:moveTo>
                    <a:lnTo>
                      <a:pt x="2193" y="497"/>
                    </a:lnTo>
                    <a:lnTo>
                      <a:pt x="2193" y="494"/>
                    </a:lnTo>
                    <a:lnTo>
                      <a:pt x="2191" y="494"/>
                    </a:lnTo>
                    <a:lnTo>
                      <a:pt x="2188" y="494"/>
                    </a:lnTo>
                    <a:lnTo>
                      <a:pt x="2191" y="497"/>
                    </a:lnTo>
                    <a:lnTo>
                      <a:pt x="2191" y="497"/>
                    </a:lnTo>
                    <a:lnTo>
                      <a:pt x="2193" y="497"/>
                    </a:lnTo>
                    <a:lnTo>
                      <a:pt x="2193" y="497"/>
                    </a:lnTo>
                    <a:close/>
                    <a:moveTo>
                      <a:pt x="2200" y="558"/>
                    </a:moveTo>
                    <a:lnTo>
                      <a:pt x="2200" y="561"/>
                    </a:lnTo>
                    <a:lnTo>
                      <a:pt x="2200" y="561"/>
                    </a:lnTo>
                    <a:lnTo>
                      <a:pt x="2200" y="561"/>
                    </a:lnTo>
                    <a:lnTo>
                      <a:pt x="2200" y="561"/>
                    </a:lnTo>
                    <a:lnTo>
                      <a:pt x="2200" y="561"/>
                    </a:lnTo>
                    <a:lnTo>
                      <a:pt x="2200" y="558"/>
                    </a:lnTo>
                    <a:close/>
                    <a:moveTo>
                      <a:pt x="2203" y="525"/>
                    </a:moveTo>
                    <a:lnTo>
                      <a:pt x="2203" y="523"/>
                    </a:lnTo>
                    <a:lnTo>
                      <a:pt x="2203" y="523"/>
                    </a:lnTo>
                    <a:lnTo>
                      <a:pt x="2200" y="520"/>
                    </a:lnTo>
                    <a:lnTo>
                      <a:pt x="2200" y="528"/>
                    </a:lnTo>
                    <a:lnTo>
                      <a:pt x="2203" y="528"/>
                    </a:lnTo>
                    <a:lnTo>
                      <a:pt x="2205" y="530"/>
                    </a:lnTo>
                    <a:lnTo>
                      <a:pt x="2205" y="528"/>
                    </a:lnTo>
                    <a:lnTo>
                      <a:pt x="2205" y="528"/>
                    </a:lnTo>
                    <a:lnTo>
                      <a:pt x="2203" y="525"/>
                    </a:lnTo>
                    <a:close/>
                    <a:moveTo>
                      <a:pt x="2205" y="504"/>
                    </a:moveTo>
                    <a:lnTo>
                      <a:pt x="2205" y="502"/>
                    </a:lnTo>
                    <a:lnTo>
                      <a:pt x="2203" y="499"/>
                    </a:lnTo>
                    <a:lnTo>
                      <a:pt x="2200" y="499"/>
                    </a:lnTo>
                    <a:lnTo>
                      <a:pt x="2200" y="499"/>
                    </a:lnTo>
                    <a:lnTo>
                      <a:pt x="2203" y="504"/>
                    </a:lnTo>
                    <a:lnTo>
                      <a:pt x="2203" y="506"/>
                    </a:lnTo>
                    <a:lnTo>
                      <a:pt x="2198" y="506"/>
                    </a:lnTo>
                    <a:lnTo>
                      <a:pt x="2198" y="509"/>
                    </a:lnTo>
                    <a:lnTo>
                      <a:pt x="2195" y="509"/>
                    </a:lnTo>
                    <a:lnTo>
                      <a:pt x="2195" y="509"/>
                    </a:lnTo>
                    <a:lnTo>
                      <a:pt x="2198" y="509"/>
                    </a:lnTo>
                    <a:lnTo>
                      <a:pt x="2200" y="513"/>
                    </a:lnTo>
                    <a:lnTo>
                      <a:pt x="2200" y="513"/>
                    </a:lnTo>
                    <a:lnTo>
                      <a:pt x="2203" y="513"/>
                    </a:lnTo>
                    <a:lnTo>
                      <a:pt x="2203" y="513"/>
                    </a:lnTo>
                    <a:lnTo>
                      <a:pt x="2203" y="511"/>
                    </a:lnTo>
                    <a:lnTo>
                      <a:pt x="2205" y="511"/>
                    </a:lnTo>
                    <a:lnTo>
                      <a:pt x="2207" y="511"/>
                    </a:lnTo>
                    <a:lnTo>
                      <a:pt x="2207" y="509"/>
                    </a:lnTo>
                    <a:lnTo>
                      <a:pt x="2207" y="504"/>
                    </a:lnTo>
                    <a:lnTo>
                      <a:pt x="2205" y="504"/>
                    </a:lnTo>
                    <a:close/>
                    <a:moveTo>
                      <a:pt x="2203" y="537"/>
                    </a:moveTo>
                    <a:lnTo>
                      <a:pt x="2203" y="537"/>
                    </a:lnTo>
                    <a:lnTo>
                      <a:pt x="2200" y="537"/>
                    </a:lnTo>
                    <a:lnTo>
                      <a:pt x="2200" y="537"/>
                    </a:lnTo>
                    <a:lnTo>
                      <a:pt x="2200" y="539"/>
                    </a:lnTo>
                    <a:lnTo>
                      <a:pt x="2200" y="539"/>
                    </a:lnTo>
                    <a:lnTo>
                      <a:pt x="2203" y="539"/>
                    </a:lnTo>
                    <a:lnTo>
                      <a:pt x="2203" y="539"/>
                    </a:lnTo>
                    <a:lnTo>
                      <a:pt x="2203" y="537"/>
                    </a:lnTo>
                    <a:lnTo>
                      <a:pt x="2203" y="537"/>
                    </a:lnTo>
                    <a:close/>
                    <a:moveTo>
                      <a:pt x="2141" y="651"/>
                    </a:moveTo>
                    <a:lnTo>
                      <a:pt x="2141" y="651"/>
                    </a:lnTo>
                    <a:lnTo>
                      <a:pt x="2141" y="651"/>
                    </a:lnTo>
                    <a:lnTo>
                      <a:pt x="2141" y="651"/>
                    </a:lnTo>
                    <a:lnTo>
                      <a:pt x="2141" y="651"/>
                    </a:lnTo>
                    <a:lnTo>
                      <a:pt x="2141" y="651"/>
                    </a:lnTo>
                    <a:lnTo>
                      <a:pt x="2141" y="651"/>
                    </a:lnTo>
                    <a:lnTo>
                      <a:pt x="2141" y="651"/>
                    </a:lnTo>
                    <a:lnTo>
                      <a:pt x="2141" y="651"/>
                    </a:lnTo>
                    <a:lnTo>
                      <a:pt x="2141" y="651"/>
                    </a:lnTo>
                    <a:lnTo>
                      <a:pt x="2143" y="651"/>
                    </a:lnTo>
                    <a:lnTo>
                      <a:pt x="2143" y="651"/>
                    </a:lnTo>
                    <a:lnTo>
                      <a:pt x="2143" y="651"/>
                    </a:lnTo>
                    <a:lnTo>
                      <a:pt x="2141" y="651"/>
                    </a:lnTo>
                    <a:close/>
                    <a:moveTo>
                      <a:pt x="2143" y="651"/>
                    </a:moveTo>
                    <a:lnTo>
                      <a:pt x="2143" y="651"/>
                    </a:lnTo>
                    <a:lnTo>
                      <a:pt x="2143" y="651"/>
                    </a:lnTo>
                    <a:lnTo>
                      <a:pt x="2143" y="651"/>
                    </a:lnTo>
                    <a:lnTo>
                      <a:pt x="2146" y="651"/>
                    </a:lnTo>
                    <a:lnTo>
                      <a:pt x="2146" y="651"/>
                    </a:lnTo>
                    <a:lnTo>
                      <a:pt x="2146" y="651"/>
                    </a:lnTo>
                    <a:lnTo>
                      <a:pt x="2146" y="651"/>
                    </a:lnTo>
                    <a:lnTo>
                      <a:pt x="2143" y="651"/>
                    </a:lnTo>
                    <a:close/>
                    <a:moveTo>
                      <a:pt x="2153" y="641"/>
                    </a:moveTo>
                    <a:lnTo>
                      <a:pt x="2148" y="644"/>
                    </a:lnTo>
                    <a:lnTo>
                      <a:pt x="2148" y="644"/>
                    </a:lnTo>
                    <a:lnTo>
                      <a:pt x="2151" y="646"/>
                    </a:lnTo>
                    <a:lnTo>
                      <a:pt x="2151" y="646"/>
                    </a:lnTo>
                    <a:lnTo>
                      <a:pt x="2151" y="644"/>
                    </a:lnTo>
                    <a:lnTo>
                      <a:pt x="2153" y="644"/>
                    </a:lnTo>
                    <a:lnTo>
                      <a:pt x="2153" y="644"/>
                    </a:lnTo>
                    <a:lnTo>
                      <a:pt x="2153" y="641"/>
                    </a:lnTo>
                    <a:close/>
                    <a:moveTo>
                      <a:pt x="2136" y="632"/>
                    </a:moveTo>
                    <a:lnTo>
                      <a:pt x="2134" y="629"/>
                    </a:lnTo>
                    <a:lnTo>
                      <a:pt x="2132" y="629"/>
                    </a:lnTo>
                    <a:lnTo>
                      <a:pt x="2132" y="634"/>
                    </a:lnTo>
                    <a:lnTo>
                      <a:pt x="2132" y="634"/>
                    </a:lnTo>
                    <a:lnTo>
                      <a:pt x="2132" y="636"/>
                    </a:lnTo>
                    <a:lnTo>
                      <a:pt x="2132" y="636"/>
                    </a:lnTo>
                    <a:lnTo>
                      <a:pt x="2132" y="639"/>
                    </a:lnTo>
                    <a:lnTo>
                      <a:pt x="2129" y="639"/>
                    </a:lnTo>
                    <a:lnTo>
                      <a:pt x="2129" y="641"/>
                    </a:lnTo>
                    <a:lnTo>
                      <a:pt x="2129" y="644"/>
                    </a:lnTo>
                    <a:lnTo>
                      <a:pt x="2129" y="646"/>
                    </a:lnTo>
                    <a:lnTo>
                      <a:pt x="2134" y="646"/>
                    </a:lnTo>
                    <a:lnTo>
                      <a:pt x="2132" y="644"/>
                    </a:lnTo>
                    <a:lnTo>
                      <a:pt x="2134" y="641"/>
                    </a:lnTo>
                    <a:lnTo>
                      <a:pt x="2134" y="639"/>
                    </a:lnTo>
                    <a:lnTo>
                      <a:pt x="2134" y="636"/>
                    </a:lnTo>
                    <a:lnTo>
                      <a:pt x="2134" y="634"/>
                    </a:lnTo>
                    <a:lnTo>
                      <a:pt x="2136" y="634"/>
                    </a:lnTo>
                    <a:lnTo>
                      <a:pt x="2136" y="634"/>
                    </a:lnTo>
                    <a:lnTo>
                      <a:pt x="2139" y="632"/>
                    </a:lnTo>
                    <a:lnTo>
                      <a:pt x="2139" y="632"/>
                    </a:lnTo>
                    <a:lnTo>
                      <a:pt x="2139" y="629"/>
                    </a:lnTo>
                    <a:lnTo>
                      <a:pt x="2136" y="632"/>
                    </a:lnTo>
                    <a:close/>
                    <a:moveTo>
                      <a:pt x="2146" y="646"/>
                    </a:moveTo>
                    <a:lnTo>
                      <a:pt x="2146" y="646"/>
                    </a:lnTo>
                    <a:lnTo>
                      <a:pt x="2146" y="646"/>
                    </a:lnTo>
                    <a:lnTo>
                      <a:pt x="2146" y="646"/>
                    </a:lnTo>
                    <a:lnTo>
                      <a:pt x="2146" y="646"/>
                    </a:lnTo>
                    <a:lnTo>
                      <a:pt x="2146" y="648"/>
                    </a:lnTo>
                    <a:lnTo>
                      <a:pt x="2148" y="646"/>
                    </a:lnTo>
                    <a:lnTo>
                      <a:pt x="2146" y="646"/>
                    </a:lnTo>
                    <a:lnTo>
                      <a:pt x="2146" y="646"/>
                    </a:lnTo>
                    <a:close/>
                    <a:moveTo>
                      <a:pt x="2162" y="608"/>
                    </a:moveTo>
                    <a:lnTo>
                      <a:pt x="2162" y="608"/>
                    </a:lnTo>
                    <a:lnTo>
                      <a:pt x="2162" y="606"/>
                    </a:lnTo>
                    <a:lnTo>
                      <a:pt x="2162" y="606"/>
                    </a:lnTo>
                    <a:lnTo>
                      <a:pt x="2160" y="606"/>
                    </a:lnTo>
                    <a:lnTo>
                      <a:pt x="2160" y="608"/>
                    </a:lnTo>
                    <a:lnTo>
                      <a:pt x="2158" y="610"/>
                    </a:lnTo>
                    <a:lnTo>
                      <a:pt x="2155" y="613"/>
                    </a:lnTo>
                    <a:lnTo>
                      <a:pt x="2153" y="613"/>
                    </a:lnTo>
                    <a:lnTo>
                      <a:pt x="2151" y="610"/>
                    </a:lnTo>
                    <a:lnTo>
                      <a:pt x="2151" y="610"/>
                    </a:lnTo>
                    <a:lnTo>
                      <a:pt x="2151" y="610"/>
                    </a:lnTo>
                    <a:lnTo>
                      <a:pt x="2151" y="613"/>
                    </a:lnTo>
                    <a:lnTo>
                      <a:pt x="2151" y="613"/>
                    </a:lnTo>
                    <a:lnTo>
                      <a:pt x="2148" y="615"/>
                    </a:lnTo>
                    <a:lnTo>
                      <a:pt x="2148" y="615"/>
                    </a:lnTo>
                    <a:lnTo>
                      <a:pt x="2148" y="620"/>
                    </a:lnTo>
                    <a:lnTo>
                      <a:pt x="2146" y="622"/>
                    </a:lnTo>
                    <a:lnTo>
                      <a:pt x="2146" y="625"/>
                    </a:lnTo>
                    <a:lnTo>
                      <a:pt x="2146" y="627"/>
                    </a:lnTo>
                    <a:lnTo>
                      <a:pt x="2146" y="627"/>
                    </a:lnTo>
                    <a:lnTo>
                      <a:pt x="2146" y="629"/>
                    </a:lnTo>
                    <a:lnTo>
                      <a:pt x="2146" y="632"/>
                    </a:lnTo>
                    <a:lnTo>
                      <a:pt x="2148" y="629"/>
                    </a:lnTo>
                    <a:lnTo>
                      <a:pt x="2148" y="627"/>
                    </a:lnTo>
                    <a:lnTo>
                      <a:pt x="2148" y="625"/>
                    </a:lnTo>
                    <a:lnTo>
                      <a:pt x="2151" y="622"/>
                    </a:lnTo>
                    <a:lnTo>
                      <a:pt x="2151" y="622"/>
                    </a:lnTo>
                    <a:lnTo>
                      <a:pt x="2151" y="620"/>
                    </a:lnTo>
                    <a:lnTo>
                      <a:pt x="2151" y="620"/>
                    </a:lnTo>
                    <a:lnTo>
                      <a:pt x="2153" y="620"/>
                    </a:lnTo>
                    <a:lnTo>
                      <a:pt x="2155" y="620"/>
                    </a:lnTo>
                    <a:lnTo>
                      <a:pt x="2155" y="615"/>
                    </a:lnTo>
                    <a:lnTo>
                      <a:pt x="2158" y="613"/>
                    </a:lnTo>
                    <a:lnTo>
                      <a:pt x="2160" y="613"/>
                    </a:lnTo>
                    <a:lnTo>
                      <a:pt x="2162" y="610"/>
                    </a:lnTo>
                    <a:lnTo>
                      <a:pt x="2165" y="610"/>
                    </a:lnTo>
                    <a:lnTo>
                      <a:pt x="2165" y="610"/>
                    </a:lnTo>
                    <a:lnTo>
                      <a:pt x="2165" y="608"/>
                    </a:lnTo>
                    <a:lnTo>
                      <a:pt x="2162" y="608"/>
                    </a:lnTo>
                    <a:close/>
                    <a:moveTo>
                      <a:pt x="480" y="606"/>
                    </a:moveTo>
                    <a:lnTo>
                      <a:pt x="480" y="606"/>
                    </a:lnTo>
                    <a:lnTo>
                      <a:pt x="480" y="608"/>
                    </a:lnTo>
                    <a:lnTo>
                      <a:pt x="480" y="608"/>
                    </a:lnTo>
                    <a:lnTo>
                      <a:pt x="480" y="606"/>
                    </a:lnTo>
                    <a:lnTo>
                      <a:pt x="480" y="603"/>
                    </a:lnTo>
                    <a:lnTo>
                      <a:pt x="480" y="606"/>
                    </a:lnTo>
                    <a:close/>
                    <a:moveTo>
                      <a:pt x="216" y="217"/>
                    </a:moveTo>
                    <a:lnTo>
                      <a:pt x="216" y="217"/>
                    </a:lnTo>
                    <a:lnTo>
                      <a:pt x="216" y="215"/>
                    </a:lnTo>
                    <a:lnTo>
                      <a:pt x="213" y="217"/>
                    </a:lnTo>
                    <a:lnTo>
                      <a:pt x="213" y="217"/>
                    </a:lnTo>
                    <a:lnTo>
                      <a:pt x="211" y="217"/>
                    </a:lnTo>
                    <a:lnTo>
                      <a:pt x="213" y="217"/>
                    </a:lnTo>
                    <a:lnTo>
                      <a:pt x="213" y="220"/>
                    </a:lnTo>
                    <a:lnTo>
                      <a:pt x="216" y="220"/>
                    </a:lnTo>
                    <a:lnTo>
                      <a:pt x="216" y="220"/>
                    </a:lnTo>
                    <a:lnTo>
                      <a:pt x="218" y="220"/>
                    </a:lnTo>
                    <a:lnTo>
                      <a:pt x="216" y="220"/>
                    </a:lnTo>
                    <a:lnTo>
                      <a:pt x="218" y="217"/>
                    </a:lnTo>
                    <a:lnTo>
                      <a:pt x="216" y="217"/>
                    </a:lnTo>
                    <a:close/>
                    <a:moveTo>
                      <a:pt x="686" y="189"/>
                    </a:moveTo>
                    <a:lnTo>
                      <a:pt x="684" y="189"/>
                    </a:lnTo>
                    <a:lnTo>
                      <a:pt x="684" y="187"/>
                    </a:lnTo>
                    <a:lnTo>
                      <a:pt x="682" y="187"/>
                    </a:lnTo>
                    <a:lnTo>
                      <a:pt x="679" y="187"/>
                    </a:lnTo>
                    <a:lnTo>
                      <a:pt x="679" y="189"/>
                    </a:lnTo>
                    <a:lnTo>
                      <a:pt x="682" y="191"/>
                    </a:lnTo>
                    <a:lnTo>
                      <a:pt x="686" y="191"/>
                    </a:lnTo>
                    <a:lnTo>
                      <a:pt x="689" y="191"/>
                    </a:lnTo>
                    <a:lnTo>
                      <a:pt x="689" y="191"/>
                    </a:lnTo>
                    <a:lnTo>
                      <a:pt x="689" y="191"/>
                    </a:lnTo>
                    <a:lnTo>
                      <a:pt x="689" y="191"/>
                    </a:lnTo>
                    <a:lnTo>
                      <a:pt x="689" y="189"/>
                    </a:lnTo>
                    <a:lnTo>
                      <a:pt x="686" y="189"/>
                    </a:lnTo>
                    <a:close/>
                    <a:moveTo>
                      <a:pt x="1829" y="412"/>
                    </a:moveTo>
                    <a:lnTo>
                      <a:pt x="1826" y="412"/>
                    </a:lnTo>
                    <a:lnTo>
                      <a:pt x="1824" y="414"/>
                    </a:lnTo>
                    <a:lnTo>
                      <a:pt x="1824" y="414"/>
                    </a:lnTo>
                    <a:lnTo>
                      <a:pt x="1826" y="414"/>
                    </a:lnTo>
                    <a:lnTo>
                      <a:pt x="1826" y="414"/>
                    </a:lnTo>
                    <a:lnTo>
                      <a:pt x="1829" y="414"/>
                    </a:lnTo>
                    <a:lnTo>
                      <a:pt x="1831" y="414"/>
                    </a:lnTo>
                    <a:lnTo>
                      <a:pt x="1829" y="412"/>
                    </a:lnTo>
                    <a:lnTo>
                      <a:pt x="1829" y="412"/>
                    </a:lnTo>
                    <a:lnTo>
                      <a:pt x="1829" y="412"/>
                    </a:lnTo>
                    <a:close/>
                    <a:moveTo>
                      <a:pt x="625" y="139"/>
                    </a:moveTo>
                    <a:lnTo>
                      <a:pt x="625" y="137"/>
                    </a:lnTo>
                    <a:lnTo>
                      <a:pt x="625" y="137"/>
                    </a:lnTo>
                    <a:lnTo>
                      <a:pt x="622" y="137"/>
                    </a:lnTo>
                    <a:lnTo>
                      <a:pt x="620" y="139"/>
                    </a:lnTo>
                    <a:lnTo>
                      <a:pt x="620" y="139"/>
                    </a:lnTo>
                    <a:lnTo>
                      <a:pt x="622" y="139"/>
                    </a:lnTo>
                    <a:lnTo>
                      <a:pt x="625" y="139"/>
                    </a:lnTo>
                    <a:close/>
                    <a:moveTo>
                      <a:pt x="2207" y="497"/>
                    </a:moveTo>
                    <a:lnTo>
                      <a:pt x="2207" y="497"/>
                    </a:lnTo>
                    <a:lnTo>
                      <a:pt x="2205" y="497"/>
                    </a:lnTo>
                    <a:lnTo>
                      <a:pt x="2203" y="499"/>
                    </a:lnTo>
                    <a:lnTo>
                      <a:pt x="2203" y="499"/>
                    </a:lnTo>
                    <a:lnTo>
                      <a:pt x="2205" y="499"/>
                    </a:lnTo>
                    <a:lnTo>
                      <a:pt x="2207" y="502"/>
                    </a:lnTo>
                    <a:lnTo>
                      <a:pt x="2210" y="502"/>
                    </a:lnTo>
                    <a:lnTo>
                      <a:pt x="2210" y="502"/>
                    </a:lnTo>
                    <a:lnTo>
                      <a:pt x="2207" y="499"/>
                    </a:lnTo>
                    <a:lnTo>
                      <a:pt x="2207" y="497"/>
                    </a:lnTo>
                    <a:close/>
                    <a:moveTo>
                      <a:pt x="1834" y="416"/>
                    </a:moveTo>
                    <a:lnTo>
                      <a:pt x="1836" y="416"/>
                    </a:lnTo>
                    <a:lnTo>
                      <a:pt x="1836" y="416"/>
                    </a:lnTo>
                    <a:lnTo>
                      <a:pt x="1838" y="416"/>
                    </a:lnTo>
                    <a:lnTo>
                      <a:pt x="1838" y="416"/>
                    </a:lnTo>
                    <a:lnTo>
                      <a:pt x="1843" y="421"/>
                    </a:lnTo>
                    <a:lnTo>
                      <a:pt x="1845" y="419"/>
                    </a:lnTo>
                    <a:lnTo>
                      <a:pt x="1845" y="419"/>
                    </a:lnTo>
                    <a:lnTo>
                      <a:pt x="1845" y="419"/>
                    </a:lnTo>
                    <a:lnTo>
                      <a:pt x="1848" y="416"/>
                    </a:lnTo>
                    <a:lnTo>
                      <a:pt x="1845" y="416"/>
                    </a:lnTo>
                    <a:lnTo>
                      <a:pt x="1845" y="414"/>
                    </a:lnTo>
                    <a:lnTo>
                      <a:pt x="1845" y="414"/>
                    </a:lnTo>
                    <a:lnTo>
                      <a:pt x="1845" y="412"/>
                    </a:lnTo>
                    <a:lnTo>
                      <a:pt x="1845" y="412"/>
                    </a:lnTo>
                    <a:lnTo>
                      <a:pt x="1843" y="412"/>
                    </a:lnTo>
                    <a:lnTo>
                      <a:pt x="1841" y="412"/>
                    </a:lnTo>
                    <a:lnTo>
                      <a:pt x="1841" y="412"/>
                    </a:lnTo>
                    <a:lnTo>
                      <a:pt x="1834" y="409"/>
                    </a:lnTo>
                    <a:lnTo>
                      <a:pt x="1834" y="409"/>
                    </a:lnTo>
                    <a:lnTo>
                      <a:pt x="1834" y="414"/>
                    </a:lnTo>
                    <a:lnTo>
                      <a:pt x="1834" y="414"/>
                    </a:lnTo>
                    <a:lnTo>
                      <a:pt x="1834" y="416"/>
                    </a:lnTo>
                    <a:close/>
                    <a:moveTo>
                      <a:pt x="2167" y="343"/>
                    </a:moveTo>
                    <a:lnTo>
                      <a:pt x="2167" y="343"/>
                    </a:lnTo>
                    <a:lnTo>
                      <a:pt x="2169" y="343"/>
                    </a:lnTo>
                    <a:lnTo>
                      <a:pt x="2169" y="343"/>
                    </a:lnTo>
                    <a:lnTo>
                      <a:pt x="2172" y="338"/>
                    </a:lnTo>
                    <a:lnTo>
                      <a:pt x="2174" y="338"/>
                    </a:lnTo>
                    <a:lnTo>
                      <a:pt x="2179" y="336"/>
                    </a:lnTo>
                    <a:lnTo>
                      <a:pt x="2177" y="336"/>
                    </a:lnTo>
                    <a:lnTo>
                      <a:pt x="2174" y="331"/>
                    </a:lnTo>
                    <a:lnTo>
                      <a:pt x="2169" y="329"/>
                    </a:lnTo>
                    <a:lnTo>
                      <a:pt x="2169" y="329"/>
                    </a:lnTo>
                    <a:lnTo>
                      <a:pt x="2167" y="333"/>
                    </a:lnTo>
                    <a:lnTo>
                      <a:pt x="2162" y="333"/>
                    </a:lnTo>
                    <a:lnTo>
                      <a:pt x="2162" y="336"/>
                    </a:lnTo>
                    <a:lnTo>
                      <a:pt x="2165" y="336"/>
                    </a:lnTo>
                    <a:lnTo>
                      <a:pt x="2167" y="338"/>
                    </a:lnTo>
                    <a:lnTo>
                      <a:pt x="2167" y="340"/>
                    </a:lnTo>
                    <a:lnTo>
                      <a:pt x="2167" y="343"/>
                    </a:lnTo>
                    <a:lnTo>
                      <a:pt x="2167" y="343"/>
                    </a:lnTo>
                    <a:close/>
                    <a:moveTo>
                      <a:pt x="1554" y="85"/>
                    </a:moveTo>
                    <a:lnTo>
                      <a:pt x="1550" y="85"/>
                    </a:lnTo>
                    <a:lnTo>
                      <a:pt x="1547" y="85"/>
                    </a:lnTo>
                    <a:lnTo>
                      <a:pt x="1538" y="85"/>
                    </a:lnTo>
                    <a:lnTo>
                      <a:pt x="1535" y="87"/>
                    </a:lnTo>
                    <a:lnTo>
                      <a:pt x="1535" y="90"/>
                    </a:lnTo>
                    <a:lnTo>
                      <a:pt x="1535" y="90"/>
                    </a:lnTo>
                    <a:lnTo>
                      <a:pt x="1538" y="92"/>
                    </a:lnTo>
                    <a:lnTo>
                      <a:pt x="1543" y="92"/>
                    </a:lnTo>
                    <a:lnTo>
                      <a:pt x="1543" y="90"/>
                    </a:lnTo>
                    <a:lnTo>
                      <a:pt x="1543" y="90"/>
                    </a:lnTo>
                    <a:lnTo>
                      <a:pt x="1550" y="90"/>
                    </a:lnTo>
                    <a:lnTo>
                      <a:pt x="1552" y="92"/>
                    </a:lnTo>
                    <a:lnTo>
                      <a:pt x="1550" y="92"/>
                    </a:lnTo>
                    <a:lnTo>
                      <a:pt x="1547" y="92"/>
                    </a:lnTo>
                    <a:lnTo>
                      <a:pt x="1547" y="94"/>
                    </a:lnTo>
                    <a:lnTo>
                      <a:pt x="1545" y="94"/>
                    </a:lnTo>
                    <a:lnTo>
                      <a:pt x="1550" y="97"/>
                    </a:lnTo>
                    <a:lnTo>
                      <a:pt x="1552" y="97"/>
                    </a:lnTo>
                    <a:lnTo>
                      <a:pt x="1554" y="99"/>
                    </a:lnTo>
                    <a:lnTo>
                      <a:pt x="1562" y="101"/>
                    </a:lnTo>
                    <a:lnTo>
                      <a:pt x="1564" y="104"/>
                    </a:lnTo>
                    <a:lnTo>
                      <a:pt x="1559" y="104"/>
                    </a:lnTo>
                    <a:lnTo>
                      <a:pt x="1557" y="104"/>
                    </a:lnTo>
                    <a:lnTo>
                      <a:pt x="1554" y="104"/>
                    </a:lnTo>
                    <a:lnTo>
                      <a:pt x="1550" y="101"/>
                    </a:lnTo>
                    <a:lnTo>
                      <a:pt x="1545" y="101"/>
                    </a:lnTo>
                    <a:lnTo>
                      <a:pt x="1543" y="101"/>
                    </a:lnTo>
                    <a:lnTo>
                      <a:pt x="1543" y="101"/>
                    </a:lnTo>
                    <a:lnTo>
                      <a:pt x="1540" y="101"/>
                    </a:lnTo>
                    <a:lnTo>
                      <a:pt x="1538" y="101"/>
                    </a:lnTo>
                    <a:lnTo>
                      <a:pt x="1538" y="101"/>
                    </a:lnTo>
                    <a:lnTo>
                      <a:pt x="1538" y="101"/>
                    </a:lnTo>
                    <a:lnTo>
                      <a:pt x="1538" y="104"/>
                    </a:lnTo>
                    <a:lnTo>
                      <a:pt x="1538" y="104"/>
                    </a:lnTo>
                    <a:lnTo>
                      <a:pt x="1538" y="104"/>
                    </a:lnTo>
                    <a:lnTo>
                      <a:pt x="1540" y="106"/>
                    </a:lnTo>
                    <a:lnTo>
                      <a:pt x="1540" y="106"/>
                    </a:lnTo>
                    <a:lnTo>
                      <a:pt x="1545" y="106"/>
                    </a:lnTo>
                    <a:lnTo>
                      <a:pt x="1543" y="106"/>
                    </a:lnTo>
                    <a:lnTo>
                      <a:pt x="1543" y="106"/>
                    </a:lnTo>
                    <a:lnTo>
                      <a:pt x="1543" y="106"/>
                    </a:lnTo>
                    <a:lnTo>
                      <a:pt x="1540" y="108"/>
                    </a:lnTo>
                    <a:lnTo>
                      <a:pt x="1543" y="108"/>
                    </a:lnTo>
                    <a:lnTo>
                      <a:pt x="1543" y="108"/>
                    </a:lnTo>
                    <a:lnTo>
                      <a:pt x="1545" y="108"/>
                    </a:lnTo>
                    <a:lnTo>
                      <a:pt x="1545" y="108"/>
                    </a:lnTo>
                    <a:lnTo>
                      <a:pt x="1543" y="108"/>
                    </a:lnTo>
                    <a:lnTo>
                      <a:pt x="1538" y="108"/>
                    </a:lnTo>
                    <a:lnTo>
                      <a:pt x="1533" y="106"/>
                    </a:lnTo>
                    <a:lnTo>
                      <a:pt x="1531" y="106"/>
                    </a:lnTo>
                    <a:lnTo>
                      <a:pt x="1528" y="104"/>
                    </a:lnTo>
                    <a:lnTo>
                      <a:pt x="1514" y="101"/>
                    </a:lnTo>
                    <a:lnTo>
                      <a:pt x="1509" y="101"/>
                    </a:lnTo>
                    <a:lnTo>
                      <a:pt x="1507" y="101"/>
                    </a:lnTo>
                    <a:lnTo>
                      <a:pt x="1502" y="101"/>
                    </a:lnTo>
                    <a:lnTo>
                      <a:pt x="1502" y="101"/>
                    </a:lnTo>
                    <a:lnTo>
                      <a:pt x="1498" y="104"/>
                    </a:lnTo>
                    <a:lnTo>
                      <a:pt x="1495" y="104"/>
                    </a:lnTo>
                    <a:lnTo>
                      <a:pt x="1495" y="104"/>
                    </a:lnTo>
                    <a:lnTo>
                      <a:pt x="1488" y="106"/>
                    </a:lnTo>
                    <a:lnTo>
                      <a:pt x="1481" y="104"/>
                    </a:lnTo>
                    <a:lnTo>
                      <a:pt x="1476" y="104"/>
                    </a:lnTo>
                    <a:lnTo>
                      <a:pt x="1472" y="101"/>
                    </a:lnTo>
                    <a:lnTo>
                      <a:pt x="1465" y="99"/>
                    </a:lnTo>
                    <a:lnTo>
                      <a:pt x="1465" y="99"/>
                    </a:lnTo>
                    <a:lnTo>
                      <a:pt x="1462" y="97"/>
                    </a:lnTo>
                    <a:lnTo>
                      <a:pt x="1460" y="97"/>
                    </a:lnTo>
                    <a:lnTo>
                      <a:pt x="1457" y="97"/>
                    </a:lnTo>
                    <a:lnTo>
                      <a:pt x="1457" y="97"/>
                    </a:lnTo>
                    <a:lnTo>
                      <a:pt x="1457" y="99"/>
                    </a:lnTo>
                    <a:lnTo>
                      <a:pt x="1457" y="101"/>
                    </a:lnTo>
                    <a:lnTo>
                      <a:pt x="1460" y="104"/>
                    </a:lnTo>
                    <a:lnTo>
                      <a:pt x="1462" y="106"/>
                    </a:lnTo>
                    <a:lnTo>
                      <a:pt x="1462" y="106"/>
                    </a:lnTo>
                    <a:lnTo>
                      <a:pt x="1465" y="106"/>
                    </a:lnTo>
                    <a:lnTo>
                      <a:pt x="1462" y="108"/>
                    </a:lnTo>
                    <a:lnTo>
                      <a:pt x="1462" y="111"/>
                    </a:lnTo>
                    <a:lnTo>
                      <a:pt x="1465" y="113"/>
                    </a:lnTo>
                    <a:lnTo>
                      <a:pt x="1465" y="116"/>
                    </a:lnTo>
                    <a:lnTo>
                      <a:pt x="1462" y="116"/>
                    </a:lnTo>
                    <a:lnTo>
                      <a:pt x="1462" y="116"/>
                    </a:lnTo>
                    <a:lnTo>
                      <a:pt x="1460" y="116"/>
                    </a:lnTo>
                    <a:lnTo>
                      <a:pt x="1457" y="116"/>
                    </a:lnTo>
                    <a:lnTo>
                      <a:pt x="1453" y="113"/>
                    </a:lnTo>
                    <a:lnTo>
                      <a:pt x="1453" y="113"/>
                    </a:lnTo>
                    <a:lnTo>
                      <a:pt x="1453" y="113"/>
                    </a:lnTo>
                    <a:lnTo>
                      <a:pt x="1450" y="113"/>
                    </a:lnTo>
                    <a:lnTo>
                      <a:pt x="1446" y="113"/>
                    </a:lnTo>
                    <a:lnTo>
                      <a:pt x="1441" y="111"/>
                    </a:lnTo>
                    <a:lnTo>
                      <a:pt x="1436" y="108"/>
                    </a:lnTo>
                    <a:lnTo>
                      <a:pt x="1427" y="104"/>
                    </a:lnTo>
                    <a:lnTo>
                      <a:pt x="1422" y="104"/>
                    </a:lnTo>
                    <a:lnTo>
                      <a:pt x="1420" y="101"/>
                    </a:lnTo>
                    <a:lnTo>
                      <a:pt x="1415" y="101"/>
                    </a:lnTo>
                    <a:lnTo>
                      <a:pt x="1412" y="99"/>
                    </a:lnTo>
                    <a:lnTo>
                      <a:pt x="1415" y="99"/>
                    </a:lnTo>
                    <a:lnTo>
                      <a:pt x="1417" y="99"/>
                    </a:lnTo>
                    <a:lnTo>
                      <a:pt x="1420" y="99"/>
                    </a:lnTo>
                    <a:lnTo>
                      <a:pt x="1415" y="97"/>
                    </a:lnTo>
                    <a:lnTo>
                      <a:pt x="1412" y="97"/>
                    </a:lnTo>
                    <a:lnTo>
                      <a:pt x="1412" y="94"/>
                    </a:lnTo>
                    <a:lnTo>
                      <a:pt x="1412" y="97"/>
                    </a:lnTo>
                    <a:lnTo>
                      <a:pt x="1415" y="97"/>
                    </a:lnTo>
                    <a:lnTo>
                      <a:pt x="1415" y="99"/>
                    </a:lnTo>
                    <a:lnTo>
                      <a:pt x="1412" y="99"/>
                    </a:lnTo>
                    <a:lnTo>
                      <a:pt x="1398" y="92"/>
                    </a:lnTo>
                    <a:lnTo>
                      <a:pt x="1391" y="90"/>
                    </a:lnTo>
                    <a:lnTo>
                      <a:pt x="1389" y="90"/>
                    </a:lnTo>
                    <a:lnTo>
                      <a:pt x="1384" y="87"/>
                    </a:lnTo>
                    <a:lnTo>
                      <a:pt x="1384" y="87"/>
                    </a:lnTo>
                    <a:lnTo>
                      <a:pt x="1391" y="90"/>
                    </a:lnTo>
                    <a:lnTo>
                      <a:pt x="1398" y="90"/>
                    </a:lnTo>
                    <a:lnTo>
                      <a:pt x="1405" y="92"/>
                    </a:lnTo>
                    <a:lnTo>
                      <a:pt x="1410" y="92"/>
                    </a:lnTo>
                    <a:lnTo>
                      <a:pt x="1410" y="92"/>
                    </a:lnTo>
                    <a:lnTo>
                      <a:pt x="1408" y="90"/>
                    </a:lnTo>
                    <a:lnTo>
                      <a:pt x="1403" y="87"/>
                    </a:lnTo>
                    <a:lnTo>
                      <a:pt x="1401" y="85"/>
                    </a:lnTo>
                    <a:lnTo>
                      <a:pt x="1394" y="85"/>
                    </a:lnTo>
                    <a:lnTo>
                      <a:pt x="1391" y="85"/>
                    </a:lnTo>
                    <a:lnTo>
                      <a:pt x="1391" y="85"/>
                    </a:lnTo>
                    <a:lnTo>
                      <a:pt x="1394" y="85"/>
                    </a:lnTo>
                    <a:lnTo>
                      <a:pt x="1396" y="85"/>
                    </a:lnTo>
                    <a:lnTo>
                      <a:pt x="1396" y="82"/>
                    </a:lnTo>
                    <a:lnTo>
                      <a:pt x="1398" y="82"/>
                    </a:lnTo>
                    <a:lnTo>
                      <a:pt x="1396" y="80"/>
                    </a:lnTo>
                    <a:lnTo>
                      <a:pt x="1391" y="80"/>
                    </a:lnTo>
                    <a:lnTo>
                      <a:pt x="1386" y="80"/>
                    </a:lnTo>
                    <a:lnTo>
                      <a:pt x="1386" y="80"/>
                    </a:lnTo>
                    <a:lnTo>
                      <a:pt x="1386" y="78"/>
                    </a:lnTo>
                    <a:lnTo>
                      <a:pt x="1389" y="78"/>
                    </a:lnTo>
                    <a:lnTo>
                      <a:pt x="1389" y="75"/>
                    </a:lnTo>
                    <a:lnTo>
                      <a:pt x="1389" y="75"/>
                    </a:lnTo>
                    <a:lnTo>
                      <a:pt x="1386" y="75"/>
                    </a:lnTo>
                    <a:lnTo>
                      <a:pt x="1386" y="75"/>
                    </a:lnTo>
                    <a:lnTo>
                      <a:pt x="1384" y="75"/>
                    </a:lnTo>
                    <a:lnTo>
                      <a:pt x="1384" y="73"/>
                    </a:lnTo>
                    <a:lnTo>
                      <a:pt x="1382" y="73"/>
                    </a:lnTo>
                    <a:lnTo>
                      <a:pt x="1379" y="73"/>
                    </a:lnTo>
                    <a:lnTo>
                      <a:pt x="1375" y="73"/>
                    </a:lnTo>
                    <a:lnTo>
                      <a:pt x="1375" y="73"/>
                    </a:lnTo>
                    <a:lnTo>
                      <a:pt x="1372" y="71"/>
                    </a:lnTo>
                    <a:lnTo>
                      <a:pt x="1370" y="71"/>
                    </a:lnTo>
                    <a:lnTo>
                      <a:pt x="1368" y="71"/>
                    </a:lnTo>
                    <a:lnTo>
                      <a:pt x="1368" y="71"/>
                    </a:lnTo>
                    <a:lnTo>
                      <a:pt x="1368" y="71"/>
                    </a:lnTo>
                    <a:lnTo>
                      <a:pt x="1363" y="68"/>
                    </a:lnTo>
                    <a:lnTo>
                      <a:pt x="1353" y="68"/>
                    </a:lnTo>
                    <a:lnTo>
                      <a:pt x="1351" y="68"/>
                    </a:lnTo>
                    <a:lnTo>
                      <a:pt x="1353" y="71"/>
                    </a:lnTo>
                    <a:lnTo>
                      <a:pt x="1351" y="71"/>
                    </a:lnTo>
                    <a:lnTo>
                      <a:pt x="1346" y="71"/>
                    </a:lnTo>
                    <a:lnTo>
                      <a:pt x="1346" y="71"/>
                    </a:lnTo>
                    <a:lnTo>
                      <a:pt x="1346" y="71"/>
                    </a:lnTo>
                    <a:lnTo>
                      <a:pt x="1344" y="68"/>
                    </a:lnTo>
                    <a:lnTo>
                      <a:pt x="1344" y="68"/>
                    </a:lnTo>
                    <a:lnTo>
                      <a:pt x="1344" y="68"/>
                    </a:lnTo>
                    <a:lnTo>
                      <a:pt x="1342" y="68"/>
                    </a:lnTo>
                    <a:lnTo>
                      <a:pt x="1342" y="68"/>
                    </a:lnTo>
                    <a:lnTo>
                      <a:pt x="1339" y="68"/>
                    </a:lnTo>
                    <a:lnTo>
                      <a:pt x="1339" y="68"/>
                    </a:lnTo>
                    <a:lnTo>
                      <a:pt x="1337" y="71"/>
                    </a:lnTo>
                    <a:lnTo>
                      <a:pt x="1334" y="68"/>
                    </a:lnTo>
                    <a:lnTo>
                      <a:pt x="1320" y="66"/>
                    </a:lnTo>
                    <a:lnTo>
                      <a:pt x="1315" y="63"/>
                    </a:lnTo>
                    <a:lnTo>
                      <a:pt x="1315" y="63"/>
                    </a:lnTo>
                    <a:lnTo>
                      <a:pt x="1311" y="66"/>
                    </a:lnTo>
                    <a:lnTo>
                      <a:pt x="1311" y="66"/>
                    </a:lnTo>
                    <a:lnTo>
                      <a:pt x="1311" y="66"/>
                    </a:lnTo>
                    <a:lnTo>
                      <a:pt x="1306" y="66"/>
                    </a:lnTo>
                    <a:lnTo>
                      <a:pt x="1304" y="66"/>
                    </a:lnTo>
                    <a:lnTo>
                      <a:pt x="1306" y="68"/>
                    </a:lnTo>
                    <a:lnTo>
                      <a:pt x="1308" y="71"/>
                    </a:lnTo>
                    <a:lnTo>
                      <a:pt x="1308" y="71"/>
                    </a:lnTo>
                    <a:lnTo>
                      <a:pt x="1311" y="71"/>
                    </a:lnTo>
                    <a:lnTo>
                      <a:pt x="1313" y="73"/>
                    </a:lnTo>
                    <a:lnTo>
                      <a:pt x="1315" y="73"/>
                    </a:lnTo>
                    <a:lnTo>
                      <a:pt x="1315" y="73"/>
                    </a:lnTo>
                    <a:lnTo>
                      <a:pt x="1315" y="75"/>
                    </a:lnTo>
                    <a:lnTo>
                      <a:pt x="1315" y="75"/>
                    </a:lnTo>
                    <a:lnTo>
                      <a:pt x="1315" y="75"/>
                    </a:lnTo>
                    <a:lnTo>
                      <a:pt x="1315" y="78"/>
                    </a:lnTo>
                    <a:lnTo>
                      <a:pt x="1315" y="78"/>
                    </a:lnTo>
                    <a:lnTo>
                      <a:pt x="1313" y="78"/>
                    </a:lnTo>
                    <a:lnTo>
                      <a:pt x="1306" y="78"/>
                    </a:lnTo>
                    <a:lnTo>
                      <a:pt x="1306" y="78"/>
                    </a:lnTo>
                    <a:lnTo>
                      <a:pt x="1306" y="78"/>
                    </a:lnTo>
                    <a:lnTo>
                      <a:pt x="1308" y="78"/>
                    </a:lnTo>
                    <a:lnTo>
                      <a:pt x="1311" y="78"/>
                    </a:lnTo>
                    <a:lnTo>
                      <a:pt x="1311" y="80"/>
                    </a:lnTo>
                    <a:lnTo>
                      <a:pt x="1308" y="80"/>
                    </a:lnTo>
                    <a:lnTo>
                      <a:pt x="1304" y="80"/>
                    </a:lnTo>
                    <a:lnTo>
                      <a:pt x="1301" y="80"/>
                    </a:lnTo>
                    <a:lnTo>
                      <a:pt x="1299" y="78"/>
                    </a:lnTo>
                    <a:lnTo>
                      <a:pt x="1297" y="78"/>
                    </a:lnTo>
                    <a:lnTo>
                      <a:pt x="1292" y="78"/>
                    </a:lnTo>
                    <a:lnTo>
                      <a:pt x="1287" y="78"/>
                    </a:lnTo>
                    <a:lnTo>
                      <a:pt x="1280" y="78"/>
                    </a:lnTo>
                    <a:lnTo>
                      <a:pt x="1273" y="78"/>
                    </a:lnTo>
                    <a:lnTo>
                      <a:pt x="1271" y="78"/>
                    </a:lnTo>
                    <a:lnTo>
                      <a:pt x="1263" y="75"/>
                    </a:lnTo>
                    <a:lnTo>
                      <a:pt x="1256" y="75"/>
                    </a:lnTo>
                    <a:lnTo>
                      <a:pt x="1247" y="73"/>
                    </a:lnTo>
                    <a:lnTo>
                      <a:pt x="1245" y="71"/>
                    </a:lnTo>
                    <a:lnTo>
                      <a:pt x="1245" y="68"/>
                    </a:lnTo>
                    <a:lnTo>
                      <a:pt x="1247" y="68"/>
                    </a:lnTo>
                    <a:lnTo>
                      <a:pt x="1249" y="68"/>
                    </a:lnTo>
                    <a:lnTo>
                      <a:pt x="1249" y="68"/>
                    </a:lnTo>
                    <a:lnTo>
                      <a:pt x="1249" y="68"/>
                    </a:lnTo>
                    <a:lnTo>
                      <a:pt x="1242" y="68"/>
                    </a:lnTo>
                    <a:lnTo>
                      <a:pt x="1228" y="66"/>
                    </a:lnTo>
                    <a:lnTo>
                      <a:pt x="1216" y="66"/>
                    </a:lnTo>
                    <a:lnTo>
                      <a:pt x="1200" y="66"/>
                    </a:lnTo>
                    <a:lnTo>
                      <a:pt x="1195" y="66"/>
                    </a:lnTo>
                    <a:lnTo>
                      <a:pt x="1185" y="68"/>
                    </a:lnTo>
                    <a:lnTo>
                      <a:pt x="1183" y="68"/>
                    </a:lnTo>
                    <a:lnTo>
                      <a:pt x="1181" y="68"/>
                    </a:lnTo>
                    <a:lnTo>
                      <a:pt x="1181" y="71"/>
                    </a:lnTo>
                    <a:lnTo>
                      <a:pt x="1185" y="71"/>
                    </a:lnTo>
                    <a:lnTo>
                      <a:pt x="1185" y="71"/>
                    </a:lnTo>
                    <a:lnTo>
                      <a:pt x="1188" y="71"/>
                    </a:lnTo>
                    <a:lnTo>
                      <a:pt x="1188" y="71"/>
                    </a:lnTo>
                    <a:lnTo>
                      <a:pt x="1188" y="71"/>
                    </a:lnTo>
                    <a:lnTo>
                      <a:pt x="1185" y="73"/>
                    </a:lnTo>
                    <a:lnTo>
                      <a:pt x="1185" y="73"/>
                    </a:lnTo>
                    <a:lnTo>
                      <a:pt x="1188" y="75"/>
                    </a:lnTo>
                    <a:lnTo>
                      <a:pt x="1188" y="75"/>
                    </a:lnTo>
                    <a:lnTo>
                      <a:pt x="1188" y="78"/>
                    </a:lnTo>
                    <a:lnTo>
                      <a:pt x="1188" y="80"/>
                    </a:lnTo>
                    <a:lnTo>
                      <a:pt x="1188" y="80"/>
                    </a:lnTo>
                    <a:lnTo>
                      <a:pt x="1190" y="82"/>
                    </a:lnTo>
                    <a:lnTo>
                      <a:pt x="1192" y="82"/>
                    </a:lnTo>
                    <a:lnTo>
                      <a:pt x="1197" y="82"/>
                    </a:lnTo>
                    <a:lnTo>
                      <a:pt x="1197" y="82"/>
                    </a:lnTo>
                    <a:lnTo>
                      <a:pt x="1197" y="82"/>
                    </a:lnTo>
                    <a:lnTo>
                      <a:pt x="1192" y="82"/>
                    </a:lnTo>
                    <a:lnTo>
                      <a:pt x="1190" y="82"/>
                    </a:lnTo>
                    <a:lnTo>
                      <a:pt x="1188" y="80"/>
                    </a:lnTo>
                    <a:lnTo>
                      <a:pt x="1188" y="80"/>
                    </a:lnTo>
                    <a:lnTo>
                      <a:pt x="1188" y="80"/>
                    </a:lnTo>
                    <a:lnTo>
                      <a:pt x="1188" y="78"/>
                    </a:lnTo>
                    <a:lnTo>
                      <a:pt x="1188" y="75"/>
                    </a:lnTo>
                    <a:lnTo>
                      <a:pt x="1185" y="75"/>
                    </a:lnTo>
                    <a:lnTo>
                      <a:pt x="1183" y="71"/>
                    </a:lnTo>
                    <a:lnTo>
                      <a:pt x="1178" y="71"/>
                    </a:lnTo>
                    <a:lnTo>
                      <a:pt x="1176" y="68"/>
                    </a:lnTo>
                    <a:lnTo>
                      <a:pt x="1176" y="68"/>
                    </a:lnTo>
                    <a:lnTo>
                      <a:pt x="1176" y="66"/>
                    </a:lnTo>
                    <a:lnTo>
                      <a:pt x="1174" y="66"/>
                    </a:lnTo>
                    <a:lnTo>
                      <a:pt x="1169" y="63"/>
                    </a:lnTo>
                    <a:lnTo>
                      <a:pt x="1166" y="61"/>
                    </a:lnTo>
                    <a:lnTo>
                      <a:pt x="1164" y="61"/>
                    </a:lnTo>
                    <a:lnTo>
                      <a:pt x="1164" y="61"/>
                    </a:lnTo>
                    <a:lnTo>
                      <a:pt x="1166" y="63"/>
                    </a:lnTo>
                    <a:lnTo>
                      <a:pt x="1166" y="63"/>
                    </a:lnTo>
                    <a:lnTo>
                      <a:pt x="1166" y="63"/>
                    </a:lnTo>
                    <a:lnTo>
                      <a:pt x="1162" y="66"/>
                    </a:lnTo>
                    <a:lnTo>
                      <a:pt x="1159" y="66"/>
                    </a:lnTo>
                    <a:lnTo>
                      <a:pt x="1155" y="63"/>
                    </a:lnTo>
                    <a:lnTo>
                      <a:pt x="1148" y="63"/>
                    </a:lnTo>
                    <a:lnTo>
                      <a:pt x="1145" y="61"/>
                    </a:lnTo>
                    <a:lnTo>
                      <a:pt x="1143" y="61"/>
                    </a:lnTo>
                    <a:lnTo>
                      <a:pt x="1145" y="61"/>
                    </a:lnTo>
                    <a:lnTo>
                      <a:pt x="1145" y="59"/>
                    </a:lnTo>
                    <a:lnTo>
                      <a:pt x="1143" y="59"/>
                    </a:lnTo>
                    <a:lnTo>
                      <a:pt x="1140" y="59"/>
                    </a:lnTo>
                    <a:lnTo>
                      <a:pt x="1140" y="61"/>
                    </a:lnTo>
                    <a:lnTo>
                      <a:pt x="1138" y="61"/>
                    </a:lnTo>
                    <a:lnTo>
                      <a:pt x="1129" y="61"/>
                    </a:lnTo>
                    <a:lnTo>
                      <a:pt x="1129" y="61"/>
                    </a:lnTo>
                    <a:lnTo>
                      <a:pt x="1126" y="61"/>
                    </a:lnTo>
                    <a:lnTo>
                      <a:pt x="1126" y="61"/>
                    </a:lnTo>
                    <a:lnTo>
                      <a:pt x="1126" y="63"/>
                    </a:lnTo>
                    <a:lnTo>
                      <a:pt x="1126" y="63"/>
                    </a:lnTo>
                    <a:lnTo>
                      <a:pt x="1129" y="66"/>
                    </a:lnTo>
                    <a:lnTo>
                      <a:pt x="1133" y="66"/>
                    </a:lnTo>
                    <a:lnTo>
                      <a:pt x="1136" y="66"/>
                    </a:lnTo>
                    <a:lnTo>
                      <a:pt x="1140" y="63"/>
                    </a:lnTo>
                    <a:lnTo>
                      <a:pt x="1140" y="63"/>
                    </a:lnTo>
                    <a:lnTo>
                      <a:pt x="1143" y="66"/>
                    </a:lnTo>
                    <a:lnTo>
                      <a:pt x="1143" y="66"/>
                    </a:lnTo>
                    <a:lnTo>
                      <a:pt x="1138" y="66"/>
                    </a:lnTo>
                    <a:lnTo>
                      <a:pt x="1133" y="68"/>
                    </a:lnTo>
                    <a:lnTo>
                      <a:pt x="1131" y="71"/>
                    </a:lnTo>
                    <a:lnTo>
                      <a:pt x="1126" y="68"/>
                    </a:lnTo>
                    <a:lnTo>
                      <a:pt x="1126" y="71"/>
                    </a:lnTo>
                    <a:lnTo>
                      <a:pt x="1126" y="71"/>
                    </a:lnTo>
                    <a:lnTo>
                      <a:pt x="1119" y="71"/>
                    </a:lnTo>
                    <a:lnTo>
                      <a:pt x="1117" y="73"/>
                    </a:lnTo>
                    <a:lnTo>
                      <a:pt x="1117" y="73"/>
                    </a:lnTo>
                    <a:lnTo>
                      <a:pt x="1114" y="73"/>
                    </a:lnTo>
                    <a:lnTo>
                      <a:pt x="1114" y="73"/>
                    </a:lnTo>
                    <a:lnTo>
                      <a:pt x="1112" y="75"/>
                    </a:lnTo>
                    <a:lnTo>
                      <a:pt x="1107" y="75"/>
                    </a:lnTo>
                    <a:lnTo>
                      <a:pt x="1103" y="73"/>
                    </a:lnTo>
                    <a:lnTo>
                      <a:pt x="1096" y="75"/>
                    </a:lnTo>
                    <a:lnTo>
                      <a:pt x="1093" y="75"/>
                    </a:lnTo>
                    <a:lnTo>
                      <a:pt x="1093" y="75"/>
                    </a:lnTo>
                    <a:lnTo>
                      <a:pt x="1093" y="78"/>
                    </a:lnTo>
                    <a:lnTo>
                      <a:pt x="1093" y="78"/>
                    </a:lnTo>
                    <a:lnTo>
                      <a:pt x="1091" y="80"/>
                    </a:lnTo>
                    <a:lnTo>
                      <a:pt x="1088" y="80"/>
                    </a:lnTo>
                    <a:lnTo>
                      <a:pt x="1084" y="80"/>
                    </a:lnTo>
                    <a:lnTo>
                      <a:pt x="1086" y="80"/>
                    </a:lnTo>
                    <a:lnTo>
                      <a:pt x="1088" y="78"/>
                    </a:lnTo>
                    <a:lnTo>
                      <a:pt x="1088" y="73"/>
                    </a:lnTo>
                    <a:lnTo>
                      <a:pt x="1096" y="71"/>
                    </a:lnTo>
                    <a:lnTo>
                      <a:pt x="1096" y="71"/>
                    </a:lnTo>
                    <a:lnTo>
                      <a:pt x="1098" y="68"/>
                    </a:lnTo>
                    <a:lnTo>
                      <a:pt x="1098" y="66"/>
                    </a:lnTo>
                    <a:lnTo>
                      <a:pt x="1105" y="66"/>
                    </a:lnTo>
                    <a:lnTo>
                      <a:pt x="1110" y="66"/>
                    </a:lnTo>
                    <a:lnTo>
                      <a:pt x="1114" y="59"/>
                    </a:lnTo>
                    <a:lnTo>
                      <a:pt x="1119" y="59"/>
                    </a:lnTo>
                    <a:lnTo>
                      <a:pt x="1122" y="56"/>
                    </a:lnTo>
                    <a:lnTo>
                      <a:pt x="1122" y="56"/>
                    </a:lnTo>
                    <a:lnTo>
                      <a:pt x="1122" y="56"/>
                    </a:lnTo>
                    <a:lnTo>
                      <a:pt x="1119" y="56"/>
                    </a:lnTo>
                    <a:lnTo>
                      <a:pt x="1119" y="54"/>
                    </a:lnTo>
                    <a:lnTo>
                      <a:pt x="1122" y="54"/>
                    </a:lnTo>
                    <a:lnTo>
                      <a:pt x="1124" y="52"/>
                    </a:lnTo>
                    <a:lnTo>
                      <a:pt x="1129" y="52"/>
                    </a:lnTo>
                    <a:lnTo>
                      <a:pt x="1131" y="49"/>
                    </a:lnTo>
                    <a:lnTo>
                      <a:pt x="1136" y="47"/>
                    </a:lnTo>
                    <a:lnTo>
                      <a:pt x="1138" y="47"/>
                    </a:lnTo>
                    <a:lnTo>
                      <a:pt x="1145" y="45"/>
                    </a:lnTo>
                    <a:lnTo>
                      <a:pt x="1148" y="40"/>
                    </a:lnTo>
                    <a:lnTo>
                      <a:pt x="1148" y="35"/>
                    </a:lnTo>
                    <a:lnTo>
                      <a:pt x="1143" y="35"/>
                    </a:lnTo>
                    <a:lnTo>
                      <a:pt x="1140" y="35"/>
                    </a:lnTo>
                    <a:lnTo>
                      <a:pt x="1138" y="33"/>
                    </a:lnTo>
                    <a:lnTo>
                      <a:pt x="1136" y="33"/>
                    </a:lnTo>
                    <a:lnTo>
                      <a:pt x="1136" y="35"/>
                    </a:lnTo>
                    <a:lnTo>
                      <a:pt x="1129" y="30"/>
                    </a:lnTo>
                    <a:lnTo>
                      <a:pt x="1124" y="30"/>
                    </a:lnTo>
                    <a:lnTo>
                      <a:pt x="1124" y="30"/>
                    </a:lnTo>
                    <a:lnTo>
                      <a:pt x="1124" y="30"/>
                    </a:lnTo>
                    <a:lnTo>
                      <a:pt x="1126" y="30"/>
                    </a:lnTo>
                    <a:lnTo>
                      <a:pt x="1133" y="33"/>
                    </a:lnTo>
                    <a:lnTo>
                      <a:pt x="1138" y="33"/>
                    </a:lnTo>
                    <a:lnTo>
                      <a:pt x="1140" y="33"/>
                    </a:lnTo>
                    <a:lnTo>
                      <a:pt x="1140" y="33"/>
                    </a:lnTo>
                    <a:lnTo>
                      <a:pt x="1140" y="35"/>
                    </a:lnTo>
                    <a:lnTo>
                      <a:pt x="1143" y="35"/>
                    </a:lnTo>
                    <a:lnTo>
                      <a:pt x="1143" y="33"/>
                    </a:lnTo>
                    <a:lnTo>
                      <a:pt x="1143" y="33"/>
                    </a:lnTo>
                    <a:lnTo>
                      <a:pt x="1140" y="30"/>
                    </a:lnTo>
                    <a:lnTo>
                      <a:pt x="1138" y="28"/>
                    </a:lnTo>
                    <a:lnTo>
                      <a:pt x="1136" y="28"/>
                    </a:lnTo>
                    <a:lnTo>
                      <a:pt x="1131" y="26"/>
                    </a:lnTo>
                    <a:lnTo>
                      <a:pt x="1129" y="23"/>
                    </a:lnTo>
                    <a:lnTo>
                      <a:pt x="1126" y="23"/>
                    </a:lnTo>
                    <a:lnTo>
                      <a:pt x="1124" y="23"/>
                    </a:lnTo>
                    <a:lnTo>
                      <a:pt x="1122" y="23"/>
                    </a:lnTo>
                    <a:lnTo>
                      <a:pt x="1124" y="23"/>
                    </a:lnTo>
                    <a:lnTo>
                      <a:pt x="1126" y="23"/>
                    </a:lnTo>
                    <a:lnTo>
                      <a:pt x="1126" y="26"/>
                    </a:lnTo>
                    <a:lnTo>
                      <a:pt x="1126" y="26"/>
                    </a:lnTo>
                    <a:lnTo>
                      <a:pt x="1124" y="26"/>
                    </a:lnTo>
                    <a:lnTo>
                      <a:pt x="1122" y="26"/>
                    </a:lnTo>
                    <a:lnTo>
                      <a:pt x="1122" y="26"/>
                    </a:lnTo>
                    <a:lnTo>
                      <a:pt x="1122" y="26"/>
                    </a:lnTo>
                    <a:lnTo>
                      <a:pt x="1119" y="23"/>
                    </a:lnTo>
                    <a:lnTo>
                      <a:pt x="1119" y="23"/>
                    </a:lnTo>
                    <a:lnTo>
                      <a:pt x="1114" y="21"/>
                    </a:lnTo>
                    <a:lnTo>
                      <a:pt x="1112" y="21"/>
                    </a:lnTo>
                    <a:lnTo>
                      <a:pt x="1110" y="21"/>
                    </a:lnTo>
                    <a:lnTo>
                      <a:pt x="1107" y="21"/>
                    </a:lnTo>
                    <a:lnTo>
                      <a:pt x="1107" y="21"/>
                    </a:lnTo>
                    <a:lnTo>
                      <a:pt x="1107" y="21"/>
                    </a:lnTo>
                    <a:lnTo>
                      <a:pt x="1107" y="18"/>
                    </a:lnTo>
                    <a:lnTo>
                      <a:pt x="1103" y="18"/>
                    </a:lnTo>
                    <a:lnTo>
                      <a:pt x="1100" y="18"/>
                    </a:lnTo>
                    <a:lnTo>
                      <a:pt x="1098" y="16"/>
                    </a:lnTo>
                    <a:lnTo>
                      <a:pt x="1093" y="16"/>
                    </a:lnTo>
                    <a:lnTo>
                      <a:pt x="1091" y="16"/>
                    </a:lnTo>
                    <a:lnTo>
                      <a:pt x="1081" y="16"/>
                    </a:lnTo>
                    <a:lnTo>
                      <a:pt x="1077" y="16"/>
                    </a:lnTo>
                    <a:lnTo>
                      <a:pt x="1067" y="16"/>
                    </a:lnTo>
                    <a:lnTo>
                      <a:pt x="1060" y="16"/>
                    </a:lnTo>
                    <a:lnTo>
                      <a:pt x="1055" y="16"/>
                    </a:lnTo>
                    <a:lnTo>
                      <a:pt x="1053" y="16"/>
                    </a:lnTo>
                    <a:lnTo>
                      <a:pt x="1053" y="16"/>
                    </a:lnTo>
                    <a:lnTo>
                      <a:pt x="1053" y="16"/>
                    </a:lnTo>
                    <a:lnTo>
                      <a:pt x="1053" y="18"/>
                    </a:lnTo>
                    <a:lnTo>
                      <a:pt x="1053" y="18"/>
                    </a:lnTo>
                    <a:lnTo>
                      <a:pt x="1051" y="18"/>
                    </a:lnTo>
                    <a:lnTo>
                      <a:pt x="1046" y="18"/>
                    </a:lnTo>
                    <a:lnTo>
                      <a:pt x="1041" y="18"/>
                    </a:lnTo>
                    <a:lnTo>
                      <a:pt x="1039" y="18"/>
                    </a:lnTo>
                    <a:lnTo>
                      <a:pt x="1036" y="18"/>
                    </a:lnTo>
                    <a:lnTo>
                      <a:pt x="1034" y="18"/>
                    </a:lnTo>
                    <a:lnTo>
                      <a:pt x="1036" y="18"/>
                    </a:lnTo>
                    <a:lnTo>
                      <a:pt x="1039" y="18"/>
                    </a:lnTo>
                    <a:lnTo>
                      <a:pt x="1039" y="16"/>
                    </a:lnTo>
                    <a:lnTo>
                      <a:pt x="1041" y="14"/>
                    </a:lnTo>
                    <a:lnTo>
                      <a:pt x="1041" y="11"/>
                    </a:lnTo>
                    <a:lnTo>
                      <a:pt x="1039" y="11"/>
                    </a:lnTo>
                    <a:lnTo>
                      <a:pt x="1034" y="11"/>
                    </a:lnTo>
                    <a:lnTo>
                      <a:pt x="1032" y="11"/>
                    </a:lnTo>
                    <a:lnTo>
                      <a:pt x="1032" y="11"/>
                    </a:lnTo>
                    <a:lnTo>
                      <a:pt x="1025" y="11"/>
                    </a:lnTo>
                    <a:lnTo>
                      <a:pt x="1022" y="11"/>
                    </a:lnTo>
                    <a:lnTo>
                      <a:pt x="1020" y="11"/>
                    </a:lnTo>
                    <a:lnTo>
                      <a:pt x="1017" y="11"/>
                    </a:lnTo>
                    <a:lnTo>
                      <a:pt x="1015" y="9"/>
                    </a:lnTo>
                    <a:lnTo>
                      <a:pt x="1013" y="9"/>
                    </a:lnTo>
                    <a:lnTo>
                      <a:pt x="999" y="9"/>
                    </a:lnTo>
                    <a:lnTo>
                      <a:pt x="999" y="9"/>
                    </a:lnTo>
                    <a:lnTo>
                      <a:pt x="1006" y="9"/>
                    </a:lnTo>
                    <a:lnTo>
                      <a:pt x="1010" y="7"/>
                    </a:lnTo>
                    <a:lnTo>
                      <a:pt x="1013" y="7"/>
                    </a:lnTo>
                    <a:lnTo>
                      <a:pt x="1015" y="4"/>
                    </a:lnTo>
                    <a:lnTo>
                      <a:pt x="1013" y="4"/>
                    </a:lnTo>
                    <a:lnTo>
                      <a:pt x="1013" y="4"/>
                    </a:lnTo>
                    <a:lnTo>
                      <a:pt x="1008" y="2"/>
                    </a:lnTo>
                    <a:lnTo>
                      <a:pt x="1003" y="2"/>
                    </a:lnTo>
                    <a:lnTo>
                      <a:pt x="999" y="2"/>
                    </a:lnTo>
                    <a:lnTo>
                      <a:pt x="996" y="2"/>
                    </a:lnTo>
                    <a:lnTo>
                      <a:pt x="987" y="0"/>
                    </a:lnTo>
                    <a:lnTo>
                      <a:pt x="984" y="0"/>
                    </a:lnTo>
                    <a:lnTo>
                      <a:pt x="982" y="2"/>
                    </a:lnTo>
                    <a:lnTo>
                      <a:pt x="977" y="2"/>
                    </a:lnTo>
                    <a:lnTo>
                      <a:pt x="975" y="2"/>
                    </a:lnTo>
                    <a:lnTo>
                      <a:pt x="972" y="2"/>
                    </a:lnTo>
                    <a:lnTo>
                      <a:pt x="963" y="9"/>
                    </a:lnTo>
                    <a:lnTo>
                      <a:pt x="963" y="9"/>
                    </a:lnTo>
                    <a:lnTo>
                      <a:pt x="963" y="11"/>
                    </a:lnTo>
                    <a:lnTo>
                      <a:pt x="961" y="11"/>
                    </a:lnTo>
                    <a:lnTo>
                      <a:pt x="961" y="14"/>
                    </a:lnTo>
                    <a:lnTo>
                      <a:pt x="963" y="14"/>
                    </a:lnTo>
                    <a:lnTo>
                      <a:pt x="965" y="14"/>
                    </a:lnTo>
                    <a:lnTo>
                      <a:pt x="968" y="16"/>
                    </a:lnTo>
                    <a:lnTo>
                      <a:pt x="968" y="16"/>
                    </a:lnTo>
                    <a:lnTo>
                      <a:pt x="968" y="18"/>
                    </a:lnTo>
                    <a:lnTo>
                      <a:pt x="970" y="18"/>
                    </a:lnTo>
                    <a:lnTo>
                      <a:pt x="972" y="18"/>
                    </a:lnTo>
                    <a:lnTo>
                      <a:pt x="980" y="18"/>
                    </a:lnTo>
                    <a:lnTo>
                      <a:pt x="977" y="21"/>
                    </a:lnTo>
                    <a:lnTo>
                      <a:pt x="975" y="18"/>
                    </a:lnTo>
                    <a:lnTo>
                      <a:pt x="970" y="18"/>
                    </a:lnTo>
                    <a:lnTo>
                      <a:pt x="968" y="18"/>
                    </a:lnTo>
                    <a:lnTo>
                      <a:pt x="963" y="18"/>
                    </a:lnTo>
                    <a:lnTo>
                      <a:pt x="956" y="18"/>
                    </a:lnTo>
                    <a:lnTo>
                      <a:pt x="954" y="18"/>
                    </a:lnTo>
                    <a:lnTo>
                      <a:pt x="944" y="18"/>
                    </a:lnTo>
                    <a:lnTo>
                      <a:pt x="944" y="18"/>
                    </a:lnTo>
                    <a:lnTo>
                      <a:pt x="946" y="21"/>
                    </a:lnTo>
                    <a:lnTo>
                      <a:pt x="949" y="21"/>
                    </a:lnTo>
                    <a:lnTo>
                      <a:pt x="956" y="23"/>
                    </a:lnTo>
                    <a:lnTo>
                      <a:pt x="958" y="23"/>
                    </a:lnTo>
                    <a:lnTo>
                      <a:pt x="961" y="26"/>
                    </a:lnTo>
                    <a:lnTo>
                      <a:pt x="965" y="28"/>
                    </a:lnTo>
                    <a:lnTo>
                      <a:pt x="965" y="30"/>
                    </a:lnTo>
                    <a:lnTo>
                      <a:pt x="965" y="30"/>
                    </a:lnTo>
                    <a:lnTo>
                      <a:pt x="963" y="30"/>
                    </a:lnTo>
                    <a:lnTo>
                      <a:pt x="963" y="30"/>
                    </a:lnTo>
                    <a:lnTo>
                      <a:pt x="963" y="30"/>
                    </a:lnTo>
                    <a:lnTo>
                      <a:pt x="963" y="28"/>
                    </a:lnTo>
                    <a:lnTo>
                      <a:pt x="963" y="26"/>
                    </a:lnTo>
                    <a:lnTo>
                      <a:pt x="961" y="26"/>
                    </a:lnTo>
                    <a:lnTo>
                      <a:pt x="961" y="26"/>
                    </a:lnTo>
                    <a:lnTo>
                      <a:pt x="958" y="26"/>
                    </a:lnTo>
                    <a:lnTo>
                      <a:pt x="954" y="23"/>
                    </a:lnTo>
                    <a:lnTo>
                      <a:pt x="951" y="23"/>
                    </a:lnTo>
                    <a:lnTo>
                      <a:pt x="946" y="23"/>
                    </a:lnTo>
                    <a:lnTo>
                      <a:pt x="946" y="23"/>
                    </a:lnTo>
                    <a:lnTo>
                      <a:pt x="942" y="23"/>
                    </a:lnTo>
                    <a:lnTo>
                      <a:pt x="942" y="26"/>
                    </a:lnTo>
                    <a:lnTo>
                      <a:pt x="939" y="26"/>
                    </a:lnTo>
                    <a:lnTo>
                      <a:pt x="939" y="26"/>
                    </a:lnTo>
                    <a:lnTo>
                      <a:pt x="937" y="26"/>
                    </a:lnTo>
                    <a:lnTo>
                      <a:pt x="937" y="26"/>
                    </a:lnTo>
                    <a:lnTo>
                      <a:pt x="935" y="28"/>
                    </a:lnTo>
                    <a:lnTo>
                      <a:pt x="932" y="26"/>
                    </a:lnTo>
                    <a:lnTo>
                      <a:pt x="932" y="28"/>
                    </a:lnTo>
                    <a:lnTo>
                      <a:pt x="928" y="28"/>
                    </a:lnTo>
                    <a:lnTo>
                      <a:pt x="925" y="28"/>
                    </a:lnTo>
                    <a:lnTo>
                      <a:pt x="925" y="28"/>
                    </a:lnTo>
                    <a:lnTo>
                      <a:pt x="925" y="28"/>
                    </a:lnTo>
                    <a:lnTo>
                      <a:pt x="923" y="28"/>
                    </a:lnTo>
                    <a:lnTo>
                      <a:pt x="918" y="28"/>
                    </a:lnTo>
                    <a:lnTo>
                      <a:pt x="916" y="30"/>
                    </a:lnTo>
                    <a:lnTo>
                      <a:pt x="913" y="28"/>
                    </a:lnTo>
                    <a:lnTo>
                      <a:pt x="916" y="28"/>
                    </a:lnTo>
                    <a:lnTo>
                      <a:pt x="916" y="26"/>
                    </a:lnTo>
                    <a:lnTo>
                      <a:pt x="913" y="26"/>
                    </a:lnTo>
                    <a:lnTo>
                      <a:pt x="909" y="26"/>
                    </a:lnTo>
                    <a:lnTo>
                      <a:pt x="906" y="26"/>
                    </a:lnTo>
                    <a:lnTo>
                      <a:pt x="904" y="26"/>
                    </a:lnTo>
                    <a:lnTo>
                      <a:pt x="897" y="26"/>
                    </a:lnTo>
                    <a:lnTo>
                      <a:pt x="897" y="26"/>
                    </a:lnTo>
                    <a:lnTo>
                      <a:pt x="894" y="26"/>
                    </a:lnTo>
                    <a:lnTo>
                      <a:pt x="892" y="26"/>
                    </a:lnTo>
                    <a:lnTo>
                      <a:pt x="887" y="26"/>
                    </a:lnTo>
                    <a:lnTo>
                      <a:pt x="887" y="26"/>
                    </a:lnTo>
                    <a:lnTo>
                      <a:pt x="883" y="26"/>
                    </a:lnTo>
                    <a:lnTo>
                      <a:pt x="880" y="26"/>
                    </a:lnTo>
                    <a:lnTo>
                      <a:pt x="880" y="28"/>
                    </a:lnTo>
                    <a:lnTo>
                      <a:pt x="878" y="26"/>
                    </a:lnTo>
                    <a:lnTo>
                      <a:pt x="878" y="28"/>
                    </a:lnTo>
                    <a:lnTo>
                      <a:pt x="880" y="28"/>
                    </a:lnTo>
                    <a:lnTo>
                      <a:pt x="880" y="28"/>
                    </a:lnTo>
                    <a:lnTo>
                      <a:pt x="883" y="28"/>
                    </a:lnTo>
                    <a:lnTo>
                      <a:pt x="883" y="28"/>
                    </a:lnTo>
                    <a:lnTo>
                      <a:pt x="883" y="28"/>
                    </a:lnTo>
                    <a:lnTo>
                      <a:pt x="885" y="28"/>
                    </a:lnTo>
                    <a:lnTo>
                      <a:pt x="887" y="28"/>
                    </a:lnTo>
                    <a:lnTo>
                      <a:pt x="887" y="28"/>
                    </a:lnTo>
                    <a:lnTo>
                      <a:pt x="890" y="28"/>
                    </a:lnTo>
                    <a:lnTo>
                      <a:pt x="894" y="28"/>
                    </a:lnTo>
                    <a:lnTo>
                      <a:pt x="894" y="28"/>
                    </a:lnTo>
                    <a:lnTo>
                      <a:pt x="890" y="30"/>
                    </a:lnTo>
                    <a:lnTo>
                      <a:pt x="878" y="30"/>
                    </a:lnTo>
                    <a:lnTo>
                      <a:pt x="876" y="30"/>
                    </a:lnTo>
                    <a:lnTo>
                      <a:pt x="868" y="33"/>
                    </a:lnTo>
                    <a:lnTo>
                      <a:pt x="866" y="33"/>
                    </a:lnTo>
                    <a:lnTo>
                      <a:pt x="861" y="33"/>
                    </a:lnTo>
                    <a:lnTo>
                      <a:pt x="852" y="35"/>
                    </a:lnTo>
                    <a:lnTo>
                      <a:pt x="845" y="35"/>
                    </a:lnTo>
                    <a:lnTo>
                      <a:pt x="842" y="35"/>
                    </a:lnTo>
                    <a:lnTo>
                      <a:pt x="835" y="37"/>
                    </a:lnTo>
                    <a:lnTo>
                      <a:pt x="835" y="40"/>
                    </a:lnTo>
                    <a:lnTo>
                      <a:pt x="826" y="42"/>
                    </a:lnTo>
                    <a:lnTo>
                      <a:pt x="819" y="40"/>
                    </a:lnTo>
                    <a:lnTo>
                      <a:pt x="816" y="40"/>
                    </a:lnTo>
                    <a:lnTo>
                      <a:pt x="816" y="42"/>
                    </a:lnTo>
                    <a:lnTo>
                      <a:pt x="819" y="42"/>
                    </a:lnTo>
                    <a:lnTo>
                      <a:pt x="821" y="42"/>
                    </a:lnTo>
                    <a:lnTo>
                      <a:pt x="823" y="42"/>
                    </a:lnTo>
                    <a:lnTo>
                      <a:pt x="826" y="45"/>
                    </a:lnTo>
                    <a:lnTo>
                      <a:pt x="826" y="45"/>
                    </a:lnTo>
                    <a:lnTo>
                      <a:pt x="823" y="47"/>
                    </a:lnTo>
                    <a:lnTo>
                      <a:pt x="821" y="49"/>
                    </a:lnTo>
                    <a:lnTo>
                      <a:pt x="819" y="49"/>
                    </a:lnTo>
                    <a:lnTo>
                      <a:pt x="812" y="47"/>
                    </a:lnTo>
                    <a:lnTo>
                      <a:pt x="812" y="47"/>
                    </a:lnTo>
                    <a:lnTo>
                      <a:pt x="812" y="49"/>
                    </a:lnTo>
                    <a:lnTo>
                      <a:pt x="809" y="47"/>
                    </a:lnTo>
                    <a:lnTo>
                      <a:pt x="809" y="49"/>
                    </a:lnTo>
                    <a:lnTo>
                      <a:pt x="814" y="49"/>
                    </a:lnTo>
                    <a:lnTo>
                      <a:pt x="819" y="52"/>
                    </a:lnTo>
                    <a:lnTo>
                      <a:pt x="823" y="52"/>
                    </a:lnTo>
                    <a:lnTo>
                      <a:pt x="826" y="52"/>
                    </a:lnTo>
                    <a:lnTo>
                      <a:pt x="828" y="54"/>
                    </a:lnTo>
                    <a:lnTo>
                      <a:pt x="831" y="54"/>
                    </a:lnTo>
                    <a:lnTo>
                      <a:pt x="828" y="54"/>
                    </a:lnTo>
                    <a:lnTo>
                      <a:pt x="823" y="54"/>
                    </a:lnTo>
                    <a:lnTo>
                      <a:pt x="821" y="54"/>
                    </a:lnTo>
                    <a:lnTo>
                      <a:pt x="819" y="52"/>
                    </a:lnTo>
                    <a:lnTo>
                      <a:pt x="816" y="54"/>
                    </a:lnTo>
                    <a:lnTo>
                      <a:pt x="816" y="54"/>
                    </a:lnTo>
                    <a:lnTo>
                      <a:pt x="819" y="56"/>
                    </a:lnTo>
                    <a:lnTo>
                      <a:pt x="823" y="56"/>
                    </a:lnTo>
                    <a:lnTo>
                      <a:pt x="826" y="56"/>
                    </a:lnTo>
                    <a:lnTo>
                      <a:pt x="838" y="63"/>
                    </a:lnTo>
                    <a:lnTo>
                      <a:pt x="840" y="63"/>
                    </a:lnTo>
                    <a:lnTo>
                      <a:pt x="842" y="63"/>
                    </a:lnTo>
                    <a:lnTo>
                      <a:pt x="842" y="63"/>
                    </a:lnTo>
                    <a:lnTo>
                      <a:pt x="842" y="63"/>
                    </a:lnTo>
                    <a:lnTo>
                      <a:pt x="840" y="66"/>
                    </a:lnTo>
                    <a:lnTo>
                      <a:pt x="840" y="66"/>
                    </a:lnTo>
                    <a:lnTo>
                      <a:pt x="831" y="68"/>
                    </a:lnTo>
                    <a:lnTo>
                      <a:pt x="828" y="68"/>
                    </a:lnTo>
                    <a:lnTo>
                      <a:pt x="828" y="68"/>
                    </a:lnTo>
                    <a:lnTo>
                      <a:pt x="828" y="68"/>
                    </a:lnTo>
                    <a:lnTo>
                      <a:pt x="826" y="71"/>
                    </a:lnTo>
                    <a:lnTo>
                      <a:pt x="828" y="71"/>
                    </a:lnTo>
                    <a:lnTo>
                      <a:pt x="828" y="71"/>
                    </a:lnTo>
                    <a:lnTo>
                      <a:pt x="831" y="73"/>
                    </a:lnTo>
                    <a:lnTo>
                      <a:pt x="840" y="75"/>
                    </a:lnTo>
                    <a:lnTo>
                      <a:pt x="840" y="75"/>
                    </a:lnTo>
                    <a:lnTo>
                      <a:pt x="838" y="75"/>
                    </a:lnTo>
                    <a:lnTo>
                      <a:pt x="835" y="73"/>
                    </a:lnTo>
                    <a:lnTo>
                      <a:pt x="831" y="73"/>
                    </a:lnTo>
                    <a:lnTo>
                      <a:pt x="828" y="71"/>
                    </a:lnTo>
                    <a:lnTo>
                      <a:pt x="826" y="71"/>
                    </a:lnTo>
                    <a:lnTo>
                      <a:pt x="826" y="71"/>
                    </a:lnTo>
                    <a:lnTo>
                      <a:pt x="826" y="68"/>
                    </a:lnTo>
                    <a:lnTo>
                      <a:pt x="826" y="68"/>
                    </a:lnTo>
                    <a:lnTo>
                      <a:pt x="828" y="68"/>
                    </a:lnTo>
                    <a:lnTo>
                      <a:pt x="831" y="66"/>
                    </a:lnTo>
                    <a:lnTo>
                      <a:pt x="833" y="66"/>
                    </a:lnTo>
                    <a:lnTo>
                      <a:pt x="835" y="63"/>
                    </a:lnTo>
                    <a:lnTo>
                      <a:pt x="835" y="63"/>
                    </a:lnTo>
                    <a:lnTo>
                      <a:pt x="833" y="61"/>
                    </a:lnTo>
                    <a:lnTo>
                      <a:pt x="831" y="61"/>
                    </a:lnTo>
                    <a:lnTo>
                      <a:pt x="821" y="63"/>
                    </a:lnTo>
                    <a:lnTo>
                      <a:pt x="819" y="63"/>
                    </a:lnTo>
                    <a:lnTo>
                      <a:pt x="816" y="66"/>
                    </a:lnTo>
                    <a:lnTo>
                      <a:pt x="814" y="66"/>
                    </a:lnTo>
                    <a:lnTo>
                      <a:pt x="812" y="66"/>
                    </a:lnTo>
                    <a:lnTo>
                      <a:pt x="807" y="63"/>
                    </a:lnTo>
                    <a:lnTo>
                      <a:pt x="805" y="66"/>
                    </a:lnTo>
                    <a:lnTo>
                      <a:pt x="795" y="66"/>
                    </a:lnTo>
                    <a:lnTo>
                      <a:pt x="793" y="66"/>
                    </a:lnTo>
                    <a:lnTo>
                      <a:pt x="771" y="66"/>
                    </a:lnTo>
                    <a:lnTo>
                      <a:pt x="767" y="66"/>
                    </a:lnTo>
                    <a:lnTo>
                      <a:pt x="757" y="68"/>
                    </a:lnTo>
                    <a:lnTo>
                      <a:pt x="757" y="68"/>
                    </a:lnTo>
                    <a:lnTo>
                      <a:pt x="757" y="68"/>
                    </a:lnTo>
                    <a:lnTo>
                      <a:pt x="757" y="71"/>
                    </a:lnTo>
                    <a:lnTo>
                      <a:pt x="757" y="71"/>
                    </a:lnTo>
                    <a:lnTo>
                      <a:pt x="757" y="73"/>
                    </a:lnTo>
                    <a:lnTo>
                      <a:pt x="760" y="73"/>
                    </a:lnTo>
                    <a:lnTo>
                      <a:pt x="760" y="75"/>
                    </a:lnTo>
                    <a:lnTo>
                      <a:pt x="762" y="75"/>
                    </a:lnTo>
                    <a:lnTo>
                      <a:pt x="764" y="75"/>
                    </a:lnTo>
                    <a:lnTo>
                      <a:pt x="767" y="78"/>
                    </a:lnTo>
                    <a:lnTo>
                      <a:pt x="767" y="78"/>
                    </a:lnTo>
                    <a:lnTo>
                      <a:pt x="767" y="80"/>
                    </a:lnTo>
                    <a:lnTo>
                      <a:pt x="767" y="80"/>
                    </a:lnTo>
                    <a:lnTo>
                      <a:pt x="769" y="82"/>
                    </a:lnTo>
                    <a:lnTo>
                      <a:pt x="769" y="82"/>
                    </a:lnTo>
                    <a:lnTo>
                      <a:pt x="771" y="85"/>
                    </a:lnTo>
                    <a:lnTo>
                      <a:pt x="774" y="85"/>
                    </a:lnTo>
                    <a:lnTo>
                      <a:pt x="779" y="87"/>
                    </a:lnTo>
                    <a:lnTo>
                      <a:pt x="781" y="87"/>
                    </a:lnTo>
                    <a:lnTo>
                      <a:pt x="783" y="87"/>
                    </a:lnTo>
                    <a:lnTo>
                      <a:pt x="788" y="90"/>
                    </a:lnTo>
                    <a:lnTo>
                      <a:pt x="793" y="90"/>
                    </a:lnTo>
                    <a:lnTo>
                      <a:pt x="793" y="90"/>
                    </a:lnTo>
                    <a:lnTo>
                      <a:pt x="795" y="90"/>
                    </a:lnTo>
                    <a:lnTo>
                      <a:pt x="797" y="92"/>
                    </a:lnTo>
                    <a:lnTo>
                      <a:pt x="797" y="92"/>
                    </a:lnTo>
                    <a:lnTo>
                      <a:pt x="802" y="97"/>
                    </a:lnTo>
                    <a:lnTo>
                      <a:pt x="805" y="97"/>
                    </a:lnTo>
                    <a:lnTo>
                      <a:pt x="812" y="97"/>
                    </a:lnTo>
                    <a:lnTo>
                      <a:pt x="814" y="97"/>
                    </a:lnTo>
                    <a:lnTo>
                      <a:pt x="819" y="99"/>
                    </a:lnTo>
                    <a:lnTo>
                      <a:pt x="819" y="101"/>
                    </a:lnTo>
                    <a:lnTo>
                      <a:pt x="819" y="101"/>
                    </a:lnTo>
                    <a:lnTo>
                      <a:pt x="819" y="101"/>
                    </a:lnTo>
                    <a:lnTo>
                      <a:pt x="819" y="104"/>
                    </a:lnTo>
                    <a:lnTo>
                      <a:pt x="819" y="104"/>
                    </a:lnTo>
                    <a:lnTo>
                      <a:pt x="819" y="106"/>
                    </a:lnTo>
                    <a:lnTo>
                      <a:pt x="819" y="111"/>
                    </a:lnTo>
                    <a:lnTo>
                      <a:pt x="823" y="111"/>
                    </a:lnTo>
                    <a:lnTo>
                      <a:pt x="828" y="116"/>
                    </a:lnTo>
                    <a:lnTo>
                      <a:pt x="831" y="118"/>
                    </a:lnTo>
                    <a:lnTo>
                      <a:pt x="833" y="120"/>
                    </a:lnTo>
                    <a:lnTo>
                      <a:pt x="835" y="120"/>
                    </a:lnTo>
                    <a:lnTo>
                      <a:pt x="835" y="123"/>
                    </a:lnTo>
                    <a:lnTo>
                      <a:pt x="833" y="123"/>
                    </a:lnTo>
                    <a:lnTo>
                      <a:pt x="831" y="123"/>
                    </a:lnTo>
                    <a:lnTo>
                      <a:pt x="828" y="125"/>
                    </a:lnTo>
                    <a:lnTo>
                      <a:pt x="828" y="125"/>
                    </a:lnTo>
                    <a:lnTo>
                      <a:pt x="831" y="127"/>
                    </a:lnTo>
                    <a:lnTo>
                      <a:pt x="831" y="127"/>
                    </a:lnTo>
                    <a:lnTo>
                      <a:pt x="831" y="127"/>
                    </a:lnTo>
                    <a:lnTo>
                      <a:pt x="828" y="127"/>
                    </a:lnTo>
                    <a:lnTo>
                      <a:pt x="828" y="127"/>
                    </a:lnTo>
                    <a:lnTo>
                      <a:pt x="826" y="127"/>
                    </a:lnTo>
                    <a:lnTo>
                      <a:pt x="823" y="125"/>
                    </a:lnTo>
                    <a:lnTo>
                      <a:pt x="823" y="125"/>
                    </a:lnTo>
                    <a:lnTo>
                      <a:pt x="823" y="123"/>
                    </a:lnTo>
                    <a:lnTo>
                      <a:pt x="823" y="118"/>
                    </a:lnTo>
                    <a:lnTo>
                      <a:pt x="823" y="118"/>
                    </a:lnTo>
                    <a:lnTo>
                      <a:pt x="821" y="116"/>
                    </a:lnTo>
                    <a:lnTo>
                      <a:pt x="821" y="113"/>
                    </a:lnTo>
                    <a:lnTo>
                      <a:pt x="816" y="113"/>
                    </a:lnTo>
                    <a:lnTo>
                      <a:pt x="816" y="113"/>
                    </a:lnTo>
                    <a:lnTo>
                      <a:pt x="814" y="113"/>
                    </a:lnTo>
                    <a:lnTo>
                      <a:pt x="814" y="118"/>
                    </a:lnTo>
                    <a:lnTo>
                      <a:pt x="814" y="120"/>
                    </a:lnTo>
                    <a:lnTo>
                      <a:pt x="814" y="120"/>
                    </a:lnTo>
                    <a:lnTo>
                      <a:pt x="814" y="120"/>
                    </a:lnTo>
                    <a:lnTo>
                      <a:pt x="816" y="123"/>
                    </a:lnTo>
                    <a:lnTo>
                      <a:pt x="814" y="120"/>
                    </a:lnTo>
                    <a:lnTo>
                      <a:pt x="812" y="118"/>
                    </a:lnTo>
                    <a:lnTo>
                      <a:pt x="812" y="116"/>
                    </a:lnTo>
                    <a:lnTo>
                      <a:pt x="812" y="116"/>
                    </a:lnTo>
                    <a:lnTo>
                      <a:pt x="812" y="113"/>
                    </a:lnTo>
                    <a:lnTo>
                      <a:pt x="809" y="111"/>
                    </a:lnTo>
                    <a:lnTo>
                      <a:pt x="809" y="111"/>
                    </a:lnTo>
                    <a:lnTo>
                      <a:pt x="809" y="111"/>
                    </a:lnTo>
                    <a:lnTo>
                      <a:pt x="807" y="106"/>
                    </a:lnTo>
                    <a:lnTo>
                      <a:pt x="809" y="106"/>
                    </a:lnTo>
                    <a:lnTo>
                      <a:pt x="812" y="104"/>
                    </a:lnTo>
                    <a:lnTo>
                      <a:pt x="814" y="104"/>
                    </a:lnTo>
                    <a:lnTo>
                      <a:pt x="814" y="101"/>
                    </a:lnTo>
                    <a:lnTo>
                      <a:pt x="814" y="101"/>
                    </a:lnTo>
                    <a:lnTo>
                      <a:pt x="814" y="99"/>
                    </a:lnTo>
                    <a:lnTo>
                      <a:pt x="812" y="99"/>
                    </a:lnTo>
                    <a:lnTo>
                      <a:pt x="809" y="99"/>
                    </a:lnTo>
                    <a:lnTo>
                      <a:pt x="807" y="99"/>
                    </a:lnTo>
                    <a:lnTo>
                      <a:pt x="805" y="99"/>
                    </a:lnTo>
                    <a:lnTo>
                      <a:pt x="797" y="99"/>
                    </a:lnTo>
                    <a:lnTo>
                      <a:pt x="793" y="99"/>
                    </a:lnTo>
                    <a:lnTo>
                      <a:pt x="790" y="99"/>
                    </a:lnTo>
                    <a:lnTo>
                      <a:pt x="779" y="94"/>
                    </a:lnTo>
                    <a:lnTo>
                      <a:pt x="779" y="94"/>
                    </a:lnTo>
                    <a:lnTo>
                      <a:pt x="776" y="92"/>
                    </a:lnTo>
                    <a:lnTo>
                      <a:pt x="776" y="92"/>
                    </a:lnTo>
                    <a:lnTo>
                      <a:pt x="771" y="92"/>
                    </a:lnTo>
                    <a:lnTo>
                      <a:pt x="764" y="90"/>
                    </a:lnTo>
                    <a:lnTo>
                      <a:pt x="755" y="87"/>
                    </a:lnTo>
                    <a:lnTo>
                      <a:pt x="743" y="87"/>
                    </a:lnTo>
                    <a:lnTo>
                      <a:pt x="741" y="87"/>
                    </a:lnTo>
                    <a:lnTo>
                      <a:pt x="738" y="90"/>
                    </a:lnTo>
                    <a:lnTo>
                      <a:pt x="736" y="90"/>
                    </a:lnTo>
                    <a:lnTo>
                      <a:pt x="734" y="92"/>
                    </a:lnTo>
                    <a:lnTo>
                      <a:pt x="734" y="92"/>
                    </a:lnTo>
                    <a:lnTo>
                      <a:pt x="734" y="92"/>
                    </a:lnTo>
                    <a:lnTo>
                      <a:pt x="734" y="92"/>
                    </a:lnTo>
                    <a:lnTo>
                      <a:pt x="734" y="92"/>
                    </a:lnTo>
                    <a:lnTo>
                      <a:pt x="738" y="92"/>
                    </a:lnTo>
                    <a:lnTo>
                      <a:pt x="741" y="92"/>
                    </a:lnTo>
                    <a:lnTo>
                      <a:pt x="743" y="94"/>
                    </a:lnTo>
                    <a:lnTo>
                      <a:pt x="745" y="94"/>
                    </a:lnTo>
                    <a:lnTo>
                      <a:pt x="745" y="97"/>
                    </a:lnTo>
                    <a:lnTo>
                      <a:pt x="741" y="97"/>
                    </a:lnTo>
                    <a:lnTo>
                      <a:pt x="738" y="97"/>
                    </a:lnTo>
                    <a:lnTo>
                      <a:pt x="729" y="94"/>
                    </a:lnTo>
                    <a:lnTo>
                      <a:pt x="726" y="94"/>
                    </a:lnTo>
                    <a:lnTo>
                      <a:pt x="722" y="94"/>
                    </a:lnTo>
                    <a:lnTo>
                      <a:pt x="717" y="97"/>
                    </a:lnTo>
                    <a:lnTo>
                      <a:pt x="717" y="97"/>
                    </a:lnTo>
                    <a:lnTo>
                      <a:pt x="719" y="97"/>
                    </a:lnTo>
                    <a:lnTo>
                      <a:pt x="722" y="99"/>
                    </a:lnTo>
                    <a:lnTo>
                      <a:pt x="724" y="101"/>
                    </a:lnTo>
                    <a:lnTo>
                      <a:pt x="726" y="101"/>
                    </a:lnTo>
                    <a:lnTo>
                      <a:pt x="734" y="104"/>
                    </a:lnTo>
                    <a:lnTo>
                      <a:pt x="736" y="104"/>
                    </a:lnTo>
                    <a:lnTo>
                      <a:pt x="743" y="106"/>
                    </a:lnTo>
                    <a:lnTo>
                      <a:pt x="745" y="106"/>
                    </a:lnTo>
                    <a:lnTo>
                      <a:pt x="748" y="106"/>
                    </a:lnTo>
                    <a:lnTo>
                      <a:pt x="753" y="106"/>
                    </a:lnTo>
                    <a:lnTo>
                      <a:pt x="757" y="111"/>
                    </a:lnTo>
                    <a:lnTo>
                      <a:pt x="760" y="111"/>
                    </a:lnTo>
                    <a:lnTo>
                      <a:pt x="760" y="111"/>
                    </a:lnTo>
                    <a:lnTo>
                      <a:pt x="762" y="111"/>
                    </a:lnTo>
                    <a:lnTo>
                      <a:pt x="764" y="111"/>
                    </a:lnTo>
                    <a:lnTo>
                      <a:pt x="764" y="111"/>
                    </a:lnTo>
                    <a:lnTo>
                      <a:pt x="767" y="111"/>
                    </a:lnTo>
                    <a:lnTo>
                      <a:pt x="767" y="113"/>
                    </a:lnTo>
                    <a:lnTo>
                      <a:pt x="767" y="113"/>
                    </a:lnTo>
                    <a:lnTo>
                      <a:pt x="760" y="113"/>
                    </a:lnTo>
                    <a:lnTo>
                      <a:pt x="757" y="113"/>
                    </a:lnTo>
                    <a:lnTo>
                      <a:pt x="753" y="111"/>
                    </a:lnTo>
                    <a:lnTo>
                      <a:pt x="745" y="108"/>
                    </a:lnTo>
                    <a:lnTo>
                      <a:pt x="738" y="108"/>
                    </a:lnTo>
                    <a:lnTo>
                      <a:pt x="736" y="108"/>
                    </a:lnTo>
                    <a:lnTo>
                      <a:pt x="734" y="108"/>
                    </a:lnTo>
                    <a:lnTo>
                      <a:pt x="724" y="108"/>
                    </a:lnTo>
                    <a:lnTo>
                      <a:pt x="719" y="106"/>
                    </a:lnTo>
                    <a:lnTo>
                      <a:pt x="715" y="106"/>
                    </a:lnTo>
                    <a:lnTo>
                      <a:pt x="712" y="106"/>
                    </a:lnTo>
                    <a:lnTo>
                      <a:pt x="712" y="104"/>
                    </a:lnTo>
                    <a:lnTo>
                      <a:pt x="712" y="104"/>
                    </a:lnTo>
                    <a:lnTo>
                      <a:pt x="712" y="101"/>
                    </a:lnTo>
                    <a:lnTo>
                      <a:pt x="712" y="99"/>
                    </a:lnTo>
                    <a:lnTo>
                      <a:pt x="708" y="97"/>
                    </a:lnTo>
                    <a:lnTo>
                      <a:pt x="705" y="94"/>
                    </a:lnTo>
                    <a:lnTo>
                      <a:pt x="708" y="94"/>
                    </a:lnTo>
                    <a:lnTo>
                      <a:pt x="708" y="92"/>
                    </a:lnTo>
                    <a:lnTo>
                      <a:pt x="708" y="90"/>
                    </a:lnTo>
                    <a:lnTo>
                      <a:pt x="708" y="90"/>
                    </a:lnTo>
                    <a:lnTo>
                      <a:pt x="710" y="90"/>
                    </a:lnTo>
                    <a:lnTo>
                      <a:pt x="708" y="87"/>
                    </a:lnTo>
                    <a:lnTo>
                      <a:pt x="708" y="87"/>
                    </a:lnTo>
                    <a:lnTo>
                      <a:pt x="705" y="87"/>
                    </a:lnTo>
                    <a:lnTo>
                      <a:pt x="705" y="85"/>
                    </a:lnTo>
                    <a:lnTo>
                      <a:pt x="703" y="85"/>
                    </a:lnTo>
                    <a:lnTo>
                      <a:pt x="700" y="82"/>
                    </a:lnTo>
                    <a:lnTo>
                      <a:pt x="698" y="80"/>
                    </a:lnTo>
                    <a:lnTo>
                      <a:pt x="696" y="80"/>
                    </a:lnTo>
                    <a:lnTo>
                      <a:pt x="693" y="80"/>
                    </a:lnTo>
                    <a:lnTo>
                      <a:pt x="691" y="80"/>
                    </a:lnTo>
                    <a:lnTo>
                      <a:pt x="691" y="80"/>
                    </a:lnTo>
                    <a:lnTo>
                      <a:pt x="693" y="82"/>
                    </a:lnTo>
                    <a:lnTo>
                      <a:pt x="696" y="82"/>
                    </a:lnTo>
                    <a:lnTo>
                      <a:pt x="698" y="85"/>
                    </a:lnTo>
                    <a:lnTo>
                      <a:pt x="698" y="87"/>
                    </a:lnTo>
                    <a:lnTo>
                      <a:pt x="700" y="90"/>
                    </a:lnTo>
                    <a:lnTo>
                      <a:pt x="700" y="92"/>
                    </a:lnTo>
                    <a:lnTo>
                      <a:pt x="700" y="92"/>
                    </a:lnTo>
                    <a:lnTo>
                      <a:pt x="698" y="92"/>
                    </a:lnTo>
                    <a:lnTo>
                      <a:pt x="696" y="94"/>
                    </a:lnTo>
                    <a:lnTo>
                      <a:pt x="693" y="94"/>
                    </a:lnTo>
                    <a:lnTo>
                      <a:pt x="689" y="97"/>
                    </a:lnTo>
                    <a:lnTo>
                      <a:pt x="686" y="97"/>
                    </a:lnTo>
                    <a:lnTo>
                      <a:pt x="684" y="104"/>
                    </a:lnTo>
                    <a:lnTo>
                      <a:pt x="684" y="104"/>
                    </a:lnTo>
                    <a:lnTo>
                      <a:pt x="689" y="106"/>
                    </a:lnTo>
                    <a:lnTo>
                      <a:pt x="691" y="106"/>
                    </a:lnTo>
                    <a:lnTo>
                      <a:pt x="691" y="108"/>
                    </a:lnTo>
                    <a:lnTo>
                      <a:pt x="696" y="111"/>
                    </a:lnTo>
                    <a:lnTo>
                      <a:pt x="708" y="118"/>
                    </a:lnTo>
                    <a:lnTo>
                      <a:pt x="708" y="118"/>
                    </a:lnTo>
                    <a:lnTo>
                      <a:pt x="708" y="120"/>
                    </a:lnTo>
                    <a:lnTo>
                      <a:pt x="705" y="125"/>
                    </a:lnTo>
                    <a:lnTo>
                      <a:pt x="705" y="125"/>
                    </a:lnTo>
                    <a:lnTo>
                      <a:pt x="705" y="132"/>
                    </a:lnTo>
                    <a:lnTo>
                      <a:pt x="708" y="134"/>
                    </a:lnTo>
                    <a:lnTo>
                      <a:pt x="710" y="137"/>
                    </a:lnTo>
                    <a:lnTo>
                      <a:pt x="712" y="137"/>
                    </a:lnTo>
                    <a:lnTo>
                      <a:pt x="715" y="139"/>
                    </a:lnTo>
                    <a:lnTo>
                      <a:pt x="715" y="144"/>
                    </a:lnTo>
                    <a:lnTo>
                      <a:pt x="717" y="144"/>
                    </a:lnTo>
                    <a:lnTo>
                      <a:pt x="717" y="144"/>
                    </a:lnTo>
                    <a:lnTo>
                      <a:pt x="724" y="144"/>
                    </a:lnTo>
                    <a:lnTo>
                      <a:pt x="729" y="144"/>
                    </a:lnTo>
                    <a:lnTo>
                      <a:pt x="734" y="144"/>
                    </a:lnTo>
                    <a:lnTo>
                      <a:pt x="736" y="142"/>
                    </a:lnTo>
                    <a:lnTo>
                      <a:pt x="738" y="142"/>
                    </a:lnTo>
                    <a:lnTo>
                      <a:pt x="745" y="142"/>
                    </a:lnTo>
                    <a:lnTo>
                      <a:pt x="755" y="144"/>
                    </a:lnTo>
                    <a:lnTo>
                      <a:pt x="764" y="146"/>
                    </a:lnTo>
                    <a:lnTo>
                      <a:pt x="767" y="149"/>
                    </a:lnTo>
                    <a:lnTo>
                      <a:pt x="769" y="149"/>
                    </a:lnTo>
                    <a:lnTo>
                      <a:pt x="774" y="153"/>
                    </a:lnTo>
                    <a:lnTo>
                      <a:pt x="779" y="156"/>
                    </a:lnTo>
                    <a:lnTo>
                      <a:pt x="781" y="158"/>
                    </a:lnTo>
                    <a:lnTo>
                      <a:pt x="781" y="161"/>
                    </a:lnTo>
                    <a:lnTo>
                      <a:pt x="781" y="161"/>
                    </a:lnTo>
                    <a:lnTo>
                      <a:pt x="779" y="161"/>
                    </a:lnTo>
                    <a:lnTo>
                      <a:pt x="779" y="161"/>
                    </a:lnTo>
                    <a:lnTo>
                      <a:pt x="779" y="165"/>
                    </a:lnTo>
                    <a:lnTo>
                      <a:pt x="779" y="165"/>
                    </a:lnTo>
                    <a:lnTo>
                      <a:pt x="781" y="170"/>
                    </a:lnTo>
                    <a:lnTo>
                      <a:pt x="790" y="170"/>
                    </a:lnTo>
                    <a:lnTo>
                      <a:pt x="795" y="172"/>
                    </a:lnTo>
                    <a:lnTo>
                      <a:pt x="800" y="172"/>
                    </a:lnTo>
                    <a:lnTo>
                      <a:pt x="800" y="172"/>
                    </a:lnTo>
                    <a:lnTo>
                      <a:pt x="802" y="172"/>
                    </a:lnTo>
                    <a:lnTo>
                      <a:pt x="797" y="172"/>
                    </a:lnTo>
                    <a:lnTo>
                      <a:pt x="788" y="172"/>
                    </a:lnTo>
                    <a:lnTo>
                      <a:pt x="786" y="172"/>
                    </a:lnTo>
                    <a:lnTo>
                      <a:pt x="783" y="172"/>
                    </a:lnTo>
                    <a:lnTo>
                      <a:pt x="783" y="170"/>
                    </a:lnTo>
                    <a:lnTo>
                      <a:pt x="779" y="170"/>
                    </a:lnTo>
                    <a:lnTo>
                      <a:pt x="779" y="170"/>
                    </a:lnTo>
                    <a:lnTo>
                      <a:pt x="776" y="168"/>
                    </a:lnTo>
                    <a:lnTo>
                      <a:pt x="774" y="165"/>
                    </a:lnTo>
                    <a:lnTo>
                      <a:pt x="771" y="158"/>
                    </a:lnTo>
                    <a:lnTo>
                      <a:pt x="769" y="156"/>
                    </a:lnTo>
                    <a:lnTo>
                      <a:pt x="767" y="153"/>
                    </a:lnTo>
                    <a:lnTo>
                      <a:pt x="760" y="151"/>
                    </a:lnTo>
                    <a:lnTo>
                      <a:pt x="755" y="149"/>
                    </a:lnTo>
                    <a:lnTo>
                      <a:pt x="753" y="146"/>
                    </a:lnTo>
                    <a:lnTo>
                      <a:pt x="750" y="146"/>
                    </a:lnTo>
                    <a:lnTo>
                      <a:pt x="748" y="146"/>
                    </a:lnTo>
                    <a:lnTo>
                      <a:pt x="743" y="149"/>
                    </a:lnTo>
                    <a:lnTo>
                      <a:pt x="736" y="149"/>
                    </a:lnTo>
                    <a:lnTo>
                      <a:pt x="729" y="151"/>
                    </a:lnTo>
                    <a:lnTo>
                      <a:pt x="729" y="153"/>
                    </a:lnTo>
                    <a:lnTo>
                      <a:pt x="731" y="158"/>
                    </a:lnTo>
                    <a:lnTo>
                      <a:pt x="734" y="158"/>
                    </a:lnTo>
                    <a:lnTo>
                      <a:pt x="736" y="161"/>
                    </a:lnTo>
                    <a:lnTo>
                      <a:pt x="738" y="163"/>
                    </a:lnTo>
                    <a:lnTo>
                      <a:pt x="741" y="165"/>
                    </a:lnTo>
                    <a:lnTo>
                      <a:pt x="741" y="168"/>
                    </a:lnTo>
                    <a:lnTo>
                      <a:pt x="743" y="170"/>
                    </a:lnTo>
                    <a:lnTo>
                      <a:pt x="741" y="170"/>
                    </a:lnTo>
                    <a:lnTo>
                      <a:pt x="736" y="175"/>
                    </a:lnTo>
                    <a:lnTo>
                      <a:pt x="736" y="177"/>
                    </a:lnTo>
                    <a:lnTo>
                      <a:pt x="736" y="182"/>
                    </a:lnTo>
                    <a:lnTo>
                      <a:pt x="736" y="182"/>
                    </a:lnTo>
                    <a:lnTo>
                      <a:pt x="734" y="184"/>
                    </a:lnTo>
                    <a:lnTo>
                      <a:pt x="731" y="187"/>
                    </a:lnTo>
                    <a:lnTo>
                      <a:pt x="722" y="191"/>
                    </a:lnTo>
                    <a:lnTo>
                      <a:pt x="722" y="191"/>
                    </a:lnTo>
                    <a:lnTo>
                      <a:pt x="722" y="196"/>
                    </a:lnTo>
                    <a:lnTo>
                      <a:pt x="719" y="196"/>
                    </a:lnTo>
                    <a:lnTo>
                      <a:pt x="717" y="196"/>
                    </a:lnTo>
                    <a:lnTo>
                      <a:pt x="712" y="196"/>
                    </a:lnTo>
                    <a:lnTo>
                      <a:pt x="708" y="194"/>
                    </a:lnTo>
                    <a:lnTo>
                      <a:pt x="705" y="194"/>
                    </a:lnTo>
                    <a:lnTo>
                      <a:pt x="693" y="196"/>
                    </a:lnTo>
                    <a:lnTo>
                      <a:pt x="689" y="194"/>
                    </a:lnTo>
                    <a:lnTo>
                      <a:pt x="684" y="191"/>
                    </a:lnTo>
                    <a:lnTo>
                      <a:pt x="679" y="191"/>
                    </a:lnTo>
                    <a:lnTo>
                      <a:pt x="677" y="191"/>
                    </a:lnTo>
                    <a:lnTo>
                      <a:pt x="674" y="189"/>
                    </a:lnTo>
                    <a:lnTo>
                      <a:pt x="674" y="189"/>
                    </a:lnTo>
                    <a:lnTo>
                      <a:pt x="672" y="187"/>
                    </a:lnTo>
                    <a:lnTo>
                      <a:pt x="672" y="187"/>
                    </a:lnTo>
                    <a:lnTo>
                      <a:pt x="672" y="187"/>
                    </a:lnTo>
                    <a:lnTo>
                      <a:pt x="674" y="187"/>
                    </a:lnTo>
                    <a:lnTo>
                      <a:pt x="682" y="187"/>
                    </a:lnTo>
                    <a:lnTo>
                      <a:pt x="684" y="187"/>
                    </a:lnTo>
                    <a:lnTo>
                      <a:pt x="684" y="187"/>
                    </a:lnTo>
                    <a:lnTo>
                      <a:pt x="686" y="187"/>
                    </a:lnTo>
                    <a:lnTo>
                      <a:pt x="691" y="189"/>
                    </a:lnTo>
                    <a:lnTo>
                      <a:pt x="693" y="189"/>
                    </a:lnTo>
                    <a:lnTo>
                      <a:pt x="693" y="187"/>
                    </a:lnTo>
                    <a:lnTo>
                      <a:pt x="693" y="187"/>
                    </a:lnTo>
                    <a:lnTo>
                      <a:pt x="696" y="187"/>
                    </a:lnTo>
                    <a:lnTo>
                      <a:pt x="693" y="189"/>
                    </a:lnTo>
                    <a:lnTo>
                      <a:pt x="693" y="189"/>
                    </a:lnTo>
                    <a:lnTo>
                      <a:pt x="693" y="189"/>
                    </a:lnTo>
                    <a:lnTo>
                      <a:pt x="693" y="189"/>
                    </a:lnTo>
                    <a:lnTo>
                      <a:pt x="696" y="191"/>
                    </a:lnTo>
                    <a:lnTo>
                      <a:pt x="698" y="191"/>
                    </a:lnTo>
                    <a:lnTo>
                      <a:pt x="700" y="191"/>
                    </a:lnTo>
                    <a:lnTo>
                      <a:pt x="703" y="189"/>
                    </a:lnTo>
                    <a:lnTo>
                      <a:pt x="705" y="189"/>
                    </a:lnTo>
                    <a:lnTo>
                      <a:pt x="708" y="189"/>
                    </a:lnTo>
                    <a:lnTo>
                      <a:pt x="708" y="187"/>
                    </a:lnTo>
                    <a:lnTo>
                      <a:pt x="705" y="184"/>
                    </a:lnTo>
                    <a:lnTo>
                      <a:pt x="703" y="184"/>
                    </a:lnTo>
                    <a:lnTo>
                      <a:pt x="708" y="184"/>
                    </a:lnTo>
                    <a:lnTo>
                      <a:pt x="710" y="182"/>
                    </a:lnTo>
                    <a:lnTo>
                      <a:pt x="715" y="172"/>
                    </a:lnTo>
                    <a:lnTo>
                      <a:pt x="717" y="170"/>
                    </a:lnTo>
                    <a:lnTo>
                      <a:pt x="719" y="170"/>
                    </a:lnTo>
                    <a:lnTo>
                      <a:pt x="719" y="168"/>
                    </a:lnTo>
                    <a:lnTo>
                      <a:pt x="719" y="165"/>
                    </a:lnTo>
                    <a:lnTo>
                      <a:pt x="717" y="163"/>
                    </a:lnTo>
                    <a:lnTo>
                      <a:pt x="715" y="161"/>
                    </a:lnTo>
                    <a:lnTo>
                      <a:pt x="717" y="161"/>
                    </a:lnTo>
                    <a:lnTo>
                      <a:pt x="717" y="156"/>
                    </a:lnTo>
                    <a:lnTo>
                      <a:pt x="719" y="156"/>
                    </a:lnTo>
                    <a:lnTo>
                      <a:pt x="719" y="156"/>
                    </a:lnTo>
                    <a:lnTo>
                      <a:pt x="717" y="153"/>
                    </a:lnTo>
                    <a:lnTo>
                      <a:pt x="712" y="151"/>
                    </a:lnTo>
                    <a:lnTo>
                      <a:pt x="705" y="151"/>
                    </a:lnTo>
                    <a:lnTo>
                      <a:pt x="703" y="149"/>
                    </a:lnTo>
                    <a:lnTo>
                      <a:pt x="700" y="146"/>
                    </a:lnTo>
                    <a:lnTo>
                      <a:pt x="698" y="146"/>
                    </a:lnTo>
                    <a:lnTo>
                      <a:pt x="698" y="144"/>
                    </a:lnTo>
                    <a:lnTo>
                      <a:pt x="696" y="139"/>
                    </a:lnTo>
                    <a:lnTo>
                      <a:pt x="696" y="139"/>
                    </a:lnTo>
                    <a:lnTo>
                      <a:pt x="693" y="132"/>
                    </a:lnTo>
                    <a:lnTo>
                      <a:pt x="689" y="125"/>
                    </a:lnTo>
                    <a:lnTo>
                      <a:pt x="686" y="125"/>
                    </a:lnTo>
                    <a:lnTo>
                      <a:pt x="686" y="123"/>
                    </a:lnTo>
                    <a:lnTo>
                      <a:pt x="689" y="123"/>
                    </a:lnTo>
                    <a:lnTo>
                      <a:pt x="689" y="120"/>
                    </a:lnTo>
                    <a:lnTo>
                      <a:pt x="684" y="116"/>
                    </a:lnTo>
                    <a:lnTo>
                      <a:pt x="682" y="113"/>
                    </a:lnTo>
                    <a:lnTo>
                      <a:pt x="679" y="108"/>
                    </a:lnTo>
                    <a:lnTo>
                      <a:pt x="672" y="106"/>
                    </a:lnTo>
                    <a:lnTo>
                      <a:pt x="667" y="104"/>
                    </a:lnTo>
                    <a:lnTo>
                      <a:pt x="667" y="104"/>
                    </a:lnTo>
                    <a:lnTo>
                      <a:pt x="667" y="101"/>
                    </a:lnTo>
                    <a:lnTo>
                      <a:pt x="670" y="101"/>
                    </a:lnTo>
                    <a:lnTo>
                      <a:pt x="670" y="99"/>
                    </a:lnTo>
                    <a:lnTo>
                      <a:pt x="670" y="97"/>
                    </a:lnTo>
                    <a:lnTo>
                      <a:pt x="670" y="94"/>
                    </a:lnTo>
                    <a:lnTo>
                      <a:pt x="670" y="92"/>
                    </a:lnTo>
                    <a:lnTo>
                      <a:pt x="670" y="87"/>
                    </a:lnTo>
                    <a:lnTo>
                      <a:pt x="667" y="85"/>
                    </a:lnTo>
                    <a:lnTo>
                      <a:pt x="667" y="82"/>
                    </a:lnTo>
                    <a:lnTo>
                      <a:pt x="663" y="82"/>
                    </a:lnTo>
                    <a:lnTo>
                      <a:pt x="660" y="80"/>
                    </a:lnTo>
                    <a:lnTo>
                      <a:pt x="656" y="80"/>
                    </a:lnTo>
                    <a:lnTo>
                      <a:pt x="653" y="80"/>
                    </a:lnTo>
                    <a:lnTo>
                      <a:pt x="648" y="78"/>
                    </a:lnTo>
                    <a:lnTo>
                      <a:pt x="646" y="78"/>
                    </a:lnTo>
                    <a:lnTo>
                      <a:pt x="637" y="80"/>
                    </a:lnTo>
                    <a:lnTo>
                      <a:pt x="629" y="78"/>
                    </a:lnTo>
                    <a:lnTo>
                      <a:pt x="627" y="80"/>
                    </a:lnTo>
                    <a:lnTo>
                      <a:pt x="625" y="80"/>
                    </a:lnTo>
                    <a:lnTo>
                      <a:pt x="622" y="78"/>
                    </a:lnTo>
                    <a:lnTo>
                      <a:pt x="622" y="78"/>
                    </a:lnTo>
                    <a:lnTo>
                      <a:pt x="622" y="78"/>
                    </a:lnTo>
                    <a:lnTo>
                      <a:pt x="622" y="78"/>
                    </a:lnTo>
                    <a:lnTo>
                      <a:pt x="622" y="78"/>
                    </a:lnTo>
                    <a:lnTo>
                      <a:pt x="620" y="78"/>
                    </a:lnTo>
                    <a:lnTo>
                      <a:pt x="618" y="82"/>
                    </a:lnTo>
                    <a:lnTo>
                      <a:pt x="618" y="87"/>
                    </a:lnTo>
                    <a:lnTo>
                      <a:pt x="618" y="94"/>
                    </a:lnTo>
                    <a:lnTo>
                      <a:pt x="618" y="97"/>
                    </a:lnTo>
                    <a:lnTo>
                      <a:pt x="618" y="99"/>
                    </a:lnTo>
                    <a:lnTo>
                      <a:pt x="615" y="101"/>
                    </a:lnTo>
                    <a:lnTo>
                      <a:pt x="611" y="104"/>
                    </a:lnTo>
                    <a:lnTo>
                      <a:pt x="608" y="106"/>
                    </a:lnTo>
                    <a:lnTo>
                      <a:pt x="603" y="106"/>
                    </a:lnTo>
                    <a:lnTo>
                      <a:pt x="603" y="108"/>
                    </a:lnTo>
                    <a:lnTo>
                      <a:pt x="601" y="111"/>
                    </a:lnTo>
                    <a:lnTo>
                      <a:pt x="603" y="111"/>
                    </a:lnTo>
                    <a:lnTo>
                      <a:pt x="603" y="111"/>
                    </a:lnTo>
                    <a:lnTo>
                      <a:pt x="603" y="113"/>
                    </a:lnTo>
                    <a:lnTo>
                      <a:pt x="603" y="113"/>
                    </a:lnTo>
                    <a:lnTo>
                      <a:pt x="603" y="113"/>
                    </a:lnTo>
                    <a:lnTo>
                      <a:pt x="603" y="116"/>
                    </a:lnTo>
                    <a:lnTo>
                      <a:pt x="606" y="116"/>
                    </a:lnTo>
                    <a:lnTo>
                      <a:pt x="611" y="113"/>
                    </a:lnTo>
                    <a:lnTo>
                      <a:pt x="611" y="116"/>
                    </a:lnTo>
                    <a:lnTo>
                      <a:pt x="613" y="116"/>
                    </a:lnTo>
                    <a:lnTo>
                      <a:pt x="615" y="120"/>
                    </a:lnTo>
                    <a:lnTo>
                      <a:pt x="615" y="123"/>
                    </a:lnTo>
                    <a:lnTo>
                      <a:pt x="615" y="125"/>
                    </a:lnTo>
                    <a:lnTo>
                      <a:pt x="618" y="125"/>
                    </a:lnTo>
                    <a:lnTo>
                      <a:pt x="618" y="127"/>
                    </a:lnTo>
                    <a:lnTo>
                      <a:pt x="618" y="127"/>
                    </a:lnTo>
                    <a:lnTo>
                      <a:pt x="618" y="130"/>
                    </a:lnTo>
                    <a:lnTo>
                      <a:pt x="615" y="130"/>
                    </a:lnTo>
                    <a:lnTo>
                      <a:pt x="615" y="132"/>
                    </a:lnTo>
                    <a:lnTo>
                      <a:pt x="615" y="134"/>
                    </a:lnTo>
                    <a:lnTo>
                      <a:pt x="615" y="134"/>
                    </a:lnTo>
                    <a:lnTo>
                      <a:pt x="618" y="137"/>
                    </a:lnTo>
                    <a:lnTo>
                      <a:pt x="618" y="137"/>
                    </a:lnTo>
                    <a:lnTo>
                      <a:pt x="618" y="137"/>
                    </a:lnTo>
                    <a:lnTo>
                      <a:pt x="618" y="134"/>
                    </a:lnTo>
                    <a:lnTo>
                      <a:pt x="620" y="134"/>
                    </a:lnTo>
                    <a:lnTo>
                      <a:pt x="627" y="137"/>
                    </a:lnTo>
                    <a:lnTo>
                      <a:pt x="629" y="137"/>
                    </a:lnTo>
                    <a:lnTo>
                      <a:pt x="634" y="139"/>
                    </a:lnTo>
                    <a:lnTo>
                      <a:pt x="634" y="139"/>
                    </a:lnTo>
                    <a:lnTo>
                      <a:pt x="637" y="142"/>
                    </a:lnTo>
                    <a:lnTo>
                      <a:pt x="641" y="146"/>
                    </a:lnTo>
                    <a:lnTo>
                      <a:pt x="646" y="146"/>
                    </a:lnTo>
                    <a:lnTo>
                      <a:pt x="648" y="149"/>
                    </a:lnTo>
                    <a:lnTo>
                      <a:pt x="648" y="149"/>
                    </a:lnTo>
                    <a:lnTo>
                      <a:pt x="651" y="149"/>
                    </a:lnTo>
                    <a:lnTo>
                      <a:pt x="653" y="149"/>
                    </a:lnTo>
                    <a:lnTo>
                      <a:pt x="653" y="151"/>
                    </a:lnTo>
                    <a:lnTo>
                      <a:pt x="653" y="153"/>
                    </a:lnTo>
                    <a:lnTo>
                      <a:pt x="651" y="158"/>
                    </a:lnTo>
                    <a:lnTo>
                      <a:pt x="648" y="158"/>
                    </a:lnTo>
                    <a:lnTo>
                      <a:pt x="646" y="158"/>
                    </a:lnTo>
                    <a:lnTo>
                      <a:pt x="639" y="156"/>
                    </a:lnTo>
                    <a:lnTo>
                      <a:pt x="637" y="153"/>
                    </a:lnTo>
                    <a:lnTo>
                      <a:pt x="629" y="151"/>
                    </a:lnTo>
                    <a:lnTo>
                      <a:pt x="625" y="149"/>
                    </a:lnTo>
                    <a:lnTo>
                      <a:pt x="622" y="149"/>
                    </a:lnTo>
                    <a:lnTo>
                      <a:pt x="618" y="149"/>
                    </a:lnTo>
                    <a:lnTo>
                      <a:pt x="615" y="146"/>
                    </a:lnTo>
                    <a:lnTo>
                      <a:pt x="613" y="146"/>
                    </a:lnTo>
                    <a:lnTo>
                      <a:pt x="608" y="146"/>
                    </a:lnTo>
                    <a:lnTo>
                      <a:pt x="606" y="144"/>
                    </a:lnTo>
                    <a:lnTo>
                      <a:pt x="603" y="144"/>
                    </a:lnTo>
                    <a:lnTo>
                      <a:pt x="601" y="144"/>
                    </a:lnTo>
                    <a:lnTo>
                      <a:pt x="596" y="142"/>
                    </a:lnTo>
                    <a:lnTo>
                      <a:pt x="594" y="142"/>
                    </a:lnTo>
                    <a:lnTo>
                      <a:pt x="594" y="142"/>
                    </a:lnTo>
                    <a:lnTo>
                      <a:pt x="589" y="139"/>
                    </a:lnTo>
                    <a:lnTo>
                      <a:pt x="582" y="137"/>
                    </a:lnTo>
                    <a:lnTo>
                      <a:pt x="570" y="134"/>
                    </a:lnTo>
                    <a:lnTo>
                      <a:pt x="559" y="134"/>
                    </a:lnTo>
                    <a:lnTo>
                      <a:pt x="547" y="132"/>
                    </a:lnTo>
                    <a:lnTo>
                      <a:pt x="537" y="132"/>
                    </a:lnTo>
                    <a:lnTo>
                      <a:pt x="535" y="132"/>
                    </a:lnTo>
                    <a:lnTo>
                      <a:pt x="535" y="132"/>
                    </a:lnTo>
                    <a:lnTo>
                      <a:pt x="533" y="134"/>
                    </a:lnTo>
                    <a:lnTo>
                      <a:pt x="528" y="134"/>
                    </a:lnTo>
                    <a:lnTo>
                      <a:pt x="528" y="137"/>
                    </a:lnTo>
                    <a:lnTo>
                      <a:pt x="530" y="139"/>
                    </a:lnTo>
                    <a:lnTo>
                      <a:pt x="537" y="144"/>
                    </a:lnTo>
                    <a:lnTo>
                      <a:pt x="540" y="144"/>
                    </a:lnTo>
                    <a:lnTo>
                      <a:pt x="542" y="146"/>
                    </a:lnTo>
                    <a:lnTo>
                      <a:pt x="542" y="149"/>
                    </a:lnTo>
                    <a:lnTo>
                      <a:pt x="540" y="151"/>
                    </a:lnTo>
                    <a:lnTo>
                      <a:pt x="537" y="151"/>
                    </a:lnTo>
                    <a:lnTo>
                      <a:pt x="535" y="151"/>
                    </a:lnTo>
                    <a:lnTo>
                      <a:pt x="530" y="151"/>
                    </a:lnTo>
                    <a:lnTo>
                      <a:pt x="530" y="153"/>
                    </a:lnTo>
                    <a:lnTo>
                      <a:pt x="533" y="156"/>
                    </a:lnTo>
                    <a:lnTo>
                      <a:pt x="533" y="156"/>
                    </a:lnTo>
                    <a:lnTo>
                      <a:pt x="533" y="158"/>
                    </a:lnTo>
                    <a:lnTo>
                      <a:pt x="533" y="158"/>
                    </a:lnTo>
                    <a:lnTo>
                      <a:pt x="533" y="158"/>
                    </a:lnTo>
                    <a:lnTo>
                      <a:pt x="530" y="158"/>
                    </a:lnTo>
                    <a:lnTo>
                      <a:pt x="530" y="158"/>
                    </a:lnTo>
                    <a:lnTo>
                      <a:pt x="525" y="158"/>
                    </a:lnTo>
                    <a:lnTo>
                      <a:pt x="521" y="156"/>
                    </a:lnTo>
                    <a:lnTo>
                      <a:pt x="521" y="153"/>
                    </a:lnTo>
                    <a:lnTo>
                      <a:pt x="521" y="153"/>
                    </a:lnTo>
                    <a:lnTo>
                      <a:pt x="523" y="151"/>
                    </a:lnTo>
                    <a:lnTo>
                      <a:pt x="523" y="151"/>
                    </a:lnTo>
                    <a:lnTo>
                      <a:pt x="521" y="149"/>
                    </a:lnTo>
                    <a:lnTo>
                      <a:pt x="518" y="149"/>
                    </a:lnTo>
                    <a:lnTo>
                      <a:pt x="516" y="146"/>
                    </a:lnTo>
                    <a:lnTo>
                      <a:pt x="516" y="146"/>
                    </a:lnTo>
                    <a:lnTo>
                      <a:pt x="516" y="146"/>
                    </a:lnTo>
                    <a:lnTo>
                      <a:pt x="509" y="149"/>
                    </a:lnTo>
                    <a:lnTo>
                      <a:pt x="506" y="149"/>
                    </a:lnTo>
                    <a:lnTo>
                      <a:pt x="506" y="149"/>
                    </a:lnTo>
                    <a:lnTo>
                      <a:pt x="497" y="153"/>
                    </a:lnTo>
                    <a:lnTo>
                      <a:pt x="495" y="156"/>
                    </a:lnTo>
                    <a:lnTo>
                      <a:pt x="490" y="153"/>
                    </a:lnTo>
                    <a:lnTo>
                      <a:pt x="488" y="153"/>
                    </a:lnTo>
                    <a:lnTo>
                      <a:pt x="483" y="153"/>
                    </a:lnTo>
                    <a:lnTo>
                      <a:pt x="478" y="153"/>
                    </a:lnTo>
                    <a:lnTo>
                      <a:pt x="476" y="153"/>
                    </a:lnTo>
                    <a:lnTo>
                      <a:pt x="473" y="153"/>
                    </a:lnTo>
                    <a:lnTo>
                      <a:pt x="471" y="153"/>
                    </a:lnTo>
                    <a:lnTo>
                      <a:pt x="466" y="156"/>
                    </a:lnTo>
                    <a:lnTo>
                      <a:pt x="464" y="158"/>
                    </a:lnTo>
                    <a:lnTo>
                      <a:pt x="466" y="161"/>
                    </a:lnTo>
                    <a:lnTo>
                      <a:pt x="464" y="161"/>
                    </a:lnTo>
                    <a:lnTo>
                      <a:pt x="462" y="161"/>
                    </a:lnTo>
                    <a:lnTo>
                      <a:pt x="459" y="161"/>
                    </a:lnTo>
                    <a:lnTo>
                      <a:pt x="459" y="161"/>
                    </a:lnTo>
                    <a:lnTo>
                      <a:pt x="457" y="161"/>
                    </a:lnTo>
                    <a:lnTo>
                      <a:pt x="454" y="161"/>
                    </a:lnTo>
                    <a:lnTo>
                      <a:pt x="452" y="161"/>
                    </a:lnTo>
                    <a:lnTo>
                      <a:pt x="452" y="161"/>
                    </a:lnTo>
                    <a:lnTo>
                      <a:pt x="447" y="161"/>
                    </a:lnTo>
                    <a:lnTo>
                      <a:pt x="445" y="161"/>
                    </a:lnTo>
                    <a:lnTo>
                      <a:pt x="443" y="161"/>
                    </a:lnTo>
                    <a:lnTo>
                      <a:pt x="443" y="158"/>
                    </a:lnTo>
                    <a:lnTo>
                      <a:pt x="443" y="158"/>
                    </a:lnTo>
                    <a:lnTo>
                      <a:pt x="447" y="158"/>
                    </a:lnTo>
                    <a:lnTo>
                      <a:pt x="447" y="158"/>
                    </a:lnTo>
                    <a:lnTo>
                      <a:pt x="450" y="158"/>
                    </a:lnTo>
                    <a:lnTo>
                      <a:pt x="452" y="156"/>
                    </a:lnTo>
                    <a:lnTo>
                      <a:pt x="450" y="156"/>
                    </a:lnTo>
                    <a:lnTo>
                      <a:pt x="447" y="153"/>
                    </a:lnTo>
                    <a:lnTo>
                      <a:pt x="447" y="151"/>
                    </a:lnTo>
                    <a:lnTo>
                      <a:pt x="447" y="151"/>
                    </a:lnTo>
                    <a:lnTo>
                      <a:pt x="447" y="151"/>
                    </a:lnTo>
                    <a:lnTo>
                      <a:pt x="450" y="149"/>
                    </a:lnTo>
                    <a:lnTo>
                      <a:pt x="447" y="149"/>
                    </a:lnTo>
                    <a:lnTo>
                      <a:pt x="447" y="149"/>
                    </a:lnTo>
                    <a:lnTo>
                      <a:pt x="445" y="149"/>
                    </a:lnTo>
                    <a:lnTo>
                      <a:pt x="447" y="149"/>
                    </a:lnTo>
                    <a:lnTo>
                      <a:pt x="454" y="146"/>
                    </a:lnTo>
                    <a:lnTo>
                      <a:pt x="454" y="146"/>
                    </a:lnTo>
                    <a:lnTo>
                      <a:pt x="450" y="146"/>
                    </a:lnTo>
                    <a:lnTo>
                      <a:pt x="445" y="146"/>
                    </a:lnTo>
                    <a:lnTo>
                      <a:pt x="440" y="149"/>
                    </a:lnTo>
                    <a:lnTo>
                      <a:pt x="433" y="151"/>
                    </a:lnTo>
                    <a:lnTo>
                      <a:pt x="428" y="153"/>
                    </a:lnTo>
                    <a:lnTo>
                      <a:pt x="428" y="153"/>
                    </a:lnTo>
                    <a:lnTo>
                      <a:pt x="431" y="153"/>
                    </a:lnTo>
                    <a:lnTo>
                      <a:pt x="433" y="156"/>
                    </a:lnTo>
                    <a:lnTo>
                      <a:pt x="433" y="156"/>
                    </a:lnTo>
                    <a:lnTo>
                      <a:pt x="433" y="158"/>
                    </a:lnTo>
                    <a:lnTo>
                      <a:pt x="431" y="158"/>
                    </a:lnTo>
                    <a:lnTo>
                      <a:pt x="431" y="158"/>
                    </a:lnTo>
                    <a:lnTo>
                      <a:pt x="431" y="158"/>
                    </a:lnTo>
                    <a:lnTo>
                      <a:pt x="428" y="158"/>
                    </a:lnTo>
                    <a:lnTo>
                      <a:pt x="428" y="158"/>
                    </a:lnTo>
                    <a:lnTo>
                      <a:pt x="428" y="158"/>
                    </a:lnTo>
                    <a:lnTo>
                      <a:pt x="428" y="156"/>
                    </a:lnTo>
                    <a:lnTo>
                      <a:pt x="426" y="156"/>
                    </a:lnTo>
                    <a:lnTo>
                      <a:pt x="424" y="156"/>
                    </a:lnTo>
                    <a:lnTo>
                      <a:pt x="424" y="156"/>
                    </a:lnTo>
                    <a:lnTo>
                      <a:pt x="419" y="156"/>
                    </a:lnTo>
                    <a:lnTo>
                      <a:pt x="417" y="158"/>
                    </a:lnTo>
                    <a:lnTo>
                      <a:pt x="412" y="158"/>
                    </a:lnTo>
                    <a:lnTo>
                      <a:pt x="409" y="158"/>
                    </a:lnTo>
                    <a:lnTo>
                      <a:pt x="407" y="158"/>
                    </a:lnTo>
                    <a:lnTo>
                      <a:pt x="405" y="161"/>
                    </a:lnTo>
                    <a:lnTo>
                      <a:pt x="402" y="161"/>
                    </a:lnTo>
                    <a:lnTo>
                      <a:pt x="398" y="163"/>
                    </a:lnTo>
                    <a:lnTo>
                      <a:pt x="388" y="168"/>
                    </a:lnTo>
                    <a:lnTo>
                      <a:pt x="386" y="168"/>
                    </a:lnTo>
                    <a:lnTo>
                      <a:pt x="386" y="168"/>
                    </a:lnTo>
                    <a:lnTo>
                      <a:pt x="383" y="168"/>
                    </a:lnTo>
                    <a:lnTo>
                      <a:pt x="383" y="168"/>
                    </a:lnTo>
                    <a:lnTo>
                      <a:pt x="383" y="168"/>
                    </a:lnTo>
                    <a:lnTo>
                      <a:pt x="386" y="170"/>
                    </a:lnTo>
                    <a:lnTo>
                      <a:pt x="386" y="170"/>
                    </a:lnTo>
                    <a:lnTo>
                      <a:pt x="383" y="170"/>
                    </a:lnTo>
                    <a:lnTo>
                      <a:pt x="379" y="170"/>
                    </a:lnTo>
                    <a:lnTo>
                      <a:pt x="374" y="172"/>
                    </a:lnTo>
                    <a:lnTo>
                      <a:pt x="374" y="172"/>
                    </a:lnTo>
                    <a:lnTo>
                      <a:pt x="374" y="175"/>
                    </a:lnTo>
                    <a:lnTo>
                      <a:pt x="374" y="177"/>
                    </a:lnTo>
                    <a:lnTo>
                      <a:pt x="374" y="177"/>
                    </a:lnTo>
                    <a:lnTo>
                      <a:pt x="374" y="182"/>
                    </a:lnTo>
                    <a:lnTo>
                      <a:pt x="374" y="184"/>
                    </a:lnTo>
                    <a:lnTo>
                      <a:pt x="372" y="184"/>
                    </a:lnTo>
                    <a:lnTo>
                      <a:pt x="360" y="187"/>
                    </a:lnTo>
                    <a:lnTo>
                      <a:pt x="360" y="187"/>
                    </a:lnTo>
                    <a:lnTo>
                      <a:pt x="357" y="187"/>
                    </a:lnTo>
                    <a:lnTo>
                      <a:pt x="357" y="187"/>
                    </a:lnTo>
                    <a:lnTo>
                      <a:pt x="355" y="187"/>
                    </a:lnTo>
                    <a:lnTo>
                      <a:pt x="353" y="187"/>
                    </a:lnTo>
                    <a:lnTo>
                      <a:pt x="350" y="187"/>
                    </a:lnTo>
                    <a:lnTo>
                      <a:pt x="350" y="184"/>
                    </a:lnTo>
                    <a:lnTo>
                      <a:pt x="348" y="184"/>
                    </a:lnTo>
                    <a:lnTo>
                      <a:pt x="343" y="179"/>
                    </a:lnTo>
                    <a:lnTo>
                      <a:pt x="336" y="177"/>
                    </a:lnTo>
                    <a:lnTo>
                      <a:pt x="334" y="177"/>
                    </a:lnTo>
                    <a:lnTo>
                      <a:pt x="334" y="175"/>
                    </a:lnTo>
                    <a:lnTo>
                      <a:pt x="334" y="175"/>
                    </a:lnTo>
                    <a:lnTo>
                      <a:pt x="339" y="170"/>
                    </a:lnTo>
                    <a:lnTo>
                      <a:pt x="341" y="170"/>
                    </a:lnTo>
                    <a:lnTo>
                      <a:pt x="348" y="168"/>
                    </a:lnTo>
                    <a:lnTo>
                      <a:pt x="353" y="168"/>
                    </a:lnTo>
                    <a:lnTo>
                      <a:pt x="355" y="168"/>
                    </a:lnTo>
                    <a:lnTo>
                      <a:pt x="355" y="165"/>
                    </a:lnTo>
                    <a:lnTo>
                      <a:pt x="350" y="163"/>
                    </a:lnTo>
                    <a:lnTo>
                      <a:pt x="346" y="161"/>
                    </a:lnTo>
                    <a:lnTo>
                      <a:pt x="341" y="156"/>
                    </a:lnTo>
                    <a:lnTo>
                      <a:pt x="336" y="156"/>
                    </a:lnTo>
                    <a:lnTo>
                      <a:pt x="329" y="153"/>
                    </a:lnTo>
                    <a:lnTo>
                      <a:pt x="317" y="156"/>
                    </a:lnTo>
                    <a:lnTo>
                      <a:pt x="315" y="156"/>
                    </a:lnTo>
                    <a:lnTo>
                      <a:pt x="308" y="153"/>
                    </a:lnTo>
                    <a:lnTo>
                      <a:pt x="305" y="153"/>
                    </a:lnTo>
                    <a:lnTo>
                      <a:pt x="305" y="153"/>
                    </a:lnTo>
                    <a:lnTo>
                      <a:pt x="305" y="153"/>
                    </a:lnTo>
                    <a:lnTo>
                      <a:pt x="305" y="153"/>
                    </a:lnTo>
                    <a:lnTo>
                      <a:pt x="317" y="158"/>
                    </a:lnTo>
                    <a:lnTo>
                      <a:pt x="320" y="161"/>
                    </a:lnTo>
                    <a:lnTo>
                      <a:pt x="320" y="163"/>
                    </a:lnTo>
                    <a:lnTo>
                      <a:pt x="320" y="163"/>
                    </a:lnTo>
                    <a:lnTo>
                      <a:pt x="320" y="163"/>
                    </a:lnTo>
                    <a:lnTo>
                      <a:pt x="320" y="165"/>
                    </a:lnTo>
                    <a:lnTo>
                      <a:pt x="320" y="170"/>
                    </a:lnTo>
                    <a:lnTo>
                      <a:pt x="320" y="175"/>
                    </a:lnTo>
                    <a:lnTo>
                      <a:pt x="317" y="177"/>
                    </a:lnTo>
                    <a:lnTo>
                      <a:pt x="317" y="177"/>
                    </a:lnTo>
                    <a:lnTo>
                      <a:pt x="320" y="179"/>
                    </a:lnTo>
                    <a:lnTo>
                      <a:pt x="322" y="179"/>
                    </a:lnTo>
                    <a:lnTo>
                      <a:pt x="327" y="182"/>
                    </a:lnTo>
                    <a:lnTo>
                      <a:pt x="329" y="182"/>
                    </a:lnTo>
                    <a:lnTo>
                      <a:pt x="329" y="184"/>
                    </a:lnTo>
                    <a:lnTo>
                      <a:pt x="329" y="187"/>
                    </a:lnTo>
                    <a:lnTo>
                      <a:pt x="331" y="189"/>
                    </a:lnTo>
                    <a:lnTo>
                      <a:pt x="329" y="191"/>
                    </a:lnTo>
                    <a:lnTo>
                      <a:pt x="329" y="194"/>
                    </a:lnTo>
                    <a:lnTo>
                      <a:pt x="327" y="196"/>
                    </a:lnTo>
                    <a:lnTo>
                      <a:pt x="329" y="198"/>
                    </a:lnTo>
                    <a:lnTo>
                      <a:pt x="329" y="201"/>
                    </a:lnTo>
                    <a:lnTo>
                      <a:pt x="329" y="201"/>
                    </a:lnTo>
                    <a:lnTo>
                      <a:pt x="327" y="201"/>
                    </a:lnTo>
                    <a:lnTo>
                      <a:pt x="327" y="198"/>
                    </a:lnTo>
                    <a:lnTo>
                      <a:pt x="324" y="198"/>
                    </a:lnTo>
                    <a:lnTo>
                      <a:pt x="324" y="198"/>
                    </a:lnTo>
                    <a:lnTo>
                      <a:pt x="322" y="198"/>
                    </a:lnTo>
                    <a:lnTo>
                      <a:pt x="320" y="198"/>
                    </a:lnTo>
                    <a:lnTo>
                      <a:pt x="320" y="198"/>
                    </a:lnTo>
                    <a:lnTo>
                      <a:pt x="322" y="196"/>
                    </a:lnTo>
                    <a:lnTo>
                      <a:pt x="320" y="196"/>
                    </a:lnTo>
                    <a:lnTo>
                      <a:pt x="320" y="196"/>
                    </a:lnTo>
                    <a:lnTo>
                      <a:pt x="315" y="194"/>
                    </a:lnTo>
                    <a:lnTo>
                      <a:pt x="313" y="194"/>
                    </a:lnTo>
                    <a:lnTo>
                      <a:pt x="308" y="194"/>
                    </a:lnTo>
                    <a:lnTo>
                      <a:pt x="305" y="194"/>
                    </a:lnTo>
                    <a:lnTo>
                      <a:pt x="303" y="191"/>
                    </a:lnTo>
                    <a:lnTo>
                      <a:pt x="301" y="191"/>
                    </a:lnTo>
                    <a:lnTo>
                      <a:pt x="301" y="191"/>
                    </a:lnTo>
                    <a:lnTo>
                      <a:pt x="298" y="194"/>
                    </a:lnTo>
                    <a:lnTo>
                      <a:pt x="296" y="196"/>
                    </a:lnTo>
                    <a:lnTo>
                      <a:pt x="291" y="198"/>
                    </a:lnTo>
                    <a:lnTo>
                      <a:pt x="286" y="201"/>
                    </a:lnTo>
                    <a:lnTo>
                      <a:pt x="282" y="201"/>
                    </a:lnTo>
                    <a:lnTo>
                      <a:pt x="282" y="201"/>
                    </a:lnTo>
                    <a:lnTo>
                      <a:pt x="279" y="203"/>
                    </a:lnTo>
                    <a:lnTo>
                      <a:pt x="277" y="206"/>
                    </a:lnTo>
                    <a:lnTo>
                      <a:pt x="270" y="208"/>
                    </a:lnTo>
                    <a:lnTo>
                      <a:pt x="270" y="210"/>
                    </a:lnTo>
                    <a:lnTo>
                      <a:pt x="270" y="210"/>
                    </a:lnTo>
                    <a:lnTo>
                      <a:pt x="272" y="213"/>
                    </a:lnTo>
                    <a:lnTo>
                      <a:pt x="272" y="215"/>
                    </a:lnTo>
                    <a:lnTo>
                      <a:pt x="277" y="217"/>
                    </a:lnTo>
                    <a:lnTo>
                      <a:pt x="279" y="220"/>
                    </a:lnTo>
                    <a:lnTo>
                      <a:pt x="282" y="222"/>
                    </a:lnTo>
                    <a:lnTo>
                      <a:pt x="284" y="224"/>
                    </a:lnTo>
                    <a:lnTo>
                      <a:pt x="282" y="224"/>
                    </a:lnTo>
                    <a:lnTo>
                      <a:pt x="279" y="224"/>
                    </a:lnTo>
                    <a:lnTo>
                      <a:pt x="277" y="224"/>
                    </a:lnTo>
                    <a:lnTo>
                      <a:pt x="275" y="224"/>
                    </a:lnTo>
                    <a:lnTo>
                      <a:pt x="275" y="227"/>
                    </a:lnTo>
                    <a:lnTo>
                      <a:pt x="275" y="227"/>
                    </a:lnTo>
                    <a:lnTo>
                      <a:pt x="272" y="227"/>
                    </a:lnTo>
                    <a:lnTo>
                      <a:pt x="263" y="224"/>
                    </a:lnTo>
                    <a:lnTo>
                      <a:pt x="258" y="224"/>
                    </a:lnTo>
                    <a:lnTo>
                      <a:pt x="256" y="224"/>
                    </a:lnTo>
                    <a:lnTo>
                      <a:pt x="253" y="222"/>
                    </a:lnTo>
                    <a:lnTo>
                      <a:pt x="253" y="222"/>
                    </a:lnTo>
                    <a:lnTo>
                      <a:pt x="251" y="222"/>
                    </a:lnTo>
                    <a:lnTo>
                      <a:pt x="249" y="222"/>
                    </a:lnTo>
                    <a:lnTo>
                      <a:pt x="249" y="222"/>
                    </a:lnTo>
                    <a:lnTo>
                      <a:pt x="242" y="217"/>
                    </a:lnTo>
                    <a:lnTo>
                      <a:pt x="234" y="215"/>
                    </a:lnTo>
                    <a:lnTo>
                      <a:pt x="234" y="215"/>
                    </a:lnTo>
                    <a:lnTo>
                      <a:pt x="232" y="217"/>
                    </a:lnTo>
                    <a:lnTo>
                      <a:pt x="230" y="220"/>
                    </a:lnTo>
                    <a:lnTo>
                      <a:pt x="230" y="222"/>
                    </a:lnTo>
                    <a:lnTo>
                      <a:pt x="227" y="220"/>
                    </a:lnTo>
                    <a:lnTo>
                      <a:pt x="227" y="222"/>
                    </a:lnTo>
                    <a:lnTo>
                      <a:pt x="227" y="224"/>
                    </a:lnTo>
                    <a:lnTo>
                      <a:pt x="230" y="224"/>
                    </a:lnTo>
                    <a:lnTo>
                      <a:pt x="232" y="224"/>
                    </a:lnTo>
                    <a:lnTo>
                      <a:pt x="237" y="229"/>
                    </a:lnTo>
                    <a:lnTo>
                      <a:pt x="239" y="232"/>
                    </a:lnTo>
                    <a:lnTo>
                      <a:pt x="239" y="232"/>
                    </a:lnTo>
                    <a:lnTo>
                      <a:pt x="242" y="232"/>
                    </a:lnTo>
                    <a:lnTo>
                      <a:pt x="246" y="232"/>
                    </a:lnTo>
                    <a:lnTo>
                      <a:pt x="249" y="232"/>
                    </a:lnTo>
                    <a:lnTo>
                      <a:pt x="249" y="232"/>
                    </a:lnTo>
                    <a:lnTo>
                      <a:pt x="251" y="234"/>
                    </a:lnTo>
                    <a:lnTo>
                      <a:pt x="251" y="236"/>
                    </a:lnTo>
                    <a:lnTo>
                      <a:pt x="253" y="239"/>
                    </a:lnTo>
                    <a:lnTo>
                      <a:pt x="251" y="239"/>
                    </a:lnTo>
                    <a:lnTo>
                      <a:pt x="246" y="241"/>
                    </a:lnTo>
                    <a:lnTo>
                      <a:pt x="244" y="241"/>
                    </a:lnTo>
                    <a:lnTo>
                      <a:pt x="244" y="241"/>
                    </a:lnTo>
                    <a:lnTo>
                      <a:pt x="237" y="241"/>
                    </a:lnTo>
                    <a:lnTo>
                      <a:pt x="234" y="239"/>
                    </a:lnTo>
                    <a:lnTo>
                      <a:pt x="227" y="239"/>
                    </a:lnTo>
                    <a:lnTo>
                      <a:pt x="227" y="239"/>
                    </a:lnTo>
                    <a:lnTo>
                      <a:pt x="225" y="234"/>
                    </a:lnTo>
                    <a:lnTo>
                      <a:pt x="218" y="232"/>
                    </a:lnTo>
                    <a:lnTo>
                      <a:pt x="216" y="232"/>
                    </a:lnTo>
                    <a:lnTo>
                      <a:pt x="213" y="232"/>
                    </a:lnTo>
                    <a:lnTo>
                      <a:pt x="211" y="232"/>
                    </a:lnTo>
                    <a:lnTo>
                      <a:pt x="208" y="229"/>
                    </a:lnTo>
                    <a:lnTo>
                      <a:pt x="204" y="227"/>
                    </a:lnTo>
                    <a:lnTo>
                      <a:pt x="204" y="224"/>
                    </a:lnTo>
                    <a:lnTo>
                      <a:pt x="204" y="224"/>
                    </a:lnTo>
                    <a:lnTo>
                      <a:pt x="206" y="224"/>
                    </a:lnTo>
                    <a:lnTo>
                      <a:pt x="204" y="224"/>
                    </a:lnTo>
                    <a:lnTo>
                      <a:pt x="204" y="222"/>
                    </a:lnTo>
                    <a:lnTo>
                      <a:pt x="201" y="220"/>
                    </a:lnTo>
                    <a:lnTo>
                      <a:pt x="199" y="217"/>
                    </a:lnTo>
                    <a:lnTo>
                      <a:pt x="197" y="215"/>
                    </a:lnTo>
                    <a:lnTo>
                      <a:pt x="194" y="213"/>
                    </a:lnTo>
                    <a:lnTo>
                      <a:pt x="197" y="210"/>
                    </a:lnTo>
                    <a:lnTo>
                      <a:pt x="197" y="210"/>
                    </a:lnTo>
                    <a:lnTo>
                      <a:pt x="199" y="208"/>
                    </a:lnTo>
                    <a:lnTo>
                      <a:pt x="199" y="206"/>
                    </a:lnTo>
                    <a:lnTo>
                      <a:pt x="199" y="206"/>
                    </a:lnTo>
                    <a:lnTo>
                      <a:pt x="199" y="206"/>
                    </a:lnTo>
                    <a:lnTo>
                      <a:pt x="199" y="203"/>
                    </a:lnTo>
                    <a:lnTo>
                      <a:pt x="197" y="203"/>
                    </a:lnTo>
                    <a:lnTo>
                      <a:pt x="192" y="198"/>
                    </a:lnTo>
                    <a:lnTo>
                      <a:pt x="187" y="196"/>
                    </a:lnTo>
                    <a:lnTo>
                      <a:pt x="180" y="196"/>
                    </a:lnTo>
                    <a:lnTo>
                      <a:pt x="178" y="196"/>
                    </a:lnTo>
                    <a:lnTo>
                      <a:pt x="178" y="196"/>
                    </a:lnTo>
                    <a:lnTo>
                      <a:pt x="180" y="194"/>
                    </a:lnTo>
                    <a:lnTo>
                      <a:pt x="180" y="194"/>
                    </a:lnTo>
                    <a:lnTo>
                      <a:pt x="180" y="194"/>
                    </a:lnTo>
                    <a:lnTo>
                      <a:pt x="180" y="194"/>
                    </a:lnTo>
                    <a:lnTo>
                      <a:pt x="178" y="191"/>
                    </a:lnTo>
                    <a:lnTo>
                      <a:pt x="175" y="191"/>
                    </a:lnTo>
                    <a:lnTo>
                      <a:pt x="173" y="191"/>
                    </a:lnTo>
                    <a:lnTo>
                      <a:pt x="175" y="189"/>
                    </a:lnTo>
                    <a:lnTo>
                      <a:pt x="173" y="189"/>
                    </a:lnTo>
                    <a:lnTo>
                      <a:pt x="171" y="189"/>
                    </a:lnTo>
                    <a:lnTo>
                      <a:pt x="168" y="189"/>
                    </a:lnTo>
                    <a:lnTo>
                      <a:pt x="168" y="187"/>
                    </a:lnTo>
                    <a:lnTo>
                      <a:pt x="166" y="187"/>
                    </a:lnTo>
                    <a:lnTo>
                      <a:pt x="163" y="184"/>
                    </a:lnTo>
                    <a:lnTo>
                      <a:pt x="163" y="182"/>
                    </a:lnTo>
                    <a:lnTo>
                      <a:pt x="161" y="182"/>
                    </a:lnTo>
                    <a:lnTo>
                      <a:pt x="159" y="182"/>
                    </a:lnTo>
                    <a:lnTo>
                      <a:pt x="156" y="179"/>
                    </a:lnTo>
                    <a:lnTo>
                      <a:pt x="154" y="179"/>
                    </a:lnTo>
                    <a:lnTo>
                      <a:pt x="161" y="179"/>
                    </a:lnTo>
                    <a:lnTo>
                      <a:pt x="168" y="182"/>
                    </a:lnTo>
                    <a:lnTo>
                      <a:pt x="168" y="182"/>
                    </a:lnTo>
                    <a:lnTo>
                      <a:pt x="168" y="182"/>
                    </a:lnTo>
                    <a:lnTo>
                      <a:pt x="171" y="184"/>
                    </a:lnTo>
                    <a:lnTo>
                      <a:pt x="173" y="187"/>
                    </a:lnTo>
                    <a:lnTo>
                      <a:pt x="178" y="187"/>
                    </a:lnTo>
                    <a:lnTo>
                      <a:pt x="178" y="187"/>
                    </a:lnTo>
                    <a:lnTo>
                      <a:pt x="180" y="187"/>
                    </a:lnTo>
                    <a:lnTo>
                      <a:pt x="182" y="187"/>
                    </a:lnTo>
                    <a:lnTo>
                      <a:pt x="182" y="189"/>
                    </a:lnTo>
                    <a:lnTo>
                      <a:pt x="187" y="189"/>
                    </a:lnTo>
                    <a:lnTo>
                      <a:pt x="192" y="189"/>
                    </a:lnTo>
                    <a:lnTo>
                      <a:pt x="192" y="189"/>
                    </a:lnTo>
                    <a:lnTo>
                      <a:pt x="192" y="189"/>
                    </a:lnTo>
                    <a:lnTo>
                      <a:pt x="192" y="191"/>
                    </a:lnTo>
                    <a:lnTo>
                      <a:pt x="194" y="191"/>
                    </a:lnTo>
                    <a:lnTo>
                      <a:pt x="197" y="189"/>
                    </a:lnTo>
                    <a:lnTo>
                      <a:pt x="206" y="194"/>
                    </a:lnTo>
                    <a:lnTo>
                      <a:pt x="206" y="194"/>
                    </a:lnTo>
                    <a:lnTo>
                      <a:pt x="220" y="196"/>
                    </a:lnTo>
                    <a:lnTo>
                      <a:pt x="225" y="196"/>
                    </a:lnTo>
                    <a:lnTo>
                      <a:pt x="227" y="196"/>
                    </a:lnTo>
                    <a:lnTo>
                      <a:pt x="232" y="196"/>
                    </a:lnTo>
                    <a:lnTo>
                      <a:pt x="237" y="198"/>
                    </a:lnTo>
                    <a:lnTo>
                      <a:pt x="242" y="198"/>
                    </a:lnTo>
                    <a:lnTo>
                      <a:pt x="249" y="201"/>
                    </a:lnTo>
                    <a:lnTo>
                      <a:pt x="253" y="201"/>
                    </a:lnTo>
                    <a:lnTo>
                      <a:pt x="260" y="198"/>
                    </a:lnTo>
                    <a:lnTo>
                      <a:pt x="272" y="196"/>
                    </a:lnTo>
                    <a:lnTo>
                      <a:pt x="277" y="194"/>
                    </a:lnTo>
                    <a:lnTo>
                      <a:pt x="284" y="187"/>
                    </a:lnTo>
                    <a:lnTo>
                      <a:pt x="284" y="184"/>
                    </a:lnTo>
                    <a:lnTo>
                      <a:pt x="286" y="179"/>
                    </a:lnTo>
                    <a:lnTo>
                      <a:pt x="284" y="179"/>
                    </a:lnTo>
                    <a:lnTo>
                      <a:pt x="284" y="179"/>
                    </a:lnTo>
                    <a:lnTo>
                      <a:pt x="282" y="177"/>
                    </a:lnTo>
                    <a:lnTo>
                      <a:pt x="282" y="175"/>
                    </a:lnTo>
                    <a:lnTo>
                      <a:pt x="279" y="175"/>
                    </a:lnTo>
                    <a:lnTo>
                      <a:pt x="277" y="170"/>
                    </a:lnTo>
                    <a:lnTo>
                      <a:pt x="275" y="170"/>
                    </a:lnTo>
                    <a:lnTo>
                      <a:pt x="272" y="168"/>
                    </a:lnTo>
                    <a:lnTo>
                      <a:pt x="270" y="168"/>
                    </a:lnTo>
                    <a:lnTo>
                      <a:pt x="268" y="168"/>
                    </a:lnTo>
                    <a:lnTo>
                      <a:pt x="265" y="165"/>
                    </a:lnTo>
                    <a:lnTo>
                      <a:pt x="263" y="165"/>
                    </a:lnTo>
                    <a:lnTo>
                      <a:pt x="260" y="163"/>
                    </a:lnTo>
                    <a:lnTo>
                      <a:pt x="260" y="163"/>
                    </a:lnTo>
                    <a:lnTo>
                      <a:pt x="258" y="163"/>
                    </a:lnTo>
                    <a:lnTo>
                      <a:pt x="260" y="163"/>
                    </a:lnTo>
                    <a:lnTo>
                      <a:pt x="260" y="163"/>
                    </a:lnTo>
                    <a:lnTo>
                      <a:pt x="256" y="163"/>
                    </a:lnTo>
                    <a:lnTo>
                      <a:pt x="246" y="158"/>
                    </a:lnTo>
                    <a:lnTo>
                      <a:pt x="244" y="158"/>
                    </a:lnTo>
                    <a:lnTo>
                      <a:pt x="244" y="158"/>
                    </a:lnTo>
                    <a:lnTo>
                      <a:pt x="239" y="158"/>
                    </a:lnTo>
                    <a:lnTo>
                      <a:pt x="239" y="158"/>
                    </a:lnTo>
                    <a:lnTo>
                      <a:pt x="230" y="153"/>
                    </a:lnTo>
                    <a:lnTo>
                      <a:pt x="213" y="146"/>
                    </a:lnTo>
                    <a:lnTo>
                      <a:pt x="201" y="144"/>
                    </a:lnTo>
                    <a:lnTo>
                      <a:pt x="194" y="142"/>
                    </a:lnTo>
                    <a:lnTo>
                      <a:pt x="192" y="142"/>
                    </a:lnTo>
                    <a:lnTo>
                      <a:pt x="192" y="142"/>
                    </a:lnTo>
                    <a:lnTo>
                      <a:pt x="190" y="144"/>
                    </a:lnTo>
                    <a:lnTo>
                      <a:pt x="187" y="142"/>
                    </a:lnTo>
                    <a:lnTo>
                      <a:pt x="180" y="142"/>
                    </a:lnTo>
                    <a:lnTo>
                      <a:pt x="178" y="142"/>
                    </a:lnTo>
                    <a:lnTo>
                      <a:pt x="171" y="142"/>
                    </a:lnTo>
                    <a:lnTo>
                      <a:pt x="171" y="142"/>
                    </a:lnTo>
                    <a:lnTo>
                      <a:pt x="168" y="144"/>
                    </a:lnTo>
                    <a:lnTo>
                      <a:pt x="168" y="144"/>
                    </a:lnTo>
                    <a:lnTo>
                      <a:pt x="166" y="146"/>
                    </a:lnTo>
                    <a:lnTo>
                      <a:pt x="166" y="144"/>
                    </a:lnTo>
                    <a:lnTo>
                      <a:pt x="168" y="144"/>
                    </a:lnTo>
                    <a:lnTo>
                      <a:pt x="168" y="142"/>
                    </a:lnTo>
                    <a:lnTo>
                      <a:pt x="168" y="142"/>
                    </a:lnTo>
                    <a:lnTo>
                      <a:pt x="168" y="139"/>
                    </a:lnTo>
                    <a:lnTo>
                      <a:pt x="168" y="139"/>
                    </a:lnTo>
                    <a:lnTo>
                      <a:pt x="166" y="139"/>
                    </a:lnTo>
                    <a:lnTo>
                      <a:pt x="166" y="139"/>
                    </a:lnTo>
                    <a:lnTo>
                      <a:pt x="161" y="139"/>
                    </a:lnTo>
                    <a:lnTo>
                      <a:pt x="161" y="139"/>
                    </a:lnTo>
                    <a:lnTo>
                      <a:pt x="161" y="139"/>
                    </a:lnTo>
                    <a:lnTo>
                      <a:pt x="161" y="139"/>
                    </a:lnTo>
                    <a:lnTo>
                      <a:pt x="161" y="139"/>
                    </a:lnTo>
                    <a:lnTo>
                      <a:pt x="156" y="139"/>
                    </a:lnTo>
                    <a:lnTo>
                      <a:pt x="154" y="139"/>
                    </a:lnTo>
                    <a:lnTo>
                      <a:pt x="152" y="137"/>
                    </a:lnTo>
                    <a:lnTo>
                      <a:pt x="149" y="137"/>
                    </a:lnTo>
                    <a:lnTo>
                      <a:pt x="149" y="134"/>
                    </a:lnTo>
                    <a:lnTo>
                      <a:pt x="149" y="134"/>
                    </a:lnTo>
                    <a:lnTo>
                      <a:pt x="159" y="137"/>
                    </a:lnTo>
                    <a:lnTo>
                      <a:pt x="161" y="137"/>
                    </a:lnTo>
                    <a:lnTo>
                      <a:pt x="161" y="134"/>
                    </a:lnTo>
                    <a:lnTo>
                      <a:pt x="161" y="134"/>
                    </a:lnTo>
                    <a:lnTo>
                      <a:pt x="161" y="134"/>
                    </a:lnTo>
                    <a:lnTo>
                      <a:pt x="159" y="134"/>
                    </a:lnTo>
                    <a:lnTo>
                      <a:pt x="154" y="132"/>
                    </a:lnTo>
                    <a:lnTo>
                      <a:pt x="152" y="132"/>
                    </a:lnTo>
                    <a:lnTo>
                      <a:pt x="147" y="130"/>
                    </a:lnTo>
                    <a:lnTo>
                      <a:pt x="147" y="130"/>
                    </a:lnTo>
                    <a:lnTo>
                      <a:pt x="147" y="132"/>
                    </a:lnTo>
                    <a:lnTo>
                      <a:pt x="147" y="132"/>
                    </a:lnTo>
                    <a:lnTo>
                      <a:pt x="145" y="132"/>
                    </a:lnTo>
                    <a:lnTo>
                      <a:pt x="145" y="132"/>
                    </a:lnTo>
                    <a:lnTo>
                      <a:pt x="142" y="134"/>
                    </a:lnTo>
                    <a:lnTo>
                      <a:pt x="142" y="134"/>
                    </a:lnTo>
                    <a:lnTo>
                      <a:pt x="140" y="134"/>
                    </a:lnTo>
                    <a:lnTo>
                      <a:pt x="135" y="132"/>
                    </a:lnTo>
                    <a:lnTo>
                      <a:pt x="133" y="132"/>
                    </a:lnTo>
                    <a:lnTo>
                      <a:pt x="133" y="134"/>
                    </a:lnTo>
                    <a:lnTo>
                      <a:pt x="133" y="137"/>
                    </a:lnTo>
                    <a:lnTo>
                      <a:pt x="133" y="137"/>
                    </a:lnTo>
                    <a:lnTo>
                      <a:pt x="133" y="137"/>
                    </a:lnTo>
                    <a:lnTo>
                      <a:pt x="133" y="137"/>
                    </a:lnTo>
                    <a:lnTo>
                      <a:pt x="130" y="137"/>
                    </a:lnTo>
                    <a:lnTo>
                      <a:pt x="126" y="137"/>
                    </a:lnTo>
                    <a:lnTo>
                      <a:pt x="123" y="134"/>
                    </a:lnTo>
                    <a:lnTo>
                      <a:pt x="123" y="134"/>
                    </a:lnTo>
                    <a:lnTo>
                      <a:pt x="123" y="134"/>
                    </a:lnTo>
                    <a:lnTo>
                      <a:pt x="123" y="137"/>
                    </a:lnTo>
                    <a:lnTo>
                      <a:pt x="123" y="137"/>
                    </a:lnTo>
                    <a:lnTo>
                      <a:pt x="123" y="137"/>
                    </a:lnTo>
                    <a:lnTo>
                      <a:pt x="123" y="139"/>
                    </a:lnTo>
                    <a:lnTo>
                      <a:pt x="123" y="139"/>
                    </a:lnTo>
                    <a:lnTo>
                      <a:pt x="121" y="139"/>
                    </a:lnTo>
                    <a:lnTo>
                      <a:pt x="119" y="139"/>
                    </a:lnTo>
                    <a:lnTo>
                      <a:pt x="114" y="142"/>
                    </a:lnTo>
                    <a:lnTo>
                      <a:pt x="114" y="142"/>
                    </a:lnTo>
                    <a:lnTo>
                      <a:pt x="111" y="144"/>
                    </a:lnTo>
                    <a:lnTo>
                      <a:pt x="111" y="146"/>
                    </a:lnTo>
                    <a:lnTo>
                      <a:pt x="111" y="146"/>
                    </a:lnTo>
                    <a:lnTo>
                      <a:pt x="109" y="146"/>
                    </a:lnTo>
                    <a:lnTo>
                      <a:pt x="107" y="146"/>
                    </a:lnTo>
                    <a:lnTo>
                      <a:pt x="104" y="146"/>
                    </a:lnTo>
                    <a:lnTo>
                      <a:pt x="104" y="149"/>
                    </a:lnTo>
                    <a:lnTo>
                      <a:pt x="102" y="149"/>
                    </a:lnTo>
                    <a:lnTo>
                      <a:pt x="102" y="149"/>
                    </a:lnTo>
                    <a:lnTo>
                      <a:pt x="104" y="149"/>
                    </a:lnTo>
                    <a:lnTo>
                      <a:pt x="107" y="149"/>
                    </a:lnTo>
                    <a:lnTo>
                      <a:pt x="107" y="149"/>
                    </a:lnTo>
                    <a:lnTo>
                      <a:pt x="107" y="151"/>
                    </a:lnTo>
                    <a:lnTo>
                      <a:pt x="107" y="151"/>
                    </a:lnTo>
                    <a:lnTo>
                      <a:pt x="104" y="156"/>
                    </a:lnTo>
                    <a:lnTo>
                      <a:pt x="104" y="156"/>
                    </a:lnTo>
                    <a:lnTo>
                      <a:pt x="104" y="158"/>
                    </a:lnTo>
                    <a:lnTo>
                      <a:pt x="107" y="161"/>
                    </a:lnTo>
                    <a:lnTo>
                      <a:pt x="111" y="163"/>
                    </a:lnTo>
                    <a:lnTo>
                      <a:pt x="116" y="163"/>
                    </a:lnTo>
                    <a:lnTo>
                      <a:pt x="119" y="165"/>
                    </a:lnTo>
                    <a:lnTo>
                      <a:pt x="123" y="170"/>
                    </a:lnTo>
                    <a:lnTo>
                      <a:pt x="126" y="170"/>
                    </a:lnTo>
                    <a:lnTo>
                      <a:pt x="126" y="170"/>
                    </a:lnTo>
                    <a:lnTo>
                      <a:pt x="126" y="172"/>
                    </a:lnTo>
                    <a:lnTo>
                      <a:pt x="123" y="175"/>
                    </a:lnTo>
                    <a:lnTo>
                      <a:pt x="121" y="177"/>
                    </a:lnTo>
                    <a:lnTo>
                      <a:pt x="119" y="179"/>
                    </a:lnTo>
                    <a:lnTo>
                      <a:pt x="119" y="182"/>
                    </a:lnTo>
                    <a:lnTo>
                      <a:pt x="116" y="184"/>
                    </a:lnTo>
                    <a:lnTo>
                      <a:pt x="116" y="184"/>
                    </a:lnTo>
                    <a:lnTo>
                      <a:pt x="116" y="184"/>
                    </a:lnTo>
                    <a:lnTo>
                      <a:pt x="116" y="187"/>
                    </a:lnTo>
                    <a:lnTo>
                      <a:pt x="119" y="189"/>
                    </a:lnTo>
                    <a:lnTo>
                      <a:pt x="121" y="189"/>
                    </a:lnTo>
                    <a:lnTo>
                      <a:pt x="123" y="191"/>
                    </a:lnTo>
                    <a:lnTo>
                      <a:pt x="123" y="194"/>
                    </a:lnTo>
                    <a:lnTo>
                      <a:pt x="126" y="194"/>
                    </a:lnTo>
                    <a:lnTo>
                      <a:pt x="126" y="196"/>
                    </a:lnTo>
                    <a:lnTo>
                      <a:pt x="126" y="196"/>
                    </a:lnTo>
                    <a:lnTo>
                      <a:pt x="128" y="198"/>
                    </a:lnTo>
                    <a:lnTo>
                      <a:pt x="130" y="198"/>
                    </a:lnTo>
                    <a:lnTo>
                      <a:pt x="130" y="201"/>
                    </a:lnTo>
                    <a:lnTo>
                      <a:pt x="133" y="206"/>
                    </a:lnTo>
                    <a:lnTo>
                      <a:pt x="133" y="206"/>
                    </a:lnTo>
                    <a:lnTo>
                      <a:pt x="133" y="208"/>
                    </a:lnTo>
                    <a:lnTo>
                      <a:pt x="133" y="208"/>
                    </a:lnTo>
                    <a:lnTo>
                      <a:pt x="130" y="208"/>
                    </a:lnTo>
                    <a:lnTo>
                      <a:pt x="128" y="208"/>
                    </a:lnTo>
                    <a:lnTo>
                      <a:pt x="128" y="208"/>
                    </a:lnTo>
                    <a:lnTo>
                      <a:pt x="130" y="210"/>
                    </a:lnTo>
                    <a:lnTo>
                      <a:pt x="128" y="210"/>
                    </a:lnTo>
                    <a:lnTo>
                      <a:pt x="128" y="213"/>
                    </a:lnTo>
                    <a:lnTo>
                      <a:pt x="128" y="215"/>
                    </a:lnTo>
                    <a:lnTo>
                      <a:pt x="128" y="215"/>
                    </a:lnTo>
                    <a:lnTo>
                      <a:pt x="128" y="215"/>
                    </a:lnTo>
                    <a:lnTo>
                      <a:pt x="128" y="215"/>
                    </a:lnTo>
                    <a:lnTo>
                      <a:pt x="130" y="215"/>
                    </a:lnTo>
                    <a:lnTo>
                      <a:pt x="130" y="217"/>
                    </a:lnTo>
                    <a:lnTo>
                      <a:pt x="130" y="217"/>
                    </a:lnTo>
                    <a:lnTo>
                      <a:pt x="130" y="217"/>
                    </a:lnTo>
                    <a:lnTo>
                      <a:pt x="130" y="217"/>
                    </a:lnTo>
                    <a:lnTo>
                      <a:pt x="128" y="220"/>
                    </a:lnTo>
                    <a:lnTo>
                      <a:pt x="128" y="220"/>
                    </a:lnTo>
                    <a:lnTo>
                      <a:pt x="128" y="220"/>
                    </a:lnTo>
                    <a:lnTo>
                      <a:pt x="130" y="222"/>
                    </a:lnTo>
                    <a:lnTo>
                      <a:pt x="130" y="222"/>
                    </a:lnTo>
                    <a:lnTo>
                      <a:pt x="133" y="224"/>
                    </a:lnTo>
                    <a:lnTo>
                      <a:pt x="135" y="224"/>
                    </a:lnTo>
                    <a:lnTo>
                      <a:pt x="137" y="224"/>
                    </a:lnTo>
                    <a:lnTo>
                      <a:pt x="137" y="224"/>
                    </a:lnTo>
                    <a:lnTo>
                      <a:pt x="137" y="227"/>
                    </a:lnTo>
                    <a:lnTo>
                      <a:pt x="135" y="227"/>
                    </a:lnTo>
                    <a:lnTo>
                      <a:pt x="135" y="229"/>
                    </a:lnTo>
                    <a:lnTo>
                      <a:pt x="137" y="229"/>
                    </a:lnTo>
                    <a:lnTo>
                      <a:pt x="137" y="232"/>
                    </a:lnTo>
                    <a:lnTo>
                      <a:pt x="142" y="234"/>
                    </a:lnTo>
                    <a:lnTo>
                      <a:pt x="142" y="234"/>
                    </a:lnTo>
                    <a:lnTo>
                      <a:pt x="145" y="234"/>
                    </a:lnTo>
                    <a:lnTo>
                      <a:pt x="145" y="236"/>
                    </a:lnTo>
                    <a:lnTo>
                      <a:pt x="145" y="236"/>
                    </a:lnTo>
                    <a:lnTo>
                      <a:pt x="145" y="239"/>
                    </a:lnTo>
                    <a:lnTo>
                      <a:pt x="142" y="239"/>
                    </a:lnTo>
                    <a:lnTo>
                      <a:pt x="140" y="241"/>
                    </a:lnTo>
                    <a:lnTo>
                      <a:pt x="137" y="243"/>
                    </a:lnTo>
                    <a:lnTo>
                      <a:pt x="137" y="243"/>
                    </a:lnTo>
                    <a:lnTo>
                      <a:pt x="137" y="243"/>
                    </a:lnTo>
                    <a:lnTo>
                      <a:pt x="145" y="248"/>
                    </a:lnTo>
                    <a:lnTo>
                      <a:pt x="147" y="251"/>
                    </a:lnTo>
                    <a:lnTo>
                      <a:pt x="154" y="251"/>
                    </a:lnTo>
                    <a:lnTo>
                      <a:pt x="156" y="253"/>
                    </a:lnTo>
                    <a:lnTo>
                      <a:pt x="156" y="255"/>
                    </a:lnTo>
                    <a:lnTo>
                      <a:pt x="159" y="255"/>
                    </a:lnTo>
                    <a:lnTo>
                      <a:pt x="161" y="258"/>
                    </a:lnTo>
                    <a:lnTo>
                      <a:pt x="161" y="258"/>
                    </a:lnTo>
                    <a:lnTo>
                      <a:pt x="161" y="258"/>
                    </a:lnTo>
                    <a:lnTo>
                      <a:pt x="161" y="260"/>
                    </a:lnTo>
                    <a:lnTo>
                      <a:pt x="161" y="262"/>
                    </a:lnTo>
                    <a:lnTo>
                      <a:pt x="161" y="262"/>
                    </a:lnTo>
                    <a:lnTo>
                      <a:pt x="159" y="265"/>
                    </a:lnTo>
                    <a:lnTo>
                      <a:pt x="159" y="267"/>
                    </a:lnTo>
                    <a:lnTo>
                      <a:pt x="156" y="269"/>
                    </a:lnTo>
                    <a:lnTo>
                      <a:pt x="149" y="274"/>
                    </a:lnTo>
                    <a:lnTo>
                      <a:pt x="149" y="274"/>
                    </a:lnTo>
                    <a:lnTo>
                      <a:pt x="147" y="277"/>
                    </a:lnTo>
                    <a:lnTo>
                      <a:pt x="142" y="281"/>
                    </a:lnTo>
                    <a:lnTo>
                      <a:pt x="142" y="281"/>
                    </a:lnTo>
                    <a:lnTo>
                      <a:pt x="140" y="286"/>
                    </a:lnTo>
                    <a:lnTo>
                      <a:pt x="137" y="286"/>
                    </a:lnTo>
                    <a:lnTo>
                      <a:pt x="137" y="286"/>
                    </a:lnTo>
                    <a:lnTo>
                      <a:pt x="133" y="291"/>
                    </a:lnTo>
                    <a:lnTo>
                      <a:pt x="130" y="293"/>
                    </a:lnTo>
                    <a:lnTo>
                      <a:pt x="126" y="293"/>
                    </a:lnTo>
                    <a:lnTo>
                      <a:pt x="126" y="296"/>
                    </a:lnTo>
                    <a:lnTo>
                      <a:pt x="123" y="296"/>
                    </a:lnTo>
                    <a:lnTo>
                      <a:pt x="123" y="298"/>
                    </a:lnTo>
                    <a:lnTo>
                      <a:pt x="121" y="298"/>
                    </a:lnTo>
                    <a:lnTo>
                      <a:pt x="119" y="300"/>
                    </a:lnTo>
                    <a:lnTo>
                      <a:pt x="114" y="305"/>
                    </a:lnTo>
                    <a:lnTo>
                      <a:pt x="119" y="303"/>
                    </a:lnTo>
                    <a:lnTo>
                      <a:pt x="123" y="303"/>
                    </a:lnTo>
                    <a:lnTo>
                      <a:pt x="126" y="303"/>
                    </a:lnTo>
                    <a:lnTo>
                      <a:pt x="126" y="303"/>
                    </a:lnTo>
                    <a:lnTo>
                      <a:pt x="126" y="305"/>
                    </a:lnTo>
                    <a:lnTo>
                      <a:pt x="126" y="305"/>
                    </a:lnTo>
                    <a:lnTo>
                      <a:pt x="123" y="305"/>
                    </a:lnTo>
                    <a:lnTo>
                      <a:pt x="126" y="305"/>
                    </a:lnTo>
                    <a:lnTo>
                      <a:pt x="126" y="307"/>
                    </a:lnTo>
                    <a:lnTo>
                      <a:pt x="130" y="307"/>
                    </a:lnTo>
                    <a:lnTo>
                      <a:pt x="133" y="312"/>
                    </a:lnTo>
                    <a:lnTo>
                      <a:pt x="137" y="312"/>
                    </a:lnTo>
                    <a:lnTo>
                      <a:pt x="140" y="310"/>
                    </a:lnTo>
                    <a:lnTo>
                      <a:pt x="142" y="312"/>
                    </a:lnTo>
                    <a:lnTo>
                      <a:pt x="145" y="312"/>
                    </a:lnTo>
                    <a:lnTo>
                      <a:pt x="147" y="314"/>
                    </a:lnTo>
                    <a:lnTo>
                      <a:pt x="149" y="314"/>
                    </a:lnTo>
                    <a:lnTo>
                      <a:pt x="152" y="314"/>
                    </a:lnTo>
                    <a:lnTo>
                      <a:pt x="152" y="317"/>
                    </a:lnTo>
                    <a:lnTo>
                      <a:pt x="149" y="317"/>
                    </a:lnTo>
                    <a:lnTo>
                      <a:pt x="142" y="314"/>
                    </a:lnTo>
                    <a:lnTo>
                      <a:pt x="135" y="314"/>
                    </a:lnTo>
                    <a:lnTo>
                      <a:pt x="135" y="314"/>
                    </a:lnTo>
                    <a:lnTo>
                      <a:pt x="133" y="317"/>
                    </a:lnTo>
                    <a:lnTo>
                      <a:pt x="133" y="317"/>
                    </a:lnTo>
                    <a:lnTo>
                      <a:pt x="133" y="317"/>
                    </a:lnTo>
                    <a:lnTo>
                      <a:pt x="130" y="319"/>
                    </a:lnTo>
                    <a:lnTo>
                      <a:pt x="130" y="319"/>
                    </a:lnTo>
                    <a:lnTo>
                      <a:pt x="128" y="319"/>
                    </a:lnTo>
                    <a:lnTo>
                      <a:pt x="126" y="317"/>
                    </a:lnTo>
                    <a:lnTo>
                      <a:pt x="126" y="319"/>
                    </a:lnTo>
                    <a:lnTo>
                      <a:pt x="126" y="319"/>
                    </a:lnTo>
                    <a:lnTo>
                      <a:pt x="123" y="322"/>
                    </a:lnTo>
                    <a:lnTo>
                      <a:pt x="121" y="319"/>
                    </a:lnTo>
                    <a:lnTo>
                      <a:pt x="121" y="319"/>
                    </a:lnTo>
                    <a:lnTo>
                      <a:pt x="119" y="319"/>
                    </a:lnTo>
                    <a:lnTo>
                      <a:pt x="119" y="319"/>
                    </a:lnTo>
                    <a:lnTo>
                      <a:pt x="119" y="322"/>
                    </a:lnTo>
                    <a:lnTo>
                      <a:pt x="121" y="324"/>
                    </a:lnTo>
                    <a:lnTo>
                      <a:pt x="119" y="324"/>
                    </a:lnTo>
                    <a:lnTo>
                      <a:pt x="121" y="326"/>
                    </a:lnTo>
                    <a:lnTo>
                      <a:pt x="121" y="326"/>
                    </a:lnTo>
                    <a:lnTo>
                      <a:pt x="121" y="326"/>
                    </a:lnTo>
                    <a:lnTo>
                      <a:pt x="121" y="326"/>
                    </a:lnTo>
                    <a:lnTo>
                      <a:pt x="121" y="326"/>
                    </a:lnTo>
                    <a:lnTo>
                      <a:pt x="121" y="329"/>
                    </a:lnTo>
                    <a:lnTo>
                      <a:pt x="121" y="329"/>
                    </a:lnTo>
                    <a:lnTo>
                      <a:pt x="119" y="329"/>
                    </a:lnTo>
                    <a:lnTo>
                      <a:pt x="119" y="329"/>
                    </a:lnTo>
                    <a:lnTo>
                      <a:pt x="119" y="331"/>
                    </a:lnTo>
                    <a:lnTo>
                      <a:pt x="116" y="333"/>
                    </a:lnTo>
                    <a:lnTo>
                      <a:pt x="114" y="336"/>
                    </a:lnTo>
                    <a:lnTo>
                      <a:pt x="114" y="336"/>
                    </a:lnTo>
                    <a:lnTo>
                      <a:pt x="114" y="338"/>
                    </a:lnTo>
                    <a:lnTo>
                      <a:pt x="111" y="338"/>
                    </a:lnTo>
                    <a:lnTo>
                      <a:pt x="111" y="340"/>
                    </a:lnTo>
                    <a:lnTo>
                      <a:pt x="114" y="345"/>
                    </a:lnTo>
                    <a:lnTo>
                      <a:pt x="114" y="345"/>
                    </a:lnTo>
                    <a:lnTo>
                      <a:pt x="114" y="348"/>
                    </a:lnTo>
                    <a:lnTo>
                      <a:pt x="114" y="348"/>
                    </a:lnTo>
                    <a:lnTo>
                      <a:pt x="114" y="350"/>
                    </a:lnTo>
                    <a:lnTo>
                      <a:pt x="116" y="350"/>
                    </a:lnTo>
                    <a:lnTo>
                      <a:pt x="119" y="352"/>
                    </a:lnTo>
                    <a:lnTo>
                      <a:pt x="119" y="355"/>
                    </a:lnTo>
                    <a:lnTo>
                      <a:pt x="119" y="355"/>
                    </a:lnTo>
                    <a:lnTo>
                      <a:pt x="119" y="357"/>
                    </a:lnTo>
                    <a:lnTo>
                      <a:pt x="121" y="357"/>
                    </a:lnTo>
                    <a:lnTo>
                      <a:pt x="121" y="357"/>
                    </a:lnTo>
                    <a:lnTo>
                      <a:pt x="119" y="357"/>
                    </a:lnTo>
                    <a:lnTo>
                      <a:pt x="116" y="357"/>
                    </a:lnTo>
                    <a:lnTo>
                      <a:pt x="116" y="359"/>
                    </a:lnTo>
                    <a:lnTo>
                      <a:pt x="116" y="359"/>
                    </a:lnTo>
                    <a:lnTo>
                      <a:pt x="114" y="359"/>
                    </a:lnTo>
                    <a:lnTo>
                      <a:pt x="114" y="362"/>
                    </a:lnTo>
                    <a:lnTo>
                      <a:pt x="114" y="362"/>
                    </a:lnTo>
                    <a:lnTo>
                      <a:pt x="114" y="362"/>
                    </a:lnTo>
                    <a:lnTo>
                      <a:pt x="116" y="364"/>
                    </a:lnTo>
                    <a:lnTo>
                      <a:pt x="116" y="364"/>
                    </a:lnTo>
                    <a:lnTo>
                      <a:pt x="116" y="364"/>
                    </a:lnTo>
                    <a:lnTo>
                      <a:pt x="119" y="367"/>
                    </a:lnTo>
                    <a:lnTo>
                      <a:pt x="121" y="367"/>
                    </a:lnTo>
                    <a:lnTo>
                      <a:pt x="121" y="367"/>
                    </a:lnTo>
                    <a:lnTo>
                      <a:pt x="123" y="369"/>
                    </a:lnTo>
                    <a:lnTo>
                      <a:pt x="123" y="369"/>
                    </a:lnTo>
                    <a:lnTo>
                      <a:pt x="121" y="369"/>
                    </a:lnTo>
                    <a:lnTo>
                      <a:pt x="121" y="371"/>
                    </a:lnTo>
                    <a:lnTo>
                      <a:pt x="121" y="371"/>
                    </a:lnTo>
                    <a:lnTo>
                      <a:pt x="121" y="374"/>
                    </a:lnTo>
                    <a:lnTo>
                      <a:pt x="121" y="376"/>
                    </a:lnTo>
                    <a:lnTo>
                      <a:pt x="121" y="376"/>
                    </a:lnTo>
                    <a:lnTo>
                      <a:pt x="123" y="376"/>
                    </a:lnTo>
                    <a:lnTo>
                      <a:pt x="123" y="376"/>
                    </a:lnTo>
                    <a:lnTo>
                      <a:pt x="123" y="376"/>
                    </a:lnTo>
                    <a:lnTo>
                      <a:pt x="123" y="378"/>
                    </a:lnTo>
                    <a:lnTo>
                      <a:pt x="126" y="378"/>
                    </a:lnTo>
                    <a:lnTo>
                      <a:pt x="126" y="381"/>
                    </a:lnTo>
                    <a:lnTo>
                      <a:pt x="126" y="381"/>
                    </a:lnTo>
                    <a:lnTo>
                      <a:pt x="128" y="383"/>
                    </a:lnTo>
                    <a:lnTo>
                      <a:pt x="128" y="383"/>
                    </a:lnTo>
                    <a:lnTo>
                      <a:pt x="128" y="385"/>
                    </a:lnTo>
                    <a:lnTo>
                      <a:pt x="130" y="388"/>
                    </a:lnTo>
                    <a:lnTo>
                      <a:pt x="130" y="388"/>
                    </a:lnTo>
                    <a:lnTo>
                      <a:pt x="130" y="390"/>
                    </a:lnTo>
                    <a:lnTo>
                      <a:pt x="130" y="390"/>
                    </a:lnTo>
                    <a:lnTo>
                      <a:pt x="133" y="393"/>
                    </a:lnTo>
                    <a:lnTo>
                      <a:pt x="133" y="393"/>
                    </a:lnTo>
                    <a:lnTo>
                      <a:pt x="133" y="393"/>
                    </a:lnTo>
                    <a:lnTo>
                      <a:pt x="133" y="390"/>
                    </a:lnTo>
                    <a:lnTo>
                      <a:pt x="135" y="390"/>
                    </a:lnTo>
                    <a:lnTo>
                      <a:pt x="137" y="393"/>
                    </a:lnTo>
                    <a:lnTo>
                      <a:pt x="137" y="393"/>
                    </a:lnTo>
                    <a:lnTo>
                      <a:pt x="140" y="395"/>
                    </a:lnTo>
                    <a:lnTo>
                      <a:pt x="140" y="395"/>
                    </a:lnTo>
                    <a:lnTo>
                      <a:pt x="142" y="393"/>
                    </a:lnTo>
                    <a:lnTo>
                      <a:pt x="142" y="393"/>
                    </a:lnTo>
                    <a:lnTo>
                      <a:pt x="145" y="393"/>
                    </a:lnTo>
                    <a:lnTo>
                      <a:pt x="147" y="395"/>
                    </a:lnTo>
                    <a:lnTo>
                      <a:pt x="149" y="395"/>
                    </a:lnTo>
                    <a:lnTo>
                      <a:pt x="149" y="395"/>
                    </a:lnTo>
                    <a:lnTo>
                      <a:pt x="149" y="395"/>
                    </a:lnTo>
                    <a:lnTo>
                      <a:pt x="149" y="397"/>
                    </a:lnTo>
                    <a:lnTo>
                      <a:pt x="149" y="397"/>
                    </a:lnTo>
                    <a:lnTo>
                      <a:pt x="149" y="400"/>
                    </a:lnTo>
                    <a:lnTo>
                      <a:pt x="152" y="400"/>
                    </a:lnTo>
                    <a:lnTo>
                      <a:pt x="154" y="397"/>
                    </a:lnTo>
                    <a:lnTo>
                      <a:pt x="154" y="397"/>
                    </a:lnTo>
                    <a:lnTo>
                      <a:pt x="154" y="397"/>
                    </a:lnTo>
                    <a:lnTo>
                      <a:pt x="156" y="397"/>
                    </a:lnTo>
                    <a:lnTo>
                      <a:pt x="156" y="397"/>
                    </a:lnTo>
                    <a:lnTo>
                      <a:pt x="159" y="397"/>
                    </a:lnTo>
                    <a:lnTo>
                      <a:pt x="159" y="397"/>
                    </a:lnTo>
                    <a:lnTo>
                      <a:pt x="163" y="397"/>
                    </a:lnTo>
                    <a:lnTo>
                      <a:pt x="166" y="397"/>
                    </a:lnTo>
                    <a:lnTo>
                      <a:pt x="166" y="397"/>
                    </a:lnTo>
                    <a:lnTo>
                      <a:pt x="168" y="400"/>
                    </a:lnTo>
                    <a:lnTo>
                      <a:pt x="168" y="400"/>
                    </a:lnTo>
                    <a:lnTo>
                      <a:pt x="171" y="400"/>
                    </a:lnTo>
                    <a:lnTo>
                      <a:pt x="171" y="400"/>
                    </a:lnTo>
                    <a:lnTo>
                      <a:pt x="171" y="402"/>
                    </a:lnTo>
                    <a:lnTo>
                      <a:pt x="173" y="402"/>
                    </a:lnTo>
                    <a:lnTo>
                      <a:pt x="173" y="402"/>
                    </a:lnTo>
                    <a:lnTo>
                      <a:pt x="173" y="402"/>
                    </a:lnTo>
                    <a:lnTo>
                      <a:pt x="173" y="402"/>
                    </a:lnTo>
                    <a:lnTo>
                      <a:pt x="173" y="404"/>
                    </a:lnTo>
                    <a:lnTo>
                      <a:pt x="173" y="407"/>
                    </a:lnTo>
                    <a:lnTo>
                      <a:pt x="173" y="407"/>
                    </a:lnTo>
                    <a:lnTo>
                      <a:pt x="173" y="407"/>
                    </a:lnTo>
                    <a:lnTo>
                      <a:pt x="173" y="407"/>
                    </a:lnTo>
                    <a:lnTo>
                      <a:pt x="173" y="409"/>
                    </a:lnTo>
                    <a:lnTo>
                      <a:pt x="175" y="409"/>
                    </a:lnTo>
                    <a:lnTo>
                      <a:pt x="175" y="412"/>
                    </a:lnTo>
                    <a:lnTo>
                      <a:pt x="175" y="412"/>
                    </a:lnTo>
                    <a:lnTo>
                      <a:pt x="175" y="414"/>
                    </a:lnTo>
                    <a:lnTo>
                      <a:pt x="173" y="414"/>
                    </a:lnTo>
                    <a:lnTo>
                      <a:pt x="173" y="416"/>
                    </a:lnTo>
                    <a:lnTo>
                      <a:pt x="173" y="416"/>
                    </a:lnTo>
                    <a:lnTo>
                      <a:pt x="173" y="416"/>
                    </a:lnTo>
                    <a:lnTo>
                      <a:pt x="178" y="419"/>
                    </a:lnTo>
                    <a:lnTo>
                      <a:pt x="180" y="421"/>
                    </a:lnTo>
                    <a:lnTo>
                      <a:pt x="180" y="421"/>
                    </a:lnTo>
                    <a:lnTo>
                      <a:pt x="180" y="421"/>
                    </a:lnTo>
                    <a:lnTo>
                      <a:pt x="180" y="423"/>
                    </a:lnTo>
                    <a:lnTo>
                      <a:pt x="180" y="423"/>
                    </a:lnTo>
                    <a:lnTo>
                      <a:pt x="180" y="423"/>
                    </a:lnTo>
                    <a:lnTo>
                      <a:pt x="182" y="426"/>
                    </a:lnTo>
                    <a:lnTo>
                      <a:pt x="182" y="428"/>
                    </a:lnTo>
                    <a:lnTo>
                      <a:pt x="185" y="428"/>
                    </a:lnTo>
                    <a:lnTo>
                      <a:pt x="190" y="430"/>
                    </a:lnTo>
                    <a:lnTo>
                      <a:pt x="192" y="433"/>
                    </a:lnTo>
                    <a:lnTo>
                      <a:pt x="192" y="433"/>
                    </a:lnTo>
                    <a:lnTo>
                      <a:pt x="192" y="433"/>
                    </a:lnTo>
                    <a:lnTo>
                      <a:pt x="192" y="435"/>
                    </a:lnTo>
                    <a:lnTo>
                      <a:pt x="192" y="435"/>
                    </a:lnTo>
                    <a:lnTo>
                      <a:pt x="192" y="438"/>
                    </a:lnTo>
                    <a:lnTo>
                      <a:pt x="192" y="438"/>
                    </a:lnTo>
                    <a:lnTo>
                      <a:pt x="194" y="438"/>
                    </a:lnTo>
                    <a:lnTo>
                      <a:pt x="199" y="438"/>
                    </a:lnTo>
                    <a:lnTo>
                      <a:pt x="204" y="440"/>
                    </a:lnTo>
                    <a:lnTo>
                      <a:pt x="204" y="440"/>
                    </a:lnTo>
                    <a:lnTo>
                      <a:pt x="201" y="440"/>
                    </a:lnTo>
                    <a:lnTo>
                      <a:pt x="204" y="442"/>
                    </a:lnTo>
                    <a:lnTo>
                      <a:pt x="204" y="442"/>
                    </a:lnTo>
                    <a:lnTo>
                      <a:pt x="206" y="445"/>
                    </a:lnTo>
                    <a:lnTo>
                      <a:pt x="208" y="445"/>
                    </a:lnTo>
                    <a:lnTo>
                      <a:pt x="208" y="445"/>
                    </a:lnTo>
                    <a:lnTo>
                      <a:pt x="208" y="447"/>
                    </a:lnTo>
                    <a:lnTo>
                      <a:pt x="206" y="447"/>
                    </a:lnTo>
                    <a:lnTo>
                      <a:pt x="206" y="447"/>
                    </a:lnTo>
                    <a:lnTo>
                      <a:pt x="204" y="447"/>
                    </a:lnTo>
                    <a:lnTo>
                      <a:pt x="204" y="449"/>
                    </a:lnTo>
                    <a:lnTo>
                      <a:pt x="201" y="449"/>
                    </a:lnTo>
                    <a:lnTo>
                      <a:pt x="199" y="452"/>
                    </a:lnTo>
                    <a:lnTo>
                      <a:pt x="199" y="452"/>
                    </a:lnTo>
                    <a:lnTo>
                      <a:pt x="194" y="452"/>
                    </a:lnTo>
                    <a:lnTo>
                      <a:pt x="194" y="449"/>
                    </a:lnTo>
                    <a:lnTo>
                      <a:pt x="192" y="449"/>
                    </a:lnTo>
                    <a:lnTo>
                      <a:pt x="192" y="449"/>
                    </a:lnTo>
                    <a:lnTo>
                      <a:pt x="190" y="449"/>
                    </a:lnTo>
                    <a:lnTo>
                      <a:pt x="187" y="449"/>
                    </a:lnTo>
                    <a:lnTo>
                      <a:pt x="187" y="449"/>
                    </a:lnTo>
                    <a:lnTo>
                      <a:pt x="187" y="449"/>
                    </a:lnTo>
                    <a:lnTo>
                      <a:pt x="187" y="452"/>
                    </a:lnTo>
                    <a:lnTo>
                      <a:pt x="185" y="452"/>
                    </a:lnTo>
                    <a:lnTo>
                      <a:pt x="187" y="454"/>
                    </a:lnTo>
                    <a:lnTo>
                      <a:pt x="187" y="454"/>
                    </a:lnTo>
                    <a:lnTo>
                      <a:pt x="190" y="457"/>
                    </a:lnTo>
                    <a:lnTo>
                      <a:pt x="190" y="457"/>
                    </a:lnTo>
                    <a:lnTo>
                      <a:pt x="192" y="459"/>
                    </a:lnTo>
                    <a:lnTo>
                      <a:pt x="192" y="459"/>
                    </a:lnTo>
                    <a:lnTo>
                      <a:pt x="190" y="459"/>
                    </a:lnTo>
                    <a:lnTo>
                      <a:pt x="192" y="461"/>
                    </a:lnTo>
                    <a:lnTo>
                      <a:pt x="192" y="461"/>
                    </a:lnTo>
                    <a:lnTo>
                      <a:pt x="192" y="464"/>
                    </a:lnTo>
                    <a:lnTo>
                      <a:pt x="192" y="464"/>
                    </a:lnTo>
                    <a:lnTo>
                      <a:pt x="192" y="466"/>
                    </a:lnTo>
                    <a:lnTo>
                      <a:pt x="192" y="468"/>
                    </a:lnTo>
                    <a:lnTo>
                      <a:pt x="194" y="468"/>
                    </a:lnTo>
                    <a:lnTo>
                      <a:pt x="194" y="468"/>
                    </a:lnTo>
                    <a:lnTo>
                      <a:pt x="197" y="471"/>
                    </a:lnTo>
                    <a:lnTo>
                      <a:pt x="197" y="471"/>
                    </a:lnTo>
                    <a:lnTo>
                      <a:pt x="197" y="471"/>
                    </a:lnTo>
                    <a:lnTo>
                      <a:pt x="197" y="473"/>
                    </a:lnTo>
                    <a:lnTo>
                      <a:pt x="199" y="473"/>
                    </a:lnTo>
                    <a:lnTo>
                      <a:pt x="201" y="473"/>
                    </a:lnTo>
                    <a:lnTo>
                      <a:pt x="201" y="473"/>
                    </a:lnTo>
                    <a:lnTo>
                      <a:pt x="204" y="471"/>
                    </a:lnTo>
                    <a:lnTo>
                      <a:pt x="204" y="471"/>
                    </a:lnTo>
                    <a:lnTo>
                      <a:pt x="206" y="468"/>
                    </a:lnTo>
                    <a:lnTo>
                      <a:pt x="206" y="468"/>
                    </a:lnTo>
                    <a:lnTo>
                      <a:pt x="206" y="466"/>
                    </a:lnTo>
                    <a:lnTo>
                      <a:pt x="206" y="466"/>
                    </a:lnTo>
                    <a:lnTo>
                      <a:pt x="208" y="468"/>
                    </a:lnTo>
                    <a:lnTo>
                      <a:pt x="213" y="468"/>
                    </a:lnTo>
                    <a:lnTo>
                      <a:pt x="213" y="468"/>
                    </a:lnTo>
                    <a:lnTo>
                      <a:pt x="218" y="466"/>
                    </a:lnTo>
                    <a:lnTo>
                      <a:pt x="220" y="466"/>
                    </a:lnTo>
                    <a:lnTo>
                      <a:pt x="223" y="466"/>
                    </a:lnTo>
                    <a:lnTo>
                      <a:pt x="225" y="466"/>
                    </a:lnTo>
                    <a:lnTo>
                      <a:pt x="227" y="466"/>
                    </a:lnTo>
                    <a:lnTo>
                      <a:pt x="227" y="466"/>
                    </a:lnTo>
                    <a:lnTo>
                      <a:pt x="230" y="468"/>
                    </a:lnTo>
                    <a:lnTo>
                      <a:pt x="232" y="471"/>
                    </a:lnTo>
                    <a:lnTo>
                      <a:pt x="234" y="473"/>
                    </a:lnTo>
                    <a:lnTo>
                      <a:pt x="239" y="478"/>
                    </a:lnTo>
                    <a:lnTo>
                      <a:pt x="239" y="478"/>
                    </a:lnTo>
                    <a:lnTo>
                      <a:pt x="239" y="480"/>
                    </a:lnTo>
                    <a:lnTo>
                      <a:pt x="237" y="480"/>
                    </a:lnTo>
                    <a:lnTo>
                      <a:pt x="234" y="480"/>
                    </a:lnTo>
                    <a:lnTo>
                      <a:pt x="234" y="480"/>
                    </a:lnTo>
                    <a:lnTo>
                      <a:pt x="234" y="480"/>
                    </a:lnTo>
                    <a:lnTo>
                      <a:pt x="237" y="483"/>
                    </a:lnTo>
                    <a:lnTo>
                      <a:pt x="237" y="485"/>
                    </a:lnTo>
                    <a:lnTo>
                      <a:pt x="237" y="485"/>
                    </a:lnTo>
                    <a:lnTo>
                      <a:pt x="237" y="487"/>
                    </a:lnTo>
                    <a:lnTo>
                      <a:pt x="239" y="487"/>
                    </a:lnTo>
                    <a:lnTo>
                      <a:pt x="239" y="487"/>
                    </a:lnTo>
                    <a:lnTo>
                      <a:pt x="237" y="487"/>
                    </a:lnTo>
                    <a:lnTo>
                      <a:pt x="237" y="490"/>
                    </a:lnTo>
                    <a:lnTo>
                      <a:pt x="237" y="490"/>
                    </a:lnTo>
                    <a:lnTo>
                      <a:pt x="242" y="490"/>
                    </a:lnTo>
                    <a:lnTo>
                      <a:pt x="244" y="490"/>
                    </a:lnTo>
                    <a:lnTo>
                      <a:pt x="246" y="490"/>
                    </a:lnTo>
                    <a:lnTo>
                      <a:pt x="246" y="490"/>
                    </a:lnTo>
                    <a:lnTo>
                      <a:pt x="249" y="490"/>
                    </a:lnTo>
                    <a:lnTo>
                      <a:pt x="251" y="490"/>
                    </a:lnTo>
                    <a:lnTo>
                      <a:pt x="251" y="490"/>
                    </a:lnTo>
                    <a:lnTo>
                      <a:pt x="251" y="490"/>
                    </a:lnTo>
                    <a:lnTo>
                      <a:pt x="253" y="492"/>
                    </a:lnTo>
                    <a:lnTo>
                      <a:pt x="253" y="492"/>
                    </a:lnTo>
                    <a:lnTo>
                      <a:pt x="253" y="492"/>
                    </a:lnTo>
                    <a:lnTo>
                      <a:pt x="256" y="492"/>
                    </a:lnTo>
                    <a:lnTo>
                      <a:pt x="256" y="492"/>
                    </a:lnTo>
                    <a:lnTo>
                      <a:pt x="256" y="494"/>
                    </a:lnTo>
                    <a:lnTo>
                      <a:pt x="256" y="494"/>
                    </a:lnTo>
                    <a:lnTo>
                      <a:pt x="256" y="494"/>
                    </a:lnTo>
                    <a:lnTo>
                      <a:pt x="256" y="497"/>
                    </a:lnTo>
                    <a:lnTo>
                      <a:pt x="258" y="497"/>
                    </a:lnTo>
                    <a:lnTo>
                      <a:pt x="258" y="499"/>
                    </a:lnTo>
                    <a:lnTo>
                      <a:pt x="258" y="499"/>
                    </a:lnTo>
                    <a:lnTo>
                      <a:pt x="258" y="499"/>
                    </a:lnTo>
                    <a:lnTo>
                      <a:pt x="258" y="502"/>
                    </a:lnTo>
                    <a:lnTo>
                      <a:pt x="258" y="502"/>
                    </a:lnTo>
                    <a:lnTo>
                      <a:pt x="258" y="504"/>
                    </a:lnTo>
                    <a:lnTo>
                      <a:pt x="260" y="504"/>
                    </a:lnTo>
                    <a:lnTo>
                      <a:pt x="260" y="506"/>
                    </a:lnTo>
                    <a:lnTo>
                      <a:pt x="263" y="506"/>
                    </a:lnTo>
                    <a:lnTo>
                      <a:pt x="263" y="506"/>
                    </a:lnTo>
                    <a:lnTo>
                      <a:pt x="265" y="506"/>
                    </a:lnTo>
                    <a:lnTo>
                      <a:pt x="268" y="506"/>
                    </a:lnTo>
                    <a:lnTo>
                      <a:pt x="268" y="506"/>
                    </a:lnTo>
                    <a:lnTo>
                      <a:pt x="270" y="506"/>
                    </a:lnTo>
                    <a:lnTo>
                      <a:pt x="272" y="506"/>
                    </a:lnTo>
                    <a:lnTo>
                      <a:pt x="272" y="509"/>
                    </a:lnTo>
                    <a:lnTo>
                      <a:pt x="275" y="509"/>
                    </a:lnTo>
                    <a:lnTo>
                      <a:pt x="275" y="509"/>
                    </a:lnTo>
                    <a:lnTo>
                      <a:pt x="277" y="509"/>
                    </a:lnTo>
                    <a:lnTo>
                      <a:pt x="277" y="509"/>
                    </a:lnTo>
                    <a:lnTo>
                      <a:pt x="279" y="511"/>
                    </a:lnTo>
                    <a:lnTo>
                      <a:pt x="279" y="509"/>
                    </a:lnTo>
                    <a:lnTo>
                      <a:pt x="282" y="509"/>
                    </a:lnTo>
                    <a:lnTo>
                      <a:pt x="284" y="506"/>
                    </a:lnTo>
                    <a:lnTo>
                      <a:pt x="286" y="506"/>
                    </a:lnTo>
                    <a:lnTo>
                      <a:pt x="286" y="506"/>
                    </a:lnTo>
                    <a:lnTo>
                      <a:pt x="289" y="506"/>
                    </a:lnTo>
                    <a:lnTo>
                      <a:pt x="291" y="506"/>
                    </a:lnTo>
                    <a:lnTo>
                      <a:pt x="291" y="506"/>
                    </a:lnTo>
                    <a:lnTo>
                      <a:pt x="294" y="506"/>
                    </a:lnTo>
                    <a:lnTo>
                      <a:pt x="294" y="509"/>
                    </a:lnTo>
                    <a:lnTo>
                      <a:pt x="296" y="509"/>
                    </a:lnTo>
                    <a:lnTo>
                      <a:pt x="296" y="511"/>
                    </a:lnTo>
                    <a:lnTo>
                      <a:pt x="301" y="516"/>
                    </a:lnTo>
                    <a:lnTo>
                      <a:pt x="303" y="516"/>
                    </a:lnTo>
                    <a:lnTo>
                      <a:pt x="303" y="516"/>
                    </a:lnTo>
                    <a:lnTo>
                      <a:pt x="305" y="516"/>
                    </a:lnTo>
                    <a:lnTo>
                      <a:pt x="305" y="516"/>
                    </a:lnTo>
                    <a:lnTo>
                      <a:pt x="305" y="513"/>
                    </a:lnTo>
                    <a:lnTo>
                      <a:pt x="305" y="513"/>
                    </a:lnTo>
                    <a:lnTo>
                      <a:pt x="305" y="513"/>
                    </a:lnTo>
                    <a:lnTo>
                      <a:pt x="310" y="516"/>
                    </a:lnTo>
                    <a:lnTo>
                      <a:pt x="310" y="516"/>
                    </a:lnTo>
                    <a:lnTo>
                      <a:pt x="313" y="516"/>
                    </a:lnTo>
                    <a:lnTo>
                      <a:pt x="315" y="516"/>
                    </a:lnTo>
                    <a:lnTo>
                      <a:pt x="317" y="518"/>
                    </a:lnTo>
                    <a:lnTo>
                      <a:pt x="320" y="518"/>
                    </a:lnTo>
                    <a:lnTo>
                      <a:pt x="320" y="518"/>
                    </a:lnTo>
                    <a:lnTo>
                      <a:pt x="322" y="518"/>
                    </a:lnTo>
                    <a:lnTo>
                      <a:pt x="322" y="518"/>
                    </a:lnTo>
                    <a:lnTo>
                      <a:pt x="322" y="518"/>
                    </a:lnTo>
                    <a:lnTo>
                      <a:pt x="324" y="520"/>
                    </a:lnTo>
                    <a:lnTo>
                      <a:pt x="324" y="520"/>
                    </a:lnTo>
                    <a:lnTo>
                      <a:pt x="327" y="520"/>
                    </a:lnTo>
                    <a:lnTo>
                      <a:pt x="329" y="520"/>
                    </a:lnTo>
                    <a:lnTo>
                      <a:pt x="331" y="523"/>
                    </a:lnTo>
                    <a:lnTo>
                      <a:pt x="334" y="523"/>
                    </a:lnTo>
                    <a:lnTo>
                      <a:pt x="336" y="523"/>
                    </a:lnTo>
                    <a:lnTo>
                      <a:pt x="336" y="523"/>
                    </a:lnTo>
                    <a:lnTo>
                      <a:pt x="336" y="523"/>
                    </a:lnTo>
                    <a:lnTo>
                      <a:pt x="339" y="523"/>
                    </a:lnTo>
                    <a:lnTo>
                      <a:pt x="336" y="525"/>
                    </a:lnTo>
                    <a:lnTo>
                      <a:pt x="336" y="525"/>
                    </a:lnTo>
                    <a:lnTo>
                      <a:pt x="339" y="528"/>
                    </a:lnTo>
                    <a:lnTo>
                      <a:pt x="339" y="528"/>
                    </a:lnTo>
                    <a:lnTo>
                      <a:pt x="339" y="530"/>
                    </a:lnTo>
                    <a:lnTo>
                      <a:pt x="339" y="530"/>
                    </a:lnTo>
                    <a:lnTo>
                      <a:pt x="336" y="532"/>
                    </a:lnTo>
                    <a:lnTo>
                      <a:pt x="336" y="532"/>
                    </a:lnTo>
                    <a:lnTo>
                      <a:pt x="334" y="535"/>
                    </a:lnTo>
                    <a:lnTo>
                      <a:pt x="331" y="535"/>
                    </a:lnTo>
                    <a:lnTo>
                      <a:pt x="334" y="535"/>
                    </a:lnTo>
                    <a:lnTo>
                      <a:pt x="334" y="537"/>
                    </a:lnTo>
                    <a:lnTo>
                      <a:pt x="336" y="537"/>
                    </a:lnTo>
                    <a:lnTo>
                      <a:pt x="339" y="537"/>
                    </a:lnTo>
                    <a:lnTo>
                      <a:pt x="339" y="539"/>
                    </a:lnTo>
                    <a:lnTo>
                      <a:pt x="339" y="539"/>
                    </a:lnTo>
                    <a:lnTo>
                      <a:pt x="336" y="539"/>
                    </a:lnTo>
                    <a:lnTo>
                      <a:pt x="334" y="539"/>
                    </a:lnTo>
                    <a:lnTo>
                      <a:pt x="334" y="539"/>
                    </a:lnTo>
                    <a:lnTo>
                      <a:pt x="334" y="539"/>
                    </a:lnTo>
                    <a:lnTo>
                      <a:pt x="334" y="542"/>
                    </a:lnTo>
                    <a:lnTo>
                      <a:pt x="334" y="544"/>
                    </a:lnTo>
                    <a:lnTo>
                      <a:pt x="336" y="544"/>
                    </a:lnTo>
                    <a:lnTo>
                      <a:pt x="336" y="544"/>
                    </a:lnTo>
                    <a:lnTo>
                      <a:pt x="336" y="546"/>
                    </a:lnTo>
                    <a:lnTo>
                      <a:pt x="339" y="546"/>
                    </a:lnTo>
                    <a:lnTo>
                      <a:pt x="339" y="549"/>
                    </a:lnTo>
                    <a:lnTo>
                      <a:pt x="336" y="549"/>
                    </a:lnTo>
                    <a:lnTo>
                      <a:pt x="339" y="549"/>
                    </a:lnTo>
                    <a:lnTo>
                      <a:pt x="339" y="549"/>
                    </a:lnTo>
                    <a:lnTo>
                      <a:pt x="339" y="549"/>
                    </a:lnTo>
                    <a:lnTo>
                      <a:pt x="339" y="549"/>
                    </a:lnTo>
                    <a:lnTo>
                      <a:pt x="339" y="551"/>
                    </a:lnTo>
                    <a:lnTo>
                      <a:pt x="339" y="551"/>
                    </a:lnTo>
                    <a:lnTo>
                      <a:pt x="339" y="554"/>
                    </a:lnTo>
                    <a:lnTo>
                      <a:pt x="336" y="556"/>
                    </a:lnTo>
                    <a:lnTo>
                      <a:pt x="339" y="558"/>
                    </a:lnTo>
                    <a:lnTo>
                      <a:pt x="336" y="558"/>
                    </a:lnTo>
                    <a:lnTo>
                      <a:pt x="336" y="558"/>
                    </a:lnTo>
                    <a:lnTo>
                      <a:pt x="331" y="558"/>
                    </a:lnTo>
                    <a:lnTo>
                      <a:pt x="327" y="558"/>
                    </a:lnTo>
                    <a:lnTo>
                      <a:pt x="327" y="558"/>
                    </a:lnTo>
                    <a:lnTo>
                      <a:pt x="324" y="558"/>
                    </a:lnTo>
                    <a:lnTo>
                      <a:pt x="322" y="558"/>
                    </a:lnTo>
                    <a:lnTo>
                      <a:pt x="320" y="561"/>
                    </a:lnTo>
                    <a:lnTo>
                      <a:pt x="320" y="563"/>
                    </a:lnTo>
                    <a:lnTo>
                      <a:pt x="317" y="563"/>
                    </a:lnTo>
                    <a:lnTo>
                      <a:pt x="315" y="563"/>
                    </a:lnTo>
                    <a:lnTo>
                      <a:pt x="315" y="565"/>
                    </a:lnTo>
                    <a:lnTo>
                      <a:pt x="315" y="565"/>
                    </a:lnTo>
                    <a:lnTo>
                      <a:pt x="315" y="568"/>
                    </a:lnTo>
                    <a:lnTo>
                      <a:pt x="315" y="568"/>
                    </a:lnTo>
                    <a:lnTo>
                      <a:pt x="313" y="568"/>
                    </a:lnTo>
                    <a:lnTo>
                      <a:pt x="313" y="570"/>
                    </a:lnTo>
                    <a:lnTo>
                      <a:pt x="313" y="570"/>
                    </a:lnTo>
                    <a:lnTo>
                      <a:pt x="315" y="570"/>
                    </a:lnTo>
                    <a:lnTo>
                      <a:pt x="315" y="570"/>
                    </a:lnTo>
                    <a:lnTo>
                      <a:pt x="315" y="570"/>
                    </a:lnTo>
                    <a:lnTo>
                      <a:pt x="315" y="570"/>
                    </a:lnTo>
                    <a:lnTo>
                      <a:pt x="315" y="573"/>
                    </a:lnTo>
                    <a:lnTo>
                      <a:pt x="313" y="573"/>
                    </a:lnTo>
                    <a:lnTo>
                      <a:pt x="315" y="573"/>
                    </a:lnTo>
                    <a:lnTo>
                      <a:pt x="315" y="575"/>
                    </a:lnTo>
                    <a:lnTo>
                      <a:pt x="317" y="573"/>
                    </a:lnTo>
                    <a:lnTo>
                      <a:pt x="320" y="570"/>
                    </a:lnTo>
                    <a:lnTo>
                      <a:pt x="322" y="570"/>
                    </a:lnTo>
                    <a:lnTo>
                      <a:pt x="322" y="570"/>
                    </a:lnTo>
                    <a:lnTo>
                      <a:pt x="322" y="573"/>
                    </a:lnTo>
                    <a:lnTo>
                      <a:pt x="320" y="573"/>
                    </a:lnTo>
                    <a:lnTo>
                      <a:pt x="322" y="573"/>
                    </a:lnTo>
                    <a:lnTo>
                      <a:pt x="327" y="573"/>
                    </a:lnTo>
                    <a:lnTo>
                      <a:pt x="327" y="570"/>
                    </a:lnTo>
                    <a:lnTo>
                      <a:pt x="329" y="570"/>
                    </a:lnTo>
                    <a:lnTo>
                      <a:pt x="331" y="573"/>
                    </a:lnTo>
                    <a:lnTo>
                      <a:pt x="331" y="575"/>
                    </a:lnTo>
                    <a:lnTo>
                      <a:pt x="331" y="575"/>
                    </a:lnTo>
                    <a:lnTo>
                      <a:pt x="331" y="575"/>
                    </a:lnTo>
                    <a:lnTo>
                      <a:pt x="329" y="575"/>
                    </a:lnTo>
                    <a:lnTo>
                      <a:pt x="324" y="577"/>
                    </a:lnTo>
                    <a:lnTo>
                      <a:pt x="322" y="580"/>
                    </a:lnTo>
                    <a:lnTo>
                      <a:pt x="320" y="580"/>
                    </a:lnTo>
                    <a:lnTo>
                      <a:pt x="320" y="582"/>
                    </a:lnTo>
                    <a:lnTo>
                      <a:pt x="320" y="582"/>
                    </a:lnTo>
                    <a:lnTo>
                      <a:pt x="317" y="582"/>
                    </a:lnTo>
                    <a:lnTo>
                      <a:pt x="315" y="582"/>
                    </a:lnTo>
                    <a:lnTo>
                      <a:pt x="315" y="582"/>
                    </a:lnTo>
                    <a:lnTo>
                      <a:pt x="313" y="584"/>
                    </a:lnTo>
                    <a:lnTo>
                      <a:pt x="310" y="584"/>
                    </a:lnTo>
                    <a:lnTo>
                      <a:pt x="308" y="584"/>
                    </a:lnTo>
                    <a:lnTo>
                      <a:pt x="310" y="587"/>
                    </a:lnTo>
                    <a:lnTo>
                      <a:pt x="310" y="589"/>
                    </a:lnTo>
                    <a:lnTo>
                      <a:pt x="313" y="589"/>
                    </a:lnTo>
                    <a:lnTo>
                      <a:pt x="315" y="589"/>
                    </a:lnTo>
                    <a:lnTo>
                      <a:pt x="317" y="591"/>
                    </a:lnTo>
                    <a:lnTo>
                      <a:pt x="322" y="594"/>
                    </a:lnTo>
                    <a:lnTo>
                      <a:pt x="320" y="596"/>
                    </a:lnTo>
                    <a:lnTo>
                      <a:pt x="320" y="594"/>
                    </a:lnTo>
                    <a:lnTo>
                      <a:pt x="317" y="594"/>
                    </a:lnTo>
                    <a:lnTo>
                      <a:pt x="315" y="596"/>
                    </a:lnTo>
                    <a:lnTo>
                      <a:pt x="315" y="599"/>
                    </a:lnTo>
                    <a:lnTo>
                      <a:pt x="315" y="596"/>
                    </a:lnTo>
                    <a:lnTo>
                      <a:pt x="315" y="596"/>
                    </a:lnTo>
                    <a:lnTo>
                      <a:pt x="315" y="596"/>
                    </a:lnTo>
                    <a:lnTo>
                      <a:pt x="313" y="596"/>
                    </a:lnTo>
                    <a:lnTo>
                      <a:pt x="313" y="601"/>
                    </a:lnTo>
                    <a:lnTo>
                      <a:pt x="310" y="603"/>
                    </a:lnTo>
                    <a:lnTo>
                      <a:pt x="308" y="606"/>
                    </a:lnTo>
                    <a:lnTo>
                      <a:pt x="308" y="608"/>
                    </a:lnTo>
                    <a:lnTo>
                      <a:pt x="308" y="608"/>
                    </a:lnTo>
                    <a:lnTo>
                      <a:pt x="310" y="608"/>
                    </a:lnTo>
                    <a:lnTo>
                      <a:pt x="310" y="608"/>
                    </a:lnTo>
                    <a:lnTo>
                      <a:pt x="310" y="610"/>
                    </a:lnTo>
                    <a:lnTo>
                      <a:pt x="303" y="610"/>
                    </a:lnTo>
                    <a:lnTo>
                      <a:pt x="303" y="613"/>
                    </a:lnTo>
                    <a:lnTo>
                      <a:pt x="301" y="610"/>
                    </a:lnTo>
                    <a:lnTo>
                      <a:pt x="298" y="610"/>
                    </a:lnTo>
                    <a:lnTo>
                      <a:pt x="296" y="608"/>
                    </a:lnTo>
                    <a:lnTo>
                      <a:pt x="296" y="608"/>
                    </a:lnTo>
                    <a:lnTo>
                      <a:pt x="294" y="610"/>
                    </a:lnTo>
                    <a:lnTo>
                      <a:pt x="294" y="610"/>
                    </a:lnTo>
                    <a:lnTo>
                      <a:pt x="296" y="610"/>
                    </a:lnTo>
                    <a:lnTo>
                      <a:pt x="298" y="610"/>
                    </a:lnTo>
                    <a:lnTo>
                      <a:pt x="296" y="613"/>
                    </a:lnTo>
                    <a:lnTo>
                      <a:pt x="294" y="613"/>
                    </a:lnTo>
                    <a:lnTo>
                      <a:pt x="294" y="615"/>
                    </a:lnTo>
                    <a:lnTo>
                      <a:pt x="294" y="615"/>
                    </a:lnTo>
                    <a:lnTo>
                      <a:pt x="298" y="615"/>
                    </a:lnTo>
                    <a:lnTo>
                      <a:pt x="303" y="620"/>
                    </a:lnTo>
                    <a:lnTo>
                      <a:pt x="305" y="620"/>
                    </a:lnTo>
                    <a:lnTo>
                      <a:pt x="305" y="622"/>
                    </a:lnTo>
                    <a:lnTo>
                      <a:pt x="308" y="625"/>
                    </a:lnTo>
                    <a:lnTo>
                      <a:pt x="308" y="625"/>
                    </a:lnTo>
                    <a:lnTo>
                      <a:pt x="310" y="625"/>
                    </a:lnTo>
                    <a:lnTo>
                      <a:pt x="313" y="627"/>
                    </a:lnTo>
                    <a:lnTo>
                      <a:pt x="315" y="625"/>
                    </a:lnTo>
                    <a:lnTo>
                      <a:pt x="322" y="632"/>
                    </a:lnTo>
                    <a:lnTo>
                      <a:pt x="324" y="632"/>
                    </a:lnTo>
                    <a:lnTo>
                      <a:pt x="329" y="634"/>
                    </a:lnTo>
                    <a:lnTo>
                      <a:pt x="331" y="634"/>
                    </a:lnTo>
                    <a:lnTo>
                      <a:pt x="341" y="641"/>
                    </a:lnTo>
                    <a:lnTo>
                      <a:pt x="346" y="646"/>
                    </a:lnTo>
                    <a:lnTo>
                      <a:pt x="353" y="651"/>
                    </a:lnTo>
                    <a:lnTo>
                      <a:pt x="355" y="651"/>
                    </a:lnTo>
                    <a:lnTo>
                      <a:pt x="355" y="651"/>
                    </a:lnTo>
                    <a:lnTo>
                      <a:pt x="355" y="648"/>
                    </a:lnTo>
                    <a:lnTo>
                      <a:pt x="357" y="648"/>
                    </a:lnTo>
                    <a:lnTo>
                      <a:pt x="360" y="648"/>
                    </a:lnTo>
                    <a:lnTo>
                      <a:pt x="362" y="648"/>
                    </a:lnTo>
                    <a:lnTo>
                      <a:pt x="365" y="648"/>
                    </a:lnTo>
                    <a:lnTo>
                      <a:pt x="367" y="651"/>
                    </a:lnTo>
                    <a:lnTo>
                      <a:pt x="369" y="651"/>
                    </a:lnTo>
                    <a:lnTo>
                      <a:pt x="372" y="653"/>
                    </a:lnTo>
                    <a:lnTo>
                      <a:pt x="376" y="653"/>
                    </a:lnTo>
                    <a:lnTo>
                      <a:pt x="379" y="655"/>
                    </a:lnTo>
                    <a:lnTo>
                      <a:pt x="381" y="655"/>
                    </a:lnTo>
                    <a:lnTo>
                      <a:pt x="391" y="655"/>
                    </a:lnTo>
                    <a:lnTo>
                      <a:pt x="391" y="655"/>
                    </a:lnTo>
                    <a:lnTo>
                      <a:pt x="391" y="655"/>
                    </a:lnTo>
                    <a:lnTo>
                      <a:pt x="393" y="655"/>
                    </a:lnTo>
                    <a:lnTo>
                      <a:pt x="395" y="655"/>
                    </a:lnTo>
                    <a:lnTo>
                      <a:pt x="398" y="658"/>
                    </a:lnTo>
                    <a:lnTo>
                      <a:pt x="400" y="658"/>
                    </a:lnTo>
                    <a:lnTo>
                      <a:pt x="402" y="655"/>
                    </a:lnTo>
                    <a:lnTo>
                      <a:pt x="405" y="658"/>
                    </a:lnTo>
                    <a:lnTo>
                      <a:pt x="405" y="658"/>
                    </a:lnTo>
                    <a:lnTo>
                      <a:pt x="407" y="658"/>
                    </a:lnTo>
                    <a:lnTo>
                      <a:pt x="407" y="660"/>
                    </a:lnTo>
                    <a:lnTo>
                      <a:pt x="412" y="663"/>
                    </a:lnTo>
                    <a:lnTo>
                      <a:pt x="417" y="663"/>
                    </a:lnTo>
                    <a:lnTo>
                      <a:pt x="417" y="665"/>
                    </a:lnTo>
                    <a:lnTo>
                      <a:pt x="421" y="665"/>
                    </a:lnTo>
                    <a:lnTo>
                      <a:pt x="421" y="665"/>
                    </a:lnTo>
                    <a:lnTo>
                      <a:pt x="421" y="665"/>
                    </a:lnTo>
                    <a:lnTo>
                      <a:pt x="419" y="667"/>
                    </a:lnTo>
                    <a:lnTo>
                      <a:pt x="419" y="667"/>
                    </a:lnTo>
                    <a:lnTo>
                      <a:pt x="421" y="667"/>
                    </a:lnTo>
                    <a:lnTo>
                      <a:pt x="421" y="670"/>
                    </a:lnTo>
                    <a:lnTo>
                      <a:pt x="424" y="670"/>
                    </a:lnTo>
                    <a:lnTo>
                      <a:pt x="424" y="667"/>
                    </a:lnTo>
                    <a:lnTo>
                      <a:pt x="426" y="667"/>
                    </a:lnTo>
                    <a:lnTo>
                      <a:pt x="428" y="667"/>
                    </a:lnTo>
                    <a:lnTo>
                      <a:pt x="431" y="665"/>
                    </a:lnTo>
                    <a:lnTo>
                      <a:pt x="433" y="665"/>
                    </a:lnTo>
                    <a:lnTo>
                      <a:pt x="433" y="665"/>
                    </a:lnTo>
                    <a:lnTo>
                      <a:pt x="436" y="665"/>
                    </a:lnTo>
                    <a:lnTo>
                      <a:pt x="436" y="665"/>
                    </a:lnTo>
                    <a:lnTo>
                      <a:pt x="438" y="667"/>
                    </a:lnTo>
                    <a:lnTo>
                      <a:pt x="438" y="665"/>
                    </a:lnTo>
                    <a:lnTo>
                      <a:pt x="438" y="665"/>
                    </a:lnTo>
                    <a:lnTo>
                      <a:pt x="440" y="665"/>
                    </a:lnTo>
                    <a:lnTo>
                      <a:pt x="443" y="667"/>
                    </a:lnTo>
                    <a:lnTo>
                      <a:pt x="445" y="667"/>
                    </a:lnTo>
                    <a:lnTo>
                      <a:pt x="445" y="667"/>
                    </a:lnTo>
                    <a:lnTo>
                      <a:pt x="447" y="670"/>
                    </a:lnTo>
                    <a:lnTo>
                      <a:pt x="452" y="670"/>
                    </a:lnTo>
                    <a:lnTo>
                      <a:pt x="452" y="670"/>
                    </a:lnTo>
                    <a:lnTo>
                      <a:pt x="454" y="670"/>
                    </a:lnTo>
                    <a:lnTo>
                      <a:pt x="454" y="670"/>
                    </a:lnTo>
                    <a:lnTo>
                      <a:pt x="454" y="672"/>
                    </a:lnTo>
                    <a:lnTo>
                      <a:pt x="454" y="674"/>
                    </a:lnTo>
                    <a:lnTo>
                      <a:pt x="454" y="677"/>
                    </a:lnTo>
                    <a:lnTo>
                      <a:pt x="454" y="677"/>
                    </a:lnTo>
                    <a:lnTo>
                      <a:pt x="457" y="679"/>
                    </a:lnTo>
                    <a:lnTo>
                      <a:pt x="459" y="679"/>
                    </a:lnTo>
                    <a:lnTo>
                      <a:pt x="459" y="679"/>
                    </a:lnTo>
                    <a:lnTo>
                      <a:pt x="462" y="679"/>
                    </a:lnTo>
                    <a:lnTo>
                      <a:pt x="464" y="681"/>
                    </a:lnTo>
                    <a:lnTo>
                      <a:pt x="464" y="681"/>
                    </a:lnTo>
                    <a:lnTo>
                      <a:pt x="464" y="681"/>
                    </a:lnTo>
                    <a:lnTo>
                      <a:pt x="469" y="681"/>
                    </a:lnTo>
                    <a:lnTo>
                      <a:pt x="469" y="681"/>
                    </a:lnTo>
                    <a:lnTo>
                      <a:pt x="471" y="684"/>
                    </a:lnTo>
                    <a:lnTo>
                      <a:pt x="471" y="684"/>
                    </a:lnTo>
                    <a:lnTo>
                      <a:pt x="471" y="684"/>
                    </a:lnTo>
                    <a:lnTo>
                      <a:pt x="471" y="684"/>
                    </a:lnTo>
                    <a:lnTo>
                      <a:pt x="473" y="684"/>
                    </a:lnTo>
                    <a:lnTo>
                      <a:pt x="473" y="684"/>
                    </a:lnTo>
                    <a:lnTo>
                      <a:pt x="476" y="686"/>
                    </a:lnTo>
                    <a:lnTo>
                      <a:pt x="478" y="686"/>
                    </a:lnTo>
                    <a:lnTo>
                      <a:pt x="478" y="689"/>
                    </a:lnTo>
                    <a:lnTo>
                      <a:pt x="478" y="689"/>
                    </a:lnTo>
                    <a:lnTo>
                      <a:pt x="480" y="689"/>
                    </a:lnTo>
                    <a:lnTo>
                      <a:pt x="480" y="691"/>
                    </a:lnTo>
                    <a:lnTo>
                      <a:pt x="483" y="691"/>
                    </a:lnTo>
                    <a:lnTo>
                      <a:pt x="485" y="693"/>
                    </a:lnTo>
                    <a:lnTo>
                      <a:pt x="485" y="696"/>
                    </a:lnTo>
                    <a:lnTo>
                      <a:pt x="490" y="696"/>
                    </a:lnTo>
                    <a:lnTo>
                      <a:pt x="490" y="696"/>
                    </a:lnTo>
                    <a:lnTo>
                      <a:pt x="495" y="696"/>
                    </a:lnTo>
                    <a:lnTo>
                      <a:pt x="495" y="696"/>
                    </a:lnTo>
                    <a:lnTo>
                      <a:pt x="497" y="693"/>
                    </a:lnTo>
                    <a:lnTo>
                      <a:pt x="497" y="691"/>
                    </a:lnTo>
                    <a:lnTo>
                      <a:pt x="499" y="691"/>
                    </a:lnTo>
                    <a:lnTo>
                      <a:pt x="502" y="689"/>
                    </a:lnTo>
                    <a:lnTo>
                      <a:pt x="502" y="689"/>
                    </a:lnTo>
                    <a:lnTo>
                      <a:pt x="502" y="686"/>
                    </a:lnTo>
                    <a:lnTo>
                      <a:pt x="504" y="684"/>
                    </a:lnTo>
                    <a:lnTo>
                      <a:pt x="504" y="684"/>
                    </a:lnTo>
                    <a:lnTo>
                      <a:pt x="502" y="681"/>
                    </a:lnTo>
                    <a:lnTo>
                      <a:pt x="502" y="681"/>
                    </a:lnTo>
                    <a:lnTo>
                      <a:pt x="502" y="681"/>
                    </a:lnTo>
                    <a:lnTo>
                      <a:pt x="499" y="679"/>
                    </a:lnTo>
                    <a:lnTo>
                      <a:pt x="497" y="677"/>
                    </a:lnTo>
                    <a:lnTo>
                      <a:pt x="495" y="672"/>
                    </a:lnTo>
                    <a:lnTo>
                      <a:pt x="490" y="667"/>
                    </a:lnTo>
                    <a:lnTo>
                      <a:pt x="488" y="667"/>
                    </a:lnTo>
                    <a:lnTo>
                      <a:pt x="488" y="667"/>
                    </a:lnTo>
                    <a:lnTo>
                      <a:pt x="488" y="665"/>
                    </a:lnTo>
                    <a:lnTo>
                      <a:pt x="485" y="663"/>
                    </a:lnTo>
                    <a:lnTo>
                      <a:pt x="483" y="660"/>
                    </a:lnTo>
                    <a:lnTo>
                      <a:pt x="483" y="660"/>
                    </a:lnTo>
                    <a:lnTo>
                      <a:pt x="483" y="660"/>
                    </a:lnTo>
                    <a:lnTo>
                      <a:pt x="483" y="655"/>
                    </a:lnTo>
                    <a:lnTo>
                      <a:pt x="480" y="655"/>
                    </a:lnTo>
                    <a:lnTo>
                      <a:pt x="480" y="653"/>
                    </a:lnTo>
                    <a:lnTo>
                      <a:pt x="480" y="648"/>
                    </a:lnTo>
                    <a:lnTo>
                      <a:pt x="480" y="646"/>
                    </a:lnTo>
                    <a:lnTo>
                      <a:pt x="483" y="644"/>
                    </a:lnTo>
                    <a:lnTo>
                      <a:pt x="483" y="641"/>
                    </a:lnTo>
                    <a:lnTo>
                      <a:pt x="480" y="644"/>
                    </a:lnTo>
                    <a:lnTo>
                      <a:pt x="480" y="648"/>
                    </a:lnTo>
                    <a:lnTo>
                      <a:pt x="478" y="644"/>
                    </a:lnTo>
                    <a:lnTo>
                      <a:pt x="476" y="639"/>
                    </a:lnTo>
                    <a:lnTo>
                      <a:pt x="476" y="636"/>
                    </a:lnTo>
                    <a:lnTo>
                      <a:pt x="473" y="636"/>
                    </a:lnTo>
                    <a:lnTo>
                      <a:pt x="471" y="634"/>
                    </a:lnTo>
                    <a:lnTo>
                      <a:pt x="469" y="632"/>
                    </a:lnTo>
                    <a:lnTo>
                      <a:pt x="469" y="632"/>
                    </a:lnTo>
                    <a:lnTo>
                      <a:pt x="464" y="632"/>
                    </a:lnTo>
                    <a:lnTo>
                      <a:pt x="464" y="629"/>
                    </a:lnTo>
                    <a:lnTo>
                      <a:pt x="464" y="629"/>
                    </a:lnTo>
                    <a:lnTo>
                      <a:pt x="464" y="627"/>
                    </a:lnTo>
                    <a:lnTo>
                      <a:pt x="464" y="627"/>
                    </a:lnTo>
                    <a:lnTo>
                      <a:pt x="466" y="625"/>
                    </a:lnTo>
                    <a:lnTo>
                      <a:pt x="466" y="625"/>
                    </a:lnTo>
                    <a:lnTo>
                      <a:pt x="466" y="622"/>
                    </a:lnTo>
                    <a:lnTo>
                      <a:pt x="466" y="622"/>
                    </a:lnTo>
                    <a:lnTo>
                      <a:pt x="469" y="622"/>
                    </a:lnTo>
                    <a:lnTo>
                      <a:pt x="469" y="622"/>
                    </a:lnTo>
                    <a:lnTo>
                      <a:pt x="469" y="620"/>
                    </a:lnTo>
                    <a:lnTo>
                      <a:pt x="469" y="620"/>
                    </a:lnTo>
                    <a:lnTo>
                      <a:pt x="471" y="618"/>
                    </a:lnTo>
                    <a:lnTo>
                      <a:pt x="471" y="615"/>
                    </a:lnTo>
                    <a:lnTo>
                      <a:pt x="471" y="613"/>
                    </a:lnTo>
                    <a:lnTo>
                      <a:pt x="473" y="610"/>
                    </a:lnTo>
                    <a:lnTo>
                      <a:pt x="473" y="608"/>
                    </a:lnTo>
                    <a:lnTo>
                      <a:pt x="473" y="608"/>
                    </a:lnTo>
                    <a:lnTo>
                      <a:pt x="473" y="608"/>
                    </a:lnTo>
                    <a:lnTo>
                      <a:pt x="473" y="608"/>
                    </a:lnTo>
                    <a:lnTo>
                      <a:pt x="473" y="606"/>
                    </a:lnTo>
                    <a:lnTo>
                      <a:pt x="473" y="606"/>
                    </a:lnTo>
                    <a:lnTo>
                      <a:pt x="471" y="603"/>
                    </a:lnTo>
                    <a:lnTo>
                      <a:pt x="473" y="603"/>
                    </a:lnTo>
                    <a:lnTo>
                      <a:pt x="473" y="603"/>
                    </a:lnTo>
                    <a:lnTo>
                      <a:pt x="473" y="603"/>
                    </a:lnTo>
                    <a:lnTo>
                      <a:pt x="476" y="606"/>
                    </a:lnTo>
                    <a:lnTo>
                      <a:pt x="476" y="603"/>
                    </a:lnTo>
                    <a:lnTo>
                      <a:pt x="476" y="603"/>
                    </a:lnTo>
                    <a:lnTo>
                      <a:pt x="478" y="603"/>
                    </a:lnTo>
                    <a:lnTo>
                      <a:pt x="478" y="603"/>
                    </a:lnTo>
                    <a:lnTo>
                      <a:pt x="483" y="603"/>
                    </a:lnTo>
                    <a:lnTo>
                      <a:pt x="483" y="603"/>
                    </a:lnTo>
                    <a:lnTo>
                      <a:pt x="485" y="601"/>
                    </a:lnTo>
                    <a:lnTo>
                      <a:pt x="488" y="599"/>
                    </a:lnTo>
                    <a:lnTo>
                      <a:pt x="490" y="599"/>
                    </a:lnTo>
                    <a:lnTo>
                      <a:pt x="490" y="599"/>
                    </a:lnTo>
                    <a:lnTo>
                      <a:pt x="490" y="599"/>
                    </a:lnTo>
                    <a:lnTo>
                      <a:pt x="492" y="599"/>
                    </a:lnTo>
                    <a:lnTo>
                      <a:pt x="492" y="599"/>
                    </a:lnTo>
                    <a:lnTo>
                      <a:pt x="492" y="599"/>
                    </a:lnTo>
                    <a:lnTo>
                      <a:pt x="492" y="596"/>
                    </a:lnTo>
                    <a:lnTo>
                      <a:pt x="492" y="596"/>
                    </a:lnTo>
                    <a:lnTo>
                      <a:pt x="490" y="594"/>
                    </a:lnTo>
                    <a:lnTo>
                      <a:pt x="492" y="594"/>
                    </a:lnTo>
                    <a:lnTo>
                      <a:pt x="492" y="594"/>
                    </a:lnTo>
                    <a:lnTo>
                      <a:pt x="497" y="594"/>
                    </a:lnTo>
                    <a:lnTo>
                      <a:pt x="497" y="591"/>
                    </a:lnTo>
                    <a:lnTo>
                      <a:pt x="497" y="591"/>
                    </a:lnTo>
                    <a:lnTo>
                      <a:pt x="499" y="591"/>
                    </a:lnTo>
                    <a:lnTo>
                      <a:pt x="499" y="589"/>
                    </a:lnTo>
                    <a:lnTo>
                      <a:pt x="497" y="589"/>
                    </a:lnTo>
                    <a:lnTo>
                      <a:pt x="495" y="587"/>
                    </a:lnTo>
                    <a:lnTo>
                      <a:pt x="490" y="587"/>
                    </a:lnTo>
                    <a:lnTo>
                      <a:pt x="488" y="584"/>
                    </a:lnTo>
                    <a:lnTo>
                      <a:pt x="488" y="584"/>
                    </a:lnTo>
                    <a:lnTo>
                      <a:pt x="488" y="584"/>
                    </a:lnTo>
                    <a:lnTo>
                      <a:pt x="485" y="584"/>
                    </a:lnTo>
                    <a:lnTo>
                      <a:pt x="485" y="582"/>
                    </a:lnTo>
                    <a:lnTo>
                      <a:pt x="485" y="582"/>
                    </a:lnTo>
                    <a:lnTo>
                      <a:pt x="485" y="582"/>
                    </a:lnTo>
                    <a:lnTo>
                      <a:pt x="488" y="582"/>
                    </a:lnTo>
                    <a:lnTo>
                      <a:pt x="488" y="582"/>
                    </a:lnTo>
                    <a:lnTo>
                      <a:pt x="488" y="582"/>
                    </a:lnTo>
                    <a:lnTo>
                      <a:pt x="490" y="582"/>
                    </a:lnTo>
                    <a:lnTo>
                      <a:pt x="492" y="582"/>
                    </a:lnTo>
                    <a:lnTo>
                      <a:pt x="492" y="582"/>
                    </a:lnTo>
                    <a:lnTo>
                      <a:pt x="492" y="580"/>
                    </a:lnTo>
                    <a:lnTo>
                      <a:pt x="490" y="577"/>
                    </a:lnTo>
                    <a:lnTo>
                      <a:pt x="488" y="575"/>
                    </a:lnTo>
                    <a:lnTo>
                      <a:pt x="485" y="570"/>
                    </a:lnTo>
                    <a:lnTo>
                      <a:pt x="483" y="570"/>
                    </a:lnTo>
                    <a:lnTo>
                      <a:pt x="480" y="568"/>
                    </a:lnTo>
                    <a:lnTo>
                      <a:pt x="478" y="563"/>
                    </a:lnTo>
                    <a:lnTo>
                      <a:pt x="476" y="561"/>
                    </a:lnTo>
                    <a:lnTo>
                      <a:pt x="476" y="561"/>
                    </a:lnTo>
                    <a:lnTo>
                      <a:pt x="471" y="561"/>
                    </a:lnTo>
                    <a:lnTo>
                      <a:pt x="466" y="561"/>
                    </a:lnTo>
                    <a:lnTo>
                      <a:pt x="464" y="558"/>
                    </a:lnTo>
                    <a:lnTo>
                      <a:pt x="464" y="561"/>
                    </a:lnTo>
                    <a:lnTo>
                      <a:pt x="462" y="561"/>
                    </a:lnTo>
                    <a:lnTo>
                      <a:pt x="459" y="561"/>
                    </a:lnTo>
                    <a:lnTo>
                      <a:pt x="459" y="558"/>
                    </a:lnTo>
                    <a:lnTo>
                      <a:pt x="457" y="556"/>
                    </a:lnTo>
                    <a:lnTo>
                      <a:pt x="457" y="556"/>
                    </a:lnTo>
                    <a:lnTo>
                      <a:pt x="457" y="554"/>
                    </a:lnTo>
                    <a:lnTo>
                      <a:pt x="457" y="551"/>
                    </a:lnTo>
                    <a:lnTo>
                      <a:pt x="454" y="549"/>
                    </a:lnTo>
                    <a:lnTo>
                      <a:pt x="452" y="549"/>
                    </a:lnTo>
                    <a:lnTo>
                      <a:pt x="450" y="546"/>
                    </a:lnTo>
                    <a:lnTo>
                      <a:pt x="447" y="544"/>
                    </a:lnTo>
                    <a:lnTo>
                      <a:pt x="447" y="539"/>
                    </a:lnTo>
                    <a:lnTo>
                      <a:pt x="450" y="535"/>
                    </a:lnTo>
                    <a:lnTo>
                      <a:pt x="452" y="535"/>
                    </a:lnTo>
                    <a:lnTo>
                      <a:pt x="452" y="532"/>
                    </a:lnTo>
                    <a:lnTo>
                      <a:pt x="452" y="532"/>
                    </a:lnTo>
                    <a:lnTo>
                      <a:pt x="452" y="530"/>
                    </a:lnTo>
                    <a:lnTo>
                      <a:pt x="450" y="530"/>
                    </a:lnTo>
                    <a:lnTo>
                      <a:pt x="447" y="528"/>
                    </a:lnTo>
                    <a:lnTo>
                      <a:pt x="447" y="528"/>
                    </a:lnTo>
                    <a:lnTo>
                      <a:pt x="447" y="525"/>
                    </a:lnTo>
                    <a:lnTo>
                      <a:pt x="447" y="520"/>
                    </a:lnTo>
                    <a:lnTo>
                      <a:pt x="447" y="518"/>
                    </a:lnTo>
                    <a:lnTo>
                      <a:pt x="450" y="516"/>
                    </a:lnTo>
                    <a:lnTo>
                      <a:pt x="452" y="513"/>
                    </a:lnTo>
                    <a:lnTo>
                      <a:pt x="452" y="513"/>
                    </a:lnTo>
                    <a:lnTo>
                      <a:pt x="452" y="511"/>
                    </a:lnTo>
                    <a:lnTo>
                      <a:pt x="452" y="509"/>
                    </a:lnTo>
                    <a:lnTo>
                      <a:pt x="452" y="509"/>
                    </a:lnTo>
                    <a:lnTo>
                      <a:pt x="452" y="509"/>
                    </a:lnTo>
                    <a:lnTo>
                      <a:pt x="454" y="506"/>
                    </a:lnTo>
                    <a:lnTo>
                      <a:pt x="454" y="506"/>
                    </a:lnTo>
                    <a:lnTo>
                      <a:pt x="457" y="506"/>
                    </a:lnTo>
                    <a:lnTo>
                      <a:pt x="457" y="506"/>
                    </a:lnTo>
                    <a:lnTo>
                      <a:pt x="462" y="509"/>
                    </a:lnTo>
                    <a:lnTo>
                      <a:pt x="464" y="513"/>
                    </a:lnTo>
                    <a:lnTo>
                      <a:pt x="466" y="516"/>
                    </a:lnTo>
                    <a:lnTo>
                      <a:pt x="469" y="516"/>
                    </a:lnTo>
                    <a:lnTo>
                      <a:pt x="471" y="518"/>
                    </a:lnTo>
                    <a:lnTo>
                      <a:pt x="471" y="518"/>
                    </a:lnTo>
                    <a:lnTo>
                      <a:pt x="473" y="516"/>
                    </a:lnTo>
                    <a:lnTo>
                      <a:pt x="476" y="516"/>
                    </a:lnTo>
                    <a:lnTo>
                      <a:pt x="478" y="516"/>
                    </a:lnTo>
                    <a:lnTo>
                      <a:pt x="478" y="513"/>
                    </a:lnTo>
                    <a:lnTo>
                      <a:pt x="476" y="511"/>
                    </a:lnTo>
                    <a:lnTo>
                      <a:pt x="476" y="511"/>
                    </a:lnTo>
                    <a:lnTo>
                      <a:pt x="476" y="509"/>
                    </a:lnTo>
                    <a:lnTo>
                      <a:pt x="473" y="506"/>
                    </a:lnTo>
                    <a:lnTo>
                      <a:pt x="473" y="504"/>
                    </a:lnTo>
                    <a:lnTo>
                      <a:pt x="471" y="502"/>
                    </a:lnTo>
                    <a:lnTo>
                      <a:pt x="471" y="502"/>
                    </a:lnTo>
                    <a:lnTo>
                      <a:pt x="473" y="502"/>
                    </a:lnTo>
                    <a:lnTo>
                      <a:pt x="473" y="502"/>
                    </a:lnTo>
                    <a:lnTo>
                      <a:pt x="476" y="502"/>
                    </a:lnTo>
                    <a:lnTo>
                      <a:pt x="478" y="499"/>
                    </a:lnTo>
                    <a:lnTo>
                      <a:pt x="483" y="497"/>
                    </a:lnTo>
                    <a:lnTo>
                      <a:pt x="483" y="494"/>
                    </a:lnTo>
                    <a:lnTo>
                      <a:pt x="483" y="492"/>
                    </a:lnTo>
                    <a:lnTo>
                      <a:pt x="483" y="492"/>
                    </a:lnTo>
                    <a:lnTo>
                      <a:pt x="485" y="492"/>
                    </a:lnTo>
                    <a:lnTo>
                      <a:pt x="488" y="492"/>
                    </a:lnTo>
                    <a:lnTo>
                      <a:pt x="490" y="490"/>
                    </a:lnTo>
                    <a:lnTo>
                      <a:pt x="492" y="490"/>
                    </a:lnTo>
                    <a:lnTo>
                      <a:pt x="495" y="487"/>
                    </a:lnTo>
                    <a:lnTo>
                      <a:pt x="495" y="487"/>
                    </a:lnTo>
                    <a:lnTo>
                      <a:pt x="497" y="487"/>
                    </a:lnTo>
                    <a:lnTo>
                      <a:pt x="497" y="483"/>
                    </a:lnTo>
                    <a:lnTo>
                      <a:pt x="499" y="483"/>
                    </a:lnTo>
                    <a:lnTo>
                      <a:pt x="502" y="480"/>
                    </a:lnTo>
                    <a:lnTo>
                      <a:pt x="502" y="478"/>
                    </a:lnTo>
                    <a:lnTo>
                      <a:pt x="502" y="480"/>
                    </a:lnTo>
                    <a:lnTo>
                      <a:pt x="504" y="480"/>
                    </a:lnTo>
                    <a:lnTo>
                      <a:pt x="506" y="480"/>
                    </a:lnTo>
                    <a:lnTo>
                      <a:pt x="509" y="483"/>
                    </a:lnTo>
                    <a:lnTo>
                      <a:pt x="511" y="483"/>
                    </a:lnTo>
                    <a:lnTo>
                      <a:pt x="511" y="483"/>
                    </a:lnTo>
                    <a:lnTo>
                      <a:pt x="511" y="485"/>
                    </a:lnTo>
                    <a:lnTo>
                      <a:pt x="511" y="485"/>
                    </a:lnTo>
                    <a:lnTo>
                      <a:pt x="514" y="485"/>
                    </a:lnTo>
                    <a:lnTo>
                      <a:pt x="516" y="485"/>
                    </a:lnTo>
                    <a:lnTo>
                      <a:pt x="518" y="483"/>
                    </a:lnTo>
                    <a:lnTo>
                      <a:pt x="521" y="480"/>
                    </a:lnTo>
                    <a:lnTo>
                      <a:pt x="523" y="480"/>
                    </a:lnTo>
                    <a:lnTo>
                      <a:pt x="525" y="480"/>
                    </a:lnTo>
                    <a:lnTo>
                      <a:pt x="528" y="483"/>
                    </a:lnTo>
                    <a:lnTo>
                      <a:pt x="530" y="483"/>
                    </a:lnTo>
                    <a:lnTo>
                      <a:pt x="530" y="485"/>
                    </a:lnTo>
                    <a:lnTo>
                      <a:pt x="533" y="485"/>
                    </a:lnTo>
                    <a:lnTo>
                      <a:pt x="533" y="485"/>
                    </a:lnTo>
                    <a:lnTo>
                      <a:pt x="533" y="483"/>
                    </a:lnTo>
                    <a:lnTo>
                      <a:pt x="533" y="483"/>
                    </a:lnTo>
                    <a:lnTo>
                      <a:pt x="535" y="483"/>
                    </a:lnTo>
                    <a:lnTo>
                      <a:pt x="537" y="485"/>
                    </a:lnTo>
                    <a:lnTo>
                      <a:pt x="540" y="485"/>
                    </a:lnTo>
                    <a:lnTo>
                      <a:pt x="542" y="485"/>
                    </a:lnTo>
                    <a:lnTo>
                      <a:pt x="542" y="483"/>
                    </a:lnTo>
                    <a:lnTo>
                      <a:pt x="544" y="485"/>
                    </a:lnTo>
                    <a:lnTo>
                      <a:pt x="544" y="485"/>
                    </a:lnTo>
                    <a:lnTo>
                      <a:pt x="547" y="485"/>
                    </a:lnTo>
                    <a:lnTo>
                      <a:pt x="549" y="490"/>
                    </a:lnTo>
                    <a:lnTo>
                      <a:pt x="551" y="490"/>
                    </a:lnTo>
                    <a:lnTo>
                      <a:pt x="554" y="490"/>
                    </a:lnTo>
                    <a:lnTo>
                      <a:pt x="556" y="492"/>
                    </a:lnTo>
                    <a:lnTo>
                      <a:pt x="559" y="492"/>
                    </a:lnTo>
                    <a:lnTo>
                      <a:pt x="559" y="494"/>
                    </a:lnTo>
                    <a:lnTo>
                      <a:pt x="561" y="494"/>
                    </a:lnTo>
                    <a:lnTo>
                      <a:pt x="563" y="499"/>
                    </a:lnTo>
                    <a:lnTo>
                      <a:pt x="566" y="502"/>
                    </a:lnTo>
                    <a:lnTo>
                      <a:pt x="566" y="502"/>
                    </a:lnTo>
                    <a:lnTo>
                      <a:pt x="568" y="504"/>
                    </a:lnTo>
                    <a:lnTo>
                      <a:pt x="568" y="504"/>
                    </a:lnTo>
                    <a:lnTo>
                      <a:pt x="568" y="504"/>
                    </a:lnTo>
                    <a:lnTo>
                      <a:pt x="568" y="502"/>
                    </a:lnTo>
                    <a:lnTo>
                      <a:pt x="568" y="502"/>
                    </a:lnTo>
                    <a:lnTo>
                      <a:pt x="568" y="499"/>
                    </a:lnTo>
                    <a:lnTo>
                      <a:pt x="566" y="497"/>
                    </a:lnTo>
                    <a:lnTo>
                      <a:pt x="566" y="494"/>
                    </a:lnTo>
                    <a:lnTo>
                      <a:pt x="566" y="494"/>
                    </a:lnTo>
                    <a:lnTo>
                      <a:pt x="566" y="494"/>
                    </a:lnTo>
                    <a:lnTo>
                      <a:pt x="566" y="494"/>
                    </a:lnTo>
                    <a:lnTo>
                      <a:pt x="568" y="494"/>
                    </a:lnTo>
                    <a:lnTo>
                      <a:pt x="570" y="494"/>
                    </a:lnTo>
                    <a:lnTo>
                      <a:pt x="573" y="497"/>
                    </a:lnTo>
                    <a:lnTo>
                      <a:pt x="577" y="499"/>
                    </a:lnTo>
                    <a:lnTo>
                      <a:pt x="580" y="502"/>
                    </a:lnTo>
                    <a:lnTo>
                      <a:pt x="582" y="502"/>
                    </a:lnTo>
                    <a:lnTo>
                      <a:pt x="585" y="502"/>
                    </a:lnTo>
                    <a:lnTo>
                      <a:pt x="587" y="502"/>
                    </a:lnTo>
                    <a:lnTo>
                      <a:pt x="589" y="502"/>
                    </a:lnTo>
                    <a:lnTo>
                      <a:pt x="592" y="499"/>
                    </a:lnTo>
                    <a:lnTo>
                      <a:pt x="592" y="499"/>
                    </a:lnTo>
                    <a:lnTo>
                      <a:pt x="592" y="497"/>
                    </a:lnTo>
                    <a:lnTo>
                      <a:pt x="594" y="494"/>
                    </a:lnTo>
                    <a:lnTo>
                      <a:pt x="596" y="494"/>
                    </a:lnTo>
                    <a:lnTo>
                      <a:pt x="596" y="494"/>
                    </a:lnTo>
                    <a:lnTo>
                      <a:pt x="599" y="494"/>
                    </a:lnTo>
                    <a:lnTo>
                      <a:pt x="601" y="492"/>
                    </a:lnTo>
                    <a:lnTo>
                      <a:pt x="601" y="492"/>
                    </a:lnTo>
                    <a:lnTo>
                      <a:pt x="603" y="492"/>
                    </a:lnTo>
                    <a:lnTo>
                      <a:pt x="608" y="492"/>
                    </a:lnTo>
                    <a:lnTo>
                      <a:pt x="611" y="494"/>
                    </a:lnTo>
                    <a:lnTo>
                      <a:pt x="613" y="497"/>
                    </a:lnTo>
                    <a:lnTo>
                      <a:pt x="613" y="497"/>
                    </a:lnTo>
                    <a:lnTo>
                      <a:pt x="615" y="494"/>
                    </a:lnTo>
                    <a:lnTo>
                      <a:pt x="615" y="494"/>
                    </a:lnTo>
                    <a:lnTo>
                      <a:pt x="618" y="492"/>
                    </a:lnTo>
                    <a:lnTo>
                      <a:pt x="618" y="492"/>
                    </a:lnTo>
                    <a:lnTo>
                      <a:pt x="618" y="492"/>
                    </a:lnTo>
                    <a:lnTo>
                      <a:pt x="620" y="492"/>
                    </a:lnTo>
                    <a:lnTo>
                      <a:pt x="622" y="492"/>
                    </a:lnTo>
                    <a:lnTo>
                      <a:pt x="622" y="492"/>
                    </a:lnTo>
                    <a:lnTo>
                      <a:pt x="627" y="492"/>
                    </a:lnTo>
                    <a:lnTo>
                      <a:pt x="629" y="494"/>
                    </a:lnTo>
                    <a:lnTo>
                      <a:pt x="632" y="497"/>
                    </a:lnTo>
                    <a:lnTo>
                      <a:pt x="634" y="499"/>
                    </a:lnTo>
                    <a:lnTo>
                      <a:pt x="637" y="499"/>
                    </a:lnTo>
                    <a:lnTo>
                      <a:pt x="639" y="499"/>
                    </a:lnTo>
                    <a:lnTo>
                      <a:pt x="639" y="502"/>
                    </a:lnTo>
                    <a:lnTo>
                      <a:pt x="641" y="502"/>
                    </a:lnTo>
                    <a:lnTo>
                      <a:pt x="646" y="502"/>
                    </a:lnTo>
                    <a:lnTo>
                      <a:pt x="646" y="502"/>
                    </a:lnTo>
                    <a:lnTo>
                      <a:pt x="648" y="502"/>
                    </a:lnTo>
                    <a:lnTo>
                      <a:pt x="648" y="504"/>
                    </a:lnTo>
                    <a:lnTo>
                      <a:pt x="648" y="504"/>
                    </a:lnTo>
                    <a:lnTo>
                      <a:pt x="651" y="504"/>
                    </a:lnTo>
                    <a:lnTo>
                      <a:pt x="653" y="502"/>
                    </a:lnTo>
                    <a:lnTo>
                      <a:pt x="653" y="499"/>
                    </a:lnTo>
                    <a:lnTo>
                      <a:pt x="653" y="497"/>
                    </a:lnTo>
                    <a:lnTo>
                      <a:pt x="653" y="497"/>
                    </a:lnTo>
                    <a:lnTo>
                      <a:pt x="656" y="497"/>
                    </a:lnTo>
                    <a:lnTo>
                      <a:pt x="656" y="497"/>
                    </a:lnTo>
                    <a:lnTo>
                      <a:pt x="658" y="499"/>
                    </a:lnTo>
                    <a:lnTo>
                      <a:pt x="658" y="499"/>
                    </a:lnTo>
                    <a:lnTo>
                      <a:pt x="660" y="499"/>
                    </a:lnTo>
                    <a:lnTo>
                      <a:pt x="663" y="502"/>
                    </a:lnTo>
                    <a:lnTo>
                      <a:pt x="665" y="502"/>
                    </a:lnTo>
                    <a:lnTo>
                      <a:pt x="670" y="499"/>
                    </a:lnTo>
                    <a:lnTo>
                      <a:pt x="674" y="499"/>
                    </a:lnTo>
                    <a:lnTo>
                      <a:pt x="677" y="497"/>
                    </a:lnTo>
                    <a:lnTo>
                      <a:pt x="677" y="494"/>
                    </a:lnTo>
                    <a:lnTo>
                      <a:pt x="677" y="492"/>
                    </a:lnTo>
                    <a:lnTo>
                      <a:pt x="677" y="490"/>
                    </a:lnTo>
                    <a:lnTo>
                      <a:pt x="677" y="487"/>
                    </a:lnTo>
                    <a:lnTo>
                      <a:pt x="672" y="485"/>
                    </a:lnTo>
                    <a:lnTo>
                      <a:pt x="672" y="485"/>
                    </a:lnTo>
                    <a:lnTo>
                      <a:pt x="665" y="483"/>
                    </a:lnTo>
                    <a:lnTo>
                      <a:pt x="665" y="483"/>
                    </a:lnTo>
                    <a:lnTo>
                      <a:pt x="665" y="483"/>
                    </a:lnTo>
                    <a:lnTo>
                      <a:pt x="660" y="480"/>
                    </a:lnTo>
                    <a:lnTo>
                      <a:pt x="656" y="480"/>
                    </a:lnTo>
                    <a:lnTo>
                      <a:pt x="656" y="480"/>
                    </a:lnTo>
                    <a:lnTo>
                      <a:pt x="656" y="478"/>
                    </a:lnTo>
                    <a:lnTo>
                      <a:pt x="653" y="478"/>
                    </a:lnTo>
                    <a:lnTo>
                      <a:pt x="648" y="475"/>
                    </a:lnTo>
                    <a:lnTo>
                      <a:pt x="648" y="475"/>
                    </a:lnTo>
                    <a:lnTo>
                      <a:pt x="648" y="473"/>
                    </a:lnTo>
                    <a:lnTo>
                      <a:pt x="651" y="473"/>
                    </a:lnTo>
                    <a:lnTo>
                      <a:pt x="653" y="471"/>
                    </a:lnTo>
                    <a:lnTo>
                      <a:pt x="653" y="471"/>
                    </a:lnTo>
                    <a:lnTo>
                      <a:pt x="656" y="471"/>
                    </a:lnTo>
                    <a:lnTo>
                      <a:pt x="658" y="468"/>
                    </a:lnTo>
                    <a:lnTo>
                      <a:pt x="660" y="468"/>
                    </a:lnTo>
                    <a:lnTo>
                      <a:pt x="660" y="466"/>
                    </a:lnTo>
                    <a:lnTo>
                      <a:pt x="660" y="466"/>
                    </a:lnTo>
                    <a:lnTo>
                      <a:pt x="656" y="461"/>
                    </a:lnTo>
                    <a:lnTo>
                      <a:pt x="656" y="459"/>
                    </a:lnTo>
                    <a:lnTo>
                      <a:pt x="656" y="459"/>
                    </a:lnTo>
                    <a:lnTo>
                      <a:pt x="656" y="457"/>
                    </a:lnTo>
                    <a:lnTo>
                      <a:pt x="656" y="457"/>
                    </a:lnTo>
                    <a:lnTo>
                      <a:pt x="658" y="454"/>
                    </a:lnTo>
                    <a:lnTo>
                      <a:pt x="658" y="454"/>
                    </a:lnTo>
                    <a:lnTo>
                      <a:pt x="660" y="454"/>
                    </a:lnTo>
                    <a:lnTo>
                      <a:pt x="663" y="454"/>
                    </a:lnTo>
                    <a:lnTo>
                      <a:pt x="665" y="454"/>
                    </a:lnTo>
                    <a:lnTo>
                      <a:pt x="667" y="454"/>
                    </a:lnTo>
                    <a:lnTo>
                      <a:pt x="672" y="454"/>
                    </a:lnTo>
                    <a:lnTo>
                      <a:pt x="672" y="454"/>
                    </a:lnTo>
                    <a:lnTo>
                      <a:pt x="674" y="454"/>
                    </a:lnTo>
                    <a:lnTo>
                      <a:pt x="674" y="454"/>
                    </a:lnTo>
                    <a:lnTo>
                      <a:pt x="674" y="452"/>
                    </a:lnTo>
                    <a:lnTo>
                      <a:pt x="672" y="452"/>
                    </a:lnTo>
                    <a:lnTo>
                      <a:pt x="667" y="449"/>
                    </a:lnTo>
                    <a:lnTo>
                      <a:pt x="665" y="449"/>
                    </a:lnTo>
                    <a:lnTo>
                      <a:pt x="665" y="449"/>
                    </a:lnTo>
                    <a:lnTo>
                      <a:pt x="663" y="449"/>
                    </a:lnTo>
                    <a:lnTo>
                      <a:pt x="660" y="447"/>
                    </a:lnTo>
                    <a:lnTo>
                      <a:pt x="658" y="447"/>
                    </a:lnTo>
                    <a:lnTo>
                      <a:pt x="658" y="447"/>
                    </a:lnTo>
                    <a:lnTo>
                      <a:pt x="658" y="445"/>
                    </a:lnTo>
                    <a:lnTo>
                      <a:pt x="658" y="445"/>
                    </a:lnTo>
                    <a:lnTo>
                      <a:pt x="658" y="445"/>
                    </a:lnTo>
                    <a:lnTo>
                      <a:pt x="660" y="445"/>
                    </a:lnTo>
                    <a:lnTo>
                      <a:pt x="663" y="442"/>
                    </a:lnTo>
                    <a:lnTo>
                      <a:pt x="663" y="442"/>
                    </a:lnTo>
                    <a:lnTo>
                      <a:pt x="663" y="442"/>
                    </a:lnTo>
                    <a:lnTo>
                      <a:pt x="660" y="442"/>
                    </a:lnTo>
                    <a:lnTo>
                      <a:pt x="660" y="442"/>
                    </a:lnTo>
                    <a:lnTo>
                      <a:pt x="660" y="442"/>
                    </a:lnTo>
                    <a:lnTo>
                      <a:pt x="658" y="442"/>
                    </a:lnTo>
                    <a:lnTo>
                      <a:pt x="658" y="442"/>
                    </a:lnTo>
                    <a:lnTo>
                      <a:pt x="656" y="442"/>
                    </a:lnTo>
                    <a:lnTo>
                      <a:pt x="653" y="440"/>
                    </a:lnTo>
                    <a:lnTo>
                      <a:pt x="653" y="440"/>
                    </a:lnTo>
                    <a:lnTo>
                      <a:pt x="653" y="440"/>
                    </a:lnTo>
                    <a:lnTo>
                      <a:pt x="653" y="438"/>
                    </a:lnTo>
                    <a:lnTo>
                      <a:pt x="653" y="438"/>
                    </a:lnTo>
                    <a:lnTo>
                      <a:pt x="653" y="435"/>
                    </a:lnTo>
                    <a:lnTo>
                      <a:pt x="653" y="433"/>
                    </a:lnTo>
                    <a:lnTo>
                      <a:pt x="653" y="433"/>
                    </a:lnTo>
                    <a:lnTo>
                      <a:pt x="656" y="433"/>
                    </a:lnTo>
                    <a:lnTo>
                      <a:pt x="660" y="433"/>
                    </a:lnTo>
                    <a:lnTo>
                      <a:pt x="665" y="435"/>
                    </a:lnTo>
                    <a:lnTo>
                      <a:pt x="665" y="433"/>
                    </a:lnTo>
                    <a:lnTo>
                      <a:pt x="667" y="433"/>
                    </a:lnTo>
                    <a:lnTo>
                      <a:pt x="667" y="433"/>
                    </a:lnTo>
                    <a:lnTo>
                      <a:pt x="674" y="433"/>
                    </a:lnTo>
                    <a:lnTo>
                      <a:pt x="674" y="433"/>
                    </a:lnTo>
                    <a:lnTo>
                      <a:pt x="674" y="433"/>
                    </a:lnTo>
                    <a:lnTo>
                      <a:pt x="682" y="430"/>
                    </a:lnTo>
                    <a:lnTo>
                      <a:pt x="684" y="430"/>
                    </a:lnTo>
                    <a:lnTo>
                      <a:pt x="684" y="430"/>
                    </a:lnTo>
                    <a:lnTo>
                      <a:pt x="686" y="430"/>
                    </a:lnTo>
                    <a:lnTo>
                      <a:pt x="686" y="430"/>
                    </a:lnTo>
                    <a:lnTo>
                      <a:pt x="689" y="428"/>
                    </a:lnTo>
                    <a:lnTo>
                      <a:pt x="691" y="428"/>
                    </a:lnTo>
                    <a:lnTo>
                      <a:pt x="691" y="428"/>
                    </a:lnTo>
                    <a:lnTo>
                      <a:pt x="693" y="428"/>
                    </a:lnTo>
                    <a:lnTo>
                      <a:pt x="696" y="428"/>
                    </a:lnTo>
                    <a:lnTo>
                      <a:pt x="696" y="428"/>
                    </a:lnTo>
                    <a:lnTo>
                      <a:pt x="696" y="428"/>
                    </a:lnTo>
                    <a:lnTo>
                      <a:pt x="698" y="426"/>
                    </a:lnTo>
                    <a:lnTo>
                      <a:pt x="703" y="426"/>
                    </a:lnTo>
                    <a:lnTo>
                      <a:pt x="703" y="426"/>
                    </a:lnTo>
                    <a:lnTo>
                      <a:pt x="705" y="426"/>
                    </a:lnTo>
                    <a:lnTo>
                      <a:pt x="708" y="426"/>
                    </a:lnTo>
                    <a:lnTo>
                      <a:pt x="710" y="426"/>
                    </a:lnTo>
                    <a:lnTo>
                      <a:pt x="710" y="426"/>
                    </a:lnTo>
                    <a:lnTo>
                      <a:pt x="712" y="426"/>
                    </a:lnTo>
                    <a:lnTo>
                      <a:pt x="712" y="426"/>
                    </a:lnTo>
                    <a:lnTo>
                      <a:pt x="712" y="423"/>
                    </a:lnTo>
                    <a:lnTo>
                      <a:pt x="712" y="423"/>
                    </a:lnTo>
                    <a:lnTo>
                      <a:pt x="715" y="421"/>
                    </a:lnTo>
                    <a:lnTo>
                      <a:pt x="715" y="421"/>
                    </a:lnTo>
                    <a:lnTo>
                      <a:pt x="717" y="421"/>
                    </a:lnTo>
                    <a:lnTo>
                      <a:pt x="717" y="421"/>
                    </a:lnTo>
                    <a:lnTo>
                      <a:pt x="719" y="421"/>
                    </a:lnTo>
                    <a:lnTo>
                      <a:pt x="722" y="419"/>
                    </a:lnTo>
                    <a:lnTo>
                      <a:pt x="724" y="421"/>
                    </a:lnTo>
                    <a:lnTo>
                      <a:pt x="726" y="419"/>
                    </a:lnTo>
                    <a:lnTo>
                      <a:pt x="734" y="419"/>
                    </a:lnTo>
                    <a:lnTo>
                      <a:pt x="736" y="419"/>
                    </a:lnTo>
                    <a:lnTo>
                      <a:pt x="741" y="416"/>
                    </a:lnTo>
                    <a:lnTo>
                      <a:pt x="743" y="416"/>
                    </a:lnTo>
                    <a:lnTo>
                      <a:pt x="745" y="416"/>
                    </a:lnTo>
                    <a:lnTo>
                      <a:pt x="750" y="416"/>
                    </a:lnTo>
                    <a:lnTo>
                      <a:pt x="750" y="414"/>
                    </a:lnTo>
                    <a:lnTo>
                      <a:pt x="753" y="414"/>
                    </a:lnTo>
                    <a:lnTo>
                      <a:pt x="755" y="414"/>
                    </a:lnTo>
                    <a:lnTo>
                      <a:pt x="755" y="414"/>
                    </a:lnTo>
                    <a:lnTo>
                      <a:pt x="757" y="414"/>
                    </a:lnTo>
                    <a:lnTo>
                      <a:pt x="757" y="412"/>
                    </a:lnTo>
                    <a:lnTo>
                      <a:pt x="755" y="412"/>
                    </a:lnTo>
                    <a:lnTo>
                      <a:pt x="755" y="409"/>
                    </a:lnTo>
                    <a:lnTo>
                      <a:pt x="757" y="409"/>
                    </a:lnTo>
                    <a:lnTo>
                      <a:pt x="757" y="409"/>
                    </a:lnTo>
                    <a:lnTo>
                      <a:pt x="760" y="409"/>
                    </a:lnTo>
                    <a:lnTo>
                      <a:pt x="762" y="407"/>
                    </a:lnTo>
                    <a:lnTo>
                      <a:pt x="764" y="407"/>
                    </a:lnTo>
                    <a:lnTo>
                      <a:pt x="764" y="404"/>
                    </a:lnTo>
                    <a:lnTo>
                      <a:pt x="769" y="407"/>
                    </a:lnTo>
                    <a:lnTo>
                      <a:pt x="774" y="407"/>
                    </a:lnTo>
                    <a:lnTo>
                      <a:pt x="779" y="407"/>
                    </a:lnTo>
                    <a:lnTo>
                      <a:pt x="781" y="409"/>
                    </a:lnTo>
                    <a:lnTo>
                      <a:pt x="783" y="409"/>
                    </a:lnTo>
                    <a:lnTo>
                      <a:pt x="783" y="409"/>
                    </a:lnTo>
                    <a:lnTo>
                      <a:pt x="786" y="409"/>
                    </a:lnTo>
                    <a:lnTo>
                      <a:pt x="788" y="409"/>
                    </a:lnTo>
                    <a:lnTo>
                      <a:pt x="788" y="409"/>
                    </a:lnTo>
                    <a:lnTo>
                      <a:pt x="788" y="409"/>
                    </a:lnTo>
                    <a:lnTo>
                      <a:pt x="790" y="407"/>
                    </a:lnTo>
                    <a:lnTo>
                      <a:pt x="793" y="407"/>
                    </a:lnTo>
                    <a:lnTo>
                      <a:pt x="795" y="407"/>
                    </a:lnTo>
                    <a:lnTo>
                      <a:pt x="797" y="412"/>
                    </a:lnTo>
                    <a:lnTo>
                      <a:pt x="800" y="414"/>
                    </a:lnTo>
                    <a:lnTo>
                      <a:pt x="805" y="419"/>
                    </a:lnTo>
                    <a:lnTo>
                      <a:pt x="807" y="421"/>
                    </a:lnTo>
                    <a:lnTo>
                      <a:pt x="807" y="423"/>
                    </a:lnTo>
                    <a:lnTo>
                      <a:pt x="807" y="423"/>
                    </a:lnTo>
                    <a:lnTo>
                      <a:pt x="807" y="426"/>
                    </a:lnTo>
                    <a:lnTo>
                      <a:pt x="807" y="428"/>
                    </a:lnTo>
                    <a:lnTo>
                      <a:pt x="807" y="428"/>
                    </a:lnTo>
                    <a:lnTo>
                      <a:pt x="812" y="430"/>
                    </a:lnTo>
                    <a:lnTo>
                      <a:pt x="816" y="430"/>
                    </a:lnTo>
                    <a:lnTo>
                      <a:pt x="819" y="428"/>
                    </a:lnTo>
                    <a:lnTo>
                      <a:pt x="821" y="428"/>
                    </a:lnTo>
                    <a:lnTo>
                      <a:pt x="823" y="428"/>
                    </a:lnTo>
                    <a:lnTo>
                      <a:pt x="823" y="426"/>
                    </a:lnTo>
                    <a:lnTo>
                      <a:pt x="823" y="426"/>
                    </a:lnTo>
                    <a:lnTo>
                      <a:pt x="826" y="428"/>
                    </a:lnTo>
                    <a:lnTo>
                      <a:pt x="826" y="430"/>
                    </a:lnTo>
                    <a:lnTo>
                      <a:pt x="828" y="430"/>
                    </a:lnTo>
                    <a:lnTo>
                      <a:pt x="828" y="433"/>
                    </a:lnTo>
                    <a:lnTo>
                      <a:pt x="831" y="433"/>
                    </a:lnTo>
                    <a:lnTo>
                      <a:pt x="831" y="435"/>
                    </a:lnTo>
                    <a:lnTo>
                      <a:pt x="831" y="433"/>
                    </a:lnTo>
                    <a:lnTo>
                      <a:pt x="833" y="433"/>
                    </a:lnTo>
                    <a:lnTo>
                      <a:pt x="833" y="433"/>
                    </a:lnTo>
                    <a:lnTo>
                      <a:pt x="833" y="433"/>
                    </a:lnTo>
                    <a:lnTo>
                      <a:pt x="831" y="430"/>
                    </a:lnTo>
                    <a:lnTo>
                      <a:pt x="831" y="430"/>
                    </a:lnTo>
                    <a:lnTo>
                      <a:pt x="833" y="430"/>
                    </a:lnTo>
                    <a:lnTo>
                      <a:pt x="833" y="430"/>
                    </a:lnTo>
                    <a:lnTo>
                      <a:pt x="838" y="430"/>
                    </a:lnTo>
                    <a:lnTo>
                      <a:pt x="840" y="433"/>
                    </a:lnTo>
                    <a:lnTo>
                      <a:pt x="842" y="433"/>
                    </a:lnTo>
                    <a:lnTo>
                      <a:pt x="845" y="433"/>
                    </a:lnTo>
                    <a:lnTo>
                      <a:pt x="845" y="433"/>
                    </a:lnTo>
                    <a:lnTo>
                      <a:pt x="847" y="433"/>
                    </a:lnTo>
                    <a:lnTo>
                      <a:pt x="847" y="433"/>
                    </a:lnTo>
                    <a:lnTo>
                      <a:pt x="847" y="433"/>
                    </a:lnTo>
                    <a:lnTo>
                      <a:pt x="849" y="433"/>
                    </a:lnTo>
                    <a:lnTo>
                      <a:pt x="849" y="433"/>
                    </a:lnTo>
                    <a:lnTo>
                      <a:pt x="849" y="433"/>
                    </a:lnTo>
                    <a:lnTo>
                      <a:pt x="849" y="435"/>
                    </a:lnTo>
                    <a:lnTo>
                      <a:pt x="849" y="435"/>
                    </a:lnTo>
                    <a:lnTo>
                      <a:pt x="847" y="438"/>
                    </a:lnTo>
                    <a:lnTo>
                      <a:pt x="847" y="440"/>
                    </a:lnTo>
                    <a:lnTo>
                      <a:pt x="847" y="440"/>
                    </a:lnTo>
                    <a:lnTo>
                      <a:pt x="847" y="442"/>
                    </a:lnTo>
                    <a:lnTo>
                      <a:pt x="849" y="442"/>
                    </a:lnTo>
                    <a:lnTo>
                      <a:pt x="849" y="445"/>
                    </a:lnTo>
                    <a:lnTo>
                      <a:pt x="849" y="445"/>
                    </a:lnTo>
                    <a:lnTo>
                      <a:pt x="849" y="445"/>
                    </a:lnTo>
                    <a:lnTo>
                      <a:pt x="852" y="442"/>
                    </a:lnTo>
                    <a:lnTo>
                      <a:pt x="854" y="440"/>
                    </a:lnTo>
                    <a:lnTo>
                      <a:pt x="857" y="440"/>
                    </a:lnTo>
                    <a:lnTo>
                      <a:pt x="859" y="440"/>
                    </a:lnTo>
                    <a:lnTo>
                      <a:pt x="861" y="442"/>
                    </a:lnTo>
                    <a:lnTo>
                      <a:pt x="864" y="442"/>
                    </a:lnTo>
                    <a:lnTo>
                      <a:pt x="864" y="442"/>
                    </a:lnTo>
                    <a:lnTo>
                      <a:pt x="866" y="442"/>
                    </a:lnTo>
                    <a:lnTo>
                      <a:pt x="866" y="442"/>
                    </a:lnTo>
                    <a:lnTo>
                      <a:pt x="864" y="440"/>
                    </a:lnTo>
                    <a:lnTo>
                      <a:pt x="864" y="440"/>
                    </a:lnTo>
                    <a:lnTo>
                      <a:pt x="868" y="438"/>
                    </a:lnTo>
                    <a:lnTo>
                      <a:pt x="868" y="438"/>
                    </a:lnTo>
                    <a:lnTo>
                      <a:pt x="871" y="435"/>
                    </a:lnTo>
                    <a:lnTo>
                      <a:pt x="871" y="438"/>
                    </a:lnTo>
                    <a:lnTo>
                      <a:pt x="873" y="438"/>
                    </a:lnTo>
                    <a:lnTo>
                      <a:pt x="876" y="435"/>
                    </a:lnTo>
                    <a:lnTo>
                      <a:pt x="876" y="433"/>
                    </a:lnTo>
                    <a:lnTo>
                      <a:pt x="876" y="433"/>
                    </a:lnTo>
                    <a:lnTo>
                      <a:pt x="876" y="433"/>
                    </a:lnTo>
                    <a:lnTo>
                      <a:pt x="876" y="430"/>
                    </a:lnTo>
                    <a:lnTo>
                      <a:pt x="880" y="430"/>
                    </a:lnTo>
                    <a:lnTo>
                      <a:pt x="880" y="430"/>
                    </a:lnTo>
                    <a:lnTo>
                      <a:pt x="883" y="430"/>
                    </a:lnTo>
                    <a:lnTo>
                      <a:pt x="885" y="428"/>
                    </a:lnTo>
                    <a:lnTo>
                      <a:pt x="887" y="426"/>
                    </a:lnTo>
                    <a:lnTo>
                      <a:pt x="892" y="426"/>
                    </a:lnTo>
                    <a:lnTo>
                      <a:pt x="892" y="426"/>
                    </a:lnTo>
                    <a:lnTo>
                      <a:pt x="892" y="426"/>
                    </a:lnTo>
                    <a:lnTo>
                      <a:pt x="894" y="423"/>
                    </a:lnTo>
                    <a:lnTo>
                      <a:pt x="894" y="423"/>
                    </a:lnTo>
                    <a:lnTo>
                      <a:pt x="897" y="426"/>
                    </a:lnTo>
                    <a:lnTo>
                      <a:pt x="894" y="430"/>
                    </a:lnTo>
                    <a:lnTo>
                      <a:pt x="894" y="430"/>
                    </a:lnTo>
                    <a:lnTo>
                      <a:pt x="892" y="430"/>
                    </a:lnTo>
                    <a:lnTo>
                      <a:pt x="892" y="430"/>
                    </a:lnTo>
                    <a:lnTo>
                      <a:pt x="892" y="433"/>
                    </a:lnTo>
                    <a:lnTo>
                      <a:pt x="894" y="433"/>
                    </a:lnTo>
                    <a:lnTo>
                      <a:pt x="894" y="433"/>
                    </a:lnTo>
                    <a:lnTo>
                      <a:pt x="894" y="435"/>
                    </a:lnTo>
                    <a:lnTo>
                      <a:pt x="902" y="438"/>
                    </a:lnTo>
                    <a:lnTo>
                      <a:pt x="906" y="440"/>
                    </a:lnTo>
                    <a:lnTo>
                      <a:pt x="913" y="442"/>
                    </a:lnTo>
                    <a:lnTo>
                      <a:pt x="918" y="445"/>
                    </a:lnTo>
                    <a:lnTo>
                      <a:pt x="920" y="447"/>
                    </a:lnTo>
                    <a:lnTo>
                      <a:pt x="920" y="447"/>
                    </a:lnTo>
                    <a:lnTo>
                      <a:pt x="925" y="452"/>
                    </a:lnTo>
                    <a:lnTo>
                      <a:pt x="930" y="454"/>
                    </a:lnTo>
                    <a:lnTo>
                      <a:pt x="937" y="461"/>
                    </a:lnTo>
                    <a:lnTo>
                      <a:pt x="942" y="466"/>
                    </a:lnTo>
                    <a:lnTo>
                      <a:pt x="949" y="473"/>
                    </a:lnTo>
                    <a:lnTo>
                      <a:pt x="954" y="475"/>
                    </a:lnTo>
                    <a:lnTo>
                      <a:pt x="961" y="483"/>
                    </a:lnTo>
                    <a:lnTo>
                      <a:pt x="963" y="485"/>
                    </a:lnTo>
                    <a:lnTo>
                      <a:pt x="968" y="490"/>
                    </a:lnTo>
                    <a:lnTo>
                      <a:pt x="972" y="494"/>
                    </a:lnTo>
                    <a:lnTo>
                      <a:pt x="975" y="499"/>
                    </a:lnTo>
                    <a:lnTo>
                      <a:pt x="977" y="499"/>
                    </a:lnTo>
                    <a:lnTo>
                      <a:pt x="977" y="497"/>
                    </a:lnTo>
                    <a:lnTo>
                      <a:pt x="977" y="497"/>
                    </a:lnTo>
                    <a:lnTo>
                      <a:pt x="977" y="497"/>
                    </a:lnTo>
                    <a:lnTo>
                      <a:pt x="980" y="494"/>
                    </a:lnTo>
                    <a:lnTo>
                      <a:pt x="980" y="494"/>
                    </a:lnTo>
                    <a:lnTo>
                      <a:pt x="980" y="494"/>
                    </a:lnTo>
                    <a:lnTo>
                      <a:pt x="982" y="494"/>
                    </a:lnTo>
                    <a:lnTo>
                      <a:pt x="982" y="494"/>
                    </a:lnTo>
                    <a:lnTo>
                      <a:pt x="980" y="492"/>
                    </a:lnTo>
                    <a:lnTo>
                      <a:pt x="980" y="492"/>
                    </a:lnTo>
                    <a:lnTo>
                      <a:pt x="980" y="490"/>
                    </a:lnTo>
                    <a:lnTo>
                      <a:pt x="980" y="490"/>
                    </a:lnTo>
                    <a:lnTo>
                      <a:pt x="982" y="490"/>
                    </a:lnTo>
                    <a:lnTo>
                      <a:pt x="982" y="490"/>
                    </a:lnTo>
                    <a:lnTo>
                      <a:pt x="982" y="487"/>
                    </a:lnTo>
                    <a:lnTo>
                      <a:pt x="984" y="487"/>
                    </a:lnTo>
                    <a:lnTo>
                      <a:pt x="984" y="487"/>
                    </a:lnTo>
                    <a:lnTo>
                      <a:pt x="987" y="487"/>
                    </a:lnTo>
                    <a:lnTo>
                      <a:pt x="987" y="490"/>
                    </a:lnTo>
                    <a:lnTo>
                      <a:pt x="989" y="490"/>
                    </a:lnTo>
                    <a:lnTo>
                      <a:pt x="989" y="490"/>
                    </a:lnTo>
                    <a:lnTo>
                      <a:pt x="991" y="490"/>
                    </a:lnTo>
                    <a:lnTo>
                      <a:pt x="991" y="490"/>
                    </a:lnTo>
                    <a:lnTo>
                      <a:pt x="991" y="492"/>
                    </a:lnTo>
                    <a:lnTo>
                      <a:pt x="991" y="494"/>
                    </a:lnTo>
                    <a:lnTo>
                      <a:pt x="991" y="494"/>
                    </a:lnTo>
                    <a:lnTo>
                      <a:pt x="994" y="494"/>
                    </a:lnTo>
                    <a:lnTo>
                      <a:pt x="996" y="494"/>
                    </a:lnTo>
                    <a:lnTo>
                      <a:pt x="996" y="494"/>
                    </a:lnTo>
                    <a:lnTo>
                      <a:pt x="999" y="494"/>
                    </a:lnTo>
                    <a:lnTo>
                      <a:pt x="999" y="497"/>
                    </a:lnTo>
                    <a:lnTo>
                      <a:pt x="999" y="497"/>
                    </a:lnTo>
                    <a:lnTo>
                      <a:pt x="999" y="499"/>
                    </a:lnTo>
                    <a:lnTo>
                      <a:pt x="1001" y="499"/>
                    </a:lnTo>
                    <a:lnTo>
                      <a:pt x="1003" y="499"/>
                    </a:lnTo>
                    <a:lnTo>
                      <a:pt x="1006" y="499"/>
                    </a:lnTo>
                    <a:lnTo>
                      <a:pt x="1008" y="499"/>
                    </a:lnTo>
                    <a:lnTo>
                      <a:pt x="1010" y="499"/>
                    </a:lnTo>
                    <a:lnTo>
                      <a:pt x="1013" y="499"/>
                    </a:lnTo>
                    <a:lnTo>
                      <a:pt x="1015" y="499"/>
                    </a:lnTo>
                    <a:lnTo>
                      <a:pt x="1017" y="499"/>
                    </a:lnTo>
                    <a:lnTo>
                      <a:pt x="1017" y="499"/>
                    </a:lnTo>
                    <a:lnTo>
                      <a:pt x="1020" y="497"/>
                    </a:lnTo>
                    <a:lnTo>
                      <a:pt x="1020" y="497"/>
                    </a:lnTo>
                    <a:lnTo>
                      <a:pt x="1020" y="497"/>
                    </a:lnTo>
                    <a:lnTo>
                      <a:pt x="1022" y="497"/>
                    </a:lnTo>
                    <a:lnTo>
                      <a:pt x="1025" y="497"/>
                    </a:lnTo>
                    <a:lnTo>
                      <a:pt x="1025" y="494"/>
                    </a:lnTo>
                    <a:lnTo>
                      <a:pt x="1025" y="494"/>
                    </a:lnTo>
                    <a:lnTo>
                      <a:pt x="1027" y="494"/>
                    </a:lnTo>
                    <a:lnTo>
                      <a:pt x="1029" y="494"/>
                    </a:lnTo>
                    <a:lnTo>
                      <a:pt x="1032" y="494"/>
                    </a:lnTo>
                    <a:lnTo>
                      <a:pt x="1034" y="497"/>
                    </a:lnTo>
                    <a:lnTo>
                      <a:pt x="1039" y="497"/>
                    </a:lnTo>
                    <a:lnTo>
                      <a:pt x="1039" y="499"/>
                    </a:lnTo>
                    <a:lnTo>
                      <a:pt x="1041" y="499"/>
                    </a:lnTo>
                    <a:lnTo>
                      <a:pt x="1043" y="502"/>
                    </a:lnTo>
                    <a:lnTo>
                      <a:pt x="1046" y="504"/>
                    </a:lnTo>
                    <a:lnTo>
                      <a:pt x="1046" y="506"/>
                    </a:lnTo>
                    <a:lnTo>
                      <a:pt x="1048" y="509"/>
                    </a:lnTo>
                    <a:lnTo>
                      <a:pt x="1051" y="509"/>
                    </a:lnTo>
                    <a:lnTo>
                      <a:pt x="1051" y="509"/>
                    </a:lnTo>
                    <a:lnTo>
                      <a:pt x="1053" y="509"/>
                    </a:lnTo>
                    <a:lnTo>
                      <a:pt x="1055" y="511"/>
                    </a:lnTo>
                    <a:lnTo>
                      <a:pt x="1060" y="513"/>
                    </a:lnTo>
                    <a:lnTo>
                      <a:pt x="1062" y="513"/>
                    </a:lnTo>
                    <a:lnTo>
                      <a:pt x="1062" y="513"/>
                    </a:lnTo>
                    <a:lnTo>
                      <a:pt x="1062" y="513"/>
                    </a:lnTo>
                    <a:lnTo>
                      <a:pt x="1062" y="516"/>
                    </a:lnTo>
                    <a:lnTo>
                      <a:pt x="1065" y="516"/>
                    </a:lnTo>
                    <a:lnTo>
                      <a:pt x="1067" y="518"/>
                    </a:lnTo>
                    <a:lnTo>
                      <a:pt x="1067" y="520"/>
                    </a:lnTo>
                    <a:lnTo>
                      <a:pt x="1069" y="520"/>
                    </a:lnTo>
                    <a:lnTo>
                      <a:pt x="1069" y="523"/>
                    </a:lnTo>
                    <a:lnTo>
                      <a:pt x="1072" y="523"/>
                    </a:lnTo>
                    <a:lnTo>
                      <a:pt x="1072" y="523"/>
                    </a:lnTo>
                    <a:lnTo>
                      <a:pt x="1074" y="523"/>
                    </a:lnTo>
                    <a:lnTo>
                      <a:pt x="1081" y="523"/>
                    </a:lnTo>
                    <a:lnTo>
                      <a:pt x="1081" y="523"/>
                    </a:lnTo>
                    <a:lnTo>
                      <a:pt x="1084" y="525"/>
                    </a:lnTo>
                    <a:lnTo>
                      <a:pt x="1084" y="525"/>
                    </a:lnTo>
                    <a:lnTo>
                      <a:pt x="1086" y="525"/>
                    </a:lnTo>
                    <a:lnTo>
                      <a:pt x="1086" y="525"/>
                    </a:lnTo>
                    <a:lnTo>
                      <a:pt x="1088" y="523"/>
                    </a:lnTo>
                    <a:lnTo>
                      <a:pt x="1088" y="523"/>
                    </a:lnTo>
                    <a:lnTo>
                      <a:pt x="1088" y="520"/>
                    </a:lnTo>
                    <a:lnTo>
                      <a:pt x="1091" y="520"/>
                    </a:lnTo>
                    <a:lnTo>
                      <a:pt x="1091" y="518"/>
                    </a:lnTo>
                    <a:lnTo>
                      <a:pt x="1093" y="518"/>
                    </a:lnTo>
                    <a:lnTo>
                      <a:pt x="1093" y="520"/>
                    </a:lnTo>
                    <a:lnTo>
                      <a:pt x="1093" y="520"/>
                    </a:lnTo>
                    <a:lnTo>
                      <a:pt x="1093" y="520"/>
                    </a:lnTo>
                    <a:lnTo>
                      <a:pt x="1093" y="523"/>
                    </a:lnTo>
                    <a:lnTo>
                      <a:pt x="1093" y="523"/>
                    </a:lnTo>
                    <a:lnTo>
                      <a:pt x="1096" y="523"/>
                    </a:lnTo>
                    <a:lnTo>
                      <a:pt x="1098" y="525"/>
                    </a:lnTo>
                    <a:lnTo>
                      <a:pt x="1100" y="528"/>
                    </a:lnTo>
                    <a:lnTo>
                      <a:pt x="1103" y="530"/>
                    </a:lnTo>
                    <a:lnTo>
                      <a:pt x="1103" y="530"/>
                    </a:lnTo>
                    <a:lnTo>
                      <a:pt x="1105" y="530"/>
                    </a:lnTo>
                    <a:lnTo>
                      <a:pt x="1107" y="530"/>
                    </a:lnTo>
                    <a:lnTo>
                      <a:pt x="1107" y="532"/>
                    </a:lnTo>
                    <a:lnTo>
                      <a:pt x="1110" y="532"/>
                    </a:lnTo>
                    <a:lnTo>
                      <a:pt x="1110" y="532"/>
                    </a:lnTo>
                    <a:lnTo>
                      <a:pt x="1112" y="532"/>
                    </a:lnTo>
                    <a:lnTo>
                      <a:pt x="1112" y="532"/>
                    </a:lnTo>
                    <a:lnTo>
                      <a:pt x="1112" y="532"/>
                    </a:lnTo>
                    <a:lnTo>
                      <a:pt x="1114" y="532"/>
                    </a:lnTo>
                    <a:lnTo>
                      <a:pt x="1114" y="532"/>
                    </a:lnTo>
                    <a:lnTo>
                      <a:pt x="1117" y="532"/>
                    </a:lnTo>
                    <a:lnTo>
                      <a:pt x="1117" y="532"/>
                    </a:lnTo>
                    <a:lnTo>
                      <a:pt x="1119" y="532"/>
                    </a:lnTo>
                    <a:lnTo>
                      <a:pt x="1119" y="530"/>
                    </a:lnTo>
                    <a:lnTo>
                      <a:pt x="1119" y="530"/>
                    </a:lnTo>
                    <a:lnTo>
                      <a:pt x="1119" y="530"/>
                    </a:lnTo>
                    <a:lnTo>
                      <a:pt x="1119" y="528"/>
                    </a:lnTo>
                    <a:lnTo>
                      <a:pt x="1119" y="528"/>
                    </a:lnTo>
                    <a:lnTo>
                      <a:pt x="1119" y="525"/>
                    </a:lnTo>
                    <a:lnTo>
                      <a:pt x="1122" y="525"/>
                    </a:lnTo>
                    <a:lnTo>
                      <a:pt x="1124" y="525"/>
                    </a:lnTo>
                    <a:lnTo>
                      <a:pt x="1124" y="525"/>
                    </a:lnTo>
                    <a:lnTo>
                      <a:pt x="1126" y="525"/>
                    </a:lnTo>
                    <a:lnTo>
                      <a:pt x="1126" y="525"/>
                    </a:lnTo>
                    <a:lnTo>
                      <a:pt x="1129" y="525"/>
                    </a:lnTo>
                    <a:lnTo>
                      <a:pt x="1129" y="525"/>
                    </a:lnTo>
                    <a:lnTo>
                      <a:pt x="1131" y="525"/>
                    </a:lnTo>
                    <a:lnTo>
                      <a:pt x="1131" y="525"/>
                    </a:lnTo>
                    <a:lnTo>
                      <a:pt x="1131" y="523"/>
                    </a:lnTo>
                    <a:lnTo>
                      <a:pt x="1131" y="523"/>
                    </a:lnTo>
                    <a:lnTo>
                      <a:pt x="1131" y="525"/>
                    </a:lnTo>
                    <a:lnTo>
                      <a:pt x="1131" y="525"/>
                    </a:lnTo>
                    <a:lnTo>
                      <a:pt x="1133" y="525"/>
                    </a:lnTo>
                    <a:lnTo>
                      <a:pt x="1133" y="525"/>
                    </a:lnTo>
                    <a:lnTo>
                      <a:pt x="1136" y="523"/>
                    </a:lnTo>
                    <a:lnTo>
                      <a:pt x="1136" y="523"/>
                    </a:lnTo>
                    <a:lnTo>
                      <a:pt x="1136" y="523"/>
                    </a:lnTo>
                    <a:lnTo>
                      <a:pt x="1136" y="523"/>
                    </a:lnTo>
                    <a:lnTo>
                      <a:pt x="1138" y="523"/>
                    </a:lnTo>
                    <a:lnTo>
                      <a:pt x="1138" y="520"/>
                    </a:lnTo>
                    <a:lnTo>
                      <a:pt x="1140" y="520"/>
                    </a:lnTo>
                    <a:lnTo>
                      <a:pt x="1140" y="520"/>
                    </a:lnTo>
                    <a:lnTo>
                      <a:pt x="1140" y="520"/>
                    </a:lnTo>
                    <a:lnTo>
                      <a:pt x="1140" y="518"/>
                    </a:lnTo>
                    <a:lnTo>
                      <a:pt x="1140" y="516"/>
                    </a:lnTo>
                    <a:lnTo>
                      <a:pt x="1140" y="516"/>
                    </a:lnTo>
                    <a:lnTo>
                      <a:pt x="1143" y="516"/>
                    </a:lnTo>
                    <a:lnTo>
                      <a:pt x="1145" y="513"/>
                    </a:lnTo>
                    <a:lnTo>
                      <a:pt x="1143" y="513"/>
                    </a:lnTo>
                    <a:lnTo>
                      <a:pt x="1145" y="513"/>
                    </a:lnTo>
                    <a:lnTo>
                      <a:pt x="1145" y="511"/>
                    </a:lnTo>
                    <a:lnTo>
                      <a:pt x="1148" y="511"/>
                    </a:lnTo>
                    <a:lnTo>
                      <a:pt x="1148" y="511"/>
                    </a:lnTo>
                    <a:lnTo>
                      <a:pt x="1148" y="511"/>
                    </a:lnTo>
                    <a:lnTo>
                      <a:pt x="1150" y="509"/>
                    </a:lnTo>
                    <a:lnTo>
                      <a:pt x="1152" y="509"/>
                    </a:lnTo>
                    <a:lnTo>
                      <a:pt x="1155" y="509"/>
                    </a:lnTo>
                    <a:lnTo>
                      <a:pt x="1155" y="509"/>
                    </a:lnTo>
                    <a:lnTo>
                      <a:pt x="1155" y="509"/>
                    </a:lnTo>
                    <a:lnTo>
                      <a:pt x="1155" y="506"/>
                    </a:lnTo>
                    <a:lnTo>
                      <a:pt x="1157" y="506"/>
                    </a:lnTo>
                    <a:lnTo>
                      <a:pt x="1157" y="506"/>
                    </a:lnTo>
                    <a:lnTo>
                      <a:pt x="1159" y="504"/>
                    </a:lnTo>
                    <a:lnTo>
                      <a:pt x="1162" y="504"/>
                    </a:lnTo>
                    <a:lnTo>
                      <a:pt x="1162" y="504"/>
                    </a:lnTo>
                    <a:lnTo>
                      <a:pt x="1162" y="504"/>
                    </a:lnTo>
                    <a:lnTo>
                      <a:pt x="1162" y="504"/>
                    </a:lnTo>
                    <a:lnTo>
                      <a:pt x="1164" y="502"/>
                    </a:lnTo>
                    <a:lnTo>
                      <a:pt x="1164" y="502"/>
                    </a:lnTo>
                    <a:lnTo>
                      <a:pt x="1164" y="502"/>
                    </a:lnTo>
                    <a:lnTo>
                      <a:pt x="1166" y="502"/>
                    </a:lnTo>
                    <a:lnTo>
                      <a:pt x="1166" y="499"/>
                    </a:lnTo>
                    <a:lnTo>
                      <a:pt x="1169" y="499"/>
                    </a:lnTo>
                    <a:lnTo>
                      <a:pt x="1171" y="499"/>
                    </a:lnTo>
                    <a:lnTo>
                      <a:pt x="1174" y="499"/>
                    </a:lnTo>
                    <a:lnTo>
                      <a:pt x="1174" y="499"/>
                    </a:lnTo>
                    <a:lnTo>
                      <a:pt x="1174" y="497"/>
                    </a:lnTo>
                    <a:lnTo>
                      <a:pt x="1174" y="497"/>
                    </a:lnTo>
                    <a:lnTo>
                      <a:pt x="1174" y="497"/>
                    </a:lnTo>
                    <a:lnTo>
                      <a:pt x="1176" y="497"/>
                    </a:lnTo>
                    <a:lnTo>
                      <a:pt x="1178" y="499"/>
                    </a:lnTo>
                    <a:lnTo>
                      <a:pt x="1178" y="499"/>
                    </a:lnTo>
                    <a:lnTo>
                      <a:pt x="1181" y="499"/>
                    </a:lnTo>
                    <a:lnTo>
                      <a:pt x="1181" y="499"/>
                    </a:lnTo>
                    <a:lnTo>
                      <a:pt x="1183" y="499"/>
                    </a:lnTo>
                    <a:lnTo>
                      <a:pt x="1183" y="499"/>
                    </a:lnTo>
                    <a:lnTo>
                      <a:pt x="1183" y="499"/>
                    </a:lnTo>
                    <a:lnTo>
                      <a:pt x="1185" y="499"/>
                    </a:lnTo>
                    <a:lnTo>
                      <a:pt x="1185" y="499"/>
                    </a:lnTo>
                    <a:lnTo>
                      <a:pt x="1185" y="499"/>
                    </a:lnTo>
                    <a:lnTo>
                      <a:pt x="1188" y="502"/>
                    </a:lnTo>
                    <a:lnTo>
                      <a:pt x="1188" y="502"/>
                    </a:lnTo>
                    <a:lnTo>
                      <a:pt x="1190" y="502"/>
                    </a:lnTo>
                    <a:lnTo>
                      <a:pt x="1192" y="502"/>
                    </a:lnTo>
                    <a:lnTo>
                      <a:pt x="1192" y="502"/>
                    </a:lnTo>
                    <a:lnTo>
                      <a:pt x="1195" y="502"/>
                    </a:lnTo>
                    <a:lnTo>
                      <a:pt x="1197" y="502"/>
                    </a:lnTo>
                    <a:lnTo>
                      <a:pt x="1197" y="502"/>
                    </a:lnTo>
                    <a:lnTo>
                      <a:pt x="1200" y="502"/>
                    </a:lnTo>
                    <a:lnTo>
                      <a:pt x="1204" y="502"/>
                    </a:lnTo>
                    <a:lnTo>
                      <a:pt x="1204" y="502"/>
                    </a:lnTo>
                    <a:lnTo>
                      <a:pt x="1207" y="504"/>
                    </a:lnTo>
                    <a:lnTo>
                      <a:pt x="1209" y="504"/>
                    </a:lnTo>
                    <a:lnTo>
                      <a:pt x="1211" y="506"/>
                    </a:lnTo>
                    <a:lnTo>
                      <a:pt x="1211" y="509"/>
                    </a:lnTo>
                    <a:lnTo>
                      <a:pt x="1214" y="509"/>
                    </a:lnTo>
                    <a:lnTo>
                      <a:pt x="1214" y="511"/>
                    </a:lnTo>
                    <a:lnTo>
                      <a:pt x="1214" y="511"/>
                    </a:lnTo>
                    <a:lnTo>
                      <a:pt x="1216" y="511"/>
                    </a:lnTo>
                    <a:lnTo>
                      <a:pt x="1219" y="513"/>
                    </a:lnTo>
                    <a:lnTo>
                      <a:pt x="1219" y="513"/>
                    </a:lnTo>
                    <a:lnTo>
                      <a:pt x="1221" y="513"/>
                    </a:lnTo>
                    <a:lnTo>
                      <a:pt x="1221" y="513"/>
                    </a:lnTo>
                    <a:lnTo>
                      <a:pt x="1221" y="513"/>
                    </a:lnTo>
                    <a:lnTo>
                      <a:pt x="1223" y="513"/>
                    </a:lnTo>
                    <a:lnTo>
                      <a:pt x="1226" y="513"/>
                    </a:lnTo>
                    <a:lnTo>
                      <a:pt x="1226" y="516"/>
                    </a:lnTo>
                    <a:lnTo>
                      <a:pt x="1228" y="516"/>
                    </a:lnTo>
                    <a:lnTo>
                      <a:pt x="1228" y="516"/>
                    </a:lnTo>
                    <a:lnTo>
                      <a:pt x="1230" y="516"/>
                    </a:lnTo>
                    <a:lnTo>
                      <a:pt x="1233" y="516"/>
                    </a:lnTo>
                    <a:lnTo>
                      <a:pt x="1233" y="516"/>
                    </a:lnTo>
                    <a:lnTo>
                      <a:pt x="1235" y="516"/>
                    </a:lnTo>
                    <a:lnTo>
                      <a:pt x="1235" y="516"/>
                    </a:lnTo>
                    <a:lnTo>
                      <a:pt x="1237" y="516"/>
                    </a:lnTo>
                    <a:lnTo>
                      <a:pt x="1237" y="513"/>
                    </a:lnTo>
                    <a:lnTo>
                      <a:pt x="1240" y="513"/>
                    </a:lnTo>
                    <a:lnTo>
                      <a:pt x="1240" y="513"/>
                    </a:lnTo>
                    <a:lnTo>
                      <a:pt x="1240" y="516"/>
                    </a:lnTo>
                    <a:lnTo>
                      <a:pt x="1242" y="516"/>
                    </a:lnTo>
                    <a:lnTo>
                      <a:pt x="1242" y="513"/>
                    </a:lnTo>
                    <a:lnTo>
                      <a:pt x="1242" y="513"/>
                    </a:lnTo>
                    <a:lnTo>
                      <a:pt x="1245" y="513"/>
                    </a:lnTo>
                    <a:lnTo>
                      <a:pt x="1245" y="516"/>
                    </a:lnTo>
                    <a:lnTo>
                      <a:pt x="1247" y="516"/>
                    </a:lnTo>
                    <a:lnTo>
                      <a:pt x="1249" y="516"/>
                    </a:lnTo>
                    <a:lnTo>
                      <a:pt x="1249" y="516"/>
                    </a:lnTo>
                    <a:lnTo>
                      <a:pt x="1249" y="516"/>
                    </a:lnTo>
                    <a:lnTo>
                      <a:pt x="1252" y="516"/>
                    </a:lnTo>
                    <a:lnTo>
                      <a:pt x="1252" y="516"/>
                    </a:lnTo>
                    <a:lnTo>
                      <a:pt x="1254" y="516"/>
                    </a:lnTo>
                    <a:lnTo>
                      <a:pt x="1254" y="516"/>
                    </a:lnTo>
                    <a:lnTo>
                      <a:pt x="1259" y="516"/>
                    </a:lnTo>
                    <a:lnTo>
                      <a:pt x="1261" y="518"/>
                    </a:lnTo>
                    <a:lnTo>
                      <a:pt x="1261" y="518"/>
                    </a:lnTo>
                    <a:lnTo>
                      <a:pt x="1261" y="518"/>
                    </a:lnTo>
                    <a:lnTo>
                      <a:pt x="1263" y="520"/>
                    </a:lnTo>
                    <a:lnTo>
                      <a:pt x="1266" y="520"/>
                    </a:lnTo>
                    <a:lnTo>
                      <a:pt x="1266" y="518"/>
                    </a:lnTo>
                    <a:lnTo>
                      <a:pt x="1268" y="518"/>
                    </a:lnTo>
                    <a:lnTo>
                      <a:pt x="1268" y="516"/>
                    </a:lnTo>
                    <a:lnTo>
                      <a:pt x="1268" y="516"/>
                    </a:lnTo>
                    <a:lnTo>
                      <a:pt x="1271" y="516"/>
                    </a:lnTo>
                    <a:lnTo>
                      <a:pt x="1271" y="516"/>
                    </a:lnTo>
                    <a:lnTo>
                      <a:pt x="1273" y="516"/>
                    </a:lnTo>
                    <a:lnTo>
                      <a:pt x="1273" y="513"/>
                    </a:lnTo>
                    <a:lnTo>
                      <a:pt x="1273" y="513"/>
                    </a:lnTo>
                    <a:lnTo>
                      <a:pt x="1275" y="513"/>
                    </a:lnTo>
                    <a:lnTo>
                      <a:pt x="1275" y="511"/>
                    </a:lnTo>
                    <a:lnTo>
                      <a:pt x="1275" y="511"/>
                    </a:lnTo>
                    <a:lnTo>
                      <a:pt x="1275" y="509"/>
                    </a:lnTo>
                    <a:lnTo>
                      <a:pt x="1275" y="509"/>
                    </a:lnTo>
                    <a:lnTo>
                      <a:pt x="1275" y="506"/>
                    </a:lnTo>
                    <a:lnTo>
                      <a:pt x="1273" y="504"/>
                    </a:lnTo>
                    <a:lnTo>
                      <a:pt x="1273" y="504"/>
                    </a:lnTo>
                    <a:lnTo>
                      <a:pt x="1273" y="504"/>
                    </a:lnTo>
                    <a:lnTo>
                      <a:pt x="1271" y="502"/>
                    </a:lnTo>
                    <a:lnTo>
                      <a:pt x="1268" y="502"/>
                    </a:lnTo>
                    <a:lnTo>
                      <a:pt x="1268" y="502"/>
                    </a:lnTo>
                    <a:lnTo>
                      <a:pt x="1266" y="499"/>
                    </a:lnTo>
                    <a:lnTo>
                      <a:pt x="1266" y="499"/>
                    </a:lnTo>
                    <a:lnTo>
                      <a:pt x="1266" y="497"/>
                    </a:lnTo>
                    <a:lnTo>
                      <a:pt x="1263" y="497"/>
                    </a:lnTo>
                    <a:lnTo>
                      <a:pt x="1263" y="497"/>
                    </a:lnTo>
                    <a:lnTo>
                      <a:pt x="1261" y="494"/>
                    </a:lnTo>
                    <a:lnTo>
                      <a:pt x="1261" y="494"/>
                    </a:lnTo>
                    <a:lnTo>
                      <a:pt x="1261" y="492"/>
                    </a:lnTo>
                    <a:lnTo>
                      <a:pt x="1261" y="490"/>
                    </a:lnTo>
                    <a:lnTo>
                      <a:pt x="1261" y="490"/>
                    </a:lnTo>
                    <a:lnTo>
                      <a:pt x="1261" y="490"/>
                    </a:lnTo>
                    <a:lnTo>
                      <a:pt x="1259" y="487"/>
                    </a:lnTo>
                    <a:lnTo>
                      <a:pt x="1259" y="487"/>
                    </a:lnTo>
                    <a:lnTo>
                      <a:pt x="1259" y="485"/>
                    </a:lnTo>
                    <a:lnTo>
                      <a:pt x="1259" y="485"/>
                    </a:lnTo>
                    <a:lnTo>
                      <a:pt x="1261" y="485"/>
                    </a:lnTo>
                    <a:lnTo>
                      <a:pt x="1261" y="485"/>
                    </a:lnTo>
                    <a:lnTo>
                      <a:pt x="1261" y="483"/>
                    </a:lnTo>
                    <a:lnTo>
                      <a:pt x="1261" y="483"/>
                    </a:lnTo>
                    <a:lnTo>
                      <a:pt x="1261" y="480"/>
                    </a:lnTo>
                    <a:lnTo>
                      <a:pt x="1261" y="480"/>
                    </a:lnTo>
                    <a:lnTo>
                      <a:pt x="1261" y="480"/>
                    </a:lnTo>
                    <a:lnTo>
                      <a:pt x="1266" y="478"/>
                    </a:lnTo>
                    <a:lnTo>
                      <a:pt x="1266" y="475"/>
                    </a:lnTo>
                    <a:lnTo>
                      <a:pt x="1266" y="473"/>
                    </a:lnTo>
                    <a:lnTo>
                      <a:pt x="1266" y="473"/>
                    </a:lnTo>
                    <a:lnTo>
                      <a:pt x="1266" y="471"/>
                    </a:lnTo>
                    <a:lnTo>
                      <a:pt x="1268" y="471"/>
                    </a:lnTo>
                    <a:lnTo>
                      <a:pt x="1271" y="473"/>
                    </a:lnTo>
                    <a:lnTo>
                      <a:pt x="1271" y="473"/>
                    </a:lnTo>
                    <a:lnTo>
                      <a:pt x="1273" y="473"/>
                    </a:lnTo>
                    <a:lnTo>
                      <a:pt x="1278" y="475"/>
                    </a:lnTo>
                    <a:lnTo>
                      <a:pt x="1280" y="475"/>
                    </a:lnTo>
                    <a:lnTo>
                      <a:pt x="1280" y="475"/>
                    </a:lnTo>
                    <a:lnTo>
                      <a:pt x="1282" y="475"/>
                    </a:lnTo>
                    <a:lnTo>
                      <a:pt x="1285" y="478"/>
                    </a:lnTo>
                    <a:lnTo>
                      <a:pt x="1287" y="478"/>
                    </a:lnTo>
                    <a:lnTo>
                      <a:pt x="1289" y="478"/>
                    </a:lnTo>
                    <a:lnTo>
                      <a:pt x="1292" y="478"/>
                    </a:lnTo>
                    <a:lnTo>
                      <a:pt x="1297" y="478"/>
                    </a:lnTo>
                    <a:lnTo>
                      <a:pt x="1297" y="480"/>
                    </a:lnTo>
                    <a:lnTo>
                      <a:pt x="1301" y="480"/>
                    </a:lnTo>
                    <a:lnTo>
                      <a:pt x="1304" y="483"/>
                    </a:lnTo>
                    <a:lnTo>
                      <a:pt x="1308" y="483"/>
                    </a:lnTo>
                    <a:lnTo>
                      <a:pt x="1311" y="483"/>
                    </a:lnTo>
                    <a:lnTo>
                      <a:pt x="1311" y="485"/>
                    </a:lnTo>
                    <a:lnTo>
                      <a:pt x="1313" y="485"/>
                    </a:lnTo>
                    <a:lnTo>
                      <a:pt x="1315" y="485"/>
                    </a:lnTo>
                    <a:lnTo>
                      <a:pt x="1315" y="485"/>
                    </a:lnTo>
                    <a:lnTo>
                      <a:pt x="1320" y="485"/>
                    </a:lnTo>
                    <a:lnTo>
                      <a:pt x="1323" y="485"/>
                    </a:lnTo>
                    <a:lnTo>
                      <a:pt x="1325" y="487"/>
                    </a:lnTo>
                    <a:lnTo>
                      <a:pt x="1327" y="487"/>
                    </a:lnTo>
                    <a:lnTo>
                      <a:pt x="1327" y="487"/>
                    </a:lnTo>
                    <a:lnTo>
                      <a:pt x="1327" y="490"/>
                    </a:lnTo>
                    <a:lnTo>
                      <a:pt x="1330" y="492"/>
                    </a:lnTo>
                    <a:lnTo>
                      <a:pt x="1330" y="492"/>
                    </a:lnTo>
                    <a:lnTo>
                      <a:pt x="1332" y="494"/>
                    </a:lnTo>
                    <a:lnTo>
                      <a:pt x="1332" y="497"/>
                    </a:lnTo>
                    <a:lnTo>
                      <a:pt x="1334" y="497"/>
                    </a:lnTo>
                    <a:lnTo>
                      <a:pt x="1334" y="499"/>
                    </a:lnTo>
                    <a:lnTo>
                      <a:pt x="1334" y="499"/>
                    </a:lnTo>
                    <a:lnTo>
                      <a:pt x="1337" y="499"/>
                    </a:lnTo>
                    <a:lnTo>
                      <a:pt x="1337" y="502"/>
                    </a:lnTo>
                    <a:lnTo>
                      <a:pt x="1337" y="502"/>
                    </a:lnTo>
                    <a:lnTo>
                      <a:pt x="1337" y="502"/>
                    </a:lnTo>
                    <a:lnTo>
                      <a:pt x="1339" y="504"/>
                    </a:lnTo>
                    <a:lnTo>
                      <a:pt x="1339" y="504"/>
                    </a:lnTo>
                    <a:lnTo>
                      <a:pt x="1342" y="504"/>
                    </a:lnTo>
                    <a:lnTo>
                      <a:pt x="1342" y="504"/>
                    </a:lnTo>
                    <a:lnTo>
                      <a:pt x="1346" y="506"/>
                    </a:lnTo>
                    <a:lnTo>
                      <a:pt x="1346" y="506"/>
                    </a:lnTo>
                    <a:lnTo>
                      <a:pt x="1349" y="506"/>
                    </a:lnTo>
                    <a:lnTo>
                      <a:pt x="1353" y="509"/>
                    </a:lnTo>
                    <a:lnTo>
                      <a:pt x="1353" y="509"/>
                    </a:lnTo>
                    <a:lnTo>
                      <a:pt x="1356" y="509"/>
                    </a:lnTo>
                    <a:lnTo>
                      <a:pt x="1358" y="511"/>
                    </a:lnTo>
                    <a:lnTo>
                      <a:pt x="1360" y="511"/>
                    </a:lnTo>
                    <a:lnTo>
                      <a:pt x="1360" y="511"/>
                    </a:lnTo>
                    <a:lnTo>
                      <a:pt x="1363" y="511"/>
                    </a:lnTo>
                    <a:lnTo>
                      <a:pt x="1365" y="511"/>
                    </a:lnTo>
                    <a:lnTo>
                      <a:pt x="1365" y="511"/>
                    </a:lnTo>
                    <a:lnTo>
                      <a:pt x="1368" y="511"/>
                    </a:lnTo>
                    <a:lnTo>
                      <a:pt x="1368" y="511"/>
                    </a:lnTo>
                    <a:lnTo>
                      <a:pt x="1370" y="511"/>
                    </a:lnTo>
                    <a:lnTo>
                      <a:pt x="1372" y="511"/>
                    </a:lnTo>
                    <a:lnTo>
                      <a:pt x="1372" y="509"/>
                    </a:lnTo>
                    <a:lnTo>
                      <a:pt x="1375" y="509"/>
                    </a:lnTo>
                    <a:lnTo>
                      <a:pt x="1375" y="509"/>
                    </a:lnTo>
                    <a:lnTo>
                      <a:pt x="1377" y="509"/>
                    </a:lnTo>
                    <a:lnTo>
                      <a:pt x="1379" y="506"/>
                    </a:lnTo>
                    <a:lnTo>
                      <a:pt x="1382" y="506"/>
                    </a:lnTo>
                    <a:lnTo>
                      <a:pt x="1384" y="506"/>
                    </a:lnTo>
                    <a:lnTo>
                      <a:pt x="1386" y="506"/>
                    </a:lnTo>
                    <a:lnTo>
                      <a:pt x="1386" y="504"/>
                    </a:lnTo>
                    <a:lnTo>
                      <a:pt x="1389" y="504"/>
                    </a:lnTo>
                    <a:lnTo>
                      <a:pt x="1391" y="506"/>
                    </a:lnTo>
                    <a:lnTo>
                      <a:pt x="1394" y="506"/>
                    </a:lnTo>
                    <a:lnTo>
                      <a:pt x="1396" y="506"/>
                    </a:lnTo>
                    <a:lnTo>
                      <a:pt x="1398" y="506"/>
                    </a:lnTo>
                    <a:lnTo>
                      <a:pt x="1401" y="506"/>
                    </a:lnTo>
                    <a:lnTo>
                      <a:pt x="1403" y="509"/>
                    </a:lnTo>
                    <a:lnTo>
                      <a:pt x="1405" y="509"/>
                    </a:lnTo>
                    <a:lnTo>
                      <a:pt x="1410" y="506"/>
                    </a:lnTo>
                    <a:lnTo>
                      <a:pt x="1412" y="509"/>
                    </a:lnTo>
                    <a:lnTo>
                      <a:pt x="1415" y="509"/>
                    </a:lnTo>
                    <a:lnTo>
                      <a:pt x="1417" y="511"/>
                    </a:lnTo>
                    <a:lnTo>
                      <a:pt x="1420" y="513"/>
                    </a:lnTo>
                    <a:lnTo>
                      <a:pt x="1422" y="513"/>
                    </a:lnTo>
                    <a:lnTo>
                      <a:pt x="1424" y="513"/>
                    </a:lnTo>
                    <a:lnTo>
                      <a:pt x="1424" y="513"/>
                    </a:lnTo>
                    <a:lnTo>
                      <a:pt x="1429" y="513"/>
                    </a:lnTo>
                    <a:lnTo>
                      <a:pt x="1434" y="516"/>
                    </a:lnTo>
                    <a:lnTo>
                      <a:pt x="1436" y="516"/>
                    </a:lnTo>
                    <a:lnTo>
                      <a:pt x="1436" y="516"/>
                    </a:lnTo>
                    <a:lnTo>
                      <a:pt x="1436" y="518"/>
                    </a:lnTo>
                    <a:lnTo>
                      <a:pt x="1439" y="520"/>
                    </a:lnTo>
                    <a:lnTo>
                      <a:pt x="1439" y="520"/>
                    </a:lnTo>
                    <a:lnTo>
                      <a:pt x="1439" y="520"/>
                    </a:lnTo>
                    <a:lnTo>
                      <a:pt x="1441" y="520"/>
                    </a:lnTo>
                    <a:lnTo>
                      <a:pt x="1441" y="523"/>
                    </a:lnTo>
                    <a:lnTo>
                      <a:pt x="1443" y="523"/>
                    </a:lnTo>
                    <a:lnTo>
                      <a:pt x="1446" y="523"/>
                    </a:lnTo>
                    <a:lnTo>
                      <a:pt x="1448" y="528"/>
                    </a:lnTo>
                    <a:lnTo>
                      <a:pt x="1450" y="528"/>
                    </a:lnTo>
                    <a:lnTo>
                      <a:pt x="1453" y="528"/>
                    </a:lnTo>
                    <a:lnTo>
                      <a:pt x="1455" y="528"/>
                    </a:lnTo>
                    <a:lnTo>
                      <a:pt x="1457" y="528"/>
                    </a:lnTo>
                    <a:lnTo>
                      <a:pt x="1462" y="528"/>
                    </a:lnTo>
                    <a:lnTo>
                      <a:pt x="1467" y="528"/>
                    </a:lnTo>
                    <a:lnTo>
                      <a:pt x="1469" y="530"/>
                    </a:lnTo>
                    <a:lnTo>
                      <a:pt x="1472" y="530"/>
                    </a:lnTo>
                    <a:lnTo>
                      <a:pt x="1476" y="530"/>
                    </a:lnTo>
                    <a:lnTo>
                      <a:pt x="1481" y="532"/>
                    </a:lnTo>
                    <a:lnTo>
                      <a:pt x="1481" y="530"/>
                    </a:lnTo>
                    <a:lnTo>
                      <a:pt x="1483" y="530"/>
                    </a:lnTo>
                    <a:lnTo>
                      <a:pt x="1486" y="530"/>
                    </a:lnTo>
                    <a:lnTo>
                      <a:pt x="1488" y="532"/>
                    </a:lnTo>
                    <a:lnTo>
                      <a:pt x="1488" y="532"/>
                    </a:lnTo>
                    <a:lnTo>
                      <a:pt x="1491" y="532"/>
                    </a:lnTo>
                    <a:lnTo>
                      <a:pt x="1495" y="528"/>
                    </a:lnTo>
                    <a:lnTo>
                      <a:pt x="1498" y="528"/>
                    </a:lnTo>
                    <a:lnTo>
                      <a:pt x="1498" y="528"/>
                    </a:lnTo>
                    <a:lnTo>
                      <a:pt x="1500" y="528"/>
                    </a:lnTo>
                    <a:lnTo>
                      <a:pt x="1500" y="528"/>
                    </a:lnTo>
                    <a:lnTo>
                      <a:pt x="1502" y="528"/>
                    </a:lnTo>
                    <a:lnTo>
                      <a:pt x="1505" y="528"/>
                    </a:lnTo>
                    <a:lnTo>
                      <a:pt x="1507" y="525"/>
                    </a:lnTo>
                    <a:lnTo>
                      <a:pt x="1509" y="525"/>
                    </a:lnTo>
                    <a:lnTo>
                      <a:pt x="1512" y="525"/>
                    </a:lnTo>
                    <a:lnTo>
                      <a:pt x="1514" y="523"/>
                    </a:lnTo>
                    <a:lnTo>
                      <a:pt x="1517" y="525"/>
                    </a:lnTo>
                    <a:lnTo>
                      <a:pt x="1519" y="523"/>
                    </a:lnTo>
                    <a:lnTo>
                      <a:pt x="1521" y="523"/>
                    </a:lnTo>
                    <a:lnTo>
                      <a:pt x="1521" y="523"/>
                    </a:lnTo>
                    <a:lnTo>
                      <a:pt x="1521" y="520"/>
                    </a:lnTo>
                    <a:lnTo>
                      <a:pt x="1521" y="518"/>
                    </a:lnTo>
                    <a:lnTo>
                      <a:pt x="1524" y="516"/>
                    </a:lnTo>
                    <a:lnTo>
                      <a:pt x="1524" y="516"/>
                    </a:lnTo>
                    <a:lnTo>
                      <a:pt x="1526" y="513"/>
                    </a:lnTo>
                    <a:lnTo>
                      <a:pt x="1528" y="513"/>
                    </a:lnTo>
                    <a:lnTo>
                      <a:pt x="1531" y="511"/>
                    </a:lnTo>
                    <a:lnTo>
                      <a:pt x="1531" y="511"/>
                    </a:lnTo>
                    <a:lnTo>
                      <a:pt x="1533" y="509"/>
                    </a:lnTo>
                    <a:lnTo>
                      <a:pt x="1535" y="509"/>
                    </a:lnTo>
                    <a:lnTo>
                      <a:pt x="1535" y="509"/>
                    </a:lnTo>
                    <a:lnTo>
                      <a:pt x="1540" y="509"/>
                    </a:lnTo>
                    <a:lnTo>
                      <a:pt x="1540" y="509"/>
                    </a:lnTo>
                    <a:lnTo>
                      <a:pt x="1543" y="509"/>
                    </a:lnTo>
                    <a:lnTo>
                      <a:pt x="1545" y="511"/>
                    </a:lnTo>
                    <a:lnTo>
                      <a:pt x="1547" y="511"/>
                    </a:lnTo>
                    <a:lnTo>
                      <a:pt x="1550" y="513"/>
                    </a:lnTo>
                    <a:lnTo>
                      <a:pt x="1554" y="516"/>
                    </a:lnTo>
                    <a:lnTo>
                      <a:pt x="1557" y="516"/>
                    </a:lnTo>
                    <a:lnTo>
                      <a:pt x="1557" y="516"/>
                    </a:lnTo>
                    <a:lnTo>
                      <a:pt x="1559" y="516"/>
                    </a:lnTo>
                    <a:lnTo>
                      <a:pt x="1562" y="516"/>
                    </a:lnTo>
                    <a:lnTo>
                      <a:pt x="1564" y="516"/>
                    </a:lnTo>
                    <a:lnTo>
                      <a:pt x="1564" y="516"/>
                    </a:lnTo>
                    <a:lnTo>
                      <a:pt x="1569" y="513"/>
                    </a:lnTo>
                    <a:lnTo>
                      <a:pt x="1569" y="513"/>
                    </a:lnTo>
                    <a:lnTo>
                      <a:pt x="1571" y="516"/>
                    </a:lnTo>
                    <a:lnTo>
                      <a:pt x="1576" y="516"/>
                    </a:lnTo>
                    <a:lnTo>
                      <a:pt x="1578" y="516"/>
                    </a:lnTo>
                    <a:lnTo>
                      <a:pt x="1578" y="518"/>
                    </a:lnTo>
                    <a:lnTo>
                      <a:pt x="1583" y="520"/>
                    </a:lnTo>
                    <a:lnTo>
                      <a:pt x="1585" y="520"/>
                    </a:lnTo>
                    <a:lnTo>
                      <a:pt x="1590" y="523"/>
                    </a:lnTo>
                    <a:lnTo>
                      <a:pt x="1595" y="523"/>
                    </a:lnTo>
                    <a:lnTo>
                      <a:pt x="1599" y="523"/>
                    </a:lnTo>
                    <a:lnTo>
                      <a:pt x="1602" y="525"/>
                    </a:lnTo>
                    <a:lnTo>
                      <a:pt x="1602" y="525"/>
                    </a:lnTo>
                    <a:lnTo>
                      <a:pt x="1604" y="520"/>
                    </a:lnTo>
                    <a:lnTo>
                      <a:pt x="1606" y="518"/>
                    </a:lnTo>
                    <a:lnTo>
                      <a:pt x="1611" y="516"/>
                    </a:lnTo>
                    <a:lnTo>
                      <a:pt x="1614" y="516"/>
                    </a:lnTo>
                    <a:lnTo>
                      <a:pt x="1616" y="513"/>
                    </a:lnTo>
                    <a:lnTo>
                      <a:pt x="1618" y="513"/>
                    </a:lnTo>
                    <a:lnTo>
                      <a:pt x="1618" y="511"/>
                    </a:lnTo>
                    <a:lnTo>
                      <a:pt x="1616" y="509"/>
                    </a:lnTo>
                    <a:lnTo>
                      <a:pt x="1614" y="506"/>
                    </a:lnTo>
                    <a:lnTo>
                      <a:pt x="1614" y="506"/>
                    </a:lnTo>
                    <a:lnTo>
                      <a:pt x="1611" y="506"/>
                    </a:lnTo>
                    <a:lnTo>
                      <a:pt x="1611" y="506"/>
                    </a:lnTo>
                    <a:lnTo>
                      <a:pt x="1611" y="504"/>
                    </a:lnTo>
                    <a:lnTo>
                      <a:pt x="1611" y="502"/>
                    </a:lnTo>
                    <a:lnTo>
                      <a:pt x="1611" y="502"/>
                    </a:lnTo>
                    <a:lnTo>
                      <a:pt x="1614" y="499"/>
                    </a:lnTo>
                    <a:lnTo>
                      <a:pt x="1611" y="499"/>
                    </a:lnTo>
                    <a:lnTo>
                      <a:pt x="1611" y="497"/>
                    </a:lnTo>
                    <a:lnTo>
                      <a:pt x="1611" y="494"/>
                    </a:lnTo>
                    <a:lnTo>
                      <a:pt x="1611" y="492"/>
                    </a:lnTo>
                    <a:lnTo>
                      <a:pt x="1611" y="492"/>
                    </a:lnTo>
                    <a:lnTo>
                      <a:pt x="1611" y="490"/>
                    </a:lnTo>
                    <a:lnTo>
                      <a:pt x="1611" y="487"/>
                    </a:lnTo>
                    <a:lnTo>
                      <a:pt x="1611" y="485"/>
                    </a:lnTo>
                    <a:lnTo>
                      <a:pt x="1611" y="483"/>
                    </a:lnTo>
                    <a:lnTo>
                      <a:pt x="1611" y="478"/>
                    </a:lnTo>
                    <a:lnTo>
                      <a:pt x="1614" y="475"/>
                    </a:lnTo>
                    <a:lnTo>
                      <a:pt x="1616" y="473"/>
                    </a:lnTo>
                    <a:lnTo>
                      <a:pt x="1616" y="471"/>
                    </a:lnTo>
                    <a:lnTo>
                      <a:pt x="1614" y="468"/>
                    </a:lnTo>
                    <a:lnTo>
                      <a:pt x="1611" y="468"/>
                    </a:lnTo>
                    <a:lnTo>
                      <a:pt x="1609" y="466"/>
                    </a:lnTo>
                    <a:lnTo>
                      <a:pt x="1609" y="464"/>
                    </a:lnTo>
                    <a:lnTo>
                      <a:pt x="1606" y="461"/>
                    </a:lnTo>
                    <a:lnTo>
                      <a:pt x="1604" y="461"/>
                    </a:lnTo>
                    <a:lnTo>
                      <a:pt x="1602" y="461"/>
                    </a:lnTo>
                    <a:lnTo>
                      <a:pt x="1599" y="461"/>
                    </a:lnTo>
                    <a:lnTo>
                      <a:pt x="1597" y="461"/>
                    </a:lnTo>
                    <a:lnTo>
                      <a:pt x="1595" y="459"/>
                    </a:lnTo>
                    <a:lnTo>
                      <a:pt x="1595" y="457"/>
                    </a:lnTo>
                    <a:lnTo>
                      <a:pt x="1597" y="457"/>
                    </a:lnTo>
                    <a:lnTo>
                      <a:pt x="1599" y="454"/>
                    </a:lnTo>
                    <a:lnTo>
                      <a:pt x="1599" y="449"/>
                    </a:lnTo>
                    <a:lnTo>
                      <a:pt x="1602" y="447"/>
                    </a:lnTo>
                    <a:lnTo>
                      <a:pt x="1609" y="447"/>
                    </a:lnTo>
                    <a:lnTo>
                      <a:pt x="1614" y="445"/>
                    </a:lnTo>
                    <a:lnTo>
                      <a:pt x="1618" y="445"/>
                    </a:lnTo>
                    <a:lnTo>
                      <a:pt x="1621" y="442"/>
                    </a:lnTo>
                    <a:lnTo>
                      <a:pt x="1623" y="445"/>
                    </a:lnTo>
                    <a:lnTo>
                      <a:pt x="1625" y="445"/>
                    </a:lnTo>
                    <a:lnTo>
                      <a:pt x="1628" y="445"/>
                    </a:lnTo>
                    <a:lnTo>
                      <a:pt x="1630" y="442"/>
                    </a:lnTo>
                    <a:lnTo>
                      <a:pt x="1632" y="442"/>
                    </a:lnTo>
                    <a:lnTo>
                      <a:pt x="1635" y="442"/>
                    </a:lnTo>
                    <a:lnTo>
                      <a:pt x="1637" y="442"/>
                    </a:lnTo>
                    <a:lnTo>
                      <a:pt x="1640" y="442"/>
                    </a:lnTo>
                    <a:lnTo>
                      <a:pt x="1640" y="442"/>
                    </a:lnTo>
                    <a:lnTo>
                      <a:pt x="1640" y="442"/>
                    </a:lnTo>
                    <a:lnTo>
                      <a:pt x="1640" y="442"/>
                    </a:lnTo>
                    <a:lnTo>
                      <a:pt x="1642" y="442"/>
                    </a:lnTo>
                    <a:lnTo>
                      <a:pt x="1649" y="445"/>
                    </a:lnTo>
                    <a:lnTo>
                      <a:pt x="1651" y="447"/>
                    </a:lnTo>
                    <a:lnTo>
                      <a:pt x="1654" y="445"/>
                    </a:lnTo>
                    <a:lnTo>
                      <a:pt x="1654" y="447"/>
                    </a:lnTo>
                    <a:lnTo>
                      <a:pt x="1656" y="447"/>
                    </a:lnTo>
                    <a:lnTo>
                      <a:pt x="1659" y="449"/>
                    </a:lnTo>
                    <a:lnTo>
                      <a:pt x="1661" y="449"/>
                    </a:lnTo>
                    <a:lnTo>
                      <a:pt x="1666" y="449"/>
                    </a:lnTo>
                    <a:lnTo>
                      <a:pt x="1666" y="449"/>
                    </a:lnTo>
                    <a:lnTo>
                      <a:pt x="1666" y="449"/>
                    </a:lnTo>
                    <a:lnTo>
                      <a:pt x="1668" y="449"/>
                    </a:lnTo>
                    <a:lnTo>
                      <a:pt x="1668" y="449"/>
                    </a:lnTo>
                    <a:lnTo>
                      <a:pt x="1670" y="449"/>
                    </a:lnTo>
                    <a:lnTo>
                      <a:pt x="1675" y="452"/>
                    </a:lnTo>
                    <a:lnTo>
                      <a:pt x="1677" y="452"/>
                    </a:lnTo>
                    <a:lnTo>
                      <a:pt x="1680" y="452"/>
                    </a:lnTo>
                    <a:lnTo>
                      <a:pt x="1680" y="452"/>
                    </a:lnTo>
                    <a:lnTo>
                      <a:pt x="1682" y="454"/>
                    </a:lnTo>
                    <a:lnTo>
                      <a:pt x="1682" y="454"/>
                    </a:lnTo>
                    <a:lnTo>
                      <a:pt x="1682" y="454"/>
                    </a:lnTo>
                    <a:lnTo>
                      <a:pt x="1685" y="457"/>
                    </a:lnTo>
                    <a:lnTo>
                      <a:pt x="1685" y="457"/>
                    </a:lnTo>
                    <a:lnTo>
                      <a:pt x="1687" y="457"/>
                    </a:lnTo>
                    <a:lnTo>
                      <a:pt x="1687" y="457"/>
                    </a:lnTo>
                    <a:lnTo>
                      <a:pt x="1689" y="459"/>
                    </a:lnTo>
                    <a:lnTo>
                      <a:pt x="1692" y="459"/>
                    </a:lnTo>
                    <a:lnTo>
                      <a:pt x="1692" y="459"/>
                    </a:lnTo>
                    <a:lnTo>
                      <a:pt x="1692" y="459"/>
                    </a:lnTo>
                    <a:lnTo>
                      <a:pt x="1692" y="459"/>
                    </a:lnTo>
                    <a:lnTo>
                      <a:pt x="1692" y="461"/>
                    </a:lnTo>
                    <a:lnTo>
                      <a:pt x="1692" y="461"/>
                    </a:lnTo>
                    <a:lnTo>
                      <a:pt x="1694" y="461"/>
                    </a:lnTo>
                    <a:lnTo>
                      <a:pt x="1694" y="461"/>
                    </a:lnTo>
                    <a:lnTo>
                      <a:pt x="1696" y="464"/>
                    </a:lnTo>
                    <a:lnTo>
                      <a:pt x="1696" y="464"/>
                    </a:lnTo>
                    <a:lnTo>
                      <a:pt x="1699" y="464"/>
                    </a:lnTo>
                    <a:lnTo>
                      <a:pt x="1699" y="466"/>
                    </a:lnTo>
                    <a:lnTo>
                      <a:pt x="1701" y="466"/>
                    </a:lnTo>
                    <a:lnTo>
                      <a:pt x="1701" y="466"/>
                    </a:lnTo>
                    <a:lnTo>
                      <a:pt x="1701" y="466"/>
                    </a:lnTo>
                    <a:lnTo>
                      <a:pt x="1703" y="468"/>
                    </a:lnTo>
                    <a:lnTo>
                      <a:pt x="1703" y="468"/>
                    </a:lnTo>
                    <a:lnTo>
                      <a:pt x="1703" y="471"/>
                    </a:lnTo>
                    <a:lnTo>
                      <a:pt x="1706" y="471"/>
                    </a:lnTo>
                    <a:lnTo>
                      <a:pt x="1708" y="473"/>
                    </a:lnTo>
                    <a:lnTo>
                      <a:pt x="1711" y="475"/>
                    </a:lnTo>
                    <a:lnTo>
                      <a:pt x="1713" y="478"/>
                    </a:lnTo>
                    <a:lnTo>
                      <a:pt x="1715" y="480"/>
                    </a:lnTo>
                    <a:lnTo>
                      <a:pt x="1718" y="480"/>
                    </a:lnTo>
                    <a:lnTo>
                      <a:pt x="1718" y="483"/>
                    </a:lnTo>
                    <a:lnTo>
                      <a:pt x="1720" y="483"/>
                    </a:lnTo>
                    <a:lnTo>
                      <a:pt x="1720" y="483"/>
                    </a:lnTo>
                    <a:lnTo>
                      <a:pt x="1720" y="485"/>
                    </a:lnTo>
                    <a:lnTo>
                      <a:pt x="1722" y="485"/>
                    </a:lnTo>
                    <a:lnTo>
                      <a:pt x="1722" y="485"/>
                    </a:lnTo>
                    <a:lnTo>
                      <a:pt x="1722" y="487"/>
                    </a:lnTo>
                    <a:lnTo>
                      <a:pt x="1725" y="487"/>
                    </a:lnTo>
                    <a:lnTo>
                      <a:pt x="1725" y="490"/>
                    </a:lnTo>
                    <a:lnTo>
                      <a:pt x="1727" y="490"/>
                    </a:lnTo>
                    <a:lnTo>
                      <a:pt x="1727" y="492"/>
                    </a:lnTo>
                    <a:lnTo>
                      <a:pt x="1729" y="494"/>
                    </a:lnTo>
                    <a:lnTo>
                      <a:pt x="1737" y="497"/>
                    </a:lnTo>
                    <a:lnTo>
                      <a:pt x="1739" y="499"/>
                    </a:lnTo>
                    <a:lnTo>
                      <a:pt x="1741" y="502"/>
                    </a:lnTo>
                    <a:lnTo>
                      <a:pt x="1741" y="504"/>
                    </a:lnTo>
                    <a:lnTo>
                      <a:pt x="1741" y="504"/>
                    </a:lnTo>
                    <a:lnTo>
                      <a:pt x="1741" y="504"/>
                    </a:lnTo>
                    <a:lnTo>
                      <a:pt x="1744" y="506"/>
                    </a:lnTo>
                    <a:lnTo>
                      <a:pt x="1744" y="506"/>
                    </a:lnTo>
                    <a:lnTo>
                      <a:pt x="1744" y="506"/>
                    </a:lnTo>
                    <a:lnTo>
                      <a:pt x="1746" y="509"/>
                    </a:lnTo>
                    <a:lnTo>
                      <a:pt x="1751" y="511"/>
                    </a:lnTo>
                    <a:lnTo>
                      <a:pt x="1751" y="513"/>
                    </a:lnTo>
                    <a:lnTo>
                      <a:pt x="1751" y="516"/>
                    </a:lnTo>
                    <a:lnTo>
                      <a:pt x="1753" y="516"/>
                    </a:lnTo>
                    <a:lnTo>
                      <a:pt x="1755" y="518"/>
                    </a:lnTo>
                    <a:lnTo>
                      <a:pt x="1758" y="518"/>
                    </a:lnTo>
                    <a:lnTo>
                      <a:pt x="1758" y="520"/>
                    </a:lnTo>
                    <a:lnTo>
                      <a:pt x="1760" y="520"/>
                    </a:lnTo>
                    <a:lnTo>
                      <a:pt x="1763" y="523"/>
                    </a:lnTo>
                    <a:lnTo>
                      <a:pt x="1765" y="523"/>
                    </a:lnTo>
                    <a:lnTo>
                      <a:pt x="1770" y="523"/>
                    </a:lnTo>
                    <a:lnTo>
                      <a:pt x="1774" y="523"/>
                    </a:lnTo>
                    <a:lnTo>
                      <a:pt x="1777" y="523"/>
                    </a:lnTo>
                    <a:lnTo>
                      <a:pt x="1777" y="523"/>
                    </a:lnTo>
                    <a:lnTo>
                      <a:pt x="1779" y="523"/>
                    </a:lnTo>
                    <a:lnTo>
                      <a:pt x="1779" y="525"/>
                    </a:lnTo>
                    <a:lnTo>
                      <a:pt x="1779" y="525"/>
                    </a:lnTo>
                    <a:lnTo>
                      <a:pt x="1782" y="525"/>
                    </a:lnTo>
                    <a:lnTo>
                      <a:pt x="1784" y="525"/>
                    </a:lnTo>
                    <a:lnTo>
                      <a:pt x="1786" y="528"/>
                    </a:lnTo>
                    <a:lnTo>
                      <a:pt x="1786" y="528"/>
                    </a:lnTo>
                    <a:lnTo>
                      <a:pt x="1786" y="528"/>
                    </a:lnTo>
                    <a:lnTo>
                      <a:pt x="1789" y="528"/>
                    </a:lnTo>
                    <a:lnTo>
                      <a:pt x="1789" y="528"/>
                    </a:lnTo>
                    <a:lnTo>
                      <a:pt x="1791" y="528"/>
                    </a:lnTo>
                    <a:lnTo>
                      <a:pt x="1791" y="528"/>
                    </a:lnTo>
                    <a:lnTo>
                      <a:pt x="1791" y="528"/>
                    </a:lnTo>
                    <a:lnTo>
                      <a:pt x="1791" y="528"/>
                    </a:lnTo>
                    <a:lnTo>
                      <a:pt x="1793" y="528"/>
                    </a:lnTo>
                    <a:lnTo>
                      <a:pt x="1796" y="530"/>
                    </a:lnTo>
                    <a:lnTo>
                      <a:pt x="1796" y="530"/>
                    </a:lnTo>
                    <a:lnTo>
                      <a:pt x="1800" y="530"/>
                    </a:lnTo>
                    <a:lnTo>
                      <a:pt x="1808" y="535"/>
                    </a:lnTo>
                    <a:lnTo>
                      <a:pt x="1810" y="537"/>
                    </a:lnTo>
                    <a:lnTo>
                      <a:pt x="1812" y="537"/>
                    </a:lnTo>
                    <a:lnTo>
                      <a:pt x="1817" y="537"/>
                    </a:lnTo>
                    <a:lnTo>
                      <a:pt x="1819" y="539"/>
                    </a:lnTo>
                    <a:lnTo>
                      <a:pt x="1819" y="542"/>
                    </a:lnTo>
                    <a:lnTo>
                      <a:pt x="1819" y="542"/>
                    </a:lnTo>
                    <a:lnTo>
                      <a:pt x="1822" y="544"/>
                    </a:lnTo>
                    <a:lnTo>
                      <a:pt x="1824" y="546"/>
                    </a:lnTo>
                    <a:lnTo>
                      <a:pt x="1824" y="546"/>
                    </a:lnTo>
                    <a:lnTo>
                      <a:pt x="1826" y="546"/>
                    </a:lnTo>
                    <a:lnTo>
                      <a:pt x="1826" y="549"/>
                    </a:lnTo>
                    <a:lnTo>
                      <a:pt x="1829" y="551"/>
                    </a:lnTo>
                    <a:lnTo>
                      <a:pt x="1829" y="554"/>
                    </a:lnTo>
                    <a:lnTo>
                      <a:pt x="1831" y="556"/>
                    </a:lnTo>
                    <a:lnTo>
                      <a:pt x="1834" y="556"/>
                    </a:lnTo>
                    <a:lnTo>
                      <a:pt x="1836" y="558"/>
                    </a:lnTo>
                    <a:lnTo>
                      <a:pt x="1836" y="561"/>
                    </a:lnTo>
                    <a:lnTo>
                      <a:pt x="1838" y="561"/>
                    </a:lnTo>
                    <a:lnTo>
                      <a:pt x="1838" y="561"/>
                    </a:lnTo>
                    <a:lnTo>
                      <a:pt x="1841" y="561"/>
                    </a:lnTo>
                    <a:lnTo>
                      <a:pt x="1843" y="561"/>
                    </a:lnTo>
                    <a:lnTo>
                      <a:pt x="1845" y="561"/>
                    </a:lnTo>
                    <a:lnTo>
                      <a:pt x="1848" y="563"/>
                    </a:lnTo>
                    <a:lnTo>
                      <a:pt x="1852" y="563"/>
                    </a:lnTo>
                    <a:lnTo>
                      <a:pt x="1857" y="561"/>
                    </a:lnTo>
                    <a:lnTo>
                      <a:pt x="1862" y="561"/>
                    </a:lnTo>
                    <a:lnTo>
                      <a:pt x="1862" y="561"/>
                    </a:lnTo>
                    <a:lnTo>
                      <a:pt x="1864" y="561"/>
                    </a:lnTo>
                    <a:lnTo>
                      <a:pt x="1862" y="558"/>
                    </a:lnTo>
                    <a:lnTo>
                      <a:pt x="1864" y="556"/>
                    </a:lnTo>
                    <a:lnTo>
                      <a:pt x="1864" y="556"/>
                    </a:lnTo>
                    <a:lnTo>
                      <a:pt x="1867" y="556"/>
                    </a:lnTo>
                    <a:lnTo>
                      <a:pt x="1867" y="554"/>
                    </a:lnTo>
                    <a:lnTo>
                      <a:pt x="1869" y="554"/>
                    </a:lnTo>
                    <a:lnTo>
                      <a:pt x="1871" y="554"/>
                    </a:lnTo>
                    <a:lnTo>
                      <a:pt x="1874" y="554"/>
                    </a:lnTo>
                    <a:lnTo>
                      <a:pt x="1876" y="554"/>
                    </a:lnTo>
                    <a:lnTo>
                      <a:pt x="1876" y="551"/>
                    </a:lnTo>
                    <a:lnTo>
                      <a:pt x="1878" y="549"/>
                    </a:lnTo>
                    <a:lnTo>
                      <a:pt x="1883" y="549"/>
                    </a:lnTo>
                    <a:lnTo>
                      <a:pt x="1883" y="546"/>
                    </a:lnTo>
                    <a:lnTo>
                      <a:pt x="1886" y="549"/>
                    </a:lnTo>
                    <a:lnTo>
                      <a:pt x="1886" y="549"/>
                    </a:lnTo>
                    <a:lnTo>
                      <a:pt x="1888" y="549"/>
                    </a:lnTo>
                    <a:lnTo>
                      <a:pt x="1893" y="551"/>
                    </a:lnTo>
                    <a:lnTo>
                      <a:pt x="1893" y="551"/>
                    </a:lnTo>
                    <a:lnTo>
                      <a:pt x="1893" y="551"/>
                    </a:lnTo>
                    <a:lnTo>
                      <a:pt x="1893" y="554"/>
                    </a:lnTo>
                    <a:lnTo>
                      <a:pt x="1893" y="554"/>
                    </a:lnTo>
                    <a:lnTo>
                      <a:pt x="1893" y="556"/>
                    </a:lnTo>
                    <a:lnTo>
                      <a:pt x="1895" y="556"/>
                    </a:lnTo>
                    <a:lnTo>
                      <a:pt x="1897" y="558"/>
                    </a:lnTo>
                    <a:lnTo>
                      <a:pt x="1897" y="558"/>
                    </a:lnTo>
                    <a:lnTo>
                      <a:pt x="1900" y="561"/>
                    </a:lnTo>
                    <a:lnTo>
                      <a:pt x="1900" y="563"/>
                    </a:lnTo>
                    <a:lnTo>
                      <a:pt x="1900" y="563"/>
                    </a:lnTo>
                    <a:lnTo>
                      <a:pt x="1900" y="565"/>
                    </a:lnTo>
                    <a:lnTo>
                      <a:pt x="1900" y="565"/>
                    </a:lnTo>
                    <a:lnTo>
                      <a:pt x="1900" y="568"/>
                    </a:lnTo>
                    <a:lnTo>
                      <a:pt x="1897" y="568"/>
                    </a:lnTo>
                    <a:lnTo>
                      <a:pt x="1897" y="568"/>
                    </a:lnTo>
                    <a:lnTo>
                      <a:pt x="1897" y="568"/>
                    </a:lnTo>
                    <a:lnTo>
                      <a:pt x="1897" y="568"/>
                    </a:lnTo>
                    <a:lnTo>
                      <a:pt x="1895" y="568"/>
                    </a:lnTo>
                    <a:lnTo>
                      <a:pt x="1895" y="570"/>
                    </a:lnTo>
                    <a:lnTo>
                      <a:pt x="1897" y="570"/>
                    </a:lnTo>
                    <a:lnTo>
                      <a:pt x="1897" y="573"/>
                    </a:lnTo>
                    <a:lnTo>
                      <a:pt x="1897" y="573"/>
                    </a:lnTo>
                    <a:lnTo>
                      <a:pt x="1897" y="575"/>
                    </a:lnTo>
                    <a:lnTo>
                      <a:pt x="1897" y="577"/>
                    </a:lnTo>
                    <a:lnTo>
                      <a:pt x="1900" y="577"/>
                    </a:lnTo>
                    <a:lnTo>
                      <a:pt x="1900" y="580"/>
                    </a:lnTo>
                    <a:lnTo>
                      <a:pt x="1900" y="580"/>
                    </a:lnTo>
                    <a:lnTo>
                      <a:pt x="1900" y="582"/>
                    </a:lnTo>
                    <a:lnTo>
                      <a:pt x="1902" y="584"/>
                    </a:lnTo>
                    <a:lnTo>
                      <a:pt x="1902" y="587"/>
                    </a:lnTo>
                    <a:lnTo>
                      <a:pt x="1902" y="587"/>
                    </a:lnTo>
                    <a:lnTo>
                      <a:pt x="1902" y="589"/>
                    </a:lnTo>
                    <a:lnTo>
                      <a:pt x="1902" y="589"/>
                    </a:lnTo>
                    <a:lnTo>
                      <a:pt x="1905" y="591"/>
                    </a:lnTo>
                    <a:lnTo>
                      <a:pt x="1905" y="591"/>
                    </a:lnTo>
                    <a:lnTo>
                      <a:pt x="1905" y="591"/>
                    </a:lnTo>
                    <a:lnTo>
                      <a:pt x="1902" y="594"/>
                    </a:lnTo>
                    <a:lnTo>
                      <a:pt x="1902" y="594"/>
                    </a:lnTo>
                    <a:lnTo>
                      <a:pt x="1905" y="596"/>
                    </a:lnTo>
                    <a:lnTo>
                      <a:pt x="1905" y="596"/>
                    </a:lnTo>
                    <a:lnTo>
                      <a:pt x="1905" y="599"/>
                    </a:lnTo>
                    <a:lnTo>
                      <a:pt x="1905" y="599"/>
                    </a:lnTo>
                    <a:lnTo>
                      <a:pt x="1902" y="599"/>
                    </a:lnTo>
                    <a:lnTo>
                      <a:pt x="1902" y="599"/>
                    </a:lnTo>
                    <a:lnTo>
                      <a:pt x="1902" y="601"/>
                    </a:lnTo>
                    <a:lnTo>
                      <a:pt x="1905" y="601"/>
                    </a:lnTo>
                    <a:lnTo>
                      <a:pt x="1905" y="603"/>
                    </a:lnTo>
                    <a:lnTo>
                      <a:pt x="1905" y="603"/>
                    </a:lnTo>
                    <a:lnTo>
                      <a:pt x="1905" y="606"/>
                    </a:lnTo>
                    <a:lnTo>
                      <a:pt x="1905" y="606"/>
                    </a:lnTo>
                    <a:lnTo>
                      <a:pt x="1905" y="606"/>
                    </a:lnTo>
                    <a:lnTo>
                      <a:pt x="1902" y="606"/>
                    </a:lnTo>
                    <a:lnTo>
                      <a:pt x="1902" y="608"/>
                    </a:lnTo>
                    <a:lnTo>
                      <a:pt x="1902" y="610"/>
                    </a:lnTo>
                    <a:lnTo>
                      <a:pt x="1905" y="613"/>
                    </a:lnTo>
                    <a:lnTo>
                      <a:pt x="1905" y="615"/>
                    </a:lnTo>
                    <a:lnTo>
                      <a:pt x="1905" y="615"/>
                    </a:lnTo>
                    <a:lnTo>
                      <a:pt x="1905" y="618"/>
                    </a:lnTo>
                    <a:lnTo>
                      <a:pt x="1902" y="618"/>
                    </a:lnTo>
                    <a:lnTo>
                      <a:pt x="1902" y="615"/>
                    </a:lnTo>
                    <a:lnTo>
                      <a:pt x="1900" y="615"/>
                    </a:lnTo>
                    <a:lnTo>
                      <a:pt x="1897" y="615"/>
                    </a:lnTo>
                    <a:lnTo>
                      <a:pt x="1895" y="615"/>
                    </a:lnTo>
                    <a:lnTo>
                      <a:pt x="1893" y="615"/>
                    </a:lnTo>
                    <a:lnTo>
                      <a:pt x="1888" y="613"/>
                    </a:lnTo>
                    <a:lnTo>
                      <a:pt x="1888" y="613"/>
                    </a:lnTo>
                    <a:lnTo>
                      <a:pt x="1886" y="613"/>
                    </a:lnTo>
                    <a:lnTo>
                      <a:pt x="1883" y="613"/>
                    </a:lnTo>
                    <a:lnTo>
                      <a:pt x="1881" y="610"/>
                    </a:lnTo>
                    <a:lnTo>
                      <a:pt x="1881" y="610"/>
                    </a:lnTo>
                    <a:lnTo>
                      <a:pt x="1881" y="613"/>
                    </a:lnTo>
                    <a:lnTo>
                      <a:pt x="1881" y="613"/>
                    </a:lnTo>
                    <a:lnTo>
                      <a:pt x="1881" y="615"/>
                    </a:lnTo>
                    <a:lnTo>
                      <a:pt x="1881" y="615"/>
                    </a:lnTo>
                    <a:lnTo>
                      <a:pt x="1881" y="618"/>
                    </a:lnTo>
                    <a:lnTo>
                      <a:pt x="1878" y="620"/>
                    </a:lnTo>
                    <a:lnTo>
                      <a:pt x="1876" y="620"/>
                    </a:lnTo>
                    <a:lnTo>
                      <a:pt x="1876" y="620"/>
                    </a:lnTo>
                    <a:lnTo>
                      <a:pt x="1874" y="620"/>
                    </a:lnTo>
                    <a:lnTo>
                      <a:pt x="1874" y="622"/>
                    </a:lnTo>
                    <a:lnTo>
                      <a:pt x="1874" y="622"/>
                    </a:lnTo>
                    <a:lnTo>
                      <a:pt x="1874" y="622"/>
                    </a:lnTo>
                    <a:lnTo>
                      <a:pt x="1874" y="625"/>
                    </a:lnTo>
                    <a:lnTo>
                      <a:pt x="1876" y="627"/>
                    </a:lnTo>
                    <a:lnTo>
                      <a:pt x="1878" y="627"/>
                    </a:lnTo>
                    <a:lnTo>
                      <a:pt x="1881" y="629"/>
                    </a:lnTo>
                    <a:lnTo>
                      <a:pt x="1888" y="639"/>
                    </a:lnTo>
                    <a:lnTo>
                      <a:pt x="1888" y="639"/>
                    </a:lnTo>
                    <a:lnTo>
                      <a:pt x="1890" y="646"/>
                    </a:lnTo>
                    <a:lnTo>
                      <a:pt x="1890" y="646"/>
                    </a:lnTo>
                    <a:lnTo>
                      <a:pt x="1893" y="648"/>
                    </a:lnTo>
                    <a:lnTo>
                      <a:pt x="1893" y="651"/>
                    </a:lnTo>
                    <a:lnTo>
                      <a:pt x="1893" y="651"/>
                    </a:lnTo>
                    <a:lnTo>
                      <a:pt x="1895" y="651"/>
                    </a:lnTo>
                    <a:lnTo>
                      <a:pt x="1895" y="651"/>
                    </a:lnTo>
                    <a:lnTo>
                      <a:pt x="1895" y="653"/>
                    </a:lnTo>
                    <a:lnTo>
                      <a:pt x="1895" y="653"/>
                    </a:lnTo>
                    <a:lnTo>
                      <a:pt x="1895" y="655"/>
                    </a:lnTo>
                    <a:lnTo>
                      <a:pt x="1897" y="658"/>
                    </a:lnTo>
                    <a:lnTo>
                      <a:pt x="1897" y="658"/>
                    </a:lnTo>
                    <a:lnTo>
                      <a:pt x="1897" y="658"/>
                    </a:lnTo>
                    <a:lnTo>
                      <a:pt x="1897" y="660"/>
                    </a:lnTo>
                    <a:lnTo>
                      <a:pt x="1897" y="660"/>
                    </a:lnTo>
                    <a:lnTo>
                      <a:pt x="1897" y="663"/>
                    </a:lnTo>
                    <a:lnTo>
                      <a:pt x="1897" y="663"/>
                    </a:lnTo>
                    <a:lnTo>
                      <a:pt x="1895" y="663"/>
                    </a:lnTo>
                    <a:lnTo>
                      <a:pt x="1895" y="663"/>
                    </a:lnTo>
                    <a:lnTo>
                      <a:pt x="1893" y="663"/>
                    </a:lnTo>
                    <a:lnTo>
                      <a:pt x="1893" y="663"/>
                    </a:lnTo>
                    <a:lnTo>
                      <a:pt x="1890" y="665"/>
                    </a:lnTo>
                    <a:lnTo>
                      <a:pt x="1890" y="665"/>
                    </a:lnTo>
                    <a:lnTo>
                      <a:pt x="1888" y="665"/>
                    </a:lnTo>
                    <a:lnTo>
                      <a:pt x="1888" y="665"/>
                    </a:lnTo>
                    <a:lnTo>
                      <a:pt x="1888" y="665"/>
                    </a:lnTo>
                    <a:lnTo>
                      <a:pt x="1890" y="667"/>
                    </a:lnTo>
                    <a:lnTo>
                      <a:pt x="1890" y="667"/>
                    </a:lnTo>
                    <a:lnTo>
                      <a:pt x="1893" y="667"/>
                    </a:lnTo>
                    <a:lnTo>
                      <a:pt x="1893" y="670"/>
                    </a:lnTo>
                    <a:lnTo>
                      <a:pt x="1893" y="670"/>
                    </a:lnTo>
                    <a:lnTo>
                      <a:pt x="1893" y="670"/>
                    </a:lnTo>
                    <a:lnTo>
                      <a:pt x="1895" y="672"/>
                    </a:lnTo>
                    <a:lnTo>
                      <a:pt x="1897" y="672"/>
                    </a:lnTo>
                    <a:lnTo>
                      <a:pt x="1897" y="674"/>
                    </a:lnTo>
                    <a:lnTo>
                      <a:pt x="1897" y="674"/>
                    </a:lnTo>
                    <a:lnTo>
                      <a:pt x="1897" y="674"/>
                    </a:lnTo>
                    <a:lnTo>
                      <a:pt x="1897" y="670"/>
                    </a:lnTo>
                    <a:lnTo>
                      <a:pt x="1895" y="667"/>
                    </a:lnTo>
                    <a:lnTo>
                      <a:pt x="1895" y="667"/>
                    </a:lnTo>
                    <a:lnTo>
                      <a:pt x="1900" y="667"/>
                    </a:lnTo>
                    <a:lnTo>
                      <a:pt x="1900" y="667"/>
                    </a:lnTo>
                    <a:lnTo>
                      <a:pt x="1902" y="667"/>
                    </a:lnTo>
                    <a:lnTo>
                      <a:pt x="1902" y="665"/>
                    </a:lnTo>
                    <a:lnTo>
                      <a:pt x="1902" y="665"/>
                    </a:lnTo>
                    <a:lnTo>
                      <a:pt x="1905" y="663"/>
                    </a:lnTo>
                    <a:lnTo>
                      <a:pt x="1905" y="660"/>
                    </a:lnTo>
                    <a:lnTo>
                      <a:pt x="1905" y="655"/>
                    </a:lnTo>
                    <a:lnTo>
                      <a:pt x="1907" y="655"/>
                    </a:lnTo>
                    <a:lnTo>
                      <a:pt x="1907" y="653"/>
                    </a:lnTo>
                    <a:lnTo>
                      <a:pt x="1909" y="653"/>
                    </a:lnTo>
                    <a:lnTo>
                      <a:pt x="1909" y="653"/>
                    </a:lnTo>
                    <a:lnTo>
                      <a:pt x="1909" y="655"/>
                    </a:lnTo>
                    <a:lnTo>
                      <a:pt x="1909" y="658"/>
                    </a:lnTo>
                    <a:lnTo>
                      <a:pt x="1909" y="658"/>
                    </a:lnTo>
                    <a:lnTo>
                      <a:pt x="1912" y="658"/>
                    </a:lnTo>
                    <a:lnTo>
                      <a:pt x="1914" y="655"/>
                    </a:lnTo>
                    <a:lnTo>
                      <a:pt x="1914" y="653"/>
                    </a:lnTo>
                    <a:lnTo>
                      <a:pt x="1914" y="655"/>
                    </a:lnTo>
                    <a:lnTo>
                      <a:pt x="1919" y="663"/>
                    </a:lnTo>
                    <a:lnTo>
                      <a:pt x="1921" y="663"/>
                    </a:lnTo>
                    <a:lnTo>
                      <a:pt x="1923" y="663"/>
                    </a:lnTo>
                    <a:lnTo>
                      <a:pt x="1926" y="663"/>
                    </a:lnTo>
                    <a:lnTo>
                      <a:pt x="1928" y="665"/>
                    </a:lnTo>
                    <a:lnTo>
                      <a:pt x="1931" y="665"/>
                    </a:lnTo>
                    <a:lnTo>
                      <a:pt x="1931" y="665"/>
                    </a:lnTo>
                    <a:lnTo>
                      <a:pt x="1933" y="665"/>
                    </a:lnTo>
                    <a:lnTo>
                      <a:pt x="1935" y="667"/>
                    </a:lnTo>
                    <a:lnTo>
                      <a:pt x="1938" y="665"/>
                    </a:lnTo>
                    <a:lnTo>
                      <a:pt x="1940" y="663"/>
                    </a:lnTo>
                    <a:lnTo>
                      <a:pt x="1942" y="663"/>
                    </a:lnTo>
                    <a:lnTo>
                      <a:pt x="1947" y="660"/>
                    </a:lnTo>
                    <a:lnTo>
                      <a:pt x="1947" y="660"/>
                    </a:lnTo>
                    <a:lnTo>
                      <a:pt x="1954" y="653"/>
                    </a:lnTo>
                    <a:lnTo>
                      <a:pt x="1957" y="651"/>
                    </a:lnTo>
                    <a:lnTo>
                      <a:pt x="1959" y="648"/>
                    </a:lnTo>
                    <a:lnTo>
                      <a:pt x="1959" y="646"/>
                    </a:lnTo>
                    <a:lnTo>
                      <a:pt x="1961" y="644"/>
                    </a:lnTo>
                    <a:lnTo>
                      <a:pt x="1961" y="641"/>
                    </a:lnTo>
                    <a:lnTo>
                      <a:pt x="1961" y="641"/>
                    </a:lnTo>
                    <a:lnTo>
                      <a:pt x="1961" y="632"/>
                    </a:lnTo>
                    <a:lnTo>
                      <a:pt x="1961" y="629"/>
                    </a:lnTo>
                    <a:lnTo>
                      <a:pt x="1964" y="629"/>
                    </a:lnTo>
                    <a:lnTo>
                      <a:pt x="1964" y="627"/>
                    </a:lnTo>
                    <a:lnTo>
                      <a:pt x="1964" y="627"/>
                    </a:lnTo>
                    <a:lnTo>
                      <a:pt x="1966" y="622"/>
                    </a:lnTo>
                    <a:lnTo>
                      <a:pt x="1966" y="620"/>
                    </a:lnTo>
                    <a:lnTo>
                      <a:pt x="1966" y="615"/>
                    </a:lnTo>
                    <a:lnTo>
                      <a:pt x="1966" y="613"/>
                    </a:lnTo>
                    <a:lnTo>
                      <a:pt x="1968" y="608"/>
                    </a:lnTo>
                    <a:lnTo>
                      <a:pt x="1971" y="603"/>
                    </a:lnTo>
                    <a:lnTo>
                      <a:pt x="1973" y="601"/>
                    </a:lnTo>
                    <a:lnTo>
                      <a:pt x="1973" y="599"/>
                    </a:lnTo>
                    <a:lnTo>
                      <a:pt x="1975" y="591"/>
                    </a:lnTo>
                    <a:lnTo>
                      <a:pt x="1973" y="587"/>
                    </a:lnTo>
                    <a:lnTo>
                      <a:pt x="1975" y="584"/>
                    </a:lnTo>
                    <a:lnTo>
                      <a:pt x="1973" y="582"/>
                    </a:lnTo>
                    <a:lnTo>
                      <a:pt x="1973" y="577"/>
                    </a:lnTo>
                    <a:lnTo>
                      <a:pt x="1973" y="577"/>
                    </a:lnTo>
                    <a:lnTo>
                      <a:pt x="1971" y="575"/>
                    </a:lnTo>
                    <a:lnTo>
                      <a:pt x="1975" y="568"/>
                    </a:lnTo>
                    <a:lnTo>
                      <a:pt x="1973" y="563"/>
                    </a:lnTo>
                    <a:lnTo>
                      <a:pt x="1973" y="558"/>
                    </a:lnTo>
                    <a:lnTo>
                      <a:pt x="1975" y="556"/>
                    </a:lnTo>
                    <a:lnTo>
                      <a:pt x="1975" y="554"/>
                    </a:lnTo>
                    <a:lnTo>
                      <a:pt x="1975" y="551"/>
                    </a:lnTo>
                    <a:lnTo>
                      <a:pt x="1978" y="549"/>
                    </a:lnTo>
                    <a:lnTo>
                      <a:pt x="1978" y="546"/>
                    </a:lnTo>
                    <a:lnTo>
                      <a:pt x="1978" y="544"/>
                    </a:lnTo>
                    <a:lnTo>
                      <a:pt x="1975" y="539"/>
                    </a:lnTo>
                    <a:lnTo>
                      <a:pt x="1975" y="535"/>
                    </a:lnTo>
                    <a:lnTo>
                      <a:pt x="1973" y="535"/>
                    </a:lnTo>
                    <a:lnTo>
                      <a:pt x="1973" y="535"/>
                    </a:lnTo>
                    <a:lnTo>
                      <a:pt x="1973" y="532"/>
                    </a:lnTo>
                    <a:lnTo>
                      <a:pt x="1971" y="532"/>
                    </a:lnTo>
                    <a:lnTo>
                      <a:pt x="1971" y="530"/>
                    </a:lnTo>
                    <a:lnTo>
                      <a:pt x="1971" y="530"/>
                    </a:lnTo>
                    <a:lnTo>
                      <a:pt x="1971" y="528"/>
                    </a:lnTo>
                    <a:lnTo>
                      <a:pt x="1968" y="523"/>
                    </a:lnTo>
                    <a:lnTo>
                      <a:pt x="1966" y="518"/>
                    </a:lnTo>
                    <a:lnTo>
                      <a:pt x="1964" y="518"/>
                    </a:lnTo>
                    <a:lnTo>
                      <a:pt x="1964" y="516"/>
                    </a:lnTo>
                    <a:lnTo>
                      <a:pt x="1964" y="513"/>
                    </a:lnTo>
                    <a:lnTo>
                      <a:pt x="1964" y="513"/>
                    </a:lnTo>
                    <a:lnTo>
                      <a:pt x="1964" y="513"/>
                    </a:lnTo>
                    <a:lnTo>
                      <a:pt x="1961" y="511"/>
                    </a:lnTo>
                    <a:lnTo>
                      <a:pt x="1961" y="511"/>
                    </a:lnTo>
                    <a:lnTo>
                      <a:pt x="1954" y="504"/>
                    </a:lnTo>
                    <a:lnTo>
                      <a:pt x="1949" y="497"/>
                    </a:lnTo>
                    <a:lnTo>
                      <a:pt x="1949" y="494"/>
                    </a:lnTo>
                    <a:lnTo>
                      <a:pt x="1949" y="492"/>
                    </a:lnTo>
                    <a:lnTo>
                      <a:pt x="1947" y="490"/>
                    </a:lnTo>
                    <a:lnTo>
                      <a:pt x="1947" y="485"/>
                    </a:lnTo>
                    <a:lnTo>
                      <a:pt x="1945" y="480"/>
                    </a:lnTo>
                    <a:lnTo>
                      <a:pt x="1947" y="478"/>
                    </a:lnTo>
                    <a:lnTo>
                      <a:pt x="1947" y="475"/>
                    </a:lnTo>
                    <a:lnTo>
                      <a:pt x="1947" y="475"/>
                    </a:lnTo>
                    <a:lnTo>
                      <a:pt x="1945" y="473"/>
                    </a:lnTo>
                    <a:lnTo>
                      <a:pt x="1945" y="471"/>
                    </a:lnTo>
                    <a:lnTo>
                      <a:pt x="1942" y="468"/>
                    </a:lnTo>
                    <a:lnTo>
                      <a:pt x="1940" y="468"/>
                    </a:lnTo>
                    <a:lnTo>
                      <a:pt x="1938" y="466"/>
                    </a:lnTo>
                    <a:lnTo>
                      <a:pt x="1935" y="464"/>
                    </a:lnTo>
                    <a:lnTo>
                      <a:pt x="1935" y="461"/>
                    </a:lnTo>
                    <a:lnTo>
                      <a:pt x="1933" y="461"/>
                    </a:lnTo>
                    <a:lnTo>
                      <a:pt x="1931" y="457"/>
                    </a:lnTo>
                    <a:lnTo>
                      <a:pt x="1926" y="454"/>
                    </a:lnTo>
                    <a:lnTo>
                      <a:pt x="1921" y="452"/>
                    </a:lnTo>
                    <a:lnTo>
                      <a:pt x="1919" y="452"/>
                    </a:lnTo>
                    <a:lnTo>
                      <a:pt x="1921" y="452"/>
                    </a:lnTo>
                    <a:lnTo>
                      <a:pt x="1926" y="452"/>
                    </a:lnTo>
                    <a:lnTo>
                      <a:pt x="1928" y="452"/>
                    </a:lnTo>
                    <a:lnTo>
                      <a:pt x="1928" y="449"/>
                    </a:lnTo>
                    <a:lnTo>
                      <a:pt x="1926" y="447"/>
                    </a:lnTo>
                    <a:lnTo>
                      <a:pt x="1921" y="447"/>
                    </a:lnTo>
                    <a:lnTo>
                      <a:pt x="1916" y="445"/>
                    </a:lnTo>
                    <a:lnTo>
                      <a:pt x="1916" y="442"/>
                    </a:lnTo>
                    <a:lnTo>
                      <a:pt x="1909" y="442"/>
                    </a:lnTo>
                    <a:lnTo>
                      <a:pt x="1900" y="438"/>
                    </a:lnTo>
                    <a:lnTo>
                      <a:pt x="1895" y="433"/>
                    </a:lnTo>
                    <a:lnTo>
                      <a:pt x="1893" y="433"/>
                    </a:lnTo>
                    <a:lnTo>
                      <a:pt x="1886" y="428"/>
                    </a:lnTo>
                    <a:lnTo>
                      <a:pt x="1883" y="428"/>
                    </a:lnTo>
                    <a:lnTo>
                      <a:pt x="1883" y="428"/>
                    </a:lnTo>
                    <a:lnTo>
                      <a:pt x="1878" y="428"/>
                    </a:lnTo>
                    <a:lnTo>
                      <a:pt x="1874" y="428"/>
                    </a:lnTo>
                    <a:lnTo>
                      <a:pt x="1867" y="426"/>
                    </a:lnTo>
                    <a:lnTo>
                      <a:pt x="1867" y="428"/>
                    </a:lnTo>
                    <a:lnTo>
                      <a:pt x="1867" y="428"/>
                    </a:lnTo>
                    <a:lnTo>
                      <a:pt x="1869" y="430"/>
                    </a:lnTo>
                    <a:lnTo>
                      <a:pt x="1871" y="433"/>
                    </a:lnTo>
                    <a:lnTo>
                      <a:pt x="1874" y="435"/>
                    </a:lnTo>
                    <a:lnTo>
                      <a:pt x="1874" y="438"/>
                    </a:lnTo>
                    <a:lnTo>
                      <a:pt x="1876" y="442"/>
                    </a:lnTo>
                    <a:lnTo>
                      <a:pt x="1874" y="442"/>
                    </a:lnTo>
                    <a:lnTo>
                      <a:pt x="1874" y="442"/>
                    </a:lnTo>
                    <a:lnTo>
                      <a:pt x="1871" y="442"/>
                    </a:lnTo>
                    <a:lnTo>
                      <a:pt x="1871" y="442"/>
                    </a:lnTo>
                    <a:lnTo>
                      <a:pt x="1871" y="440"/>
                    </a:lnTo>
                    <a:lnTo>
                      <a:pt x="1871" y="438"/>
                    </a:lnTo>
                    <a:lnTo>
                      <a:pt x="1869" y="435"/>
                    </a:lnTo>
                    <a:lnTo>
                      <a:pt x="1869" y="433"/>
                    </a:lnTo>
                    <a:lnTo>
                      <a:pt x="1869" y="433"/>
                    </a:lnTo>
                    <a:lnTo>
                      <a:pt x="1867" y="435"/>
                    </a:lnTo>
                    <a:lnTo>
                      <a:pt x="1869" y="438"/>
                    </a:lnTo>
                    <a:lnTo>
                      <a:pt x="1867" y="440"/>
                    </a:lnTo>
                    <a:lnTo>
                      <a:pt x="1862" y="442"/>
                    </a:lnTo>
                    <a:lnTo>
                      <a:pt x="1857" y="442"/>
                    </a:lnTo>
                    <a:lnTo>
                      <a:pt x="1855" y="442"/>
                    </a:lnTo>
                    <a:lnTo>
                      <a:pt x="1855" y="442"/>
                    </a:lnTo>
                    <a:lnTo>
                      <a:pt x="1855" y="440"/>
                    </a:lnTo>
                    <a:lnTo>
                      <a:pt x="1857" y="440"/>
                    </a:lnTo>
                    <a:lnTo>
                      <a:pt x="1857" y="435"/>
                    </a:lnTo>
                    <a:lnTo>
                      <a:pt x="1857" y="435"/>
                    </a:lnTo>
                    <a:lnTo>
                      <a:pt x="1860" y="435"/>
                    </a:lnTo>
                    <a:lnTo>
                      <a:pt x="1855" y="433"/>
                    </a:lnTo>
                    <a:lnTo>
                      <a:pt x="1852" y="433"/>
                    </a:lnTo>
                    <a:lnTo>
                      <a:pt x="1848" y="430"/>
                    </a:lnTo>
                    <a:lnTo>
                      <a:pt x="1848" y="430"/>
                    </a:lnTo>
                    <a:lnTo>
                      <a:pt x="1850" y="430"/>
                    </a:lnTo>
                    <a:lnTo>
                      <a:pt x="1850" y="430"/>
                    </a:lnTo>
                    <a:lnTo>
                      <a:pt x="1850" y="428"/>
                    </a:lnTo>
                    <a:lnTo>
                      <a:pt x="1848" y="428"/>
                    </a:lnTo>
                    <a:lnTo>
                      <a:pt x="1845" y="428"/>
                    </a:lnTo>
                    <a:lnTo>
                      <a:pt x="1843" y="430"/>
                    </a:lnTo>
                    <a:lnTo>
                      <a:pt x="1843" y="430"/>
                    </a:lnTo>
                    <a:lnTo>
                      <a:pt x="1845" y="433"/>
                    </a:lnTo>
                    <a:lnTo>
                      <a:pt x="1848" y="433"/>
                    </a:lnTo>
                    <a:lnTo>
                      <a:pt x="1850" y="438"/>
                    </a:lnTo>
                    <a:lnTo>
                      <a:pt x="1848" y="435"/>
                    </a:lnTo>
                    <a:lnTo>
                      <a:pt x="1845" y="435"/>
                    </a:lnTo>
                    <a:lnTo>
                      <a:pt x="1845" y="438"/>
                    </a:lnTo>
                    <a:lnTo>
                      <a:pt x="1843" y="438"/>
                    </a:lnTo>
                    <a:lnTo>
                      <a:pt x="1841" y="435"/>
                    </a:lnTo>
                    <a:lnTo>
                      <a:pt x="1838" y="433"/>
                    </a:lnTo>
                    <a:lnTo>
                      <a:pt x="1836" y="426"/>
                    </a:lnTo>
                    <a:lnTo>
                      <a:pt x="1834" y="423"/>
                    </a:lnTo>
                    <a:lnTo>
                      <a:pt x="1834" y="421"/>
                    </a:lnTo>
                    <a:lnTo>
                      <a:pt x="1831" y="421"/>
                    </a:lnTo>
                    <a:lnTo>
                      <a:pt x="1829" y="421"/>
                    </a:lnTo>
                    <a:lnTo>
                      <a:pt x="1829" y="421"/>
                    </a:lnTo>
                    <a:lnTo>
                      <a:pt x="1822" y="421"/>
                    </a:lnTo>
                    <a:lnTo>
                      <a:pt x="1817" y="421"/>
                    </a:lnTo>
                    <a:lnTo>
                      <a:pt x="1810" y="419"/>
                    </a:lnTo>
                    <a:lnTo>
                      <a:pt x="1808" y="419"/>
                    </a:lnTo>
                    <a:lnTo>
                      <a:pt x="1805" y="419"/>
                    </a:lnTo>
                    <a:lnTo>
                      <a:pt x="1803" y="416"/>
                    </a:lnTo>
                    <a:lnTo>
                      <a:pt x="1803" y="414"/>
                    </a:lnTo>
                    <a:lnTo>
                      <a:pt x="1803" y="414"/>
                    </a:lnTo>
                    <a:lnTo>
                      <a:pt x="1803" y="412"/>
                    </a:lnTo>
                    <a:lnTo>
                      <a:pt x="1805" y="409"/>
                    </a:lnTo>
                    <a:lnTo>
                      <a:pt x="1810" y="407"/>
                    </a:lnTo>
                    <a:lnTo>
                      <a:pt x="1810" y="402"/>
                    </a:lnTo>
                    <a:lnTo>
                      <a:pt x="1810" y="402"/>
                    </a:lnTo>
                    <a:lnTo>
                      <a:pt x="1815" y="400"/>
                    </a:lnTo>
                    <a:lnTo>
                      <a:pt x="1815" y="397"/>
                    </a:lnTo>
                    <a:lnTo>
                      <a:pt x="1817" y="395"/>
                    </a:lnTo>
                    <a:lnTo>
                      <a:pt x="1817" y="393"/>
                    </a:lnTo>
                    <a:lnTo>
                      <a:pt x="1819" y="390"/>
                    </a:lnTo>
                    <a:lnTo>
                      <a:pt x="1819" y="390"/>
                    </a:lnTo>
                    <a:lnTo>
                      <a:pt x="1822" y="385"/>
                    </a:lnTo>
                    <a:lnTo>
                      <a:pt x="1822" y="383"/>
                    </a:lnTo>
                    <a:lnTo>
                      <a:pt x="1819" y="381"/>
                    </a:lnTo>
                    <a:lnTo>
                      <a:pt x="1819" y="381"/>
                    </a:lnTo>
                    <a:lnTo>
                      <a:pt x="1822" y="374"/>
                    </a:lnTo>
                    <a:lnTo>
                      <a:pt x="1824" y="371"/>
                    </a:lnTo>
                    <a:lnTo>
                      <a:pt x="1824" y="369"/>
                    </a:lnTo>
                    <a:lnTo>
                      <a:pt x="1826" y="367"/>
                    </a:lnTo>
                    <a:lnTo>
                      <a:pt x="1826" y="367"/>
                    </a:lnTo>
                    <a:lnTo>
                      <a:pt x="1826" y="364"/>
                    </a:lnTo>
                    <a:lnTo>
                      <a:pt x="1829" y="364"/>
                    </a:lnTo>
                    <a:lnTo>
                      <a:pt x="1829" y="362"/>
                    </a:lnTo>
                    <a:lnTo>
                      <a:pt x="1829" y="359"/>
                    </a:lnTo>
                    <a:lnTo>
                      <a:pt x="1834" y="357"/>
                    </a:lnTo>
                    <a:lnTo>
                      <a:pt x="1834" y="357"/>
                    </a:lnTo>
                    <a:lnTo>
                      <a:pt x="1829" y="350"/>
                    </a:lnTo>
                    <a:lnTo>
                      <a:pt x="1829" y="348"/>
                    </a:lnTo>
                    <a:lnTo>
                      <a:pt x="1831" y="345"/>
                    </a:lnTo>
                    <a:lnTo>
                      <a:pt x="1834" y="343"/>
                    </a:lnTo>
                    <a:lnTo>
                      <a:pt x="1836" y="340"/>
                    </a:lnTo>
                    <a:lnTo>
                      <a:pt x="1836" y="338"/>
                    </a:lnTo>
                    <a:lnTo>
                      <a:pt x="1836" y="333"/>
                    </a:lnTo>
                    <a:lnTo>
                      <a:pt x="1838" y="331"/>
                    </a:lnTo>
                    <a:lnTo>
                      <a:pt x="1841" y="329"/>
                    </a:lnTo>
                    <a:lnTo>
                      <a:pt x="1845" y="326"/>
                    </a:lnTo>
                    <a:lnTo>
                      <a:pt x="1852" y="326"/>
                    </a:lnTo>
                    <a:lnTo>
                      <a:pt x="1855" y="326"/>
                    </a:lnTo>
                    <a:lnTo>
                      <a:pt x="1860" y="326"/>
                    </a:lnTo>
                    <a:lnTo>
                      <a:pt x="1867" y="326"/>
                    </a:lnTo>
                    <a:lnTo>
                      <a:pt x="1881" y="326"/>
                    </a:lnTo>
                    <a:lnTo>
                      <a:pt x="1886" y="326"/>
                    </a:lnTo>
                    <a:lnTo>
                      <a:pt x="1888" y="329"/>
                    </a:lnTo>
                    <a:lnTo>
                      <a:pt x="1890" y="331"/>
                    </a:lnTo>
                    <a:lnTo>
                      <a:pt x="1893" y="331"/>
                    </a:lnTo>
                    <a:lnTo>
                      <a:pt x="1895" y="329"/>
                    </a:lnTo>
                    <a:lnTo>
                      <a:pt x="1895" y="326"/>
                    </a:lnTo>
                    <a:lnTo>
                      <a:pt x="1895" y="326"/>
                    </a:lnTo>
                    <a:lnTo>
                      <a:pt x="1900" y="326"/>
                    </a:lnTo>
                    <a:lnTo>
                      <a:pt x="1905" y="326"/>
                    </a:lnTo>
                    <a:lnTo>
                      <a:pt x="1914" y="329"/>
                    </a:lnTo>
                    <a:lnTo>
                      <a:pt x="1916" y="329"/>
                    </a:lnTo>
                    <a:lnTo>
                      <a:pt x="1916" y="326"/>
                    </a:lnTo>
                    <a:lnTo>
                      <a:pt x="1921" y="326"/>
                    </a:lnTo>
                    <a:lnTo>
                      <a:pt x="1928" y="329"/>
                    </a:lnTo>
                    <a:lnTo>
                      <a:pt x="1931" y="329"/>
                    </a:lnTo>
                    <a:lnTo>
                      <a:pt x="1933" y="329"/>
                    </a:lnTo>
                    <a:lnTo>
                      <a:pt x="1933" y="326"/>
                    </a:lnTo>
                    <a:lnTo>
                      <a:pt x="1931" y="326"/>
                    </a:lnTo>
                    <a:lnTo>
                      <a:pt x="1931" y="326"/>
                    </a:lnTo>
                    <a:lnTo>
                      <a:pt x="1928" y="326"/>
                    </a:lnTo>
                    <a:lnTo>
                      <a:pt x="1928" y="324"/>
                    </a:lnTo>
                    <a:lnTo>
                      <a:pt x="1931" y="324"/>
                    </a:lnTo>
                    <a:lnTo>
                      <a:pt x="1933" y="324"/>
                    </a:lnTo>
                    <a:lnTo>
                      <a:pt x="1935" y="324"/>
                    </a:lnTo>
                    <a:lnTo>
                      <a:pt x="1933" y="324"/>
                    </a:lnTo>
                    <a:lnTo>
                      <a:pt x="1933" y="324"/>
                    </a:lnTo>
                    <a:lnTo>
                      <a:pt x="1931" y="322"/>
                    </a:lnTo>
                    <a:lnTo>
                      <a:pt x="1931" y="319"/>
                    </a:lnTo>
                    <a:lnTo>
                      <a:pt x="1933" y="319"/>
                    </a:lnTo>
                    <a:lnTo>
                      <a:pt x="1935" y="319"/>
                    </a:lnTo>
                    <a:lnTo>
                      <a:pt x="1947" y="322"/>
                    </a:lnTo>
                    <a:lnTo>
                      <a:pt x="1947" y="322"/>
                    </a:lnTo>
                    <a:lnTo>
                      <a:pt x="1952" y="322"/>
                    </a:lnTo>
                    <a:lnTo>
                      <a:pt x="1954" y="324"/>
                    </a:lnTo>
                    <a:lnTo>
                      <a:pt x="1954" y="324"/>
                    </a:lnTo>
                    <a:lnTo>
                      <a:pt x="1954" y="324"/>
                    </a:lnTo>
                    <a:lnTo>
                      <a:pt x="1954" y="324"/>
                    </a:lnTo>
                    <a:lnTo>
                      <a:pt x="1957" y="324"/>
                    </a:lnTo>
                    <a:lnTo>
                      <a:pt x="1959" y="326"/>
                    </a:lnTo>
                    <a:lnTo>
                      <a:pt x="1959" y="324"/>
                    </a:lnTo>
                    <a:lnTo>
                      <a:pt x="1959" y="324"/>
                    </a:lnTo>
                    <a:lnTo>
                      <a:pt x="1959" y="324"/>
                    </a:lnTo>
                    <a:lnTo>
                      <a:pt x="1959" y="322"/>
                    </a:lnTo>
                    <a:lnTo>
                      <a:pt x="1961" y="324"/>
                    </a:lnTo>
                    <a:lnTo>
                      <a:pt x="1966" y="324"/>
                    </a:lnTo>
                    <a:lnTo>
                      <a:pt x="1968" y="324"/>
                    </a:lnTo>
                    <a:lnTo>
                      <a:pt x="1975" y="329"/>
                    </a:lnTo>
                    <a:lnTo>
                      <a:pt x="1980" y="329"/>
                    </a:lnTo>
                    <a:lnTo>
                      <a:pt x="1983" y="329"/>
                    </a:lnTo>
                    <a:lnTo>
                      <a:pt x="1983" y="329"/>
                    </a:lnTo>
                    <a:lnTo>
                      <a:pt x="1985" y="329"/>
                    </a:lnTo>
                    <a:lnTo>
                      <a:pt x="1983" y="331"/>
                    </a:lnTo>
                    <a:lnTo>
                      <a:pt x="1978" y="331"/>
                    </a:lnTo>
                    <a:lnTo>
                      <a:pt x="1975" y="331"/>
                    </a:lnTo>
                    <a:lnTo>
                      <a:pt x="1971" y="333"/>
                    </a:lnTo>
                    <a:lnTo>
                      <a:pt x="1978" y="336"/>
                    </a:lnTo>
                    <a:lnTo>
                      <a:pt x="1985" y="336"/>
                    </a:lnTo>
                    <a:lnTo>
                      <a:pt x="1990" y="336"/>
                    </a:lnTo>
                    <a:lnTo>
                      <a:pt x="1987" y="333"/>
                    </a:lnTo>
                    <a:lnTo>
                      <a:pt x="1990" y="333"/>
                    </a:lnTo>
                    <a:lnTo>
                      <a:pt x="1992" y="333"/>
                    </a:lnTo>
                    <a:lnTo>
                      <a:pt x="1994" y="336"/>
                    </a:lnTo>
                    <a:lnTo>
                      <a:pt x="1999" y="336"/>
                    </a:lnTo>
                    <a:lnTo>
                      <a:pt x="2002" y="336"/>
                    </a:lnTo>
                    <a:lnTo>
                      <a:pt x="2002" y="333"/>
                    </a:lnTo>
                    <a:lnTo>
                      <a:pt x="2002" y="333"/>
                    </a:lnTo>
                    <a:lnTo>
                      <a:pt x="2004" y="333"/>
                    </a:lnTo>
                    <a:lnTo>
                      <a:pt x="2002" y="331"/>
                    </a:lnTo>
                    <a:lnTo>
                      <a:pt x="2006" y="329"/>
                    </a:lnTo>
                    <a:lnTo>
                      <a:pt x="2011" y="331"/>
                    </a:lnTo>
                    <a:lnTo>
                      <a:pt x="2016" y="333"/>
                    </a:lnTo>
                    <a:lnTo>
                      <a:pt x="2018" y="331"/>
                    </a:lnTo>
                    <a:lnTo>
                      <a:pt x="2018" y="331"/>
                    </a:lnTo>
                    <a:lnTo>
                      <a:pt x="2018" y="331"/>
                    </a:lnTo>
                    <a:lnTo>
                      <a:pt x="2023" y="331"/>
                    </a:lnTo>
                    <a:lnTo>
                      <a:pt x="2025" y="331"/>
                    </a:lnTo>
                    <a:lnTo>
                      <a:pt x="2028" y="331"/>
                    </a:lnTo>
                    <a:lnTo>
                      <a:pt x="2030" y="331"/>
                    </a:lnTo>
                    <a:lnTo>
                      <a:pt x="2028" y="329"/>
                    </a:lnTo>
                    <a:lnTo>
                      <a:pt x="2025" y="326"/>
                    </a:lnTo>
                    <a:lnTo>
                      <a:pt x="2020" y="326"/>
                    </a:lnTo>
                    <a:lnTo>
                      <a:pt x="2013" y="324"/>
                    </a:lnTo>
                    <a:lnTo>
                      <a:pt x="2011" y="324"/>
                    </a:lnTo>
                    <a:lnTo>
                      <a:pt x="2011" y="324"/>
                    </a:lnTo>
                    <a:lnTo>
                      <a:pt x="2009" y="324"/>
                    </a:lnTo>
                    <a:lnTo>
                      <a:pt x="2009" y="324"/>
                    </a:lnTo>
                    <a:lnTo>
                      <a:pt x="2006" y="322"/>
                    </a:lnTo>
                    <a:lnTo>
                      <a:pt x="2006" y="322"/>
                    </a:lnTo>
                    <a:lnTo>
                      <a:pt x="2006" y="319"/>
                    </a:lnTo>
                    <a:lnTo>
                      <a:pt x="2004" y="317"/>
                    </a:lnTo>
                    <a:lnTo>
                      <a:pt x="2004" y="317"/>
                    </a:lnTo>
                    <a:lnTo>
                      <a:pt x="2004" y="317"/>
                    </a:lnTo>
                    <a:lnTo>
                      <a:pt x="2002" y="312"/>
                    </a:lnTo>
                    <a:lnTo>
                      <a:pt x="2004" y="307"/>
                    </a:lnTo>
                    <a:lnTo>
                      <a:pt x="2006" y="305"/>
                    </a:lnTo>
                    <a:lnTo>
                      <a:pt x="2009" y="303"/>
                    </a:lnTo>
                    <a:lnTo>
                      <a:pt x="2009" y="300"/>
                    </a:lnTo>
                    <a:lnTo>
                      <a:pt x="2006" y="296"/>
                    </a:lnTo>
                    <a:lnTo>
                      <a:pt x="2006" y="293"/>
                    </a:lnTo>
                    <a:lnTo>
                      <a:pt x="2009" y="291"/>
                    </a:lnTo>
                    <a:lnTo>
                      <a:pt x="2009" y="291"/>
                    </a:lnTo>
                    <a:lnTo>
                      <a:pt x="2006" y="286"/>
                    </a:lnTo>
                    <a:lnTo>
                      <a:pt x="2006" y="286"/>
                    </a:lnTo>
                    <a:lnTo>
                      <a:pt x="2006" y="284"/>
                    </a:lnTo>
                    <a:lnTo>
                      <a:pt x="2006" y="281"/>
                    </a:lnTo>
                    <a:lnTo>
                      <a:pt x="2009" y="281"/>
                    </a:lnTo>
                    <a:lnTo>
                      <a:pt x="2011" y="279"/>
                    </a:lnTo>
                    <a:lnTo>
                      <a:pt x="2016" y="281"/>
                    </a:lnTo>
                    <a:lnTo>
                      <a:pt x="2020" y="281"/>
                    </a:lnTo>
                    <a:lnTo>
                      <a:pt x="2020" y="281"/>
                    </a:lnTo>
                    <a:lnTo>
                      <a:pt x="2023" y="279"/>
                    </a:lnTo>
                    <a:lnTo>
                      <a:pt x="2025" y="279"/>
                    </a:lnTo>
                    <a:lnTo>
                      <a:pt x="2030" y="279"/>
                    </a:lnTo>
                    <a:lnTo>
                      <a:pt x="2030" y="277"/>
                    </a:lnTo>
                    <a:lnTo>
                      <a:pt x="2032" y="277"/>
                    </a:lnTo>
                    <a:lnTo>
                      <a:pt x="2035" y="279"/>
                    </a:lnTo>
                    <a:lnTo>
                      <a:pt x="2039" y="279"/>
                    </a:lnTo>
                    <a:lnTo>
                      <a:pt x="2039" y="281"/>
                    </a:lnTo>
                    <a:lnTo>
                      <a:pt x="2042" y="281"/>
                    </a:lnTo>
                    <a:lnTo>
                      <a:pt x="2044" y="281"/>
                    </a:lnTo>
                    <a:lnTo>
                      <a:pt x="2046" y="279"/>
                    </a:lnTo>
                    <a:lnTo>
                      <a:pt x="2049" y="279"/>
                    </a:lnTo>
                    <a:lnTo>
                      <a:pt x="2049" y="279"/>
                    </a:lnTo>
                    <a:lnTo>
                      <a:pt x="2051" y="279"/>
                    </a:lnTo>
                    <a:lnTo>
                      <a:pt x="2051" y="281"/>
                    </a:lnTo>
                    <a:lnTo>
                      <a:pt x="2054" y="284"/>
                    </a:lnTo>
                    <a:lnTo>
                      <a:pt x="2056" y="286"/>
                    </a:lnTo>
                    <a:lnTo>
                      <a:pt x="2056" y="288"/>
                    </a:lnTo>
                    <a:lnTo>
                      <a:pt x="2056" y="291"/>
                    </a:lnTo>
                    <a:lnTo>
                      <a:pt x="2058" y="291"/>
                    </a:lnTo>
                    <a:lnTo>
                      <a:pt x="2061" y="293"/>
                    </a:lnTo>
                    <a:lnTo>
                      <a:pt x="2061" y="296"/>
                    </a:lnTo>
                    <a:lnTo>
                      <a:pt x="2063" y="296"/>
                    </a:lnTo>
                    <a:lnTo>
                      <a:pt x="2063" y="296"/>
                    </a:lnTo>
                    <a:lnTo>
                      <a:pt x="2063" y="296"/>
                    </a:lnTo>
                    <a:lnTo>
                      <a:pt x="2065" y="296"/>
                    </a:lnTo>
                    <a:lnTo>
                      <a:pt x="2068" y="296"/>
                    </a:lnTo>
                    <a:lnTo>
                      <a:pt x="2070" y="296"/>
                    </a:lnTo>
                    <a:lnTo>
                      <a:pt x="2070" y="298"/>
                    </a:lnTo>
                    <a:lnTo>
                      <a:pt x="2072" y="300"/>
                    </a:lnTo>
                    <a:lnTo>
                      <a:pt x="2072" y="300"/>
                    </a:lnTo>
                    <a:lnTo>
                      <a:pt x="2075" y="303"/>
                    </a:lnTo>
                    <a:lnTo>
                      <a:pt x="2075" y="303"/>
                    </a:lnTo>
                    <a:lnTo>
                      <a:pt x="2075" y="300"/>
                    </a:lnTo>
                    <a:lnTo>
                      <a:pt x="2077" y="300"/>
                    </a:lnTo>
                    <a:lnTo>
                      <a:pt x="2082" y="300"/>
                    </a:lnTo>
                    <a:lnTo>
                      <a:pt x="2080" y="298"/>
                    </a:lnTo>
                    <a:lnTo>
                      <a:pt x="2080" y="296"/>
                    </a:lnTo>
                    <a:lnTo>
                      <a:pt x="2084" y="286"/>
                    </a:lnTo>
                    <a:lnTo>
                      <a:pt x="2084" y="284"/>
                    </a:lnTo>
                    <a:lnTo>
                      <a:pt x="2087" y="284"/>
                    </a:lnTo>
                    <a:lnTo>
                      <a:pt x="2089" y="284"/>
                    </a:lnTo>
                    <a:lnTo>
                      <a:pt x="2089" y="284"/>
                    </a:lnTo>
                    <a:lnTo>
                      <a:pt x="2089" y="281"/>
                    </a:lnTo>
                    <a:lnTo>
                      <a:pt x="2089" y="281"/>
                    </a:lnTo>
                    <a:lnTo>
                      <a:pt x="2091" y="281"/>
                    </a:lnTo>
                    <a:lnTo>
                      <a:pt x="2094" y="284"/>
                    </a:lnTo>
                    <a:lnTo>
                      <a:pt x="2096" y="286"/>
                    </a:lnTo>
                    <a:lnTo>
                      <a:pt x="2096" y="284"/>
                    </a:lnTo>
                    <a:lnTo>
                      <a:pt x="2096" y="284"/>
                    </a:lnTo>
                    <a:lnTo>
                      <a:pt x="2096" y="284"/>
                    </a:lnTo>
                    <a:lnTo>
                      <a:pt x="2098" y="284"/>
                    </a:lnTo>
                    <a:lnTo>
                      <a:pt x="2096" y="281"/>
                    </a:lnTo>
                    <a:lnTo>
                      <a:pt x="2096" y="281"/>
                    </a:lnTo>
                    <a:lnTo>
                      <a:pt x="2091" y="281"/>
                    </a:lnTo>
                    <a:lnTo>
                      <a:pt x="2089" y="279"/>
                    </a:lnTo>
                    <a:lnTo>
                      <a:pt x="2087" y="274"/>
                    </a:lnTo>
                    <a:lnTo>
                      <a:pt x="2084" y="274"/>
                    </a:lnTo>
                    <a:lnTo>
                      <a:pt x="2084" y="272"/>
                    </a:lnTo>
                    <a:lnTo>
                      <a:pt x="2082" y="269"/>
                    </a:lnTo>
                    <a:lnTo>
                      <a:pt x="2082" y="269"/>
                    </a:lnTo>
                    <a:lnTo>
                      <a:pt x="2082" y="269"/>
                    </a:lnTo>
                    <a:lnTo>
                      <a:pt x="2080" y="267"/>
                    </a:lnTo>
                    <a:lnTo>
                      <a:pt x="2080" y="267"/>
                    </a:lnTo>
                    <a:lnTo>
                      <a:pt x="2080" y="265"/>
                    </a:lnTo>
                    <a:lnTo>
                      <a:pt x="2089" y="262"/>
                    </a:lnTo>
                    <a:lnTo>
                      <a:pt x="2091" y="262"/>
                    </a:lnTo>
                    <a:lnTo>
                      <a:pt x="2094" y="262"/>
                    </a:lnTo>
                    <a:lnTo>
                      <a:pt x="2101" y="265"/>
                    </a:lnTo>
                    <a:lnTo>
                      <a:pt x="2106" y="267"/>
                    </a:lnTo>
                    <a:lnTo>
                      <a:pt x="2110" y="267"/>
                    </a:lnTo>
                    <a:lnTo>
                      <a:pt x="2113" y="267"/>
                    </a:lnTo>
                    <a:lnTo>
                      <a:pt x="2110" y="267"/>
                    </a:lnTo>
                    <a:lnTo>
                      <a:pt x="2108" y="267"/>
                    </a:lnTo>
                    <a:lnTo>
                      <a:pt x="2110" y="269"/>
                    </a:lnTo>
                    <a:lnTo>
                      <a:pt x="2110" y="269"/>
                    </a:lnTo>
                    <a:lnTo>
                      <a:pt x="2108" y="269"/>
                    </a:lnTo>
                    <a:lnTo>
                      <a:pt x="2106" y="267"/>
                    </a:lnTo>
                    <a:lnTo>
                      <a:pt x="2101" y="267"/>
                    </a:lnTo>
                    <a:lnTo>
                      <a:pt x="2098" y="267"/>
                    </a:lnTo>
                    <a:lnTo>
                      <a:pt x="2098" y="269"/>
                    </a:lnTo>
                    <a:lnTo>
                      <a:pt x="2098" y="272"/>
                    </a:lnTo>
                    <a:lnTo>
                      <a:pt x="2101" y="277"/>
                    </a:lnTo>
                    <a:lnTo>
                      <a:pt x="2106" y="279"/>
                    </a:lnTo>
                    <a:lnTo>
                      <a:pt x="2108" y="281"/>
                    </a:lnTo>
                    <a:lnTo>
                      <a:pt x="2108" y="284"/>
                    </a:lnTo>
                    <a:lnTo>
                      <a:pt x="2108" y="284"/>
                    </a:lnTo>
                    <a:lnTo>
                      <a:pt x="2110" y="286"/>
                    </a:lnTo>
                    <a:lnTo>
                      <a:pt x="2113" y="288"/>
                    </a:lnTo>
                    <a:lnTo>
                      <a:pt x="2115" y="288"/>
                    </a:lnTo>
                    <a:lnTo>
                      <a:pt x="2115" y="288"/>
                    </a:lnTo>
                    <a:lnTo>
                      <a:pt x="2117" y="291"/>
                    </a:lnTo>
                    <a:lnTo>
                      <a:pt x="2115" y="293"/>
                    </a:lnTo>
                    <a:lnTo>
                      <a:pt x="2115" y="293"/>
                    </a:lnTo>
                    <a:lnTo>
                      <a:pt x="2115" y="296"/>
                    </a:lnTo>
                    <a:lnTo>
                      <a:pt x="2120" y="298"/>
                    </a:lnTo>
                    <a:lnTo>
                      <a:pt x="2120" y="298"/>
                    </a:lnTo>
                    <a:lnTo>
                      <a:pt x="2120" y="298"/>
                    </a:lnTo>
                    <a:lnTo>
                      <a:pt x="2117" y="300"/>
                    </a:lnTo>
                    <a:lnTo>
                      <a:pt x="2113" y="300"/>
                    </a:lnTo>
                    <a:lnTo>
                      <a:pt x="2113" y="303"/>
                    </a:lnTo>
                    <a:lnTo>
                      <a:pt x="2108" y="305"/>
                    </a:lnTo>
                    <a:lnTo>
                      <a:pt x="2106" y="305"/>
                    </a:lnTo>
                    <a:lnTo>
                      <a:pt x="2106" y="307"/>
                    </a:lnTo>
                    <a:lnTo>
                      <a:pt x="2108" y="310"/>
                    </a:lnTo>
                    <a:lnTo>
                      <a:pt x="2108" y="312"/>
                    </a:lnTo>
                    <a:lnTo>
                      <a:pt x="2106" y="314"/>
                    </a:lnTo>
                    <a:lnTo>
                      <a:pt x="2106" y="317"/>
                    </a:lnTo>
                    <a:lnTo>
                      <a:pt x="2106" y="322"/>
                    </a:lnTo>
                    <a:lnTo>
                      <a:pt x="2103" y="322"/>
                    </a:lnTo>
                    <a:lnTo>
                      <a:pt x="2103" y="324"/>
                    </a:lnTo>
                    <a:lnTo>
                      <a:pt x="2103" y="326"/>
                    </a:lnTo>
                    <a:lnTo>
                      <a:pt x="2101" y="331"/>
                    </a:lnTo>
                    <a:lnTo>
                      <a:pt x="2103" y="338"/>
                    </a:lnTo>
                    <a:lnTo>
                      <a:pt x="2103" y="340"/>
                    </a:lnTo>
                    <a:lnTo>
                      <a:pt x="2103" y="343"/>
                    </a:lnTo>
                    <a:lnTo>
                      <a:pt x="2103" y="343"/>
                    </a:lnTo>
                    <a:lnTo>
                      <a:pt x="2103" y="345"/>
                    </a:lnTo>
                    <a:lnTo>
                      <a:pt x="2101" y="348"/>
                    </a:lnTo>
                    <a:lnTo>
                      <a:pt x="2101" y="350"/>
                    </a:lnTo>
                    <a:lnTo>
                      <a:pt x="2098" y="352"/>
                    </a:lnTo>
                    <a:lnTo>
                      <a:pt x="2101" y="352"/>
                    </a:lnTo>
                    <a:lnTo>
                      <a:pt x="2098" y="352"/>
                    </a:lnTo>
                    <a:lnTo>
                      <a:pt x="2096" y="355"/>
                    </a:lnTo>
                    <a:lnTo>
                      <a:pt x="2091" y="352"/>
                    </a:lnTo>
                    <a:lnTo>
                      <a:pt x="2091" y="357"/>
                    </a:lnTo>
                    <a:lnTo>
                      <a:pt x="2089" y="357"/>
                    </a:lnTo>
                    <a:lnTo>
                      <a:pt x="2084" y="357"/>
                    </a:lnTo>
                    <a:lnTo>
                      <a:pt x="2084" y="357"/>
                    </a:lnTo>
                    <a:lnTo>
                      <a:pt x="2082" y="357"/>
                    </a:lnTo>
                    <a:lnTo>
                      <a:pt x="2082" y="359"/>
                    </a:lnTo>
                    <a:lnTo>
                      <a:pt x="2087" y="359"/>
                    </a:lnTo>
                    <a:lnTo>
                      <a:pt x="2089" y="362"/>
                    </a:lnTo>
                    <a:lnTo>
                      <a:pt x="2089" y="362"/>
                    </a:lnTo>
                    <a:lnTo>
                      <a:pt x="2091" y="364"/>
                    </a:lnTo>
                    <a:lnTo>
                      <a:pt x="2094" y="367"/>
                    </a:lnTo>
                    <a:lnTo>
                      <a:pt x="2094" y="371"/>
                    </a:lnTo>
                    <a:lnTo>
                      <a:pt x="2094" y="374"/>
                    </a:lnTo>
                    <a:lnTo>
                      <a:pt x="2091" y="378"/>
                    </a:lnTo>
                    <a:lnTo>
                      <a:pt x="2091" y="378"/>
                    </a:lnTo>
                    <a:lnTo>
                      <a:pt x="2091" y="378"/>
                    </a:lnTo>
                    <a:lnTo>
                      <a:pt x="2098" y="393"/>
                    </a:lnTo>
                    <a:lnTo>
                      <a:pt x="2103" y="397"/>
                    </a:lnTo>
                    <a:lnTo>
                      <a:pt x="2110" y="407"/>
                    </a:lnTo>
                    <a:lnTo>
                      <a:pt x="2113" y="409"/>
                    </a:lnTo>
                    <a:lnTo>
                      <a:pt x="2120" y="416"/>
                    </a:lnTo>
                    <a:lnTo>
                      <a:pt x="2129" y="423"/>
                    </a:lnTo>
                    <a:lnTo>
                      <a:pt x="2143" y="435"/>
                    </a:lnTo>
                    <a:lnTo>
                      <a:pt x="2146" y="438"/>
                    </a:lnTo>
                    <a:lnTo>
                      <a:pt x="2162" y="454"/>
                    </a:lnTo>
                    <a:lnTo>
                      <a:pt x="2165" y="457"/>
                    </a:lnTo>
                    <a:lnTo>
                      <a:pt x="2167" y="459"/>
                    </a:lnTo>
                    <a:lnTo>
                      <a:pt x="2172" y="461"/>
                    </a:lnTo>
                    <a:lnTo>
                      <a:pt x="2177" y="464"/>
                    </a:lnTo>
                    <a:lnTo>
                      <a:pt x="2179" y="466"/>
                    </a:lnTo>
                    <a:lnTo>
                      <a:pt x="2188" y="475"/>
                    </a:lnTo>
                    <a:lnTo>
                      <a:pt x="2195" y="485"/>
                    </a:lnTo>
                    <a:lnTo>
                      <a:pt x="2198" y="485"/>
                    </a:lnTo>
                    <a:lnTo>
                      <a:pt x="2200" y="487"/>
                    </a:lnTo>
                    <a:lnTo>
                      <a:pt x="2203" y="490"/>
                    </a:lnTo>
                    <a:lnTo>
                      <a:pt x="2205" y="492"/>
                    </a:lnTo>
                    <a:lnTo>
                      <a:pt x="2207" y="492"/>
                    </a:lnTo>
                    <a:lnTo>
                      <a:pt x="2210" y="494"/>
                    </a:lnTo>
                    <a:lnTo>
                      <a:pt x="2210" y="494"/>
                    </a:lnTo>
                    <a:lnTo>
                      <a:pt x="2212" y="490"/>
                    </a:lnTo>
                    <a:lnTo>
                      <a:pt x="2214" y="485"/>
                    </a:lnTo>
                    <a:lnTo>
                      <a:pt x="2212" y="485"/>
                    </a:lnTo>
                    <a:lnTo>
                      <a:pt x="2214" y="483"/>
                    </a:lnTo>
                    <a:lnTo>
                      <a:pt x="2214" y="480"/>
                    </a:lnTo>
                    <a:lnTo>
                      <a:pt x="2217" y="478"/>
                    </a:lnTo>
                    <a:lnTo>
                      <a:pt x="2214" y="471"/>
                    </a:lnTo>
                    <a:lnTo>
                      <a:pt x="2212" y="468"/>
                    </a:lnTo>
                    <a:lnTo>
                      <a:pt x="2212" y="466"/>
                    </a:lnTo>
                    <a:lnTo>
                      <a:pt x="2210" y="464"/>
                    </a:lnTo>
                    <a:lnTo>
                      <a:pt x="2207" y="461"/>
                    </a:lnTo>
                    <a:lnTo>
                      <a:pt x="2207" y="459"/>
                    </a:lnTo>
                    <a:lnTo>
                      <a:pt x="2205" y="457"/>
                    </a:lnTo>
                    <a:lnTo>
                      <a:pt x="2203" y="454"/>
                    </a:lnTo>
                    <a:lnTo>
                      <a:pt x="2200" y="454"/>
                    </a:lnTo>
                    <a:lnTo>
                      <a:pt x="2200" y="452"/>
                    </a:lnTo>
                    <a:lnTo>
                      <a:pt x="2200" y="452"/>
                    </a:lnTo>
                    <a:lnTo>
                      <a:pt x="2203" y="452"/>
                    </a:lnTo>
                    <a:lnTo>
                      <a:pt x="2205" y="454"/>
                    </a:lnTo>
                    <a:lnTo>
                      <a:pt x="2207" y="454"/>
                    </a:lnTo>
                    <a:lnTo>
                      <a:pt x="2207" y="452"/>
                    </a:lnTo>
                    <a:lnTo>
                      <a:pt x="2210" y="452"/>
                    </a:lnTo>
                    <a:lnTo>
                      <a:pt x="2214" y="449"/>
                    </a:lnTo>
                    <a:lnTo>
                      <a:pt x="2217" y="449"/>
                    </a:lnTo>
                    <a:lnTo>
                      <a:pt x="2222" y="452"/>
                    </a:lnTo>
                    <a:lnTo>
                      <a:pt x="2222" y="449"/>
                    </a:lnTo>
                    <a:lnTo>
                      <a:pt x="2219" y="447"/>
                    </a:lnTo>
                    <a:lnTo>
                      <a:pt x="2217" y="445"/>
                    </a:lnTo>
                    <a:lnTo>
                      <a:pt x="2214" y="445"/>
                    </a:lnTo>
                    <a:lnTo>
                      <a:pt x="2214" y="442"/>
                    </a:lnTo>
                    <a:lnTo>
                      <a:pt x="2212" y="440"/>
                    </a:lnTo>
                    <a:lnTo>
                      <a:pt x="2210" y="440"/>
                    </a:lnTo>
                    <a:lnTo>
                      <a:pt x="2207" y="438"/>
                    </a:lnTo>
                    <a:lnTo>
                      <a:pt x="2205" y="433"/>
                    </a:lnTo>
                    <a:lnTo>
                      <a:pt x="2203" y="430"/>
                    </a:lnTo>
                    <a:lnTo>
                      <a:pt x="2203" y="428"/>
                    </a:lnTo>
                    <a:lnTo>
                      <a:pt x="2205" y="428"/>
                    </a:lnTo>
                    <a:lnTo>
                      <a:pt x="2205" y="423"/>
                    </a:lnTo>
                    <a:lnTo>
                      <a:pt x="2207" y="423"/>
                    </a:lnTo>
                    <a:lnTo>
                      <a:pt x="2210" y="421"/>
                    </a:lnTo>
                    <a:lnTo>
                      <a:pt x="2212" y="421"/>
                    </a:lnTo>
                    <a:lnTo>
                      <a:pt x="2217" y="423"/>
                    </a:lnTo>
                    <a:lnTo>
                      <a:pt x="2222" y="423"/>
                    </a:lnTo>
                    <a:lnTo>
                      <a:pt x="2222" y="423"/>
                    </a:lnTo>
                    <a:lnTo>
                      <a:pt x="2224" y="419"/>
                    </a:lnTo>
                    <a:lnTo>
                      <a:pt x="2224" y="419"/>
                    </a:lnTo>
                    <a:lnTo>
                      <a:pt x="2222" y="416"/>
                    </a:lnTo>
                    <a:lnTo>
                      <a:pt x="2217" y="414"/>
                    </a:lnTo>
                    <a:lnTo>
                      <a:pt x="2212" y="409"/>
                    </a:lnTo>
                    <a:lnTo>
                      <a:pt x="2210" y="409"/>
                    </a:lnTo>
                    <a:lnTo>
                      <a:pt x="2207" y="407"/>
                    </a:lnTo>
                    <a:lnTo>
                      <a:pt x="2203" y="402"/>
                    </a:lnTo>
                    <a:lnTo>
                      <a:pt x="2200" y="400"/>
                    </a:lnTo>
                    <a:lnTo>
                      <a:pt x="2200" y="397"/>
                    </a:lnTo>
                    <a:lnTo>
                      <a:pt x="2198" y="390"/>
                    </a:lnTo>
                    <a:lnTo>
                      <a:pt x="2198" y="390"/>
                    </a:lnTo>
                    <a:lnTo>
                      <a:pt x="2200" y="390"/>
                    </a:lnTo>
                    <a:lnTo>
                      <a:pt x="2200" y="388"/>
                    </a:lnTo>
                    <a:lnTo>
                      <a:pt x="2200" y="388"/>
                    </a:lnTo>
                    <a:lnTo>
                      <a:pt x="2198" y="385"/>
                    </a:lnTo>
                    <a:lnTo>
                      <a:pt x="2198" y="383"/>
                    </a:lnTo>
                    <a:lnTo>
                      <a:pt x="2198" y="383"/>
                    </a:lnTo>
                    <a:lnTo>
                      <a:pt x="2203" y="383"/>
                    </a:lnTo>
                    <a:lnTo>
                      <a:pt x="2203" y="383"/>
                    </a:lnTo>
                    <a:lnTo>
                      <a:pt x="2203" y="383"/>
                    </a:lnTo>
                    <a:lnTo>
                      <a:pt x="2205" y="383"/>
                    </a:lnTo>
                    <a:lnTo>
                      <a:pt x="2203" y="385"/>
                    </a:lnTo>
                    <a:lnTo>
                      <a:pt x="2203" y="385"/>
                    </a:lnTo>
                    <a:lnTo>
                      <a:pt x="2203" y="388"/>
                    </a:lnTo>
                    <a:lnTo>
                      <a:pt x="2210" y="393"/>
                    </a:lnTo>
                    <a:lnTo>
                      <a:pt x="2212" y="393"/>
                    </a:lnTo>
                    <a:lnTo>
                      <a:pt x="2212" y="393"/>
                    </a:lnTo>
                    <a:lnTo>
                      <a:pt x="2214" y="390"/>
                    </a:lnTo>
                    <a:lnTo>
                      <a:pt x="2214" y="390"/>
                    </a:lnTo>
                    <a:lnTo>
                      <a:pt x="2214" y="388"/>
                    </a:lnTo>
                    <a:lnTo>
                      <a:pt x="2210" y="383"/>
                    </a:lnTo>
                    <a:lnTo>
                      <a:pt x="2205" y="383"/>
                    </a:lnTo>
                    <a:lnTo>
                      <a:pt x="2203" y="378"/>
                    </a:lnTo>
                    <a:lnTo>
                      <a:pt x="2200" y="378"/>
                    </a:lnTo>
                    <a:lnTo>
                      <a:pt x="2198" y="378"/>
                    </a:lnTo>
                    <a:lnTo>
                      <a:pt x="2198" y="378"/>
                    </a:lnTo>
                    <a:lnTo>
                      <a:pt x="2195" y="378"/>
                    </a:lnTo>
                    <a:lnTo>
                      <a:pt x="2193" y="376"/>
                    </a:lnTo>
                    <a:lnTo>
                      <a:pt x="2193" y="376"/>
                    </a:lnTo>
                    <a:lnTo>
                      <a:pt x="2191" y="374"/>
                    </a:lnTo>
                    <a:lnTo>
                      <a:pt x="2188" y="371"/>
                    </a:lnTo>
                    <a:lnTo>
                      <a:pt x="2184" y="369"/>
                    </a:lnTo>
                    <a:lnTo>
                      <a:pt x="2184" y="369"/>
                    </a:lnTo>
                    <a:lnTo>
                      <a:pt x="2181" y="367"/>
                    </a:lnTo>
                    <a:lnTo>
                      <a:pt x="2184" y="364"/>
                    </a:lnTo>
                    <a:lnTo>
                      <a:pt x="2184" y="362"/>
                    </a:lnTo>
                    <a:lnTo>
                      <a:pt x="2184" y="362"/>
                    </a:lnTo>
                    <a:lnTo>
                      <a:pt x="2181" y="359"/>
                    </a:lnTo>
                    <a:lnTo>
                      <a:pt x="2179" y="357"/>
                    </a:lnTo>
                    <a:lnTo>
                      <a:pt x="2179" y="357"/>
                    </a:lnTo>
                    <a:lnTo>
                      <a:pt x="2169" y="355"/>
                    </a:lnTo>
                    <a:lnTo>
                      <a:pt x="2167" y="355"/>
                    </a:lnTo>
                    <a:lnTo>
                      <a:pt x="2167" y="355"/>
                    </a:lnTo>
                    <a:lnTo>
                      <a:pt x="2169" y="359"/>
                    </a:lnTo>
                    <a:lnTo>
                      <a:pt x="2169" y="359"/>
                    </a:lnTo>
                    <a:lnTo>
                      <a:pt x="2169" y="359"/>
                    </a:lnTo>
                    <a:lnTo>
                      <a:pt x="2167" y="357"/>
                    </a:lnTo>
                    <a:lnTo>
                      <a:pt x="2165" y="357"/>
                    </a:lnTo>
                    <a:lnTo>
                      <a:pt x="2162" y="357"/>
                    </a:lnTo>
                    <a:lnTo>
                      <a:pt x="2160" y="355"/>
                    </a:lnTo>
                    <a:lnTo>
                      <a:pt x="2158" y="355"/>
                    </a:lnTo>
                    <a:lnTo>
                      <a:pt x="2155" y="352"/>
                    </a:lnTo>
                    <a:lnTo>
                      <a:pt x="2153" y="348"/>
                    </a:lnTo>
                    <a:lnTo>
                      <a:pt x="2151" y="345"/>
                    </a:lnTo>
                    <a:lnTo>
                      <a:pt x="2148" y="340"/>
                    </a:lnTo>
                    <a:lnTo>
                      <a:pt x="2151" y="338"/>
                    </a:lnTo>
                    <a:lnTo>
                      <a:pt x="2151" y="336"/>
                    </a:lnTo>
                    <a:lnTo>
                      <a:pt x="2151" y="336"/>
                    </a:lnTo>
                    <a:lnTo>
                      <a:pt x="2151" y="333"/>
                    </a:lnTo>
                    <a:lnTo>
                      <a:pt x="2151" y="333"/>
                    </a:lnTo>
                    <a:lnTo>
                      <a:pt x="2148" y="331"/>
                    </a:lnTo>
                    <a:lnTo>
                      <a:pt x="2148" y="331"/>
                    </a:lnTo>
                    <a:lnTo>
                      <a:pt x="2148" y="331"/>
                    </a:lnTo>
                    <a:lnTo>
                      <a:pt x="2151" y="331"/>
                    </a:lnTo>
                    <a:lnTo>
                      <a:pt x="2148" y="329"/>
                    </a:lnTo>
                    <a:lnTo>
                      <a:pt x="2143" y="324"/>
                    </a:lnTo>
                    <a:lnTo>
                      <a:pt x="2141" y="322"/>
                    </a:lnTo>
                    <a:lnTo>
                      <a:pt x="2141" y="319"/>
                    </a:lnTo>
                    <a:lnTo>
                      <a:pt x="2139" y="317"/>
                    </a:lnTo>
                    <a:lnTo>
                      <a:pt x="2139" y="317"/>
                    </a:lnTo>
                    <a:lnTo>
                      <a:pt x="2141" y="317"/>
                    </a:lnTo>
                    <a:lnTo>
                      <a:pt x="2141" y="314"/>
                    </a:lnTo>
                    <a:lnTo>
                      <a:pt x="2141" y="314"/>
                    </a:lnTo>
                    <a:lnTo>
                      <a:pt x="2141" y="314"/>
                    </a:lnTo>
                    <a:lnTo>
                      <a:pt x="2143" y="314"/>
                    </a:lnTo>
                    <a:lnTo>
                      <a:pt x="2146" y="314"/>
                    </a:lnTo>
                    <a:lnTo>
                      <a:pt x="2148" y="314"/>
                    </a:lnTo>
                    <a:lnTo>
                      <a:pt x="2148" y="317"/>
                    </a:lnTo>
                    <a:lnTo>
                      <a:pt x="2148" y="314"/>
                    </a:lnTo>
                    <a:lnTo>
                      <a:pt x="2148" y="314"/>
                    </a:lnTo>
                    <a:lnTo>
                      <a:pt x="2151" y="314"/>
                    </a:lnTo>
                    <a:lnTo>
                      <a:pt x="2151" y="314"/>
                    </a:lnTo>
                    <a:lnTo>
                      <a:pt x="2155" y="314"/>
                    </a:lnTo>
                    <a:lnTo>
                      <a:pt x="2160" y="317"/>
                    </a:lnTo>
                    <a:lnTo>
                      <a:pt x="2160" y="317"/>
                    </a:lnTo>
                    <a:lnTo>
                      <a:pt x="2162" y="317"/>
                    </a:lnTo>
                    <a:lnTo>
                      <a:pt x="2162" y="317"/>
                    </a:lnTo>
                    <a:lnTo>
                      <a:pt x="2162" y="317"/>
                    </a:lnTo>
                    <a:lnTo>
                      <a:pt x="2160" y="312"/>
                    </a:lnTo>
                    <a:lnTo>
                      <a:pt x="2160" y="312"/>
                    </a:lnTo>
                    <a:lnTo>
                      <a:pt x="2160" y="312"/>
                    </a:lnTo>
                    <a:lnTo>
                      <a:pt x="2162" y="310"/>
                    </a:lnTo>
                    <a:lnTo>
                      <a:pt x="2162" y="310"/>
                    </a:lnTo>
                    <a:lnTo>
                      <a:pt x="2167" y="307"/>
                    </a:lnTo>
                    <a:lnTo>
                      <a:pt x="2167" y="305"/>
                    </a:lnTo>
                    <a:lnTo>
                      <a:pt x="2169" y="305"/>
                    </a:lnTo>
                    <a:lnTo>
                      <a:pt x="2169" y="307"/>
                    </a:lnTo>
                    <a:lnTo>
                      <a:pt x="2172" y="307"/>
                    </a:lnTo>
                    <a:lnTo>
                      <a:pt x="2174" y="312"/>
                    </a:lnTo>
                    <a:lnTo>
                      <a:pt x="2174" y="312"/>
                    </a:lnTo>
                    <a:lnTo>
                      <a:pt x="2177" y="314"/>
                    </a:lnTo>
                    <a:lnTo>
                      <a:pt x="2179" y="317"/>
                    </a:lnTo>
                    <a:lnTo>
                      <a:pt x="2181" y="317"/>
                    </a:lnTo>
                    <a:lnTo>
                      <a:pt x="2181" y="317"/>
                    </a:lnTo>
                    <a:lnTo>
                      <a:pt x="2184" y="317"/>
                    </a:lnTo>
                    <a:lnTo>
                      <a:pt x="2184" y="317"/>
                    </a:lnTo>
                    <a:lnTo>
                      <a:pt x="2181" y="310"/>
                    </a:lnTo>
                    <a:lnTo>
                      <a:pt x="2184" y="307"/>
                    </a:lnTo>
                    <a:lnTo>
                      <a:pt x="2188" y="305"/>
                    </a:lnTo>
                    <a:lnTo>
                      <a:pt x="2188" y="305"/>
                    </a:lnTo>
                    <a:lnTo>
                      <a:pt x="2193" y="303"/>
                    </a:lnTo>
                    <a:lnTo>
                      <a:pt x="2198" y="303"/>
                    </a:lnTo>
                    <a:lnTo>
                      <a:pt x="2203" y="305"/>
                    </a:lnTo>
                    <a:lnTo>
                      <a:pt x="2203" y="303"/>
                    </a:lnTo>
                    <a:lnTo>
                      <a:pt x="2210" y="303"/>
                    </a:lnTo>
                    <a:lnTo>
                      <a:pt x="2212" y="305"/>
                    </a:lnTo>
                    <a:lnTo>
                      <a:pt x="2219" y="307"/>
                    </a:lnTo>
                    <a:lnTo>
                      <a:pt x="2226" y="310"/>
                    </a:lnTo>
                    <a:lnTo>
                      <a:pt x="2226" y="310"/>
                    </a:lnTo>
                    <a:lnTo>
                      <a:pt x="2229" y="310"/>
                    </a:lnTo>
                    <a:lnTo>
                      <a:pt x="2229" y="312"/>
                    </a:lnTo>
                    <a:lnTo>
                      <a:pt x="2231" y="312"/>
                    </a:lnTo>
                    <a:lnTo>
                      <a:pt x="2233" y="314"/>
                    </a:lnTo>
                    <a:lnTo>
                      <a:pt x="2238" y="314"/>
                    </a:lnTo>
                    <a:lnTo>
                      <a:pt x="2240" y="314"/>
                    </a:lnTo>
                    <a:lnTo>
                      <a:pt x="2240" y="314"/>
                    </a:lnTo>
                    <a:lnTo>
                      <a:pt x="2240" y="314"/>
                    </a:lnTo>
                    <a:lnTo>
                      <a:pt x="2236" y="310"/>
                    </a:lnTo>
                    <a:lnTo>
                      <a:pt x="2236" y="307"/>
                    </a:lnTo>
                    <a:lnTo>
                      <a:pt x="2233" y="307"/>
                    </a:lnTo>
                    <a:lnTo>
                      <a:pt x="2233" y="307"/>
                    </a:lnTo>
                    <a:lnTo>
                      <a:pt x="2236" y="305"/>
                    </a:lnTo>
                    <a:lnTo>
                      <a:pt x="2236" y="305"/>
                    </a:lnTo>
                    <a:lnTo>
                      <a:pt x="2240" y="300"/>
                    </a:lnTo>
                    <a:lnTo>
                      <a:pt x="2240" y="298"/>
                    </a:lnTo>
                    <a:lnTo>
                      <a:pt x="2243" y="298"/>
                    </a:lnTo>
                    <a:lnTo>
                      <a:pt x="2243" y="298"/>
                    </a:lnTo>
                    <a:lnTo>
                      <a:pt x="2243" y="298"/>
                    </a:lnTo>
                    <a:lnTo>
                      <a:pt x="2245" y="298"/>
                    </a:lnTo>
                    <a:lnTo>
                      <a:pt x="2245" y="296"/>
                    </a:lnTo>
                    <a:lnTo>
                      <a:pt x="2245" y="293"/>
                    </a:lnTo>
                    <a:lnTo>
                      <a:pt x="2245" y="293"/>
                    </a:lnTo>
                    <a:lnTo>
                      <a:pt x="2243" y="293"/>
                    </a:lnTo>
                    <a:lnTo>
                      <a:pt x="2245" y="291"/>
                    </a:lnTo>
                    <a:lnTo>
                      <a:pt x="2245" y="291"/>
                    </a:lnTo>
                    <a:lnTo>
                      <a:pt x="2245" y="291"/>
                    </a:lnTo>
                    <a:lnTo>
                      <a:pt x="2245" y="291"/>
                    </a:lnTo>
                    <a:lnTo>
                      <a:pt x="2245" y="288"/>
                    </a:lnTo>
                    <a:lnTo>
                      <a:pt x="2245" y="288"/>
                    </a:lnTo>
                    <a:lnTo>
                      <a:pt x="2248" y="291"/>
                    </a:lnTo>
                    <a:lnTo>
                      <a:pt x="2248" y="288"/>
                    </a:lnTo>
                    <a:lnTo>
                      <a:pt x="2245" y="288"/>
                    </a:lnTo>
                    <a:lnTo>
                      <a:pt x="2243" y="286"/>
                    </a:lnTo>
                    <a:lnTo>
                      <a:pt x="2243" y="286"/>
                    </a:lnTo>
                    <a:lnTo>
                      <a:pt x="2248" y="288"/>
                    </a:lnTo>
                    <a:lnTo>
                      <a:pt x="2248" y="288"/>
                    </a:lnTo>
                    <a:lnTo>
                      <a:pt x="2250" y="284"/>
                    </a:lnTo>
                    <a:lnTo>
                      <a:pt x="2248" y="281"/>
                    </a:lnTo>
                    <a:lnTo>
                      <a:pt x="2252" y="281"/>
                    </a:lnTo>
                    <a:lnTo>
                      <a:pt x="2255" y="281"/>
                    </a:lnTo>
                    <a:lnTo>
                      <a:pt x="2257" y="279"/>
                    </a:lnTo>
                    <a:lnTo>
                      <a:pt x="2259" y="279"/>
                    </a:lnTo>
                    <a:lnTo>
                      <a:pt x="2259" y="279"/>
                    </a:lnTo>
                    <a:lnTo>
                      <a:pt x="2259" y="277"/>
                    </a:lnTo>
                    <a:lnTo>
                      <a:pt x="2262" y="277"/>
                    </a:lnTo>
                    <a:lnTo>
                      <a:pt x="2264" y="277"/>
                    </a:lnTo>
                    <a:lnTo>
                      <a:pt x="2264" y="274"/>
                    </a:lnTo>
                    <a:lnTo>
                      <a:pt x="2264" y="274"/>
                    </a:lnTo>
                    <a:lnTo>
                      <a:pt x="2266" y="274"/>
                    </a:lnTo>
                    <a:lnTo>
                      <a:pt x="2266" y="272"/>
                    </a:lnTo>
                    <a:lnTo>
                      <a:pt x="2274" y="269"/>
                    </a:lnTo>
                    <a:lnTo>
                      <a:pt x="2274" y="269"/>
                    </a:lnTo>
                    <a:lnTo>
                      <a:pt x="2276" y="267"/>
                    </a:lnTo>
                    <a:lnTo>
                      <a:pt x="2276" y="267"/>
                    </a:lnTo>
                    <a:lnTo>
                      <a:pt x="2281" y="265"/>
                    </a:lnTo>
                    <a:lnTo>
                      <a:pt x="2281" y="265"/>
                    </a:lnTo>
                    <a:lnTo>
                      <a:pt x="2276" y="265"/>
                    </a:lnTo>
                    <a:lnTo>
                      <a:pt x="2276" y="265"/>
                    </a:lnTo>
                    <a:lnTo>
                      <a:pt x="2274" y="262"/>
                    </a:lnTo>
                    <a:lnTo>
                      <a:pt x="2274" y="262"/>
                    </a:lnTo>
                    <a:lnTo>
                      <a:pt x="2274" y="262"/>
                    </a:lnTo>
                    <a:lnTo>
                      <a:pt x="2274" y="262"/>
                    </a:lnTo>
                    <a:lnTo>
                      <a:pt x="2276" y="262"/>
                    </a:lnTo>
                    <a:lnTo>
                      <a:pt x="2276" y="262"/>
                    </a:lnTo>
                    <a:lnTo>
                      <a:pt x="2276" y="262"/>
                    </a:lnTo>
                    <a:lnTo>
                      <a:pt x="2278" y="262"/>
                    </a:lnTo>
                    <a:lnTo>
                      <a:pt x="2278" y="262"/>
                    </a:lnTo>
                    <a:lnTo>
                      <a:pt x="2278" y="262"/>
                    </a:lnTo>
                    <a:lnTo>
                      <a:pt x="2281" y="265"/>
                    </a:lnTo>
                    <a:lnTo>
                      <a:pt x="2281" y="265"/>
                    </a:lnTo>
                    <a:lnTo>
                      <a:pt x="2283" y="265"/>
                    </a:lnTo>
                    <a:lnTo>
                      <a:pt x="2288" y="265"/>
                    </a:lnTo>
                    <a:lnTo>
                      <a:pt x="2292" y="265"/>
                    </a:lnTo>
                    <a:lnTo>
                      <a:pt x="2311" y="269"/>
                    </a:lnTo>
                    <a:lnTo>
                      <a:pt x="2314" y="269"/>
                    </a:lnTo>
                    <a:lnTo>
                      <a:pt x="2314" y="269"/>
                    </a:lnTo>
                    <a:lnTo>
                      <a:pt x="2314" y="269"/>
                    </a:lnTo>
                    <a:lnTo>
                      <a:pt x="2311" y="267"/>
                    </a:lnTo>
                    <a:lnTo>
                      <a:pt x="2311" y="267"/>
                    </a:lnTo>
                    <a:lnTo>
                      <a:pt x="2311" y="265"/>
                    </a:lnTo>
                    <a:lnTo>
                      <a:pt x="2311" y="262"/>
                    </a:lnTo>
                    <a:lnTo>
                      <a:pt x="2309" y="262"/>
                    </a:lnTo>
                    <a:lnTo>
                      <a:pt x="2307" y="260"/>
                    </a:lnTo>
                    <a:lnTo>
                      <a:pt x="2304" y="260"/>
                    </a:lnTo>
                    <a:lnTo>
                      <a:pt x="2302" y="258"/>
                    </a:lnTo>
                    <a:lnTo>
                      <a:pt x="2300" y="258"/>
                    </a:lnTo>
                    <a:lnTo>
                      <a:pt x="2300" y="255"/>
                    </a:lnTo>
                    <a:lnTo>
                      <a:pt x="2300" y="255"/>
                    </a:lnTo>
                    <a:lnTo>
                      <a:pt x="2297" y="255"/>
                    </a:lnTo>
                    <a:lnTo>
                      <a:pt x="2297" y="253"/>
                    </a:lnTo>
                    <a:lnTo>
                      <a:pt x="2290" y="253"/>
                    </a:lnTo>
                    <a:lnTo>
                      <a:pt x="2285" y="251"/>
                    </a:lnTo>
                    <a:lnTo>
                      <a:pt x="2285" y="251"/>
                    </a:lnTo>
                    <a:lnTo>
                      <a:pt x="2281" y="248"/>
                    </a:lnTo>
                    <a:lnTo>
                      <a:pt x="2281" y="248"/>
                    </a:lnTo>
                    <a:lnTo>
                      <a:pt x="2283" y="248"/>
                    </a:lnTo>
                    <a:lnTo>
                      <a:pt x="2283" y="251"/>
                    </a:lnTo>
                    <a:lnTo>
                      <a:pt x="2281" y="251"/>
                    </a:lnTo>
                    <a:lnTo>
                      <a:pt x="2281" y="248"/>
                    </a:lnTo>
                    <a:lnTo>
                      <a:pt x="2278" y="248"/>
                    </a:lnTo>
                    <a:lnTo>
                      <a:pt x="2278" y="246"/>
                    </a:lnTo>
                    <a:lnTo>
                      <a:pt x="2274" y="246"/>
                    </a:lnTo>
                    <a:lnTo>
                      <a:pt x="2274" y="246"/>
                    </a:lnTo>
                    <a:lnTo>
                      <a:pt x="2274" y="246"/>
                    </a:lnTo>
                    <a:lnTo>
                      <a:pt x="2276" y="246"/>
                    </a:lnTo>
                    <a:lnTo>
                      <a:pt x="2276" y="246"/>
                    </a:lnTo>
                    <a:lnTo>
                      <a:pt x="2271" y="241"/>
                    </a:lnTo>
                    <a:lnTo>
                      <a:pt x="2266" y="239"/>
                    </a:lnTo>
                    <a:lnTo>
                      <a:pt x="2266" y="239"/>
                    </a:lnTo>
                    <a:lnTo>
                      <a:pt x="2264" y="239"/>
                    </a:lnTo>
                    <a:lnTo>
                      <a:pt x="2262" y="236"/>
                    </a:lnTo>
                    <a:lnTo>
                      <a:pt x="2262" y="236"/>
                    </a:lnTo>
                    <a:lnTo>
                      <a:pt x="2257" y="234"/>
                    </a:lnTo>
                    <a:lnTo>
                      <a:pt x="2255" y="232"/>
                    </a:lnTo>
                    <a:lnTo>
                      <a:pt x="2252" y="232"/>
                    </a:lnTo>
                    <a:lnTo>
                      <a:pt x="2252" y="232"/>
                    </a:lnTo>
                    <a:lnTo>
                      <a:pt x="2252" y="234"/>
                    </a:lnTo>
                    <a:lnTo>
                      <a:pt x="2252" y="234"/>
                    </a:lnTo>
                    <a:lnTo>
                      <a:pt x="2250" y="234"/>
                    </a:lnTo>
                    <a:lnTo>
                      <a:pt x="2245" y="232"/>
                    </a:lnTo>
                    <a:lnTo>
                      <a:pt x="2238" y="229"/>
                    </a:lnTo>
                    <a:lnTo>
                      <a:pt x="2236" y="227"/>
                    </a:lnTo>
                    <a:lnTo>
                      <a:pt x="2231" y="224"/>
                    </a:lnTo>
                    <a:lnTo>
                      <a:pt x="2231" y="224"/>
                    </a:lnTo>
                    <a:lnTo>
                      <a:pt x="2229" y="224"/>
                    </a:lnTo>
                    <a:lnTo>
                      <a:pt x="2226" y="224"/>
                    </a:lnTo>
                    <a:lnTo>
                      <a:pt x="2224" y="227"/>
                    </a:lnTo>
                    <a:lnTo>
                      <a:pt x="2224" y="227"/>
                    </a:lnTo>
                    <a:lnTo>
                      <a:pt x="2219" y="224"/>
                    </a:lnTo>
                    <a:lnTo>
                      <a:pt x="2217" y="227"/>
                    </a:lnTo>
                    <a:lnTo>
                      <a:pt x="2217" y="227"/>
                    </a:lnTo>
                    <a:lnTo>
                      <a:pt x="2217" y="227"/>
                    </a:lnTo>
                    <a:lnTo>
                      <a:pt x="2217" y="224"/>
                    </a:lnTo>
                    <a:lnTo>
                      <a:pt x="2214" y="224"/>
                    </a:lnTo>
                    <a:lnTo>
                      <a:pt x="2212" y="222"/>
                    </a:lnTo>
                    <a:lnTo>
                      <a:pt x="2210" y="222"/>
                    </a:lnTo>
                    <a:lnTo>
                      <a:pt x="2207" y="222"/>
                    </a:lnTo>
                    <a:lnTo>
                      <a:pt x="2207" y="222"/>
                    </a:lnTo>
                    <a:lnTo>
                      <a:pt x="2207" y="222"/>
                    </a:lnTo>
                    <a:lnTo>
                      <a:pt x="2205" y="224"/>
                    </a:lnTo>
                    <a:lnTo>
                      <a:pt x="2200" y="224"/>
                    </a:lnTo>
                    <a:lnTo>
                      <a:pt x="2198" y="224"/>
                    </a:lnTo>
                    <a:lnTo>
                      <a:pt x="2193" y="224"/>
                    </a:lnTo>
                    <a:lnTo>
                      <a:pt x="2191" y="224"/>
                    </a:lnTo>
                    <a:lnTo>
                      <a:pt x="2198" y="224"/>
                    </a:lnTo>
                    <a:lnTo>
                      <a:pt x="2200" y="224"/>
                    </a:lnTo>
                    <a:lnTo>
                      <a:pt x="2205" y="222"/>
                    </a:lnTo>
                    <a:lnTo>
                      <a:pt x="2205" y="220"/>
                    </a:lnTo>
                    <a:lnTo>
                      <a:pt x="2214" y="222"/>
                    </a:lnTo>
                    <a:lnTo>
                      <a:pt x="2217" y="222"/>
                    </a:lnTo>
                    <a:lnTo>
                      <a:pt x="2219" y="222"/>
                    </a:lnTo>
                    <a:lnTo>
                      <a:pt x="2224" y="224"/>
                    </a:lnTo>
                    <a:lnTo>
                      <a:pt x="2226" y="224"/>
                    </a:lnTo>
                    <a:lnTo>
                      <a:pt x="2224" y="222"/>
                    </a:lnTo>
                    <a:lnTo>
                      <a:pt x="2222" y="220"/>
                    </a:lnTo>
                    <a:lnTo>
                      <a:pt x="2219" y="220"/>
                    </a:lnTo>
                    <a:lnTo>
                      <a:pt x="2217" y="220"/>
                    </a:lnTo>
                    <a:lnTo>
                      <a:pt x="2212" y="220"/>
                    </a:lnTo>
                    <a:lnTo>
                      <a:pt x="2210" y="220"/>
                    </a:lnTo>
                    <a:lnTo>
                      <a:pt x="2207" y="220"/>
                    </a:lnTo>
                    <a:lnTo>
                      <a:pt x="2207" y="217"/>
                    </a:lnTo>
                    <a:lnTo>
                      <a:pt x="2212" y="220"/>
                    </a:lnTo>
                    <a:lnTo>
                      <a:pt x="2214" y="217"/>
                    </a:lnTo>
                    <a:lnTo>
                      <a:pt x="2222" y="220"/>
                    </a:lnTo>
                    <a:lnTo>
                      <a:pt x="2224" y="220"/>
                    </a:lnTo>
                    <a:lnTo>
                      <a:pt x="2224" y="222"/>
                    </a:lnTo>
                    <a:lnTo>
                      <a:pt x="2231" y="224"/>
                    </a:lnTo>
                    <a:lnTo>
                      <a:pt x="2236" y="224"/>
                    </a:lnTo>
                    <a:lnTo>
                      <a:pt x="2245" y="227"/>
                    </a:lnTo>
                    <a:lnTo>
                      <a:pt x="2250" y="227"/>
                    </a:lnTo>
                    <a:lnTo>
                      <a:pt x="2252" y="227"/>
                    </a:lnTo>
                    <a:lnTo>
                      <a:pt x="2255" y="224"/>
                    </a:lnTo>
                    <a:lnTo>
                      <a:pt x="2257" y="222"/>
                    </a:lnTo>
                    <a:lnTo>
                      <a:pt x="2257" y="222"/>
                    </a:lnTo>
                    <a:lnTo>
                      <a:pt x="2257" y="220"/>
                    </a:lnTo>
                    <a:lnTo>
                      <a:pt x="2259" y="220"/>
                    </a:lnTo>
                    <a:lnTo>
                      <a:pt x="2259" y="217"/>
                    </a:lnTo>
                    <a:lnTo>
                      <a:pt x="2259" y="217"/>
                    </a:lnTo>
                    <a:lnTo>
                      <a:pt x="2259" y="217"/>
                    </a:lnTo>
                    <a:lnTo>
                      <a:pt x="2259" y="215"/>
                    </a:lnTo>
                    <a:lnTo>
                      <a:pt x="2257" y="213"/>
                    </a:lnTo>
                    <a:lnTo>
                      <a:pt x="2257" y="213"/>
                    </a:lnTo>
                    <a:lnTo>
                      <a:pt x="2257" y="210"/>
                    </a:lnTo>
                    <a:lnTo>
                      <a:pt x="2255" y="208"/>
                    </a:lnTo>
                    <a:lnTo>
                      <a:pt x="2255" y="208"/>
                    </a:lnTo>
                    <a:lnTo>
                      <a:pt x="2252" y="208"/>
                    </a:lnTo>
                    <a:lnTo>
                      <a:pt x="2248" y="206"/>
                    </a:lnTo>
                    <a:lnTo>
                      <a:pt x="2245" y="206"/>
                    </a:lnTo>
                    <a:lnTo>
                      <a:pt x="2240" y="203"/>
                    </a:lnTo>
                    <a:lnTo>
                      <a:pt x="2238" y="201"/>
                    </a:lnTo>
                    <a:lnTo>
                      <a:pt x="2236" y="198"/>
                    </a:lnTo>
                    <a:lnTo>
                      <a:pt x="2236" y="198"/>
                    </a:lnTo>
                    <a:lnTo>
                      <a:pt x="2238" y="198"/>
                    </a:lnTo>
                    <a:lnTo>
                      <a:pt x="2240" y="198"/>
                    </a:lnTo>
                    <a:lnTo>
                      <a:pt x="2240" y="198"/>
                    </a:lnTo>
                    <a:lnTo>
                      <a:pt x="2240" y="196"/>
                    </a:lnTo>
                    <a:lnTo>
                      <a:pt x="2238" y="196"/>
                    </a:lnTo>
                    <a:lnTo>
                      <a:pt x="2238" y="196"/>
                    </a:lnTo>
                    <a:lnTo>
                      <a:pt x="2238" y="196"/>
                    </a:lnTo>
                    <a:lnTo>
                      <a:pt x="2238" y="194"/>
                    </a:lnTo>
                    <a:lnTo>
                      <a:pt x="2238" y="194"/>
                    </a:lnTo>
                    <a:lnTo>
                      <a:pt x="2238" y="194"/>
                    </a:lnTo>
                    <a:lnTo>
                      <a:pt x="2243" y="196"/>
                    </a:lnTo>
                    <a:lnTo>
                      <a:pt x="2243" y="198"/>
                    </a:lnTo>
                    <a:lnTo>
                      <a:pt x="2245" y="198"/>
                    </a:lnTo>
                    <a:lnTo>
                      <a:pt x="2248" y="198"/>
                    </a:lnTo>
                    <a:lnTo>
                      <a:pt x="2248" y="198"/>
                    </a:lnTo>
                    <a:lnTo>
                      <a:pt x="2248" y="196"/>
                    </a:lnTo>
                    <a:lnTo>
                      <a:pt x="2245" y="194"/>
                    </a:lnTo>
                    <a:lnTo>
                      <a:pt x="2245" y="194"/>
                    </a:lnTo>
                    <a:lnTo>
                      <a:pt x="2248" y="196"/>
                    </a:lnTo>
                    <a:lnTo>
                      <a:pt x="2250" y="198"/>
                    </a:lnTo>
                    <a:lnTo>
                      <a:pt x="2250" y="198"/>
                    </a:lnTo>
                    <a:lnTo>
                      <a:pt x="2250" y="198"/>
                    </a:lnTo>
                    <a:lnTo>
                      <a:pt x="2252" y="201"/>
                    </a:lnTo>
                    <a:lnTo>
                      <a:pt x="2252" y="201"/>
                    </a:lnTo>
                    <a:lnTo>
                      <a:pt x="2250" y="201"/>
                    </a:lnTo>
                    <a:lnTo>
                      <a:pt x="2250" y="201"/>
                    </a:lnTo>
                    <a:lnTo>
                      <a:pt x="2252" y="203"/>
                    </a:lnTo>
                    <a:lnTo>
                      <a:pt x="2257" y="203"/>
                    </a:lnTo>
                    <a:lnTo>
                      <a:pt x="2259" y="206"/>
                    </a:lnTo>
                    <a:lnTo>
                      <a:pt x="2262" y="206"/>
                    </a:lnTo>
                    <a:lnTo>
                      <a:pt x="2262" y="206"/>
                    </a:lnTo>
                    <a:lnTo>
                      <a:pt x="2264" y="206"/>
                    </a:lnTo>
                    <a:lnTo>
                      <a:pt x="2264" y="208"/>
                    </a:lnTo>
                    <a:lnTo>
                      <a:pt x="2266" y="208"/>
                    </a:lnTo>
                    <a:lnTo>
                      <a:pt x="2269" y="210"/>
                    </a:lnTo>
                    <a:lnTo>
                      <a:pt x="2271" y="210"/>
                    </a:lnTo>
                    <a:lnTo>
                      <a:pt x="2271" y="210"/>
                    </a:lnTo>
                    <a:lnTo>
                      <a:pt x="2281" y="210"/>
                    </a:lnTo>
                    <a:lnTo>
                      <a:pt x="2283" y="210"/>
                    </a:lnTo>
                    <a:lnTo>
                      <a:pt x="2285" y="208"/>
                    </a:lnTo>
                    <a:lnTo>
                      <a:pt x="2288" y="208"/>
                    </a:lnTo>
                    <a:lnTo>
                      <a:pt x="2288" y="208"/>
                    </a:lnTo>
                    <a:lnTo>
                      <a:pt x="2295" y="210"/>
                    </a:lnTo>
                    <a:lnTo>
                      <a:pt x="2304" y="210"/>
                    </a:lnTo>
                    <a:lnTo>
                      <a:pt x="2309" y="213"/>
                    </a:lnTo>
                    <a:lnTo>
                      <a:pt x="2314" y="215"/>
                    </a:lnTo>
                    <a:lnTo>
                      <a:pt x="2316" y="217"/>
                    </a:lnTo>
                    <a:lnTo>
                      <a:pt x="2318" y="220"/>
                    </a:lnTo>
                    <a:lnTo>
                      <a:pt x="2318" y="220"/>
                    </a:lnTo>
                    <a:lnTo>
                      <a:pt x="2323" y="220"/>
                    </a:lnTo>
                    <a:lnTo>
                      <a:pt x="2328" y="222"/>
                    </a:lnTo>
                    <a:lnTo>
                      <a:pt x="2328" y="222"/>
                    </a:lnTo>
                    <a:lnTo>
                      <a:pt x="2330" y="222"/>
                    </a:lnTo>
                    <a:lnTo>
                      <a:pt x="2330" y="224"/>
                    </a:lnTo>
                    <a:lnTo>
                      <a:pt x="2333" y="224"/>
                    </a:lnTo>
                    <a:lnTo>
                      <a:pt x="2335" y="222"/>
                    </a:lnTo>
                    <a:lnTo>
                      <a:pt x="2335" y="222"/>
                    </a:lnTo>
                    <a:lnTo>
                      <a:pt x="2340" y="224"/>
                    </a:lnTo>
                    <a:lnTo>
                      <a:pt x="2345" y="224"/>
                    </a:lnTo>
                    <a:lnTo>
                      <a:pt x="2352" y="227"/>
                    </a:lnTo>
                    <a:lnTo>
                      <a:pt x="2354" y="227"/>
                    </a:lnTo>
                    <a:lnTo>
                      <a:pt x="2361" y="229"/>
                    </a:lnTo>
                    <a:lnTo>
                      <a:pt x="2363" y="232"/>
                    </a:lnTo>
                    <a:lnTo>
                      <a:pt x="2366" y="232"/>
                    </a:lnTo>
                    <a:lnTo>
                      <a:pt x="2368" y="232"/>
                    </a:lnTo>
                    <a:lnTo>
                      <a:pt x="2368" y="232"/>
                    </a:lnTo>
                    <a:lnTo>
                      <a:pt x="2368" y="229"/>
                    </a:lnTo>
                    <a:lnTo>
                      <a:pt x="2368" y="229"/>
                    </a:lnTo>
                    <a:lnTo>
                      <a:pt x="2368" y="229"/>
                    </a:lnTo>
                    <a:lnTo>
                      <a:pt x="2368" y="229"/>
                    </a:lnTo>
                    <a:lnTo>
                      <a:pt x="2371" y="229"/>
                    </a:lnTo>
                    <a:lnTo>
                      <a:pt x="2371" y="232"/>
                    </a:lnTo>
                    <a:lnTo>
                      <a:pt x="2371" y="232"/>
                    </a:lnTo>
                    <a:lnTo>
                      <a:pt x="2375" y="234"/>
                    </a:lnTo>
                    <a:lnTo>
                      <a:pt x="2378" y="234"/>
                    </a:lnTo>
                    <a:lnTo>
                      <a:pt x="2378" y="234"/>
                    </a:lnTo>
                    <a:lnTo>
                      <a:pt x="2378" y="232"/>
                    </a:lnTo>
                    <a:lnTo>
                      <a:pt x="2378" y="232"/>
                    </a:lnTo>
                    <a:lnTo>
                      <a:pt x="2373" y="229"/>
                    </a:lnTo>
                    <a:lnTo>
                      <a:pt x="2373" y="229"/>
                    </a:lnTo>
                    <a:lnTo>
                      <a:pt x="2375" y="229"/>
                    </a:lnTo>
                    <a:lnTo>
                      <a:pt x="2378" y="229"/>
                    </a:lnTo>
                    <a:lnTo>
                      <a:pt x="2380" y="232"/>
                    </a:lnTo>
                    <a:lnTo>
                      <a:pt x="2380" y="232"/>
                    </a:lnTo>
                    <a:lnTo>
                      <a:pt x="2385" y="232"/>
                    </a:lnTo>
                    <a:lnTo>
                      <a:pt x="2385" y="229"/>
                    </a:lnTo>
                    <a:lnTo>
                      <a:pt x="2382" y="229"/>
                    </a:lnTo>
                    <a:lnTo>
                      <a:pt x="2380" y="229"/>
                    </a:lnTo>
                    <a:lnTo>
                      <a:pt x="2380" y="229"/>
                    </a:lnTo>
                    <a:lnTo>
                      <a:pt x="2378" y="227"/>
                    </a:lnTo>
                    <a:lnTo>
                      <a:pt x="2373" y="227"/>
                    </a:lnTo>
                    <a:lnTo>
                      <a:pt x="2373" y="227"/>
                    </a:lnTo>
                    <a:lnTo>
                      <a:pt x="2371" y="227"/>
                    </a:lnTo>
                    <a:lnTo>
                      <a:pt x="2371" y="227"/>
                    </a:lnTo>
                    <a:lnTo>
                      <a:pt x="2368" y="224"/>
                    </a:lnTo>
                    <a:lnTo>
                      <a:pt x="2368" y="224"/>
                    </a:lnTo>
                    <a:lnTo>
                      <a:pt x="2368" y="224"/>
                    </a:lnTo>
                    <a:lnTo>
                      <a:pt x="2368" y="224"/>
                    </a:lnTo>
                    <a:lnTo>
                      <a:pt x="2366" y="222"/>
                    </a:lnTo>
                    <a:lnTo>
                      <a:pt x="2363" y="222"/>
                    </a:lnTo>
                    <a:lnTo>
                      <a:pt x="2363" y="222"/>
                    </a:lnTo>
                    <a:lnTo>
                      <a:pt x="2363" y="222"/>
                    </a:lnTo>
                    <a:lnTo>
                      <a:pt x="2363" y="222"/>
                    </a:lnTo>
                    <a:lnTo>
                      <a:pt x="2363" y="222"/>
                    </a:lnTo>
                    <a:lnTo>
                      <a:pt x="2366" y="222"/>
                    </a:lnTo>
                    <a:lnTo>
                      <a:pt x="2368" y="222"/>
                    </a:lnTo>
                    <a:lnTo>
                      <a:pt x="2371" y="220"/>
                    </a:lnTo>
                    <a:lnTo>
                      <a:pt x="2371" y="220"/>
                    </a:lnTo>
                    <a:lnTo>
                      <a:pt x="2371" y="220"/>
                    </a:lnTo>
                    <a:lnTo>
                      <a:pt x="2368" y="217"/>
                    </a:lnTo>
                    <a:lnTo>
                      <a:pt x="2366" y="215"/>
                    </a:lnTo>
                    <a:lnTo>
                      <a:pt x="2363" y="215"/>
                    </a:lnTo>
                    <a:lnTo>
                      <a:pt x="2361" y="215"/>
                    </a:lnTo>
                    <a:lnTo>
                      <a:pt x="2361" y="215"/>
                    </a:lnTo>
                    <a:lnTo>
                      <a:pt x="2359" y="215"/>
                    </a:lnTo>
                    <a:lnTo>
                      <a:pt x="2363" y="215"/>
                    </a:lnTo>
                    <a:lnTo>
                      <a:pt x="2363" y="215"/>
                    </a:lnTo>
                    <a:lnTo>
                      <a:pt x="2361" y="213"/>
                    </a:lnTo>
                    <a:lnTo>
                      <a:pt x="2359" y="210"/>
                    </a:lnTo>
                    <a:lnTo>
                      <a:pt x="2359" y="210"/>
                    </a:lnTo>
                    <a:lnTo>
                      <a:pt x="2356" y="210"/>
                    </a:lnTo>
                    <a:lnTo>
                      <a:pt x="2356" y="210"/>
                    </a:lnTo>
                    <a:lnTo>
                      <a:pt x="2356" y="210"/>
                    </a:lnTo>
                    <a:lnTo>
                      <a:pt x="2349" y="208"/>
                    </a:lnTo>
                    <a:lnTo>
                      <a:pt x="2345" y="208"/>
                    </a:lnTo>
                    <a:lnTo>
                      <a:pt x="2347" y="208"/>
                    </a:lnTo>
                    <a:lnTo>
                      <a:pt x="2347" y="208"/>
                    </a:lnTo>
                    <a:lnTo>
                      <a:pt x="2349" y="208"/>
                    </a:lnTo>
                    <a:lnTo>
                      <a:pt x="2354" y="208"/>
                    </a:lnTo>
                    <a:lnTo>
                      <a:pt x="2354" y="208"/>
                    </a:lnTo>
                    <a:lnTo>
                      <a:pt x="2356" y="210"/>
                    </a:lnTo>
                    <a:lnTo>
                      <a:pt x="2356" y="210"/>
                    </a:lnTo>
                    <a:lnTo>
                      <a:pt x="2361" y="210"/>
                    </a:lnTo>
                    <a:lnTo>
                      <a:pt x="2361" y="210"/>
                    </a:lnTo>
                    <a:lnTo>
                      <a:pt x="2363" y="210"/>
                    </a:lnTo>
                    <a:lnTo>
                      <a:pt x="2363" y="210"/>
                    </a:lnTo>
                    <a:lnTo>
                      <a:pt x="2368" y="210"/>
                    </a:lnTo>
                    <a:lnTo>
                      <a:pt x="2368" y="210"/>
                    </a:lnTo>
                    <a:lnTo>
                      <a:pt x="2373" y="210"/>
                    </a:lnTo>
                    <a:lnTo>
                      <a:pt x="2373" y="210"/>
                    </a:lnTo>
                    <a:lnTo>
                      <a:pt x="2373" y="210"/>
                    </a:lnTo>
                    <a:lnTo>
                      <a:pt x="2373" y="210"/>
                    </a:lnTo>
                    <a:lnTo>
                      <a:pt x="2371" y="208"/>
                    </a:lnTo>
                    <a:lnTo>
                      <a:pt x="2366" y="208"/>
                    </a:lnTo>
                    <a:lnTo>
                      <a:pt x="2363" y="206"/>
                    </a:lnTo>
                    <a:lnTo>
                      <a:pt x="2361" y="206"/>
                    </a:lnTo>
                    <a:lnTo>
                      <a:pt x="2361" y="206"/>
                    </a:lnTo>
                    <a:lnTo>
                      <a:pt x="2361" y="206"/>
                    </a:lnTo>
                    <a:lnTo>
                      <a:pt x="2366" y="206"/>
                    </a:lnTo>
                    <a:lnTo>
                      <a:pt x="2368" y="208"/>
                    </a:lnTo>
                    <a:lnTo>
                      <a:pt x="2371" y="208"/>
                    </a:lnTo>
                    <a:lnTo>
                      <a:pt x="2373" y="208"/>
                    </a:lnTo>
                    <a:lnTo>
                      <a:pt x="2378" y="208"/>
                    </a:lnTo>
                    <a:lnTo>
                      <a:pt x="2378" y="208"/>
                    </a:lnTo>
                    <a:lnTo>
                      <a:pt x="2375" y="206"/>
                    </a:lnTo>
                    <a:lnTo>
                      <a:pt x="2373" y="206"/>
                    </a:lnTo>
                    <a:lnTo>
                      <a:pt x="2373" y="203"/>
                    </a:lnTo>
                    <a:lnTo>
                      <a:pt x="2373" y="203"/>
                    </a:lnTo>
                    <a:lnTo>
                      <a:pt x="2373" y="201"/>
                    </a:lnTo>
                    <a:lnTo>
                      <a:pt x="2375" y="201"/>
                    </a:lnTo>
                    <a:lnTo>
                      <a:pt x="2375" y="201"/>
                    </a:lnTo>
                    <a:lnTo>
                      <a:pt x="2378" y="201"/>
                    </a:lnTo>
                    <a:lnTo>
                      <a:pt x="2378" y="201"/>
                    </a:lnTo>
                    <a:lnTo>
                      <a:pt x="2378" y="201"/>
                    </a:lnTo>
                    <a:lnTo>
                      <a:pt x="2375" y="198"/>
                    </a:lnTo>
                    <a:lnTo>
                      <a:pt x="2373" y="198"/>
                    </a:lnTo>
                    <a:lnTo>
                      <a:pt x="2368" y="198"/>
                    </a:lnTo>
                    <a:lnTo>
                      <a:pt x="2368" y="198"/>
                    </a:lnTo>
                    <a:lnTo>
                      <a:pt x="2366" y="196"/>
                    </a:lnTo>
                    <a:lnTo>
                      <a:pt x="2366" y="196"/>
                    </a:lnTo>
                    <a:lnTo>
                      <a:pt x="2363" y="196"/>
                    </a:lnTo>
                    <a:lnTo>
                      <a:pt x="2363" y="196"/>
                    </a:lnTo>
                    <a:lnTo>
                      <a:pt x="2361" y="196"/>
                    </a:lnTo>
                    <a:lnTo>
                      <a:pt x="2361" y="196"/>
                    </a:lnTo>
                    <a:lnTo>
                      <a:pt x="2361" y="196"/>
                    </a:lnTo>
                    <a:lnTo>
                      <a:pt x="2361" y="196"/>
                    </a:lnTo>
                    <a:lnTo>
                      <a:pt x="2359" y="196"/>
                    </a:lnTo>
                    <a:lnTo>
                      <a:pt x="2359" y="194"/>
                    </a:lnTo>
                    <a:lnTo>
                      <a:pt x="2349" y="191"/>
                    </a:lnTo>
                    <a:lnTo>
                      <a:pt x="2345" y="191"/>
                    </a:lnTo>
                    <a:lnTo>
                      <a:pt x="2337" y="189"/>
                    </a:lnTo>
                    <a:lnTo>
                      <a:pt x="2333" y="187"/>
                    </a:lnTo>
                    <a:lnTo>
                      <a:pt x="2326" y="184"/>
                    </a:lnTo>
                    <a:lnTo>
                      <a:pt x="2321" y="184"/>
                    </a:lnTo>
                    <a:lnTo>
                      <a:pt x="2318" y="184"/>
                    </a:lnTo>
                    <a:lnTo>
                      <a:pt x="2314" y="182"/>
                    </a:lnTo>
                    <a:lnTo>
                      <a:pt x="2311" y="182"/>
                    </a:lnTo>
                    <a:lnTo>
                      <a:pt x="2304" y="182"/>
                    </a:lnTo>
                    <a:lnTo>
                      <a:pt x="2307" y="182"/>
                    </a:lnTo>
                    <a:lnTo>
                      <a:pt x="2314" y="184"/>
                    </a:lnTo>
                    <a:lnTo>
                      <a:pt x="2314" y="184"/>
                    </a:lnTo>
                    <a:lnTo>
                      <a:pt x="2316" y="184"/>
                    </a:lnTo>
                    <a:lnTo>
                      <a:pt x="2314" y="184"/>
                    </a:lnTo>
                    <a:lnTo>
                      <a:pt x="2309" y="184"/>
                    </a:lnTo>
                    <a:lnTo>
                      <a:pt x="2307" y="184"/>
                    </a:lnTo>
                    <a:lnTo>
                      <a:pt x="2304" y="182"/>
                    </a:lnTo>
                    <a:lnTo>
                      <a:pt x="2304" y="182"/>
                    </a:lnTo>
                    <a:lnTo>
                      <a:pt x="2304" y="184"/>
                    </a:lnTo>
                    <a:lnTo>
                      <a:pt x="2307" y="184"/>
                    </a:lnTo>
                    <a:lnTo>
                      <a:pt x="2309" y="184"/>
                    </a:lnTo>
                    <a:lnTo>
                      <a:pt x="2307" y="187"/>
                    </a:lnTo>
                    <a:lnTo>
                      <a:pt x="2307" y="187"/>
                    </a:lnTo>
                    <a:lnTo>
                      <a:pt x="2304" y="184"/>
                    </a:lnTo>
                    <a:lnTo>
                      <a:pt x="2304" y="184"/>
                    </a:lnTo>
                    <a:lnTo>
                      <a:pt x="2302" y="182"/>
                    </a:lnTo>
                    <a:lnTo>
                      <a:pt x="2304" y="182"/>
                    </a:lnTo>
                    <a:lnTo>
                      <a:pt x="2302" y="182"/>
                    </a:lnTo>
                    <a:lnTo>
                      <a:pt x="2297" y="182"/>
                    </a:lnTo>
                    <a:lnTo>
                      <a:pt x="2295" y="179"/>
                    </a:lnTo>
                    <a:lnTo>
                      <a:pt x="2295" y="179"/>
                    </a:lnTo>
                    <a:lnTo>
                      <a:pt x="2292" y="182"/>
                    </a:lnTo>
                    <a:lnTo>
                      <a:pt x="2283" y="182"/>
                    </a:lnTo>
                    <a:lnTo>
                      <a:pt x="2283" y="182"/>
                    </a:lnTo>
                    <a:lnTo>
                      <a:pt x="2283" y="182"/>
                    </a:lnTo>
                    <a:lnTo>
                      <a:pt x="2285" y="182"/>
                    </a:lnTo>
                    <a:lnTo>
                      <a:pt x="2285" y="182"/>
                    </a:lnTo>
                    <a:lnTo>
                      <a:pt x="2288" y="182"/>
                    </a:lnTo>
                    <a:lnTo>
                      <a:pt x="2290" y="182"/>
                    </a:lnTo>
                    <a:lnTo>
                      <a:pt x="2292" y="184"/>
                    </a:lnTo>
                    <a:lnTo>
                      <a:pt x="2292" y="184"/>
                    </a:lnTo>
                    <a:lnTo>
                      <a:pt x="2295" y="184"/>
                    </a:lnTo>
                    <a:lnTo>
                      <a:pt x="2297" y="187"/>
                    </a:lnTo>
                    <a:lnTo>
                      <a:pt x="2300" y="187"/>
                    </a:lnTo>
                    <a:lnTo>
                      <a:pt x="2300" y="189"/>
                    </a:lnTo>
                    <a:lnTo>
                      <a:pt x="2300" y="189"/>
                    </a:lnTo>
                    <a:lnTo>
                      <a:pt x="2300" y="189"/>
                    </a:lnTo>
                    <a:lnTo>
                      <a:pt x="2302" y="191"/>
                    </a:lnTo>
                    <a:lnTo>
                      <a:pt x="2304" y="191"/>
                    </a:lnTo>
                    <a:lnTo>
                      <a:pt x="2307" y="191"/>
                    </a:lnTo>
                    <a:lnTo>
                      <a:pt x="2309" y="191"/>
                    </a:lnTo>
                    <a:lnTo>
                      <a:pt x="2311" y="194"/>
                    </a:lnTo>
                    <a:lnTo>
                      <a:pt x="2311" y="194"/>
                    </a:lnTo>
                    <a:lnTo>
                      <a:pt x="2314" y="196"/>
                    </a:lnTo>
                    <a:lnTo>
                      <a:pt x="2314" y="196"/>
                    </a:lnTo>
                    <a:lnTo>
                      <a:pt x="2314" y="196"/>
                    </a:lnTo>
                    <a:lnTo>
                      <a:pt x="2314" y="196"/>
                    </a:lnTo>
                    <a:lnTo>
                      <a:pt x="2314" y="196"/>
                    </a:lnTo>
                    <a:lnTo>
                      <a:pt x="2309" y="194"/>
                    </a:lnTo>
                    <a:lnTo>
                      <a:pt x="2307" y="191"/>
                    </a:lnTo>
                    <a:lnTo>
                      <a:pt x="2304" y="194"/>
                    </a:lnTo>
                    <a:lnTo>
                      <a:pt x="2304" y="194"/>
                    </a:lnTo>
                    <a:lnTo>
                      <a:pt x="2304" y="194"/>
                    </a:lnTo>
                    <a:lnTo>
                      <a:pt x="2304" y="194"/>
                    </a:lnTo>
                    <a:lnTo>
                      <a:pt x="2304" y="194"/>
                    </a:lnTo>
                    <a:lnTo>
                      <a:pt x="2302" y="194"/>
                    </a:lnTo>
                    <a:lnTo>
                      <a:pt x="2300" y="191"/>
                    </a:lnTo>
                    <a:lnTo>
                      <a:pt x="2297" y="191"/>
                    </a:lnTo>
                    <a:lnTo>
                      <a:pt x="2295" y="191"/>
                    </a:lnTo>
                    <a:lnTo>
                      <a:pt x="2295" y="189"/>
                    </a:lnTo>
                    <a:lnTo>
                      <a:pt x="2292" y="189"/>
                    </a:lnTo>
                    <a:lnTo>
                      <a:pt x="2290" y="189"/>
                    </a:lnTo>
                    <a:lnTo>
                      <a:pt x="2288" y="189"/>
                    </a:lnTo>
                    <a:lnTo>
                      <a:pt x="2288" y="187"/>
                    </a:lnTo>
                    <a:lnTo>
                      <a:pt x="2285" y="184"/>
                    </a:lnTo>
                    <a:lnTo>
                      <a:pt x="2283" y="184"/>
                    </a:lnTo>
                    <a:lnTo>
                      <a:pt x="2281" y="182"/>
                    </a:lnTo>
                    <a:lnTo>
                      <a:pt x="2278" y="182"/>
                    </a:lnTo>
                    <a:lnTo>
                      <a:pt x="2276" y="179"/>
                    </a:lnTo>
                    <a:lnTo>
                      <a:pt x="2274" y="177"/>
                    </a:lnTo>
                    <a:lnTo>
                      <a:pt x="2271" y="177"/>
                    </a:lnTo>
                    <a:lnTo>
                      <a:pt x="2269" y="175"/>
                    </a:lnTo>
                    <a:lnTo>
                      <a:pt x="2266" y="175"/>
                    </a:lnTo>
                    <a:lnTo>
                      <a:pt x="2266" y="175"/>
                    </a:lnTo>
                    <a:lnTo>
                      <a:pt x="2266" y="177"/>
                    </a:lnTo>
                    <a:lnTo>
                      <a:pt x="2266" y="177"/>
                    </a:lnTo>
                    <a:lnTo>
                      <a:pt x="2264" y="177"/>
                    </a:lnTo>
                    <a:lnTo>
                      <a:pt x="2264" y="175"/>
                    </a:lnTo>
                    <a:lnTo>
                      <a:pt x="2262" y="172"/>
                    </a:lnTo>
                    <a:lnTo>
                      <a:pt x="2259" y="172"/>
                    </a:lnTo>
                    <a:lnTo>
                      <a:pt x="2259" y="172"/>
                    </a:lnTo>
                    <a:lnTo>
                      <a:pt x="2257" y="170"/>
                    </a:lnTo>
                    <a:lnTo>
                      <a:pt x="2224" y="163"/>
                    </a:lnTo>
                    <a:lnTo>
                      <a:pt x="2219" y="161"/>
                    </a:lnTo>
                    <a:lnTo>
                      <a:pt x="2214" y="161"/>
                    </a:lnTo>
                    <a:lnTo>
                      <a:pt x="2212" y="161"/>
                    </a:lnTo>
                    <a:lnTo>
                      <a:pt x="2212" y="161"/>
                    </a:lnTo>
                    <a:lnTo>
                      <a:pt x="2212" y="161"/>
                    </a:lnTo>
                    <a:lnTo>
                      <a:pt x="2210" y="161"/>
                    </a:lnTo>
                    <a:lnTo>
                      <a:pt x="2210" y="161"/>
                    </a:lnTo>
                    <a:lnTo>
                      <a:pt x="2210" y="161"/>
                    </a:lnTo>
                    <a:lnTo>
                      <a:pt x="2207" y="158"/>
                    </a:lnTo>
                    <a:lnTo>
                      <a:pt x="2193" y="156"/>
                    </a:lnTo>
                    <a:lnTo>
                      <a:pt x="2191" y="153"/>
                    </a:lnTo>
                    <a:lnTo>
                      <a:pt x="2193" y="156"/>
                    </a:lnTo>
                    <a:lnTo>
                      <a:pt x="2203" y="158"/>
                    </a:lnTo>
                    <a:lnTo>
                      <a:pt x="2205" y="158"/>
                    </a:lnTo>
                    <a:lnTo>
                      <a:pt x="2205" y="161"/>
                    </a:lnTo>
                    <a:lnTo>
                      <a:pt x="2203" y="161"/>
                    </a:lnTo>
                    <a:lnTo>
                      <a:pt x="2203" y="158"/>
                    </a:lnTo>
                    <a:lnTo>
                      <a:pt x="2200" y="158"/>
                    </a:lnTo>
                    <a:lnTo>
                      <a:pt x="2198" y="158"/>
                    </a:lnTo>
                    <a:lnTo>
                      <a:pt x="2195" y="156"/>
                    </a:lnTo>
                    <a:lnTo>
                      <a:pt x="2191" y="156"/>
                    </a:lnTo>
                    <a:lnTo>
                      <a:pt x="2188" y="156"/>
                    </a:lnTo>
                    <a:lnTo>
                      <a:pt x="2186" y="153"/>
                    </a:lnTo>
                    <a:lnTo>
                      <a:pt x="2184" y="153"/>
                    </a:lnTo>
                    <a:lnTo>
                      <a:pt x="2186" y="153"/>
                    </a:lnTo>
                    <a:lnTo>
                      <a:pt x="2188" y="153"/>
                    </a:lnTo>
                    <a:lnTo>
                      <a:pt x="2184" y="153"/>
                    </a:lnTo>
                    <a:lnTo>
                      <a:pt x="2179" y="151"/>
                    </a:lnTo>
                    <a:lnTo>
                      <a:pt x="2172" y="149"/>
                    </a:lnTo>
                    <a:lnTo>
                      <a:pt x="2169" y="149"/>
                    </a:lnTo>
                    <a:lnTo>
                      <a:pt x="2167" y="149"/>
                    </a:lnTo>
                    <a:lnTo>
                      <a:pt x="2167" y="149"/>
                    </a:lnTo>
                    <a:lnTo>
                      <a:pt x="2165" y="149"/>
                    </a:lnTo>
                    <a:lnTo>
                      <a:pt x="2162" y="149"/>
                    </a:lnTo>
                    <a:lnTo>
                      <a:pt x="2162" y="149"/>
                    </a:lnTo>
                    <a:lnTo>
                      <a:pt x="2160" y="146"/>
                    </a:lnTo>
                    <a:lnTo>
                      <a:pt x="2155" y="146"/>
                    </a:lnTo>
                    <a:lnTo>
                      <a:pt x="2153" y="146"/>
                    </a:lnTo>
                    <a:lnTo>
                      <a:pt x="2141" y="142"/>
                    </a:lnTo>
                    <a:lnTo>
                      <a:pt x="2136" y="142"/>
                    </a:lnTo>
                    <a:lnTo>
                      <a:pt x="2134" y="142"/>
                    </a:lnTo>
                    <a:lnTo>
                      <a:pt x="2134" y="139"/>
                    </a:lnTo>
                    <a:lnTo>
                      <a:pt x="2132" y="139"/>
                    </a:lnTo>
                    <a:lnTo>
                      <a:pt x="2125" y="139"/>
                    </a:lnTo>
                    <a:lnTo>
                      <a:pt x="2117" y="137"/>
                    </a:lnTo>
                    <a:lnTo>
                      <a:pt x="2106" y="137"/>
                    </a:lnTo>
                    <a:lnTo>
                      <a:pt x="2098" y="134"/>
                    </a:lnTo>
                    <a:lnTo>
                      <a:pt x="2089" y="132"/>
                    </a:lnTo>
                    <a:lnTo>
                      <a:pt x="2082" y="132"/>
                    </a:lnTo>
                    <a:lnTo>
                      <a:pt x="2080" y="130"/>
                    </a:lnTo>
                    <a:lnTo>
                      <a:pt x="2077" y="130"/>
                    </a:lnTo>
                    <a:lnTo>
                      <a:pt x="2072" y="132"/>
                    </a:lnTo>
                    <a:lnTo>
                      <a:pt x="2065" y="132"/>
                    </a:lnTo>
                    <a:lnTo>
                      <a:pt x="2058" y="132"/>
                    </a:lnTo>
                    <a:lnTo>
                      <a:pt x="2054" y="132"/>
                    </a:lnTo>
                    <a:lnTo>
                      <a:pt x="2049" y="130"/>
                    </a:lnTo>
                    <a:lnTo>
                      <a:pt x="2044" y="130"/>
                    </a:lnTo>
                    <a:lnTo>
                      <a:pt x="2044" y="130"/>
                    </a:lnTo>
                    <a:lnTo>
                      <a:pt x="2046" y="132"/>
                    </a:lnTo>
                    <a:lnTo>
                      <a:pt x="2042" y="132"/>
                    </a:lnTo>
                    <a:lnTo>
                      <a:pt x="2037" y="130"/>
                    </a:lnTo>
                    <a:lnTo>
                      <a:pt x="2032" y="130"/>
                    </a:lnTo>
                    <a:lnTo>
                      <a:pt x="2023" y="130"/>
                    </a:lnTo>
                    <a:lnTo>
                      <a:pt x="2011" y="127"/>
                    </a:lnTo>
                    <a:lnTo>
                      <a:pt x="2006" y="127"/>
                    </a:lnTo>
                    <a:lnTo>
                      <a:pt x="2002" y="127"/>
                    </a:lnTo>
                    <a:lnTo>
                      <a:pt x="2006" y="130"/>
                    </a:lnTo>
                    <a:lnTo>
                      <a:pt x="2006" y="132"/>
                    </a:lnTo>
                    <a:lnTo>
                      <a:pt x="2009" y="134"/>
                    </a:lnTo>
                    <a:lnTo>
                      <a:pt x="2009" y="134"/>
                    </a:lnTo>
                    <a:lnTo>
                      <a:pt x="2009" y="134"/>
                    </a:lnTo>
                    <a:lnTo>
                      <a:pt x="2016" y="137"/>
                    </a:lnTo>
                    <a:lnTo>
                      <a:pt x="2023" y="139"/>
                    </a:lnTo>
                    <a:lnTo>
                      <a:pt x="2028" y="142"/>
                    </a:lnTo>
                    <a:lnTo>
                      <a:pt x="2032" y="144"/>
                    </a:lnTo>
                    <a:lnTo>
                      <a:pt x="2035" y="146"/>
                    </a:lnTo>
                    <a:lnTo>
                      <a:pt x="2035" y="149"/>
                    </a:lnTo>
                    <a:lnTo>
                      <a:pt x="2028" y="151"/>
                    </a:lnTo>
                    <a:lnTo>
                      <a:pt x="2023" y="151"/>
                    </a:lnTo>
                    <a:lnTo>
                      <a:pt x="2016" y="149"/>
                    </a:lnTo>
                    <a:lnTo>
                      <a:pt x="2011" y="146"/>
                    </a:lnTo>
                    <a:lnTo>
                      <a:pt x="2004" y="144"/>
                    </a:lnTo>
                    <a:lnTo>
                      <a:pt x="1997" y="142"/>
                    </a:lnTo>
                    <a:lnTo>
                      <a:pt x="1994" y="142"/>
                    </a:lnTo>
                    <a:lnTo>
                      <a:pt x="1992" y="142"/>
                    </a:lnTo>
                    <a:lnTo>
                      <a:pt x="1987" y="139"/>
                    </a:lnTo>
                    <a:lnTo>
                      <a:pt x="1983" y="137"/>
                    </a:lnTo>
                    <a:lnTo>
                      <a:pt x="1980" y="134"/>
                    </a:lnTo>
                    <a:lnTo>
                      <a:pt x="1978" y="134"/>
                    </a:lnTo>
                    <a:lnTo>
                      <a:pt x="1975" y="134"/>
                    </a:lnTo>
                    <a:lnTo>
                      <a:pt x="1971" y="134"/>
                    </a:lnTo>
                    <a:lnTo>
                      <a:pt x="1968" y="137"/>
                    </a:lnTo>
                    <a:lnTo>
                      <a:pt x="1968" y="137"/>
                    </a:lnTo>
                    <a:lnTo>
                      <a:pt x="1966" y="137"/>
                    </a:lnTo>
                    <a:lnTo>
                      <a:pt x="1954" y="137"/>
                    </a:lnTo>
                    <a:lnTo>
                      <a:pt x="1949" y="137"/>
                    </a:lnTo>
                    <a:lnTo>
                      <a:pt x="1933" y="137"/>
                    </a:lnTo>
                    <a:lnTo>
                      <a:pt x="1926" y="134"/>
                    </a:lnTo>
                    <a:lnTo>
                      <a:pt x="1921" y="134"/>
                    </a:lnTo>
                    <a:lnTo>
                      <a:pt x="1919" y="134"/>
                    </a:lnTo>
                    <a:lnTo>
                      <a:pt x="1916" y="134"/>
                    </a:lnTo>
                    <a:lnTo>
                      <a:pt x="1912" y="134"/>
                    </a:lnTo>
                    <a:lnTo>
                      <a:pt x="1909" y="134"/>
                    </a:lnTo>
                    <a:lnTo>
                      <a:pt x="1902" y="134"/>
                    </a:lnTo>
                    <a:lnTo>
                      <a:pt x="1902" y="137"/>
                    </a:lnTo>
                    <a:lnTo>
                      <a:pt x="1900" y="137"/>
                    </a:lnTo>
                    <a:lnTo>
                      <a:pt x="1897" y="139"/>
                    </a:lnTo>
                    <a:lnTo>
                      <a:pt x="1900" y="142"/>
                    </a:lnTo>
                    <a:lnTo>
                      <a:pt x="1902" y="144"/>
                    </a:lnTo>
                    <a:lnTo>
                      <a:pt x="1907" y="146"/>
                    </a:lnTo>
                    <a:lnTo>
                      <a:pt x="1909" y="149"/>
                    </a:lnTo>
                    <a:lnTo>
                      <a:pt x="1909" y="149"/>
                    </a:lnTo>
                    <a:lnTo>
                      <a:pt x="1909" y="151"/>
                    </a:lnTo>
                    <a:lnTo>
                      <a:pt x="1912" y="153"/>
                    </a:lnTo>
                    <a:lnTo>
                      <a:pt x="1912" y="153"/>
                    </a:lnTo>
                    <a:lnTo>
                      <a:pt x="1909" y="156"/>
                    </a:lnTo>
                    <a:lnTo>
                      <a:pt x="1909" y="153"/>
                    </a:lnTo>
                    <a:lnTo>
                      <a:pt x="1909" y="153"/>
                    </a:lnTo>
                    <a:lnTo>
                      <a:pt x="1907" y="149"/>
                    </a:lnTo>
                    <a:lnTo>
                      <a:pt x="1905" y="146"/>
                    </a:lnTo>
                    <a:lnTo>
                      <a:pt x="1900" y="146"/>
                    </a:lnTo>
                    <a:lnTo>
                      <a:pt x="1897" y="144"/>
                    </a:lnTo>
                    <a:lnTo>
                      <a:pt x="1893" y="142"/>
                    </a:lnTo>
                    <a:lnTo>
                      <a:pt x="1888" y="139"/>
                    </a:lnTo>
                    <a:lnTo>
                      <a:pt x="1886" y="137"/>
                    </a:lnTo>
                    <a:lnTo>
                      <a:pt x="1881" y="134"/>
                    </a:lnTo>
                    <a:lnTo>
                      <a:pt x="1871" y="134"/>
                    </a:lnTo>
                    <a:lnTo>
                      <a:pt x="1867" y="132"/>
                    </a:lnTo>
                    <a:lnTo>
                      <a:pt x="1862" y="132"/>
                    </a:lnTo>
                    <a:lnTo>
                      <a:pt x="1862" y="130"/>
                    </a:lnTo>
                    <a:lnTo>
                      <a:pt x="1860" y="127"/>
                    </a:lnTo>
                    <a:lnTo>
                      <a:pt x="1857" y="127"/>
                    </a:lnTo>
                    <a:lnTo>
                      <a:pt x="1857" y="125"/>
                    </a:lnTo>
                    <a:lnTo>
                      <a:pt x="1855" y="123"/>
                    </a:lnTo>
                    <a:lnTo>
                      <a:pt x="1852" y="123"/>
                    </a:lnTo>
                    <a:lnTo>
                      <a:pt x="1850" y="120"/>
                    </a:lnTo>
                    <a:lnTo>
                      <a:pt x="1845" y="118"/>
                    </a:lnTo>
                    <a:lnTo>
                      <a:pt x="1843" y="118"/>
                    </a:lnTo>
                    <a:lnTo>
                      <a:pt x="1836" y="116"/>
                    </a:lnTo>
                    <a:lnTo>
                      <a:pt x="1824" y="113"/>
                    </a:lnTo>
                    <a:lnTo>
                      <a:pt x="1812" y="111"/>
                    </a:lnTo>
                    <a:lnTo>
                      <a:pt x="1803" y="111"/>
                    </a:lnTo>
                    <a:lnTo>
                      <a:pt x="1793" y="111"/>
                    </a:lnTo>
                    <a:lnTo>
                      <a:pt x="1782" y="111"/>
                    </a:lnTo>
                    <a:lnTo>
                      <a:pt x="1779" y="111"/>
                    </a:lnTo>
                    <a:lnTo>
                      <a:pt x="1772" y="111"/>
                    </a:lnTo>
                    <a:lnTo>
                      <a:pt x="1765" y="111"/>
                    </a:lnTo>
                    <a:lnTo>
                      <a:pt x="1760" y="113"/>
                    </a:lnTo>
                    <a:lnTo>
                      <a:pt x="1755" y="113"/>
                    </a:lnTo>
                    <a:lnTo>
                      <a:pt x="1748" y="113"/>
                    </a:lnTo>
                    <a:lnTo>
                      <a:pt x="1744" y="116"/>
                    </a:lnTo>
                    <a:lnTo>
                      <a:pt x="1729" y="111"/>
                    </a:lnTo>
                    <a:lnTo>
                      <a:pt x="1732" y="111"/>
                    </a:lnTo>
                    <a:lnTo>
                      <a:pt x="1734" y="111"/>
                    </a:lnTo>
                    <a:lnTo>
                      <a:pt x="1725" y="108"/>
                    </a:lnTo>
                    <a:lnTo>
                      <a:pt x="1720" y="106"/>
                    </a:lnTo>
                    <a:lnTo>
                      <a:pt x="1713" y="106"/>
                    </a:lnTo>
                    <a:lnTo>
                      <a:pt x="1711" y="104"/>
                    </a:lnTo>
                    <a:lnTo>
                      <a:pt x="1708" y="106"/>
                    </a:lnTo>
                    <a:lnTo>
                      <a:pt x="1703" y="106"/>
                    </a:lnTo>
                    <a:lnTo>
                      <a:pt x="1703" y="108"/>
                    </a:lnTo>
                    <a:lnTo>
                      <a:pt x="1703" y="106"/>
                    </a:lnTo>
                    <a:lnTo>
                      <a:pt x="1706" y="104"/>
                    </a:lnTo>
                    <a:lnTo>
                      <a:pt x="1706" y="104"/>
                    </a:lnTo>
                    <a:lnTo>
                      <a:pt x="1703" y="104"/>
                    </a:lnTo>
                    <a:lnTo>
                      <a:pt x="1703" y="101"/>
                    </a:lnTo>
                    <a:lnTo>
                      <a:pt x="1696" y="104"/>
                    </a:lnTo>
                    <a:lnTo>
                      <a:pt x="1694" y="101"/>
                    </a:lnTo>
                    <a:lnTo>
                      <a:pt x="1692" y="101"/>
                    </a:lnTo>
                    <a:lnTo>
                      <a:pt x="1692" y="101"/>
                    </a:lnTo>
                    <a:lnTo>
                      <a:pt x="1685" y="99"/>
                    </a:lnTo>
                    <a:lnTo>
                      <a:pt x="1680" y="99"/>
                    </a:lnTo>
                    <a:lnTo>
                      <a:pt x="1677" y="99"/>
                    </a:lnTo>
                    <a:lnTo>
                      <a:pt x="1675" y="99"/>
                    </a:lnTo>
                    <a:lnTo>
                      <a:pt x="1675" y="99"/>
                    </a:lnTo>
                    <a:lnTo>
                      <a:pt x="1675" y="99"/>
                    </a:lnTo>
                    <a:lnTo>
                      <a:pt x="1675" y="97"/>
                    </a:lnTo>
                    <a:lnTo>
                      <a:pt x="1677" y="97"/>
                    </a:lnTo>
                    <a:lnTo>
                      <a:pt x="1687" y="97"/>
                    </a:lnTo>
                    <a:lnTo>
                      <a:pt x="1687" y="97"/>
                    </a:lnTo>
                    <a:lnTo>
                      <a:pt x="1685" y="94"/>
                    </a:lnTo>
                    <a:lnTo>
                      <a:pt x="1685" y="94"/>
                    </a:lnTo>
                    <a:lnTo>
                      <a:pt x="1677" y="92"/>
                    </a:lnTo>
                    <a:lnTo>
                      <a:pt x="1673" y="92"/>
                    </a:lnTo>
                    <a:lnTo>
                      <a:pt x="1663" y="90"/>
                    </a:lnTo>
                    <a:lnTo>
                      <a:pt x="1656" y="90"/>
                    </a:lnTo>
                    <a:lnTo>
                      <a:pt x="1642" y="90"/>
                    </a:lnTo>
                    <a:lnTo>
                      <a:pt x="1640" y="90"/>
                    </a:lnTo>
                    <a:lnTo>
                      <a:pt x="1640" y="90"/>
                    </a:lnTo>
                    <a:lnTo>
                      <a:pt x="1640" y="92"/>
                    </a:lnTo>
                    <a:lnTo>
                      <a:pt x="1637" y="97"/>
                    </a:lnTo>
                    <a:lnTo>
                      <a:pt x="1637" y="97"/>
                    </a:lnTo>
                    <a:lnTo>
                      <a:pt x="1635" y="99"/>
                    </a:lnTo>
                    <a:lnTo>
                      <a:pt x="1628" y="99"/>
                    </a:lnTo>
                    <a:lnTo>
                      <a:pt x="1625" y="99"/>
                    </a:lnTo>
                    <a:lnTo>
                      <a:pt x="1623" y="99"/>
                    </a:lnTo>
                    <a:lnTo>
                      <a:pt x="1623" y="97"/>
                    </a:lnTo>
                    <a:lnTo>
                      <a:pt x="1623" y="97"/>
                    </a:lnTo>
                    <a:lnTo>
                      <a:pt x="1623" y="97"/>
                    </a:lnTo>
                    <a:lnTo>
                      <a:pt x="1621" y="97"/>
                    </a:lnTo>
                    <a:lnTo>
                      <a:pt x="1621" y="97"/>
                    </a:lnTo>
                    <a:lnTo>
                      <a:pt x="1621" y="97"/>
                    </a:lnTo>
                    <a:lnTo>
                      <a:pt x="1623" y="97"/>
                    </a:lnTo>
                    <a:lnTo>
                      <a:pt x="1625" y="97"/>
                    </a:lnTo>
                    <a:lnTo>
                      <a:pt x="1630" y="94"/>
                    </a:lnTo>
                    <a:lnTo>
                      <a:pt x="1628" y="94"/>
                    </a:lnTo>
                    <a:lnTo>
                      <a:pt x="1625" y="92"/>
                    </a:lnTo>
                    <a:lnTo>
                      <a:pt x="1623" y="92"/>
                    </a:lnTo>
                    <a:lnTo>
                      <a:pt x="1623" y="90"/>
                    </a:lnTo>
                    <a:lnTo>
                      <a:pt x="1623" y="90"/>
                    </a:lnTo>
                    <a:lnTo>
                      <a:pt x="1623" y="90"/>
                    </a:lnTo>
                    <a:lnTo>
                      <a:pt x="1628" y="92"/>
                    </a:lnTo>
                    <a:lnTo>
                      <a:pt x="1630" y="92"/>
                    </a:lnTo>
                    <a:lnTo>
                      <a:pt x="1630" y="92"/>
                    </a:lnTo>
                    <a:lnTo>
                      <a:pt x="1632" y="94"/>
                    </a:lnTo>
                    <a:lnTo>
                      <a:pt x="1635" y="94"/>
                    </a:lnTo>
                    <a:lnTo>
                      <a:pt x="1635" y="94"/>
                    </a:lnTo>
                    <a:lnTo>
                      <a:pt x="1637" y="92"/>
                    </a:lnTo>
                    <a:lnTo>
                      <a:pt x="1637" y="90"/>
                    </a:lnTo>
                    <a:lnTo>
                      <a:pt x="1635" y="90"/>
                    </a:lnTo>
                    <a:lnTo>
                      <a:pt x="1632" y="90"/>
                    </a:lnTo>
                    <a:lnTo>
                      <a:pt x="1614" y="90"/>
                    </a:lnTo>
                    <a:lnTo>
                      <a:pt x="1606" y="92"/>
                    </a:lnTo>
                    <a:lnTo>
                      <a:pt x="1604" y="92"/>
                    </a:lnTo>
                    <a:lnTo>
                      <a:pt x="1602" y="90"/>
                    </a:lnTo>
                    <a:lnTo>
                      <a:pt x="1604" y="90"/>
                    </a:lnTo>
                    <a:lnTo>
                      <a:pt x="1606" y="90"/>
                    </a:lnTo>
                    <a:lnTo>
                      <a:pt x="1606" y="87"/>
                    </a:lnTo>
                    <a:lnTo>
                      <a:pt x="1609" y="87"/>
                    </a:lnTo>
                    <a:lnTo>
                      <a:pt x="1611" y="87"/>
                    </a:lnTo>
                    <a:lnTo>
                      <a:pt x="1616" y="87"/>
                    </a:lnTo>
                    <a:lnTo>
                      <a:pt x="1625" y="87"/>
                    </a:lnTo>
                    <a:lnTo>
                      <a:pt x="1625" y="87"/>
                    </a:lnTo>
                    <a:lnTo>
                      <a:pt x="1621" y="87"/>
                    </a:lnTo>
                    <a:lnTo>
                      <a:pt x="1616" y="85"/>
                    </a:lnTo>
                    <a:lnTo>
                      <a:pt x="1614" y="85"/>
                    </a:lnTo>
                    <a:lnTo>
                      <a:pt x="1609" y="85"/>
                    </a:lnTo>
                    <a:lnTo>
                      <a:pt x="1599" y="85"/>
                    </a:lnTo>
                    <a:lnTo>
                      <a:pt x="1595" y="82"/>
                    </a:lnTo>
                    <a:lnTo>
                      <a:pt x="1585" y="82"/>
                    </a:lnTo>
                    <a:lnTo>
                      <a:pt x="1554" y="85"/>
                    </a:lnTo>
                    <a:close/>
                    <a:moveTo>
                      <a:pt x="369" y="142"/>
                    </a:moveTo>
                    <a:lnTo>
                      <a:pt x="369" y="144"/>
                    </a:lnTo>
                    <a:lnTo>
                      <a:pt x="369" y="144"/>
                    </a:lnTo>
                    <a:lnTo>
                      <a:pt x="369" y="146"/>
                    </a:lnTo>
                    <a:lnTo>
                      <a:pt x="372" y="146"/>
                    </a:lnTo>
                    <a:lnTo>
                      <a:pt x="372" y="149"/>
                    </a:lnTo>
                    <a:lnTo>
                      <a:pt x="374" y="151"/>
                    </a:lnTo>
                    <a:lnTo>
                      <a:pt x="376" y="151"/>
                    </a:lnTo>
                    <a:lnTo>
                      <a:pt x="381" y="151"/>
                    </a:lnTo>
                    <a:lnTo>
                      <a:pt x="383" y="151"/>
                    </a:lnTo>
                    <a:lnTo>
                      <a:pt x="391" y="149"/>
                    </a:lnTo>
                    <a:lnTo>
                      <a:pt x="393" y="146"/>
                    </a:lnTo>
                    <a:lnTo>
                      <a:pt x="393" y="146"/>
                    </a:lnTo>
                    <a:lnTo>
                      <a:pt x="395" y="144"/>
                    </a:lnTo>
                    <a:lnTo>
                      <a:pt x="395" y="144"/>
                    </a:lnTo>
                    <a:lnTo>
                      <a:pt x="395" y="146"/>
                    </a:lnTo>
                    <a:lnTo>
                      <a:pt x="398" y="146"/>
                    </a:lnTo>
                    <a:lnTo>
                      <a:pt x="398" y="146"/>
                    </a:lnTo>
                    <a:lnTo>
                      <a:pt x="395" y="144"/>
                    </a:lnTo>
                    <a:lnTo>
                      <a:pt x="395" y="142"/>
                    </a:lnTo>
                    <a:lnTo>
                      <a:pt x="393" y="142"/>
                    </a:lnTo>
                    <a:lnTo>
                      <a:pt x="381" y="137"/>
                    </a:lnTo>
                    <a:lnTo>
                      <a:pt x="376" y="137"/>
                    </a:lnTo>
                    <a:lnTo>
                      <a:pt x="376" y="137"/>
                    </a:lnTo>
                    <a:lnTo>
                      <a:pt x="372" y="139"/>
                    </a:lnTo>
                    <a:lnTo>
                      <a:pt x="369" y="142"/>
                    </a:lnTo>
                    <a:lnTo>
                      <a:pt x="369" y="142"/>
                    </a:lnTo>
                    <a:close/>
                    <a:moveTo>
                      <a:pt x="303" y="187"/>
                    </a:moveTo>
                    <a:lnTo>
                      <a:pt x="303" y="187"/>
                    </a:lnTo>
                    <a:lnTo>
                      <a:pt x="303" y="187"/>
                    </a:lnTo>
                    <a:lnTo>
                      <a:pt x="305" y="189"/>
                    </a:lnTo>
                    <a:lnTo>
                      <a:pt x="305" y="189"/>
                    </a:lnTo>
                    <a:lnTo>
                      <a:pt x="305" y="187"/>
                    </a:lnTo>
                    <a:lnTo>
                      <a:pt x="305" y="187"/>
                    </a:lnTo>
                    <a:lnTo>
                      <a:pt x="303" y="187"/>
                    </a:lnTo>
                    <a:lnTo>
                      <a:pt x="303" y="187"/>
                    </a:lnTo>
                    <a:close/>
                    <a:moveTo>
                      <a:pt x="2065" y="594"/>
                    </a:moveTo>
                    <a:lnTo>
                      <a:pt x="2065" y="594"/>
                    </a:lnTo>
                    <a:lnTo>
                      <a:pt x="2065" y="591"/>
                    </a:lnTo>
                    <a:lnTo>
                      <a:pt x="2063" y="589"/>
                    </a:lnTo>
                    <a:lnTo>
                      <a:pt x="2063" y="589"/>
                    </a:lnTo>
                    <a:lnTo>
                      <a:pt x="2061" y="584"/>
                    </a:lnTo>
                    <a:lnTo>
                      <a:pt x="2056" y="582"/>
                    </a:lnTo>
                    <a:lnTo>
                      <a:pt x="2056" y="580"/>
                    </a:lnTo>
                    <a:lnTo>
                      <a:pt x="2054" y="580"/>
                    </a:lnTo>
                    <a:lnTo>
                      <a:pt x="2054" y="580"/>
                    </a:lnTo>
                    <a:lnTo>
                      <a:pt x="2051" y="580"/>
                    </a:lnTo>
                    <a:lnTo>
                      <a:pt x="2051" y="580"/>
                    </a:lnTo>
                    <a:lnTo>
                      <a:pt x="2046" y="575"/>
                    </a:lnTo>
                    <a:lnTo>
                      <a:pt x="2042" y="573"/>
                    </a:lnTo>
                    <a:lnTo>
                      <a:pt x="2039" y="570"/>
                    </a:lnTo>
                    <a:lnTo>
                      <a:pt x="2039" y="568"/>
                    </a:lnTo>
                    <a:lnTo>
                      <a:pt x="2037" y="568"/>
                    </a:lnTo>
                    <a:lnTo>
                      <a:pt x="2037" y="568"/>
                    </a:lnTo>
                    <a:lnTo>
                      <a:pt x="2035" y="568"/>
                    </a:lnTo>
                    <a:lnTo>
                      <a:pt x="2032" y="565"/>
                    </a:lnTo>
                    <a:lnTo>
                      <a:pt x="2030" y="563"/>
                    </a:lnTo>
                    <a:lnTo>
                      <a:pt x="2028" y="561"/>
                    </a:lnTo>
                    <a:lnTo>
                      <a:pt x="2025" y="558"/>
                    </a:lnTo>
                    <a:lnTo>
                      <a:pt x="2023" y="554"/>
                    </a:lnTo>
                    <a:lnTo>
                      <a:pt x="2023" y="551"/>
                    </a:lnTo>
                    <a:lnTo>
                      <a:pt x="2018" y="537"/>
                    </a:lnTo>
                    <a:lnTo>
                      <a:pt x="2016" y="532"/>
                    </a:lnTo>
                    <a:lnTo>
                      <a:pt x="2016" y="530"/>
                    </a:lnTo>
                    <a:lnTo>
                      <a:pt x="2018" y="530"/>
                    </a:lnTo>
                    <a:lnTo>
                      <a:pt x="2020" y="530"/>
                    </a:lnTo>
                    <a:lnTo>
                      <a:pt x="2025" y="528"/>
                    </a:lnTo>
                    <a:lnTo>
                      <a:pt x="2025" y="528"/>
                    </a:lnTo>
                    <a:lnTo>
                      <a:pt x="2030" y="530"/>
                    </a:lnTo>
                    <a:lnTo>
                      <a:pt x="2030" y="530"/>
                    </a:lnTo>
                    <a:lnTo>
                      <a:pt x="2032" y="530"/>
                    </a:lnTo>
                    <a:lnTo>
                      <a:pt x="2037" y="532"/>
                    </a:lnTo>
                    <a:lnTo>
                      <a:pt x="2042" y="535"/>
                    </a:lnTo>
                    <a:lnTo>
                      <a:pt x="2044" y="537"/>
                    </a:lnTo>
                    <a:lnTo>
                      <a:pt x="2046" y="539"/>
                    </a:lnTo>
                    <a:lnTo>
                      <a:pt x="2049" y="542"/>
                    </a:lnTo>
                    <a:lnTo>
                      <a:pt x="2051" y="542"/>
                    </a:lnTo>
                    <a:lnTo>
                      <a:pt x="2049" y="539"/>
                    </a:lnTo>
                    <a:lnTo>
                      <a:pt x="2046" y="537"/>
                    </a:lnTo>
                    <a:lnTo>
                      <a:pt x="2044" y="537"/>
                    </a:lnTo>
                    <a:lnTo>
                      <a:pt x="2039" y="535"/>
                    </a:lnTo>
                    <a:lnTo>
                      <a:pt x="2037" y="530"/>
                    </a:lnTo>
                    <a:lnTo>
                      <a:pt x="2035" y="528"/>
                    </a:lnTo>
                    <a:lnTo>
                      <a:pt x="2032" y="525"/>
                    </a:lnTo>
                    <a:lnTo>
                      <a:pt x="2030" y="523"/>
                    </a:lnTo>
                    <a:lnTo>
                      <a:pt x="2025" y="520"/>
                    </a:lnTo>
                    <a:lnTo>
                      <a:pt x="2020" y="516"/>
                    </a:lnTo>
                    <a:lnTo>
                      <a:pt x="2011" y="509"/>
                    </a:lnTo>
                    <a:lnTo>
                      <a:pt x="2006" y="504"/>
                    </a:lnTo>
                    <a:lnTo>
                      <a:pt x="1992" y="490"/>
                    </a:lnTo>
                    <a:lnTo>
                      <a:pt x="1992" y="487"/>
                    </a:lnTo>
                    <a:lnTo>
                      <a:pt x="1990" y="487"/>
                    </a:lnTo>
                    <a:lnTo>
                      <a:pt x="1990" y="485"/>
                    </a:lnTo>
                    <a:lnTo>
                      <a:pt x="1987" y="485"/>
                    </a:lnTo>
                    <a:lnTo>
                      <a:pt x="1985" y="483"/>
                    </a:lnTo>
                    <a:lnTo>
                      <a:pt x="1983" y="483"/>
                    </a:lnTo>
                    <a:lnTo>
                      <a:pt x="1983" y="480"/>
                    </a:lnTo>
                    <a:lnTo>
                      <a:pt x="1980" y="478"/>
                    </a:lnTo>
                    <a:lnTo>
                      <a:pt x="1978" y="475"/>
                    </a:lnTo>
                    <a:lnTo>
                      <a:pt x="1975" y="475"/>
                    </a:lnTo>
                    <a:lnTo>
                      <a:pt x="1973" y="471"/>
                    </a:lnTo>
                    <a:lnTo>
                      <a:pt x="1968" y="466"/>
                    </a:lnTo>
                    <a:lnTo>
                      <a:pt x="1968" y="464"/>
                    </a:lnTo>
                    <a:lnTo>
                      <a:pt x="1968" y="464"/>
                    </a:lnTo>
                    <a:lnTo>
                      <a:pt x="1968" y="464"/>
                    </a:lnTo>
                    <a:lnTo>
                      <a:pt x="1966" y="461"/>
                    </a:lnTo>
                    <a:lnTo>
                      <a:pt x="1966" y="459"/>
                    </a:lnTo>
                    <a:lnTo>
                      <a:pt x="1961" y="454"/>
                    </a:lnTo>
                    <a:lnTo>
                      <a:pt x="1957" y="449"/>
                    </a:lnTo>
                    <a:lnTo>
                      <a:pt x="1957" y="449"/>
                    </a:lnTo>
                    <a:lnTo>
                      <a:pt x="1954" y="447"/>
                    </a:lnTo>
                    <a:lnTo>
                      <a:pt x="1949" y="442"/>
                    </a:lnTo>
                    <a:lnTo>
                      <a:pt x="1940" y="438"/>
                    </a:lnTo>
                    <a:lnTo>
                      <a:pt x="1940" y="438"/>
                    </a:lnTo>
                    <a:lnTo>
                      <a:pt x="1940" y="435"/>
                    </a:lnTo>
                    <a:lnTo>
                      <a:pt x="1938" y="433"/>
                    </a:lnTo>
                    <a:lnTo>
                      <a:pt x="1938" y="433"/>
                    </a:lnTo>
                    <a:lnTo>
                      <a:pt x="1938" y="430"/>
                    </a:lnTo>
                    <a:lnTo>
                      <a:pt x="1935" y="430"/>
                    </a:lnTo>
                    <a:lnTo>
                      <a:pt x="1928" y="426"/>
                    </a:lnTo>
                    <a:lnTo>
                      <a:pt x="1926" y="426"/>
                    </a:lnTo>
                    <a:lnTo>
                      <a:pt x="1928" y="426"/>
                    </a:lnTo>
                    <a:lnTo>
                      <a:pt x="1928" y="428"/>
                    </a:lnTo>
                    <a:lnTo>
                      <a:pt x="1926" y="428"/>
                    </a:lnTo>
                    <a:lnTo>
                      <a:pt x="1923" y="428"/>
                    </a:lnTo>
                    <a:lnTo>
                      <a:pt x="1928" y="430"/>
                    </a:lnTo>
                    <a:lnTo>
                      <a:pt x="1933" y="433"/>
                    </a:lnTo>
                    <a:lnTo>
                      <a:pt x="1935" y="435"/>
                    </a:lnTo>
                    <a:lnTo>
                      <a:pt x="1938" y="438"/>
                    </a:lnTo>
                    <a:lnTo>
                      <a:pt x="1938" y="438"/>
                    </a:lnTo>
                    <a:lnTo>
                      <a:pt x="1938" y="438"/>
                    </a:lnTo>
                    <a:lnTo>
                      <a:pt x="1940" y="440"/>
                    </a:lnTo>
                    <a:lnTo>
                      <a:pt x="1938" y="440"/>
                    </a:lnTo>
                    <a:lnTo>
                      <a:pt x="1938" y="442"/>
                    </a:lnTo>
                    <a:lnTo>
                      <a:pt x="1940" y="442"/>
                    </a:lnTo>
                    <a:lnTo>
                      <a:pt x="1940" y="445"/>
                    </a:lnTo>
                    <a:lnTo>
                      <a:pt x="1940" y="445"/>
                    </a:lnTo>
                    <a:lnTo>
                      <a:pt x="1938" y="445"/>
                    </a:lnTo>
                    <a:lnTo>
                      <a:pt x="1938" y="445"/>
                    </a:lnTo>
                    <a:lnTo>
                      <a:pt x="1935" y="442"/>
                    </a:lnTo>
                    <a:lnTo>
                      <a:pt x="1933" y="442"/>
                    </a:lnTo>
                    <a:lnTo>
                      <a:pt x="1931" y="445"/>
                    </a:lnTo>
                    <a:lnTo>
                      <a:pt x="1931" y="445"/>
                    </a:lnTo>
                    <a:lnTo>
                      <a:pt x="1931" y="447"/>
                    </a:lnTo>
                    <a:lnTo>
                      <a:pt x="1935" y="449"/>
                    </a:lnTo>
                    <a:lnTo>
                      <a:pt x="1938" y="452"/>
                    </a:lnTo>
                    <a:lnTo>
                      <a:pt x="1940" y="457"/>
                    </a:lnTo>
                    <a:lnTo>
                      <a:pt x="1945" y="461"/>
                    </a:lnTo>
                    <a:lnTo>
                      <a:pt x="1945" y="464"/>
                    </a:lnTo>
                    <a:lnTo>
                      <a:pt x="1945" y="466"/>
                    </a:lnTo>
                    <a:lnTo>
                      <a:pt x="1945" y="468"/>
                    </a:lnTo>
                    <a:lnTo>
                      <a:pt x="1952" y="475"/>
                    </a:lnTo>
                    <a:lnTo>
                      <a:pt x="1954" y="475"/>
                    </a:lnTo>
                    <a:lnTo>
                      <a:pt x="1957" y="478"/>
                    </a:lnTo>
                    <a:lnTo>
                      <a:pt x="1957" y="478"/>
                    </a:lnTo>
                    <a:lnTo>
                      <a:pt x="1957" y="478"/>
                    </a:lnTo>
                    <a:lnTo>
                      <a:pt x="1957" y="480"/>
                    </a:lnTo>
                    <a:lnTo>
                      <a:pt x="1959" y="480"/>
                    </a:lnTo>
                    <a:lnTo>
                      <a:pt x="1964" y="483"/>
                    </a:lnTo>
                    <a:lnTo>
                      <a:pt x="1966" y="485"/>
                    </a:lnTo>
                    <a:lnTo>
                      <a:pt x="1971" y="490"/>
                    </a:lnTo>
                    <a:lnTo>
                      <a:pt x="1975" y="494"/>
                    </a:lnTo>
                    <a:lnTo>
                      <a:pt x="1975" y="497"/>
                    </a:lnTo>
                    <a:lnTo>
                      <a:pt x="1975" y="499"/>
                    </a:lnTo>
                    <a:lnTo>
                      <a:pt x="1978" y="502"/>
                    </a:lnTo>
                    <a:lnTo>
                      <a:pt x="1980" y="504"/>
                    </a:lnTo>
                    <a:lnTo>
                      <a:pt x="1985" y="509"/>
                    </a:lnTo>
                    <a:lnTo>
                      <a:pt x="1985" y="509"/>
                    </a:lnTo>
                    <a:lnTo>
                      <a:pt x="1994" y="523"/>
                    </a:lnTo>
                    <a:lnTo>
                      <a:pt x="1997" y="525"/>
                    </a:lnTo>
                    <a:lnTo>
                      <a:pt x="1997" y="528"/>
                    </a:lnTo>
                    <a:lnTo>
                      <a:pt x="2002" y="532"/>
                    </a:lnTo>
                    <a:lnTo>
                      <a:pt x="2002" y="535"/>
                    </a:lnTo>
                    <a:lnTo>
                      <a:pt x="2002" y="539"/>
                    </a:lnTo>
                    <a:lnTo>
                      <a:pt x="2004" y="542"/>
                    </a:lnTo>
                    <a:lnTo>
                      <a:pt x="2004" y="542"/>
                    </a:lnTo>
                    <a:lnTo>
                      <a:pt x="2009" y="546"/>
                    </a:lnTo>
                    <a:lnTo>
                      <a:pt x="2013" y="549"/>
                    </a:lnTo>
                    <a:lnTo>
                      <a:pt x="2018" y="556"/>
                    </a:lnTo>
                    <a:lnTo>
                      <a:pt x="2018" y="558"/>
                    </a:lnTo>
                    <a:lnTo>
                      <a:pt x="2018" y="558"/>
                    </a:lnTo>
                    <a:lnTo>
                      <a:pt x="2020" y="561"/>
                    </a:lnTo>
                    <a:lnTo>
                      <a:pt x="2020" y="563"/>
                    </a:lnTo>
                    <a:lnTo>
                      <a:pt x="2020" y="565"/>
                    </a:lnTo>
                    <a:lnTo>
                      <a:pt x="2025" y="568"/>
                    </a:lnTo>
                    <a:lnTo>
                      <a:pt x="2025" y="570"/>
                    </a:lnTo>
                    <a:lnTo>
                      <a:pt x="2028" y="573"/>
                    </a:lnTo>
                    <a:lnTo>
                      <a:pt x="2030" y="575"/>
                    </a:lnTo>
                    <a:lnTo>
                      <a:pt x="2030" y="582"/>
                    </a:lnTo>
                    <a:lnTo>
                      <a:pt x="2035" y="587"/>
                    </a:lnTo>
                    <a:lnTo>
                      <a:pt x="2039" y="594"/>
                    </a:lnTo>
                    <a:lnTo>
                      <a:pt x="2039" y="594"/>
                    </a:lnTo>
                    <a:lnTo>
                      <a:pt x="2042" y="596"/>
                    </a:lnTo>
                    <a:lnTo>
                      <a:pt x="2044" y="599"/>
                    </a:lnTo>
                    <a:lnTo>
                      <a:pt x="2044" y="599"/>
                    </a:lnTo>
                    <a:lnTo>
                      <a:pt x="2044" y="596"/>
                    </a:lnTo>
                    <a:lnTo>
                      <a:pt x="2044" y="594"/>
                    </a:lnTo>
                    <a:lnTo>
                      <a:pt x="2042" y="589"/>
                    </a:lnTo>
                    <a:lnTo>
                      <a:pt x="2042" y="587"/>
                    </a:lnTo>
                    <a:lnTo>
                      <a:pt x="2042" y="584"/>
                    </a:lnTo>
                    <a:lnTo>
                      <a:pt x="2042" y="584"/>
                    </a:lnTo>
                    <a:lnTo>
                      <a:pt x="2042" y="582"/>
                    </a:lnTo>
                    <a:lnTo>
                      <a:pt x="2044" y="582"/>
                    </a:lnTo>
                    <a:lnTo>
                      <a:pt x="2044" y="582"/>
                    </a:lnTo>
                    <a:lnTo>
                      <a:pt x="2046" y="582"/>
                    </a:lnTo>
                    <a:lnTo>
                      <a:pt x="2046" y="584"/>
                    </a:lnTo>
                    <a:lnTo>
                      <a:pt x="2049" y="584"/>
                    </a:lnTo>
                    <a:lnTo>
                      <a:pt x="2051" y="584"/>
                    </a:lnTo>
                    <a:lnTo>
                      <a:pt x="2056" y="584"/>
                    </a:lnTo>
                    <a:lnTo>
                      <a:pt x="2058" y="587"/>
                    </a:lnTo>
                    <a:lnTo>
                      <a:pt x="2061" y="589"/>
                    </a:lnTo>
                    <a:lnTo>
                      <a:pt x="2063" y="591"/>
                    </a:lnTo>
                    <a:lnTo>
                      <a:pt x="2065" y="596"/>
                    </a:lnTo>
                    <a:lnTo>
                      <a:pt x="2065" y="596"/>
                    </a:lnTo>
                    <a:lnTo>
                      <a:pt x="2065" y="594"/>
                    </a:lnTo>
                    <a:close/>
                    <a:moveTo>
                      <a:pt x="50" y="416"/>
                    </a:moveTo>
                    <a:lnTo>
                      <a:pt x="50" y="416"/>
                    </a:lnTo>
                    <a:lnTo>
                      <a:pt x="48" y="414"/>
                    </a:lnTo>
                    <a:lnTo>
                      <a:pt x="45" y="414"/>
                    </a:lnTo>
                    <a:lnTo>
                      <a:pt x="45" y="412"/>
                    </a:lnTo>
                    <a:lnTo>
                      <a:pt x="40" y="412"/>
                    </a:lnTo>
                    <a:lnTo>
                      <a:pt x="38" y="412"/>
                    </a:lnTo>
                    <a:lnTo>
                      <a:pt x="38" y="412"/>
                    </a:lnTo>
                    <a:lnTo>
                      <a:pt x="33" y="412"/>
                    </a:lnTo>
                    <a:lnTo>
                      <a:pt x="31" y="409"/>
                    </a:lnTo>
                    <a:lnTo>
                      <a:pt x="29" y="409"/>
                    </a:lnTo>
                    <a:lnTo>
                      <a:pt x="26" y="409"/>
                    </a:lnTo>
                    <a:lnTo>
                      <a:pt x="26" y="407"/>
                    </a:lnTo>
                    <a:lnTo>
                      <a:pt x="24" y="407"/>
                    </a:lnTo>
                    <a:lnTo>
                      <a:pt x="24" y="407"/>
                    </a:lnTo>
                    <a:lnTo>
                      <a:pt x="24" y="412"/>
                    </a:lnTo>
                    <a:lnTo>
                      <a:pt x="24" y="414"/>
                    </a:lnTo>
                    <a:lnTo>
                      <a:pt x="22" y="414"/>
                    </a:lnTo>
                    <a:lnTo>
                      <a:pt x="19" y="414"/>
                    </a:lnTo>
                    <a:lnTo>
                      <a:pt x="17" y="414"/>
                    </a:lnTo>
                    <a:lnTo>
                      <a:pt x="14" y="414"/>
                    </a:lnTo>
                    <a:lnTo>
                      <a:pt x="14" y="414"/>
                    </a:lnTo>
                    <a:lnTo>
                      <a:pt x="19" y="409"/>
                    </a:lnTo>
                    <a:lnTo>
                      <a:pt x="19" y="407"/>
                    </a:lnTo>
                    <a:lnTo>
                      <a:pt x="19" y="407"/>
                    </a:lnTo>
                    <a:lnTo>
                      <a:pt x="17" y="409"/>
                    </a:lnTo>
                    <a:lnTo>
                      <a:pt x="14" y="412"/>
                    </a:lnTo>
                    <a:lnTo>
                      <a:pt x="12" y="414"/>
                    </a:lnTo>
                    <a:lnTo>
                      <a:pt x="12" y="414"/>
                    </a:lnTo>
                    <a:lnTo>
                      <a:pt x="7" y="414"/>
                    </a:lnTo>
                    <a:lnTo>
                      <a:pt x="5" y="414"/>
                    </a:lnTo>
                    <a:lnTo>
                      <a:pt x="5" y="416"/>
                    </a:lnTo>
                    <a:lnTo>
                      <a:pt x="5" y="419"/>
                    </a:lnTo>
                    <a:lnTo>
                      <a:pt x="3" y="421"/>
                    </a:lnTo>
                    <a:lnTo>
                      <a:pt x="3" y="421"/>
                    </a:lnTo>
                    <a:lnTo>
                      <a:pt x="0" y="423"/>
                    </a:lnTo>
                    <a:lnTo>
                      <a:pt x="0" y="423"/>
                    </a:lnTo>
                    <a:lnTo>
                      <a:pt x="5" y="423"/>
                    </a:lnTo>
                    <a:lnTo>
                      <a:pt x="10" y="426"/>
                    </a:lnTo>
                    <a:lnTo>
                      <a:pt x="17" y="426"/>
                    </a:lnTo>
                    <a:lnTo>
                      <a:pt x="24" y="426"/>
                    </a:lnTo>
                    <a:lnTo>
                      <a:pt x="31" y="426"/>
                    </a:lnTo>
                    <a:lnTo>
                      <a:pt x="40" y="426"/>
                    </a:lnTo>
                    <a:lnTo>
                      <a:pt x="48" y="426"/>
                    </a:lnTo>
                    <a:lnTo>
                      <a:pt x="50" y="426"/>
                    </a:lnTo>
                    <a:lnTo>
                      <a:pt x="48" y="426"/>
                    </a:lnTo>
                    <a:lnTo>
                      <a:pt x="48" y="423"/>
                    </a:lnTo>
                    <a:lnTo>
                      <a:pt x="48" y="421"/>
                    </a:lnTo>
                    <a:lnTo>
                      <a:pt x="48" y="421"/>
                    </a:lnTo>
                    <a:lnTo>
                      <a:pt x="50" y="416"/>
                    </a:lnTo>
                    <a:close/>
                    <a:moveTo>
                      <a:pt x="1961" y="333"/>
                    </a:moveTo>
                    <a:lnTo>
                      <a:pt x="1964" y="333"/>
                    </a:lnTo>
                    <a:lnTo>
                      <a:pt x="1964" y="333"/>
                    </a:lnTo>
                    <a:lnTo>
                      <a:pt x="1966" y="333"/>
                    </a:lnTo>
                    <a:lnTo>
                      <a:pt x="1964" y="331"/>
                    </a:lnTo>
                    <a:lnTo>
                      <a:pt x="1964" y="331"/>
                    </a:lnTo>
                    <a:lnTo>
                      <a:pt x="1964" y="333"/>
                    </a:lnTo>
                    <a:lnTo>
                      <a:pt x="1961" y="333"/>
                    </a:lnTo>
                    <a:lnTo>
                      <a:pt x="1961" y="333"/>
                    </a:lnTo>
                    <a:close/>
                  </a:path>
                </a:pathLst>
              </a:custGeom>
              <a:solidFill>
                <a:srgbClr val="8787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1" name="Freeform 63"/>
              <p:cNvSpPr>
                <a:spLocks noEditPoints="1"/>
              </p:cNvSpPr>
              <p:nvPr/>
            </p:nvSpPr>
            <p:spPr bwMode="auto">
              <a:xfrm>
                <a:off x="3089" y="1233"/>
                <a:ext cx="2385" cy="696"/>
              </a:xfrm>
              <a:custGeom>
                <a:avLst/>
                <a:gdLst>
                  <a:gd name="T0" fmla="*/ 625 w 2385"/>
                  <a:gd name="T1" fmla="*/ 75 h 696"/>
                  <a:gd name="T2" fmla="*/ 523 w 2385"/>
                  <a:gd name="T3" fmla="*/ 130 h 696"/>
                  <a:gd name="T4" fmla="*/ 909 w 2385"/>
                  <a:gd name="T5" fmla="*/ 23 h 696"/>
                  <a:gd name="T6" fmla="*/ 920 w 2385"/>
                  <a:gd name="T7" fmla="*/ 23 h 696"/>
                  <a:gd name="T8" fmla="*/ 2193 w 2385"/>
                  <a:gd name="T9" fmla="*/ 580 h 696"/>
                  <a:gd name="T10" fmla="*/ 2141 w 2385"/>
                  <a:gd name="T11" fmla="*/ 651 h 696"/>
                  <a:gd name="T12" fmla="*/ 480 w 2385"/>
                  <a:gd name="T13" fmla="*/ 606 h 696"/>
                  <a:gd name="T14" fmla="*/ 2179 w 2385"/>
                  <a:gd name="T15" fmla="*/ 336 h 696"/>
                  <a:gd name="T16" fmla="*/ 1462 w 2385"/>
                  <a:gd name="T17" fmla="*/ 116 h 696"/>
                  <a:gd name="T18" fmla="*/ 1308 w 2385"/>
                  <a:gd name="T19" fmla="*/ 71 h 696"/>
                  <a:gd name="T20" fmla="*/ 1140 w 2385"/>
                  <a:gd name="T21" fmla="*/ 59 h 696"/>
                  <a:gd name="T22" fmla="*/ 1124 w 2385"/>
                  <a:gd name="T23" fmla="*/ 26 h 696"/>
                  <a:gd name="T24" fmla="*/ 961 w 2385"/>
                  <a:gd name="T25" fmla="*/ 26 h 696"/>
                  <a:gd name="T26" fmla="*/ 828 w 2385"/>
                  <a:gd name="T27" fmla="*/ 54 h 696"/>
                  <a:gd name="T28" fmla="*/ 823 w 2385"/>
                  <a:gd name="T29" fmla="*/ 111 h 696"/>
                  <a:gd name="T30" fmla="*/ 760 w 2385"/>
                  <a:gd name="T31" fmla="*/ 111 h 696"/>
                  <a:gd name="T32" fmla="*/ 800 w 2385"/>
                  <a:gd name="T33" fmla="*/ 172 h 696"/>
                  <a:gd name="T34" fmla="*/ 712 w 2385"/>
                  <a:gd name="T35" fmla="*/ 151 h 696"/>
                  <a:gd name="T36" fmla="*/ 653 w 2385"/>
                  <a:gd name="T37" fmla="*/ 151 h 696"/>
                  <a:gd name="T38" fmla="*/ 447 w 2385"/>
                  <a:gd name="T39" fmla="*/ 151 h 696"/>
                  <a:gd name="T40" fmla="*/ 320 w 2385"/>
                  <a:gd name="T41" fmla="*/ 165 h 696"/>
                  <a:gd name="T42" fmla="*/ 234 w 2385"/>
                  <a:gd name="T43" fmla="*/ 239 h 696"/>
                  <a:gd name="T44" fmla="*/ 270 w 2385"/>
                  <a:gd name="T45" fmla="*/ 168 h 696"/>
                  <a:gd name="T46" fmla="*/ 104 w 2385"/>
                  <a:gd name="T47" fmla="*/ 149 h 696"/>
                  <a:gd name="T48" fmla="*/ 159 w 2385"/>
                  <a:gd name="T49" fmla="*/ 265 h 696"/>
                  <a:gd name="T50" fmla="*/ 114 w 2385"/>
                  <a:gd name="T51" fmla="*/ 362 h 696"/>
                  <a:gd name="T52" fmla="*/ 185 w 2385"/>
                  <a:gd name="T53" fmla="*/ 428 h 696"/>
                  <a:gd name="T54" fmla="*/ 242 w 2385"/>
                  <a:gd name="T55" fmla="*/ 490 h 696"/>
                  <a:gd name="T56" fmla="*/ 339 w 2385"/>
                  <a:gd name="T57" fmla="*/ 539 h 696"/>
                  <a:gd name="T58" fmla="*/ 308 w 2385"/>
                  <a:gd name="T59" fmla="*/ 608 h 696"/>
                  <a:gd name="T60" fmla="*/ 454 w 2385"/>
                  <a:gd name="T61" fmla="*/ 677 h 696"/>
                  <a:gd name="T62" fmla="*/ 473 w 2385"/>
                  <a:gd name="T63" fmla="*/ 603 h 696"/>
                  <a:gd name="T64" fmla="*/ 469 w 2385"/>
                  <a:gd name="T65" fmla="*/ 516 h 696"/>
                  <a:gd name="T66" fmla="*/ 592 w 2385"/>
                  <a:gd name="T67" fmla="*/ 499 h 696"/>
                  <a:gd name="T68" fmla="*/ 665 w 2385"/>
                  <a:gd name="T69" fmla="*/ 449 h 696"/>
                  <a:gd name="T70" fmla="*/ 788 w 2385"/>
                  <a:gd name="T71" fmla="*/ 409 h 696"/>
                  <a:gd name="T72" fmla="*/ 892 w 2385"/>
                  <a:gd name="T73" fmla="*/ 433 h 696"/>
                  <a:gd name="T74" fmla="*/ 1067 w 2385"/>
                  <a:gd name="T75" fmla="*/ 520 h 696"/>
                  <a:gd name="T76" fmla="*/ 1162 w 2385"/>
                  <a:gd name="T77" fmla="*/ 504 h 696"/>
                  <a:gd name="T78" fmla="*/ 1275 w 2385"/>
                  <a:gd name="T79" fmla="*/ 511 h 696"/>
                  <a:gd name="T80" fmla="*/ 1368 w 2385"/>
                  <a:gd name="T81" fmla="*/ 511 h 696"/>
                  <a:gd name="T82" fmla="*/ 1559 w 2385"/>
                  <a:gd name="T83" fmla="*/ 516 h 696"/>
                  <a:gd name="T84" fmla="*/ 1680 w 2385"/>
                  <a:gd name="T85" fmla="*/ 452 h 696"/>
                  <a:gd name="T86" fmla="*/ 1819 w 2385"/>
                  <a:gd name="T87" fmla="*/ 542 h 696"/>
                  <a:gd name="T88" fmla="*/ 1902 w 2385"/>
                  <a:gd name="T89" fmla="*/ 608 h 696"/>
                  <a:gd name="T90" fmla="*/ 1914 w 2385"/>
                  <a:gd name="T91" fmla="*/ 653 h 696"/>
                  <a:gd name="T92" fmla="*/ 1926 w 2385"/>
                  <a:gd name="T93" fmla="*/ 452 h 696"/>
                  <a:gd name="T94" fmla="*/ 1819 w 2385"/>
                  <a:gd name="T95" fmla="*/ 381 h 696"/>
                  <a:gd name="T96" fmla="*/ 2004 w 2385"/>
                  <a:gd name="T97" fmla="*/ 333 h 696"/>
                  <a:gd name="T98" fmla="*/ 2096 w 2385"/>
                  <a:gd name="T99" fmla="*/ 284 h 696"/>
                  <a:gd name="T100" fmla="*/ 2103 w 2385"/>
                  <a:gd name="T101" fmla="*/ 397 h 696"/>
                  <a:gd name="T102" fmla="*/ 2212 w 2385"/>
                  <a:gd name="T103" fmla="*/ 393 h 696"/>
                  <a:gd name="T104" fmla="*/ 2188 w 2385"/>
                  <a:gd name="T105" fmla="*/ 305 h 696"/>
                  <a:gd name="T106" fmla="*/ 2307 w 2385"/>
                  <a:gd name="T107" fmla="*/ 260 h 696"/>
                  <a:gd name="T108" fmla="*/ 2259 w 2385"/>
                  <a:gd name="T109" fmla="*/ 220 h 696"/>
                  <a:gd name="T110" fmla="*/ 2378 w 2385"/>
                  <a:gd name="T111" fmla="*/ 232 h 696"/>
                  <a:gd name="T112" fmla="*/ 2366 w 2385"/>
                  <a:gd name="T113" fmla="*/ 196 h 696"/>
                  <a:gd name="T114" fmla="*/ 2266 w 2385"/>
                  <a:gd name="T115" fmla="*/ 175 h 696"/>
                  <a:gd name="T116" fmla="*/ 1994 w 2385"/>
                  <a:gd name="T117" fmla="*/ 142 h 696"/>
                  <a:gd name="T118" fmla="*/ 1675 w 2385"/>
                  <a:gd name="T119" fmla="*/ 97 h 696"/>
                  <a:gd name="T120" fmla="*/ 303 w 2385"/>
                  <a:gd name="T121" fmla="*/ 187 h 696"/>
                  <a:gd name="T122" fmla="*/ 1928 w 2385"/>
                  <a:gd name="T123" fmla="*/ 428 h 696"/>
                  <a:gd name="T124" fmla="*/ 50 w 2385"/>
                  <a:gd name="T125" fmla="*/ 416 h 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385" h="696">
                    <a:moveTo>
                      <a:pt x="779" y="59"/>
                    </a:moveTo>
                    <a:lnTo>
                      <a:pt x="783" y="59"/>
                    </a:lnTo>
                    <a:lnTo>
                      <a:pt x="788" y="59"/>
                    </a:lnTo>
                    <a:lnTo>
                      <a:pt x="788" y="59"/>
                    </a:lnTo>
                    <a:lnTo>
                      <a:pt x="788" y="59"/>
                    </a:lnTo>
                    <a:lnTo>
                      <a:pt x="788" y="59"/>
                    </a:lnTo>
                    <a:lnTo>
                      <a:pt x="788" y="59"/>
                    </a:lnTo>
                    <a:lnTo>
                      <a:pt x="788" y="59"/>
                    </a:lnTo>
                    <a:lnTo>
                      <a:pt x="783" y="59"/>
                    </a:lnTo>
                    <a:lnTo>
                      <a:pt x="779" y="59"/>
                    </a:lnTo>
                    <a:lnTo>
                      <a:pt x="779" y="59"/>
                    </a:lnTo>
                    <a:moveTo>
                      <a:pt x="797" y="52"/>
                    </a:moveTo>
                    <a:lnTo>
                      <a:pt x="795" y="52"/>
                    </a:lnTo>
                    <a:lnTo>
                      <a:pt x="795" y="52"/>
                    </a:lnTo>
                    <a:lnTo>
                      <a:pt x="795" y="54"/>
                    </a:lnTo>
                    <a:lnTo>
                      <a:pt x="800" y="54"/>
                    </a:lnTo>
                    <a:lnTo>
                      <a:pt x="800" y="52"/>
                    </a:lnTo>
                    <a:lnTo>
                      <a:pt x="800" y="52"/>
                    </a:lnTo>
                    <a:lnTo>
                      <a:pt x="797" y="52"/>
                    </a:lnTo>
                    <a:moveTo>
                      <a:pt x="748" y="37"/>
                    </a:moveTo>
                    <a:lnTo>
                      <a:pt x="748" y="40"/>
                    </a:lnTo>
                    <a:lnTo>
                      <a:pt x="750" y="40"/>
                    </a:lnTo>
                    <a:lnTo>
                      <a:pt x="750" y="37"/>
                    </a:lnTo>
                    <a:lnTo>
                      <a:pt x="753" y="40"/>
                    </a:lnTo>
                    <a:lnTo>
                      <a:pt x="753" y="40"/>
                    </a:lnTo>
                    <a:lnTo>
                      <a:pt x="753" y="37"/>
                    </a:lnTo>
                    <a:lnTo>
                      <a:pt x="755" y="37"/>
                    </a:lnTo>
                    <a:lnTo>
                      <a:pt x="755" y="37"/>
                    </a:lnTo>
                    <a:lnTo>
                      <a:pt x="755" y="37"/>
                    </a:lnTo>
                    <a:lnTo>
                      <a:pt x="753" y="37"/>
                    </a:lnTo>
                    <a:lnTo>
                      <a:pt x="753" y="35"/>
                    </a:lnTo>
                    <a:lnTo>
                      <a:pt x="750" y="35"/>
                    </a:lnTo>
                    <a:lnTo>
                      <a:pt x="750" y="35"/>
                    </a:lnTo>
                    <a:lnTo>
                      <a:pt x="750" y="35"/>
                    </a:lnTo>
                    <a:lnTo>
                      <a:pt x="750" y="37"/>
                    </a:lnTo>
                    <a:lnTo>
                      <a:pt x="750" y="37"/>
                    </a:lnTo>
                    <a:lnTo>
                      <a:pt x="748" y="35"/>
                    </a:lnTo>
                    <a:lnTo>
                      <a:pt x="745" y="37"/>
                    </a:lnTo>
                    <a:lnTo>
                      <a:pt x="745" y="37"/>
                    </a:lnTo>
                    <a:lnTo>
                      <a:pt x="748" y="37"/>
                    </a:lnTo>
                    <a:moveTo>
                      <a:pt x="417" y="108"/>
                    </a:moveTo>
                    <a:lnTo>
                      <a:pt x="419" y="111"/>
                    </a:lnTo>
                    <a:lnTo>
                      <a:pt x="421" y="111"/>
                    </a:lnTo>
                    <a:lnTo>
                      <a:pt x="421" y="111"/>
                    </a:lnTo>
                    <a:lnTo>
                      <a:pt x="421" y="113"/>
                    </a:lnTo>
                    <a:lnTo>
                      <a:pt x="424" y="111"/>
                    </a:lnTo>
                    <a:lnTo>
                      <a:pt x="424" y="111"/>
                    </a:lnTo>
                    <a:lnTo>
                      <a:pt x="421" y="111"/>
                    </a:lnTo>
                    <a:lnTo>
                      <a:pt x="421" y="111"/>
                    </a:lnTo>
                    <a:moveTo>
                      <a:pt x="741" y="80"/>
                    </a:moveTo>
                    <a:lnTo>
                      <a:pt x="745" y="82"/>
                    </a:lnTo>
                    <a:lnTo>
                      <a:pt x="753" y="82"/>
                    </a:lnTo>
                    <a:lnTo>
                      <a:pt x="753" y="82"/>
                    </a:lnTo>
                    <a:lnTo>
                      <a:pt x="753" y="80"/>
                    </a:lnTo>
                    <a:lnTo>
                      <a:pt x="750" y="78"/>
                    </a:lnTo>
                    <a:lnTo>
                      <a:pt x="748" y="78"/>
                    </a:lnTo>
                    <a:lnTo>
                      <a:pt x="748" y="75"/>
                    </a:lnTo>
                    <a:lnTo>
                      <a:pt x="743" y="75"/>
                    </a:lnTo>
                    <a:lnTo>
                      <a:pt x="741" y="80"/>
                    </a:lnTo>
                    <a:lnTo>
                      <a:pt x="741" y="80"/>
                    </a:lnTo>
                    <a:lnTo>
                      <a:pt x="741" y="80"/>
                    </a:lnTo>
                    <a:moveTo>
                      <a:pt x="904" y="9"/>
                    </a:moveTo>
                    <a:lnTo>
                      <a:pt x="904" y="9"/>
                    </a:lnTo>
                    <a:lnTo>
                      <a:pt x="897" y="9"/>
                    </a:lnTo>
                    <a:lnTo>
                      <a:pt x="892" y="11"/>
                    </a:lnTo>
                    <a:lnTo>
                      <a:pt x="892" y="11"/>
                    </a:lnTo>
                    <a:lnTo>
                      <a:pt x="892" y="11"/>
                    </a:lnTo>
                    <a:lnTo>
                      <a:pt x="897" y="11"/>
                    </a:lnTo>
                    <a:lnTo>
                      <a:pt x="897" y="11"/>
                    </a:lnTo>
                    <a:lnTo>
                      <a:pt x="899" y="11"/>
                    </a:lnTo>
                    <a:lnTo>
                      <a:pt x="902" y="11"/>
                    </a:lnTo>
                    <a:lnTo>
                      <a:pt x="904" y="11"/>
                    </a:lnTo>
                    <a:lnTo>
                      <a:pt x="904" y="11"/>
                    </a:lnTo>
                    <a:lnTo>
                      <a:pt x="904" y="11"/>
                    </a:lnTo>
                    <a:lnTo>
                      <a:pt x="904" y="9"/>
                    </a:lnTo>
                    <a:lnTo>
                      <a:pt x="904" y="9"/>
                    </a:lnTo>
                    <a:lnTo>
                      <a:pt x="904" y="9"/>
                    </a:lnTo>
                    <a:moveTo>
                      <a:pt x="814" y="45"/>
                    </a:moveTo>
                    <a:lnTo>
                      <a:pt x="814" y="45"/>
                    </a:lnTo>
                    <a:lnTo>
                      <a:pt x="812" y="45"/>
                    </a:lnTo>
                    <a:lnTo>
                      <a:pt x="812" y="45"/>
                    </a:lnTo>
                    <a:lnTo>
                      <a:pt x="814" y="47"/>
                    </a:lnTo>
                    <a:lnTo>
                      <a:pt x="819" y="47"/>
                    </a:lnTo>
                    <a:lnTo>
                      <a:pt x="821" y="47"/>
                    </a:lnTo>
                    <a:lnTo>
                      <a:pt x="821" y="47"/>
                    </a:lnTo>
                    <a:lnTo>
                      <a:pt x="821" y="45"/>
                    </a:lnTo>
                    <a:lnTo>
                      <a:pt x="821" y="45"/>
                    </a:lnTo>
                    <a:lnTo>
                      <a:pt x="819" y="45"/>
                    </a:lnTo>
                    <a:lnTo>
                      <a:pt x="816" y="45"/>
                    </a:lnTo>
                    <a:lnTo>
                      <a:pt x="816" y="45"/>
                    </a:lnTo>
                    <a:lnTo>
                      <a:pt x="814" y="45"/>
                    </a:lnTo>
                    <a:moveTo>
                      <a:pt x="625" y="75"/>
                    </a:moveTo>
                    <a:lnTo>
                      <a:pt x="625" y="75"/>
                    </a:lnTo>
                    <a:lnTo>
                      <a:pt x="625" y="75"/>
                    </a:lnTo>
                    <a:lnTo>
                      <a:pt x="627" y="75"/>
                    </a:lnTo>
                    <a:lnTo>
                      <a:pt x="627" y="75"/>
                    </a:lnTo>
                    <a:lnTo>
                      <a:pt x="629" y="75"/>
                    </a:lnTo>
                    <a:lnTo>
                      <a:pt x="632" y="75"/>
                    </a:lnTo>
                    <a:lnTo>
                      <a:pt x="634" y="75"/>
                    </a:lnTo>
                    <a:lnTo>
                      <a:pt x="637" y="75"/>
                    </a:lnTo>
                    <a:lnTo>
                      <a:pt x="644" y="75"/>
                    </a:lnTo>
                    <a:lnTo>
                      <a:pt x="646" y="75"/>
                    </a:lnTo>
                    <a:lnTo>
                      <a:pt x="646" y="73"/>
                    </a:lnTo>
                    <a:lnTo>
                      <a:pt x="644" y="73"/>
                    </a:lnTo>
                    <a:lnTo>
                      <a:pt x="641" y="71"/>
                    </a:lnTo>
                    <a:lnTo>
                      <a:pt x="641" y="71"/>
                    </a:lnTo>
                    <a:lnTo>
                      <a:pt x="639" y="71"/>
                    </a:lnTo>
                    <a:lnTo>
                      <a:pt x="637" y="68"/>
                    </a:lnTo>
                    <a:lnTo>
                      <a:pt x="634" y="68"/>
                    </a:lnTo>
                    <a:lnTo>
                      <a:pt x="634" y="68"/>
                    </a:lnTo>
                    <a:lnTo>
                      <a:pt x="627" y="68"/>
                    </a:lnTo>
                    <a:lnTo>
                      <a:pt x="625" y="71"/>
                    </a:lnTo>
                    <a:lnTo>
                      <a:pt x="622" y="71"/>
                    </a:lnTo>
                    <a:lnTo>
                      <a:pt x="625" y="73"/>
                    </a:lnTo>
                    <a:lnTo>
                      <a:pt x="625" y="75"/>
                    </a:lnTo>
                    <a:moveTo>
                      <a:pt x="724" y="90"/>
                    </a:moveTo>
                    <a:lnTo>
                      <a:pt x="726" y="90"/>
                    </a:lnTo>
                    <a:lnTo>
                      <a:pt x="734" y="90"/>
                    </a:lnTo>
                    <a:lnTo>
                      <a:pt x="736" y="90"/>
                    </a:lnTo>
                    <a:lnTo>
                      <a:pt x="738" y="87"/>
                    </a:lnTo>
                    <a:lnTo>
                      <a:pt x="738" y="87"/>
                    </a:lnTo>
                    <a:lnTo>
                      <a:pt x="741" y="85"/>
                    </a:lnTo>
                    <a:lnTo>
                      <a:pt x="741" y="85"/>
                    </a:lnTo>
                    <a:lnTo>
                      <a:pt x="738" y="85"/>
                    </a:lnTo>
                    <a:lnTo>
                      <a:pt x="731" y="82"/>
                    </a:lnTo>
                    <a:lnTo>
                      <a:pt x="729" y="82"/>
                    </a:lnTo>
                    <a:lnTo>
                      <a:pt x="726" y="85"/>
                    </a:lnTo>
                    <a:lnTo>
                      <a:pt x="726" y="85"/>
                    </a:lnTo>
                    <a:lnTo>
                      <a:pt x="726" y="87"/>
                    </a:lnTo>
                    <a:lnTo>
                      <a:pt x="724" y="87"/>
                    </a:lnTo>
                    <a:lnTo>
                      <a:pt x="724" y="90"/>
                    </a:lnTo>
                    <a:lnTo>
                      <a:pt x="724" y="90"/>
                    </a:lnTo>
                    <a:moveTo>
                      <a:pt x="431" y="108"/>
                    </a:moveTo>
                    <a:lnTo>
                      <a:pt x="433" y="111"/>
                    </a:lnTo>
                    <a:lnTo>
                      <a:pt x="428" y="111"/>
                    </a:lnTo>
                    <a:lnTo>
                      <a:pt x="428" y="111"/>
                    </a:lnTo>
                    <a:lnTo>
                      <a:pt x="428" y="111"/>
                    </a:lnTo>
                    <a:lnTo>
                      <a:pt x="431" y="113"/>
                    </a:lnTo>
                    <a:lnTo>
                      <a:pt x="431" y="113"/>
                    </a:lnTo>
                    <a:lnTo>
                      <a:pt x="428" y="113"/>
                    </a:lnTo>
                    <a:lnTo>
                      <a:pt x="426" y="113"/>
                    </a:lnTo>
                    <a:lnTo>
                      <a:pt x="433" y="116"/>
                    </a:lnTo>
                    <a:lnTo>
                      <a:pt x="438" y="116"/>
                    </a:lnTo>
                    <a:lnTo>
                      <a:pt x="440" y="116"/>
                    </a:lnTo>
                    <a:lnTo>
                      <a:pt x="443" y="118"/>
                    </a:lnTo>
                    <a:lnTo>
                      <a:pt x="445" y="118"/>
                    </a:lnTo>
                    <a:lnTo>
                      <a:pt x="445" y="116"/>
                    </a:lnTo>
                    <a:lnTo>
                      <a:pt x="445" y="116"/>
                    </a:lnTo>
                    <a:lnTo>
                      <a:pt x="447" y="118"/>
                    </a:lnTo>
                    <a:lnTo>
                      <a:pt x="450" y="118"/>
                    </a:lnTo>
                    <a:lnTo>
                      <a:pt x="454" y="118"/>
                    </a:lnTo>
                    <a:lnTo>
                      <a:pt x="459" y="118"/>
                    </a:lnTo>
                    <a:lnTo>
                      <a:pt x="459" y="118"/>
                    </a:lnTo>
                    <a:lnTo>
                      <a:pt x="459" y="118"/>
                    </a:lnTo>
                    <a:lnTo>
                      <a:pt x="462" y="118"/>
                    </a:lnTo>
                    <a:lnTo>
                      <a:pt x="462" y="118"/>
                    </a:lnTo>
                    <a:lnTo>
                      <a:pt x="464" y="118"/>
                    </a:lnTo>
                    <a:lnTo>
                      <a:pt x="464" y="118"/>
                    </a:lnTo>
                    <a:lnTo>
                      <a:pt x="466" y="118"/>
                    </a:lnTo>
                    <a:lnTo>
                      <a:pt x="466" y="118"/>
                    </a:lnTo>
                    <a:lnTo>
                      <a:pt x="471" y="120"/>
                    </a:lnTo>
                    <a:lnTo>
                      <a:pt x="471" y="118"/>
                    </a:lnTo>
                    <a:lnTo>
                      <a:pt x="471" y="118"/>
                    </a:lnTo>
                    <a:lnTo>
                      <a:pt x="469" y="118"/>
                    </a:lnTo>
                    <a:lnTo>
                      <a:pt x="469" y="118"/>
                    </a:lnTo>
                    <a:lnTo>
                      <a:pt x="466" y="116"/>
                    </a:lnTo>
                    <a:lnTo>
                      <a:pt x="469" y="116"/>
                    </a:lnTo>
                    <a:lnTo>
                      <a:pt x="469" y="116"/>
                    </a:lnTo>
                    <a:lnTo>
                      <a:pt x="471" y="118"/>
                    </a:lnTo>
                    <a:lnTo>
                      <a:pt x="471" y="118"/>
                    </a:lnTo>
                    <a:lnTo>
                      <a:pt x="473" y="118"/>
                    </a:lnTo>
                    <a:lnTo>
                      <a:pt x="478" y="118"/>
                    </a:lnTo>
                    <a:lnTo>
                      <a:pt x="480" y="118"/>
                    </a:lnTo>
                    <a:lnTo>
                      <a:pt x="480" y="118"/>
                    </a:lnTo>
                    <a:lnTo>
                      <a:pt x="483" y="118"/>
                    </a:lnTo>
                    <a:lnTo>
                      <a:pt x="485" y="116"/>
                    </a:lnTo>
                    <a:lnTo>
                      <a:pt x="483" y="116"/>
                    </a:lnTo>
                    <a:lnTo>
                      <a:pt x="483" y="116"/>
                    </a:lnTo>
                    <a:lnTo>
                      <a:pt x="476" y="113"/>
                    </a:lnTo>
                    <a:lnTo>
                      <a:pt x="473" y="113"/>
                    </a:lnTo>
                    <a:lnTo>
                      <a:pt x="466" y="108"/>
                    </a:lnTo>
                    <a:moveTo>
                      <a:pt x="436" y="108"/>
                    </a:moveTo>
                    <a:lnTo>
                      <a:pt x="436" y="111"/>
                    </a:lnTo>
                    <a:moveTo>
                      <a:pt x="528" y="130"/>
                    </a:moveTo>
                    <a:lnTo>
                      <a:pt x="528" y="130"/>
                    </a:lnTo>
                    <a:lnTo>
                      <a:pt x="523" y="130"/>
                    </a:lnTo>
                    <a:lnTo>
                      <a:pt x="521" y="127"/>
                    </a:lnTo>
                    <a:lnTo>
                      <a:pt x="516" y="125"/>
                    </a:lnTo>
                    <a:lnTo>
                      <a:pt x="514" y="125"/>
                    </a:lnTo>
                    <a:lnTo>
                      <a:pt x="511" y="123"/>
                    </a:lnTo>
                    <a:lnTo>
                      <a:pt x="509" y="123"/>
                    </a:lnTo>
                    <a:lnTo>
                      <a:pt x="506" y="120"/>
                    </a:lnTo>
                    <a:lnTo>
                      <a:pt x="506" y="120"/>
                    </a:lnTo>
                    <a:lnTo>
                      <a:pt x="504" y="120"/>
                    </a:lnTo>
                    <a:lnTo>
                      <a:pt x="502" y="120"/>
                    </a:lnTo>
                    <a:lnTo>
                      <a:pt x="502" y="123"/>
                    </a:lnTo>
                    <a:lnTo>
                      <a:pt x="502" y="123"/>
                    </a:lnTo>
                    <a:lnTo>
                      <a:pt x="499" y="123"/>
                    </a:lnTo>
                    <a:lnTo>
                      <a:pt x="499" y="125"/>
                    </a:lnTo>
                    <a:lnTo>
                      <a:pt x="502" y="127"/>
                    </a:lnTo>
                    <a:lnTo>
                      <a:pt x="502" y="127"/>
                    </a:lnTo>
                    <a:lnTo>
                      <a:pt x="502" y="127"/>
                    </a:lnTo>
                    <a:lnTo>
                      <a:pt x="504" y="127"/>
                    </a:lnTo>
                    <a:lnTo>
                      <a:pt x="509" y="130"/>
                    </a:lnTo>
                    <a:lnTo>
                      <a:pt x="509" y="132"/>
                    </a:lnTo>
                    <a:lnTo>
                      <a:pt x="511" y="130"/>
                    </a:lnTo>
                    <a:lnTo>
                      <a:pt x="511" y="130"/>
                    </a:lnTo>
                    <a:lnTo>
                      <a:pt x="514" y="130"/>
                    </a:lnTo>
                    <a:lnTo>
                      <a:pt x="514" y="132"/>
                    </a:lnTo>
                    <a:lnTo>
                      <a:pt x="516" y="132"/>
                    </a:lnTo>
                    <a:lnTo>
                      <a:pt x="518" y="132"/>
                    </a:lnTo>
                    <a:lnTo>
                      <a:pt x="518" y="134"/>
                    </a:lnTo>
                    <a:lnTo>
                      <a:pt x="518" y="134"/>
                    </a:lnTo>
                    <a:lnTo>
                      <a:pt x="521" y="134"/>
                    </a:lnTo>
                    <a:lnTo>
                      <a:pt x="521" y="134"/>
                    </a:lnTo>
                    <a:lnTo>
                      <a:pt x="523" y="134"/>
                    </a:lnTo>
                    <a:lnTo>
                      <a:pt x="525" y="134"/>
                    </a:lnTo>
                    <a:lnTo>
                      <a:pt x="528" y="134"/>
                    </a:lnTo>
                    <a:lnTo>
                      <a:pt x="528" y="134"/>
                    </a:lnTo>
                    <a:lnTo>
                      <a:pt x="530" y="134"/>
                    </a:lnTo>
                    <a:lnTo>
                      <a:pt x="530" y="132"/>
                    </a:lnTo>
                    <a:lnTo>
                      <a:pt x="530" y="132"/>
                    </a:lnTo>
                    <a:lnTo>
                      <a:pt x="528" y="130"/>
                    </a:lnTo>
                    <a:moveTo>
                      <a:pt x="603" y="120"/>
                    </a:moveTo>
                    <a:lnTo>
                      <a:pt x="606" y="120"/>
                    </a:lnTo>
                    <a:lnTo>
                      <a:pt x="606" y="120"/>
                    </a:lnTo>
                    <a:lnTo>
                      <a:pt x="606" y="120"/>
                    </a:lnTo>
                    <a:lnTo>
                      <a:pt x="601" y="118"/>
                    </a:lnTo>
                    <a:lnTo>
                      <a:pt x="601" y="116"/>
                    </a:lnTo>
                    <a:lnTo>
                      <a:pt x="601" y="116"/>
                    </a:lnTo>
                    <a:lnTo>
                      <a:pt x="601" y="116"/>
                    </a:lnTo>
                    <a:lnTo>
                      <a:pt x="601" y="116"/>
                    </a:lnTo>
                    <a:lnTo>
                      <a:pt x="603" y="118"/>
                    </a:lnTo>
                    <a:lnTo>
                      <a:pt x="603" y="120"/>
                    </a:lnTo>
                    <a:moveTo>
                      <a:pt x="693" y="71"/>
                    </a:moveTo>
                    <a:lnTo>
                      <a:pt x="698" y="68"/>
                    </a:lnTo>
                    <a:lnTo>
                      <a:pt x="698" y="68"/>
                    </a:lnTo>
                    <a:lnTo>
                      <a:pt x="698" y="68"/>
                    </a:lnTo>
                    <a:lnTo>
                      <a:pt x="698" y="68"/>
                    </a:lnTo>
                    <a:lnTo>
                      <a:pt x="698" y="68"/>
                    </a:lnTo>
                    <a:lnTo>
                      <a:pt x="693" y="68"/>
                    </a:lnTo>
                    <a:lnTo>
                      <a:pt x="691" y="68"/>
                    </a:lnTo>
                    <a:lnTo>
                      <a:pt x="691" y="71"/>
                    </a:lnTo>
                    <a:lnTo>
                      <a:pt x="693" y="71"/>
                    </a:lnTo>
                    <a:moveTo>
                      <a:pt x="708" y="71"/>
                    </a:moveTo>
                    <a:lnTo>
                      <a:pt x="710" y="71"/>
                    </a:lnTo>
                    <a:lnTo>
                      <a:pt x="700" y="68"/>
                    </a:lnTo>
                    <a:lnTo>
                      <a:pt x="700" y="68"/>
                    </a:lnTo>
                    <a:lnTo>
                      <a:pt x="700" y="68"/>
                    </a:lnTo>
                    <a:lnTo>
                      <a:pt x="703" y="68"/>
                    </a:lnTo>
                    <a:lnTo>
                      <a:pt x="708" y="71"/>
                    </a:lnTo>
                    <a:moveTo>
                      <a:pt x="682" y="78"/>
                    </a:moveTo>
                    <a:lnTo>
                      <a:pt x="686" y="78"/>
                    </a:lnTo>
                    <a:lnTo>
                      <a:pt x="689" y="80"/>
                    </a:lnTo>
                    <a:lnTo>
                      <a:pt x="689" y="80"/>
                    </a:lnTo>
                    <a:lnTo>
                      <a:pt x="689" y="80"/>
                    </a:lnTo>
                    <a:lnTo>
                      <a:pt x="689" y="78"/>
                    </a:lnTo>
                    <a:lnTo>
                      <a:pt x="689" y="78"/>
                    </a:lnTo>
                    <a:lnTo>
                      <a:pt x="686" y="78"/>
                    </a:lnTo>
                    <a:lnTo>
                      <a:pt x="689" y="78"/>
                    </a:lnTo>
                    <a:lnTo>
                      <a:pt x="691" y="75"/>
                    </a:lnTo>
                    <a:lnTo>
                      <a:pt x="686" y="75"/>
                    </a:lnTo>
                    <a:lnTo>
                      <a:pt x="684" y="75"/>
                    </a:lnTo>
                    <a:lnTo>
                      <a:pt x="682" y="75"/>
                    </a:lnTo>
                    <a:lnTo>
                      <a:pt x="679" y="75"/>
                    </a:lnTo>
                    <a:lnTo>
                      <a:pt x="679" y="75"/>
                    </a:lnTo>
                    <a:lnTo>
                      <a:pt x="679" y="78"/>
                    </a:lnTo>
                    <a:lnTo>
                      <a:pt x="682" y="78"/>
                    </a:lnTo>
                    <a:moveTo>
                      <a:pt x="774" y="59"/>
                    </a:moveTo>
                    <a:lnTo>
                      <a:pt x="771" y="59"/>
                    </a:lnTo>
                    <a:lnTo>
                      <a:pt x="771" y="59"/>
                    </a:lnTo>
                    <a:lnTo>
                      <a:pt x="774" y="59"/>
                    </a:lnTo>
                    <a:lnTo>
                      <a:pt x="774" y="59"/>
                    </a:lnTo>
                    <a:lnTo>
                      <a:pt x="776" y="59"/>
                    </a:lnTo>
                    <a:lnTo>
                      <a:pt x="779" y="59"/>
                    </a:lnTo>
                    <a:lnTo>
                      <a:pt x="776" y="59"/>
                    </a:lnTo>
                    <a:lnTo>
                      <a:pt x="776" y="59"/>
                    </a:lnTo>
                    <a:lnTo>
                      <a:pt x="774" y="59"/>
                    </a:lnTo>
                    <a:moveTo>
                      <a:pt x="909" y="23"/>
                    </a:moveTo>
                    <a:lnTo>
                      <a:pt x="904" y="23"/>
                    </a:lnTo>
                    <a:lnTo>
                      <a:pt x="904" y="23"/>
                    </a:lnTo>
                    <a:lnTo>
                      <a:pt x="904" y="23"/>
                    </a:lnTo>
                    <a:lnTo>
                      <a:pt x="909" y="23"/>
                    </a:lnTo>
                    <a:lnTo>
                      <a:pt x="911" y="26"/>
                    </a:lnTo>
                    <a:lnTo>
                      <a:pt x="916" y="26"/>
                    </a:lnTo>
                    <a:lnTo>
                      <a:pt x="918" y="26"/>
                    </a:lnTo>
                    <a:lnTo>
                      <a:pt x="918" y="23"/>
                    </a:lnTo>
                    <a:lnTo>
                      <a:pt x="918" y="23"/>
                    </a:lnTo>
                    <a:lnTo>
                      <a:pt x="918" y="23"/>
                    </a:lnTo>
                    <a:lnTo>
                      <a:pt x="920" y="23"/>
                    </a:lnTo>
                    <a:lnTo>
                      <a:pt x="920" y="23"/>
                    </a:lnTo>
                    <a:lnTo>
                      <a:pt x="918" y="23"/>
                    </a:lnTo>
                    <a:lnTo>
                      <a:pt x="916" y="23"/>
                    </a:lnTo>
                    <a:lnTo>
                      <a:pt x="913" y="23"/>
                    </a:lnTo>
                    <a:lnTo>
                      <a:pt x="909" y="23"/>
                    </a:lnTo>
                    <a:lnTo>
                      <a:pt x="909" y="23"/>
                    </a:lnTo>
                    <a:moveTo>
                      <a:pt x="1526" y="101"/>
                    </a:moveTo>
                    <a:lnTo>
                      <a:pt x="1524" y="101"/>
                    </a:lnTo>
                    <a:lnTo>
                      <a:pt x="1524" y="101"/>
                    </a:lnTo>
                    <a:lnTo>
                      <a:pt x="1524" y="101"/>
                    </a:lnTo>
                    <a:lnTo>
                      <a:pt x="1526" y="104"/>
                    </a:lnTo>
                    <a:lnTo>
                      <a:pt x="1528" y="104"/>
                    </a:lnTo>
                    <a:lnTo>
                      <a:pt x="1528" y="104"/>
                    </a:lnTo>
                    <a:lnTo>
                      <a:pt x="1531" y="104"/>
                    </a:lnTo>
                    <a:lnTo>
                      <a:pt x="1531" y="104"/>
                    </a:lnTo>
                    <a:lnTo>
                      <a:pt x="1531" y="104"/>
                    </a:lnTo>
                    <a:lnTo>
                      <a:pt x="1533" y="104"/>
                    </a:lnTo>
                    <a:lnTo>
                      <a:pt x="1535" y="104"/>
                    </a:lnTo>
                    <a:lnTo>
                      <a:pt x="1535" y="104"/>
                    </a:lnTo>
                    <a:lnTo>
                      <a:pt x="1535" y="101"/>
                    </a:lnTo>
                    <a:lnTo>
                      <a:pt x="1533" y="101"/>
                    </a:lnTo>
                    <a:lnTo>
                      <a:pt x="1533" y="101"/>
                    </a:lnTo>
                    <a:lnTo>
                      <a:pt x="1526" y="101"/>
                    </a:lnTo>
                    <a:lnTo>
                      <a:pt x="1526" y="101"/>
                    </a:lnTo>
                    <a:moveTo>
                      <a:pt x="1971" y="132"/>
                    </a:moveTo>
                    <a:lnTo>
                      <a:pt x="1973" y="132"/>
                    </a:lnTo>
                    <a:lnTo>
                      <a:pt x="1975" y="132"/>
                    </a:lnTo>
                    <a:lnTo>
                      <a:pt x="1980" y="134"/>
                    </a:lnTo>
                    <a:lnTo>
                      <a:pt x="1983" y="134"/>
                    </a:lnTo>
                    <a:lnTo>
                      <a:pt x="1992" y="137"/>
                    </a:lnTo>
                    <a:lnTo>
                      <a:pt x="1997" y="137"/>
                    </a:lnTo>
                    <a:lnTo>
                      <a:pt x="1997" y="137"/>
                    </a:lnTo>
                    <a:lnTo>
                      <a:pt x="1997" y="134"/>
                    </a:lnTo>
                    <a:lnTo>
                      <a:pt x="1994" y="134"/>
                    </a:lnTo>
                    <a:lnTo>
                      <a:pt x="1994" y="132"/>
                    </a:lnTo>
                    <a:lnTo>
                      <a:pt x="1994" y="132"/>
                    </a:lnTo>
                    <a:lnTo>
                      <a:pt x="1994" y="132"/>
                    </a:lnTo>
                    <a:lnTo>
                      <a:pt x="1992" y="132"/>
                    </a:lnTo>
                    <a:lnTo>
                      <a:pt x="1992" y="132"/>
                    </a:lnTo>
                    <a:lnTo>
                      <a:pt x="1975" y="130"/>
                    </a:lnTo>
                    <a:lnTo>
                      <a:pt x="1973" y="130"/>
                    </a:lnTo>
                    <a:lnTo>
                      <a:pt x="1971" y="130"/>
                    </a:lnTo>
                    <a:lnTo>
                      <a:pt x="1971" y="130"/>
                    </a:lnTo>
                    <a:lnTo>
                      <a:pt x="1971" y="132"/>
                    </a:lnTo>
                    <a:lnTo>
                      <a:pt x="1971" y="132"/>
                    </a:lnTo>
                    <a:moveTo>
                      <a:pt x="1848" y="113"/>
                    </a:moveTo>
                    <a:lnTo>
                      <a:pt x="1850" y="116"/>
                    </a:lnTo>
                    <a:lnTo>
                      <a:pt x="1852" y="116"/>
                    </a:lnTo>
                    <a:lnTo>
                      <a:pt x="1852" y="116"/>
                    </a:lnTo>
                    <a:lnTo>
                      <a:pt x="1850" y="113"/>
                    </a:lnTo>
                    <a:lnTo>
                      <a:pt x="1848" y="113"/>
                    </a:lnTo>
                    <a:lnTo>
                      <a:pt x="1845" y="113"/>
                    </a:lnTo>
                    <a:lnTo>
                      <a:pt x="1848" y="113"/>
                    </a:lnTo>
                    <a:lnTo>
                      <a:pt x="1848" y="113"/>
                    </a:lnTo>
                    <a:moveTo>
                      <a:pt x="1893" y="139"/>
                    </a:moveTo>
                    <a:lnTo>
                      <a:pt x="1895" y="142"/>
                    </a:lnTo>
                    <a:lnTo>
                      <a:pt x="1897" y="144"/>
                    </a:lnTo>
                    <a:lnTo>
                      <a:pt x="1900" y="144"/>
                    </a:lnTo>
                    <a:lnTo>
                      <a:pt x="1900" y="146"/>
                    </a:lnTo>
                    <a:lnTo>
                      <a:pt x="1905" y="146"/>
                    </a:lnTo>
                    <a:lnTo>
                      <a:pt x="1907" y="146"/>
                    </a:lnTo>
                    <a:lnTo>
                      <a:pt x="1907" y="146"/>
                    </a:lnTo>
                    <a:lnTo>
                      <a:pt x="1907" y="149"/>
                    </a:lnTo>
                    <a:lnTo>
                      <a:pt x="1909" y="149"/>
                    </a:lnTo>
                    <a:lnTo>
                      <a:pt x="1909" y="149"/>
                    </a:lnTo>
                    <a:lnTo>
                      <a:pt x="1907" y="146"/>
                    </a:lnTo>
                    <a:lnTo>
                      <a:pt x="1907" y="146"/>
                    </a:lnTo>
                    <a:lnTo>
                      <a:pt x="1902" y="144"/>
                    </a:lnTo>
                    <a:lnTo>
                      <a:pt x="1900" y="144"/>
                    </a:lnTo>
                    <a:lnTo>
                      <a:pt x="1897" y="142"/>
                    </a:lnTo>
                    <a:lnTo>
                      <a:pt x="1895" y="139"/>
                    </a:lnTo>
                    <a:lnTo>
                      <a:pt x="1895" y="139"/>
                    </a:lnTo>
                    <a:lnTo>
                      <a:pt x="1897" y="139"/>
                    </a:lnTo>
                    <a:lnTo>
                      <a:pt x="1897" y="137"/>
                    </a:lnTo>
                    <a:lnTo>
                      <a:pt x="1895" y="137"/>
                    </a:lnTo>
                    <a:lnTo>
                      <a:pt x="1893" y="134"/>
                    </a:lnTo>
                    <a:lnTo>
                      <a:pt x="1893" y="134"/>
                    </a:lnTo>
                    <a:lnTo>
                      <a:pt x="1890" y="137"/>
                    </a:lnTo>
                    <a:lnTo>
                      <a:pt x="1893" y="137"/>
                    </a:lnTo>
                    <a:lnTo>
                      <a:pt x="1890" y="139"/>
                    </a:lnTo>
                    <a:lnTo>
                      <a:pt x="1893" y="139"/>
                    </a:lnTo>
                    <a:moveTo>
                      <a:pt x="920" y="23"/>
                    </a:moveTo>
                    <a:lnTo>
                      <a:pt x="923" y="23"/>
                    </a:lnTo>
                    <a:lnTo>
                      <a:pt x="923" y="23"/>
                    </a:lnTo>
                    <a:lnTo>
                      <a:pt x="923" y="23"/>
                    </a:lnTo>
                    <a:lnTo>
                      <a:pt x="923" y="23"/>
                    </a:lnTo>
                    <a:lnTo>
                      <a:pt x="925" y="23"/>
                    </a:lnTo>
                    <a:lnTo>
                      <a:pt x="925" y="23"/>
                    </a:lnTo>
                    <a:lnTo>
                      <a:pt x="925" y="23"/>
                    </a:lnTo>
                    <a:lnTo>
                      <a:pt x="923" y="21"/>
                    </a:lnTo>
                    <a:lnTo>
                      <a:pt x="923" y="21"/>
                    </a:lnTo>
                    <a:lnTo>
                      <a:pt x="920" y="21"/>
                    </a:lnTo>
                    <a:lnTo>
                      <a:pt x="923" y="21"/>
                    </a:lnTo>
                    <a:lnTo>
                      <a:pt x="920" y="23"/>
                    </a:lnTo>
                    <a:moveTo>
                      <a:pt x="925" y="18"/>
                    </a:moveTo>
                    <a:lnTo>
                      <a:pt x="925" y="18"/>
                    </a:lnTo>
                    <a:lnTo>
                      <a:pt x="928" y="18"/>
                    </a:lnTo>
                    <a:lnTo>
                      <a:pt x="923" y="16"/>
                    </a:lnTo>
                    <a:lnTo>
                      <a:pt x="920" y="16"/>
                    </a:lnTo>
                    <a:lnTo>
                      <a:pt x="923" y="16"/>
                    </a:lnTo>
                    <a:lnTo>
                      <a:pt x="925" y="18"/>
                    </a:lnTo>
                    <a:moveTo>
                      <a:pt x="1105" y="18"/>
                    </a:moveTo>
                    <a:lnTo>
                      <a:pt x="1107" y="18"/>
                    </a:lnTo>
                    <a:lnTo>
                      <a:pt x="1110" y="18"/>
                    </a:lnTo>
                    <a:lnTo>
                      <a:pt x="1112" y="21"/>
                    </a:lnTo>
                    <a:lnTo>
                      <a:pt x="1112" y="21"/>
                    </a:lnTo>
                    <a:lnTo>
                      <a:pt x="1112" y="18"/>
                    </a:lnTo>
                    <a:lnTo>
                      <a:pt x="1112" y="18"/>
                    </a:lnTo>
                    <a:lnTo>
                      <a:pt x="1112" y="18"/>
                    </a:lnTo>
                    <a:lnTo>
                      <a:pt x="1112" y="18"/>
                    </a:lnTo>
                    <a:lnTo>
                      <a:pt x="1110" y="16"/>
                    </a:lnTo>
                    <a:lnTo>
                      <a:pt x="1107" y="16"/>
                    </a:lnTo>
                    <a:lnTo>
                      <a:pt x="1107" y="16"/>
                    </a:lnTo>
                    <a:lnTo>
                      <a:pt x="1103" y="16"/>
                    </a:lnTo>
                    <a:lnTo>
                      <a:pt x="1103" y="16"/>
                    </a:lnTo>
                    <a:lnTo>
                      <a:pt x="1103" y="18"/>
                    </a:lnTo>
                    <a:lnTo>
                      <a:pt x="1105" y="18"/>
                    </a:lnTo>
                    <a:moveTo>
                      <a:pt x="1273" y="75"/>
                    </a:moveTo>
                    <a:lnTo>
                      <a:pt x="1275" y="75"/>
                    </a:lnTo>
                    <a:lnTo>
                      <a:pt x="1273" y="75"/>
                    </a:lnTo>
                    <a:lnTo>
                      <a:pt x="1271" y="75"/>
                    </a:lnTo>
                    <a:lnTo>
                      <a:pt x="1268" y="75"/>
                    </a:lnTo>
                    <a:lnTo>
                      <a:pt x="1266" y="75"/>
                    </a:lnTo>
                    <a:lnTo>
                      <a:pt x="1266" y="75"/>
                    </a:lnTo>
                    <a:lnTo>
                      <a:pt x="1268" y="75"/>
                    </a:lnTo>
                    <a:lnTo>
                      <a:pt x="1273" y="75"/>
                    </a:lnTo>
                    <a:moveTo>
                      <a:pt x="1034" y="7"/>
                    </a:moveTo>
                    <a:lnTo>
                      <a:pt x="1036" y="7"/>
                    </a:lnTo>
                    <a:lnTo>
                      <a:pt x="1036" y="7"/>
                    </a:lnTo>
                    <a:lnTo>
                      <a:pt x="1036" y="7"/>
                    </a:lnTo>
                    <a:lnTo>
                      <a:pt x="1036" y="7"/>
                    </a:lnTo>
                    <a:lnTo>
                      <a:pt x="1034" y="7"/>
                    </a:lnTo>
                    <a:lnTo>
                      <a:pt x="1032" y="7"/>
                    </a:lnTo>
                    <a:lnTo>
                      <a:pt x="1032" y="7"/>
                    </a:lnTo>
                    <a:lnTo>
                      <a:pt x="1034" y="7"/>
                    </a:lnTo>
                    <a:lnTo>
                      <a:pt x="1034" y="7"/>
                    </a:lnTo>
                    <a:moveTo>
                      <a:pt x="1313" y="63"/>
                    </a:moveTo>
                    <a:lnTo>
                      <a:pt x="1313" y="63"/>
                    </a:lnTo>
                    <a:lnTo>
                      <a:pt x="1315" y="63"/>
                    </a:lnTo>
                    <a:lnTo>
                      <a:pt x="1315" y="61"/>
                    </a:lnTo>
                    <a:lnTo>
                      <a:pt x="1315" y="61"/>
                    </a:lnTo>
                    <a:lnTo>
                      <a:pt x="1313" y="61"/>
                    </a:lnTo>
                    <a:lnTo>
                      <a:pt x="1311" y="61"/>
                    </a:lnTo>
                    <a:lnTo>
                      <a:pt x="1311" y="61"/>
                    </a:lnTo>
                    <a:lnTo>
                      <a:pt x="1311" y="61"/>
                    </a:lnTo>
                    <a:lnTo>
                      <a:pt x="1313" y="63"/>
                    </a:lnTo>
                    <a:moveTo>
                      <a:pt x="1143" y="52"/>
                    </a:moveTo>
                    <a:lnTo>
                      <a:pt x="1143" y="52"/>
                    </a:lnTo>
                    <a:lnTo>
                      <a:pt x="1143" y="52"/>
                    </a:lnTo>
                    <a:lnTo>
                      <a:pt x="1145" y="54"/>
                    </a:lnTo>
                    <a:lnTo>
                      <a:pt x="1143" y="54"/>
                    </a:lnTo>
                    <a:lnTo>
                      <a:pt x="1140" y="54"/>
                    </a:lnTo>
                    <a:lnTo>
                      <a:pt x="1140" y="54"/>
                    </a:lnTo>
                    <a:lnTo>
                      <a:pt x="1138" y="54"/>
                    </a:lnTo>
                    <a:lnTo>
                      <a:pt x="1143" y="56"/>
                    </a:lnTo>
                    <a:lnTo>
                      <a:pt x="1148" y="56"/>
                    </a:lnTo>
                    <a:lnTo>
                      <a:pt x="1150" y="56"/>
                    </a:lnTo>
                    <a:lnTo>
                      <a:pt x="1152" y="59"/>
                    </a:lnTo>
                    <a:lnTo>
                      <a:pt x="1159" y="59"/>
                    </a:lnTo>
                    <a:lnTo>
                      <a:pt x="1159" y="59"/>
                    </a:lnTo>
                    <a:lnTo>
                      <a:pt x="1162" y="56"/>
                    </a:lnTo>
                    <a:lnTo>
                      <a:pt x="1162" y="56"/>
                    </a:lnTo>
                    <a:lnTo>
                      <a:pt x="1164" y="56"/>
                    </a:lnTo>
                    <a:lnTo>
                      <a:pt x="1162" y="54"/>
                    </a:lnTo>
                    <a:lnTo>
                      <a:pt x="1162" y="54"/>
                    </a:lnTo>
                    <a:lnTo>
                      <a:pt x="1162" y="54"/>
                    </a:lnTo>
                    <a:lnTo>
                      <a:pt x="1159" y="54"/>
                    </a:lnTo>
                    <a:lnTo>
                      <a:pt x="1155" y="52"/>
                    </a:lnTo>
                    <a:lnTo>
                      <a:pt x="1143" y="52"/>
                    </a:lnTo>
                    <a:lnTo>
                      <a:pt x="1143" y="52"/>
                    </a:lnTo>
                    <a:moveTo>
                      <a:pt x="2195" y="575"/>
                    </a:moveTo>
                    <a:lnTo>
                      <a:pt x="2195" y="575"/>
                    </a:lnTo>
                    <a:lnTo>
                      <a:pt x="2193" y="580"/>
                    </a:lnTo>
                    <a:lnTo>
                      <a:pt x="2191" y="580"/>
                    </a:lnTo>
                    <a:lnTo>
                      <a:pt x="2193" y="580"/>
                    </a:lnTo>
                    <a:lnTo>
                      <a:pt x="2193" y="580"/>
                    </a:lnTo>
                    <a:lnTo>
                      <a:pt x="2195" y="580"/>
                    </a:lnTo>
                    <a:lnTo>
                      <a:pt x="2195" y="577"/>
                    </a:lnTo>
                    <a:lnTo>
                      <a:pt x="2198" y="573"/>
                    </a:lnTo>
                    <a:lnTo>
                      <a:pt x="2195" y="573"/>
                    </a:lnTo>
                    <a:lnTo>
                      <a:pt x="2195" y="575"/>
                    </a:lnTo>
                    <a:moveTo>
                      <a:pt x="2179" y="591"/>
                    </a:moveTo>
                    <a:lnTo>
                      <a:pt x="2179" y="591"/>
                    </a:lnTo>
                    <a:lnTo>
                      <a:pt x="2174" y="596"/>
                    </a:lnTo>
                    <a:lnTo>
                      <a:pt x="2174" y="599"/>
                    </a:lnTo>
                    <a:lnTo>
                      <a:pt x="2172" y="601"/>
                    </a:lnTo>
                    <a:lnTo>
                      <a:pt x="2172" y="606"/>
                    </a:lnTo>
                    <a:lnTo>
                      <a:pt x="2174" y="606"/>
                    </a:lnTo>
                    <a:lnTo>
                      <a:pt x="2174" y="603"/>
                    </a:lnTo>
                    <a:lnTo>
                      <a:pt x="2177" y="601"/>
                    </a:lnTo>
                    <a:lnTo>
                      <a:pt x="2177" y="601"/>
                    </a:lnTo>
                    <a:lnTo>
                      <a:pt x="2179" y="601"/>
                    </a:lnTo>
                    <a:lnTo>
                      <a:pt x="2179" y="599"/>
                    </a:lnTo>
                    <a:lnTo>
                      <a:pt x="2179" y="596"/>
                    </a:lnTo>
                    <a:lnTo>
                      <a:pt x="2181" y="591"/>
                    </a:lnTo>
                    <a:lnTo>
                      <a:pt x="2179" y="591"/>
                    </a:lnTo>
                    <a:moveTo>
                      <a:pt x="2193" y="497"/>
                    </a:moveTo>
                    <a:lnTo>
                      <a:pt x="2193" y="497"/>
                    </a:lnTo>
                    <a:lnTo>
                      <a:pt x="2193" y="494"/>
                    </a:lnTo>
                    <a:lnTo>
                      <a:pt x="2191" y="494"/>
                    </a:lnTo>
                    <a:lnTo>
                      <a:pt x="2188" y="494"/>
                    </a:lnTo>
                    <a:lnTo>
                      <a:pt x="2191" y="497"/>
                    </a:lnTo>
                    <a:lnTo>
                      <a:pt x="2191" y="497"/>
                    </a:lnTo>
                    <a:lnTo>
                      <a:pt x="2193" y="497"/>
                    </a:lnTo>
                    <a:lnTo>
                      <a:pt x="2193" y="497"/>
                    </a:lnTo>
                    <a:moveTo>
                      <a:pt x="2200" y="558"/>
                    </a:moveTo>
                    <a:lnTo>
                      <a:pt x="2200" y="561"/>
                    </a:lnTo>
                    <a:lnTo>
                      <a:pt x="2200" y="561"/>
                    </a:lnTo>
                    <a:lnTo>
                      <a:pt x="2200" y="561"/>
                    </a:lnTo>
                    <a:lnTo>
                      <a:pt x="2200" y="561"/>
                    </a:lnTo>
                    <a:lnTo>
                      <a:pt x="2200" y="561"/>
                    </a:lnTo>
                    <a:lnTo>
                      <a:pt x="2200" y="558"/>
                    </a:lnTo>
                    <a:moveTo>
                      <a:pt x="2203" y="525"/>
                    </a:moveTo>
                    <a:lnTo>
                      <a:pt x="2203" y="523"/>
                    </a:lnTo>
                    <a:lnTo>
                      <a:pt x="2203" y="523"/>
                    </a:lnTo>
                    <a:lnTo>
                      <a:pt x="2200" y="520"/>
                    </a:lnTo>
                    <a:lnTo>
                      <a:pt x="2200" y="528"/>
                    </a:lnTo>
                    <a:lnTo>
                      <a:pt x="2203" y="528"/>
                    </a:lnTo>
                    <a:lnTo>
                      <a:pt x="2205" y="530"/>
                    </a:lnTo>
                    <a:lnTo>
                      <a:pt x="2205" y="528"/>
                    </a:lnTo>
                    <a:lnTo>
                      <a:pt x="2205" y="528"/>
                    </a:lnTo>
                    <a:lnTo>
                      <a:pt x="2203" y="525"/>
                    </a:lnTo>
                    <a:moveTo>
                      <a:pt x="2205" y="504"/>
                    </a:moveTo>
                    <a:lnTo>
                      <a:pt x="2205" y="502"/>
                    </a:lnTo>
                    <a:lnTo>
                      <a:pt x="2203" y="499"/>
                    </a:lnTo>
                    <a:lnTo>
                      <a:pt x="2200" y="499"/>
                    </a:lnTo>
                    <a:lnTo>
                      <a:pt x="2200" y="499"/>
                    </a:lnTo>
                    <a:lnTo>
                      <a:pt x="2203" y="504"/>
                    </a:lnTo>
                    <a:lnTo>
                      <a:pt x="2203" y="506"/>
                    </a:lnTo>
                    <a:lnTo>
                      <a:pt x="2198" y="506"/>
                    </a:lnTo>
                    <a:lnTo>
                      <a:pt x="2198" y="509"/>
                    </a:lnTo>
                    <a:lnTo>
                      <a:pt x="2195" y="509"/>
                    </a:lnTo>
                    <a:lnTo>
                      <a:pt x="2195" y="509"/>
                    </a:lnTo>
                    <a:lnTo>
                      <a:pt x="2198" y="509"/>
                    </a:lnTo>
                    <a:lnTo>
                      <a:pt x="2200" y="513"/>
                    </a:lnTo>
                    <a:lnTo>
                      <a:pt x="2200" y="513"/>
                    </a:lnTo>
                    <a:lnTo>
                      <a:pt x="2203" y="513"/>
                    </a:lnTo>
                    <a:lnTo>
                      <a:pt x="2203" y="513"/>
                    </a:lnTo>
                    <a:lnTo>
                      <a:pt x="2203" y="511"/>
                    </a:lnTo>
                    <a:lnTo>
                      <a:pt x="2205" y="511"/>
                    </a:lnTo>
                    <a:lnTo>
                      <a:pt x="2207" y="511"/>
                    </a:lnTo>
                    <a:lnTo>
                      <a:pt x="2207" y="509"/>
                    </a:lnTo>
                    <a:lnTo>
                      <a:pt x="2207" y="504"/>
                    </a:lnTo>
                    <a:lnTo>
                      <a:pt x="2205" y="504"/>
                    </a:lnTo>
                    <a:moveTo>
                      <a:pt x="2203" y="537"/>
                    </a:moveTo>
                    <a:lnTo>
                      <a:pt x="2203" y="537"/>
                    </a:lnTo>
                    <a:lnTo>
                      <a:pt x="2200" y="537"/>
                    </a:lnTo>
                    <a:lnTo>
                      <a:pt x="2200" y="537"/>
                    </a:lnTo>
                    <a:lnTo>
                      <a:pt x="2200" y="539"/>
                    </a:lnTo>
                    <a:lnTo>
                      <a:pt x="2200" y="539"/>
                    </a:lnTo>
                    <a:lnTo>
                      <a:pt x="2203" y="539"/>
                    </a:lnTo>
                    <a:lnTo>
                      <a:pt x="2203" y="539"/>
                    </a:lnTo>
                    <a:lnTo>
                      <a:pt x="2203" y="537"/>
                    </a:lnTo>
                    <a:lnTo>
                      <a:pt x="2203" y="537"/>
                    </a:lnTo>
                    <a:moveTo>
                      <a:pt x="2141" y="651"/>
                    </a:moveTo>
                    <a:lnTo>
                      <a:pt x="2141" y="651"/>
                    </a:lnTo>
                    <a:lnTo>
                      <a:pt x="2141" y="651"/>
                    </a:lnTo>
                    <a:lnTo>
                      <a:pt x="2141" y="651"/>
                    </a:lnTo>
                    <a:lnTo>
                      <a:pt x="2141" y="651"/>
                    </a:lnTo>
                    <a:lnTo>
                      <a:pt x="2141" y="651"/>
                    </a:lnTo>
                    <a:lnTo>
                      <a:pt x="2141" y="651"/>
                    </a:lnTo>
                    <a:lnTo>
                      <a:pt x="2141" y="651"/>
                    </a:lnTo>
                    <a:lnTo>
                      <a:pt x="2141" y="651"/>
                    </a:lnTo>
                    <a:lnTo>
                      <a:pt x="2141" y="651"/>
                    </a:lnTo>
                    <a:lnTo>
                      <a:pt x="2143" y="651"/>
                    </a:lnTo>
                    <a:lnTo>
                      <a:pt x="2143" y="651"/>
                    </a:lnTo>
                    <a:lnTo>
                      <a:pt x="2143" y="651"/>
                    </a:lnTo>
                    <a:lnTo>
                      <a:pt x="2141" y="651"/>
                    </a:lnTo>
                    <a:moveTo>
                      <a:pt x="2143" y="651"/>
                    </a:moveTo>
                    <a:lnTo>
                      <a:pt x="2143" y="651"/>
                    </a:lnTo>
                    <a:lnTo>
                      <a:pt x="2143" y="651"/>
                    </a:lnTo>
                    <a:lnTo>
                      <a:pt x="2143" y="651"/>
                    </a:lnTo>
                    <a:lnTo>
                      <a:pt x="2146" y="651"/>
                    </a:lnTo>
                    <a:lnTo>
                      <a:pt x="2146" y="651"/>
                    </a:lnTo>
                    <a:lnTo>
                      <a:pt x="2146" y="651"/>
                    </a:lnTo>
                    <a:lnTo>
                      <a:pt x="2146" y="651"/>
                    </a:lnTo>
                    <a:lnTo>
                      <a:pt x="2143" y="651"/>
                    </a:lnTo>
                    <a:moveTo>
                      <a:pt x="2153" y="641"/>
                    </a:moveTo>
                    <a:lnTo>
                      <a:pt x="2148" y="644"/>
                    </a:lnTo>
                    <a:lnTo>
                      <a:pt x="2148" y="644"/>
                    </a:lnTo>
                    <a:lnTo>
                      <a:pt x="2151" y="646"/>
                    </a:lnTo>
                    <a:lnTo>
                      <a:pt x="2151" y="646"/>
                    </a:lnTo>
                    <a:lnTo>
                      <a:pt x="2151" y="644"/>
                    </a:lnTo>
                    <a:lnTo>
                      <a:pt x="2153" y="644"/>
                    </a:lnTo>
                    <a:lnTo>
                      <a:pt x="2153" y="644"/>
                    </a:lnTo>
                    <a:lnTo>
                      <a:pt x="2153" y="641"/>
                    </a:lnTo>
                    <a:moveTo>
                      <a:pt x="2136" y="632"/>
                    </a:moveTo>
                    <a:lnTo>
                      <a:pt x="2134" y="629"/>
                    </a:lnTo>
                    <a:lnTo>
                      <a:pt x="2132" y="629"/>
                    </a:lnTo>
                    <a:lnTo>
                      <a:pt x="2132" y="634"/>
                    </a:lnTo>
                    <a:lnTo>
                      <a:pt x="2132" y="634"/>
                    </a:lnTo>
                    <a:lnTo>
                      <a:pt x="2132" y="636"/>
                    </a:lnTo>
                    <a:lnTo>
                      <a:pt x="2132" y="636"/>
                    </a:lnTo>
                    <a:lnTo>
                      <a:pt x="2132" y="639"/>
                    </a:lnTo>
                    <a:lnTo>
                      <a:pt x="2129" y="639"/>
                    </a:lnTo>
                    <a:lnTo>
                      <a:pt x="2129" y="641"/>
                    </a:lnTo>
                    <a:lnTo>
                      <a:pt x="2129" y="644"/>
                    </a:lnTo>
                    <a:lnTo>
                      <a:pt x="2129" y="646"/>
                    </a:lnTo>
                    <a:lnTo>
                      <a:pt x="2134" y="646"/>
                    </a:lnTo>
                    <a:lnTo>
                      <a:pt x="2132" y="644"/>
                    </a:lnTo>
                    <a:lnTo>
                      <a:pt x="2134" y="641"/>
                    </a:lnTo>
                    <a:lnTo>
                      <a:pt x="2134" y="639"/>
                    </a:lnTo>
                    <a:lnTo>
                      <a:pt x="2134" y="636"/>
                    </a:lnTo>
                    <a:lnTo>
                      <a:pt x="2134" y="634"/>
                    </a:lnTo>
                    <a:lnTo>
                      <a:pt x="2136" y="634"/>
                    </a:lnTo>
                    <a:lnTo>
                      <a:pt x="2136" y="634"/>
                    </a:lnTo>
                    <a:lnTo>
                      <a:pt x="2139" y="632"/>
                    </a:lnTo>
                    <a:lnTo>
                      <a:pt x="2139" y="632"/>
                    </a:lnTo>
                    <a:lnTo>
                      <a:pt x="2139" y="629"/>
                    </a:lnTo>
                    <a:lnTo>
                      <a:pt x="2136" y="632"/>
                    </a:lnTo>
                    <a:moveTo>
                      <a:pt x="2146" y="646"/>
                    </a:moveTo>
                    <a:lnTo>
                      <a:pt x="2146" y="646"/>
                    </a:lnTo>
                    <a:lnTo>
                      <a:pt x="2146" y="646"/>
                    </a:lnTo>
                    <a:lnTo>
                      <a:pt x="2146" y="646"/>
                    </a:lnTo>
                    <a:lnTo>
                      <a:pt x="2146" y="646"/>
                    </a:lnTo>
                    <a:lnTo>
                      <a:pt x="2146" y="648"/>
                    </a:lnTo>
                    <a:lnTo>
                      <a:pt x="2148" y="646"/>
                    </a:lnTo>
                    <a:lnTo>
                      <a:pt x="2146" y="646"/>
                    </a:lnTo>
                    <a:lnTo>
                      <a:pt x="2146" y="646"/>
                    </a:lnTo>
                    <a:moveTo>
                      <a:pt x="2162" y="608"/>
                    </a:moveTo>
                    <a:lnTo>
                      <a:pt x="2162" y="608"/>
                    </a:lnTo>
                    <a:lnTo>
                      <a:pt x="2162" y="606"/>
                    </a:lnTo>
                    <a:lnTo>
                      <a:pt x="2162" y="606"/>
                    </a:lnTo>
                    <a:lnTo>
                      <a:pt x="2160" y="606"/>
                    </a:lnTo>
                    <a:lnTo>
                      <a:pt x="2160" y="608"/>
                    </a:lnTo>
                    <a:lnTo>
                      <a:pt x="2158" y="610"/>
                    </a:lnTo>
                    <a:lnTo>
                      <a:pt x="2155" y="613"/>
                    </a:lnTo>
                    <a:lnTo>
                      <a:pt x="2153" y="613"/>
                    </a:lnTo>
                    <a:lnTo>
                      <a:pt x="2151" y="610"/>
                    </a:lnTo>
                    <a:lnTo>
                      <a:pt x="2151" y="610"/>
                    </a:lnTo>
                    <a:lnTo>
                      <a:pt x="2151" y="610"/>
                    </a:lnTo>
                    <a:lnTo>
                      <a:pt x="2151" y="613"/>
                    </a:lnTo>
                    <a:lnTo>
                      <a:pt x="2151" y="613"/>
                    </a:lnTo>
                    <a:lnTo>
                      <a:pt x="2148" y="615"/>
                    </a:lnTo>
                    <a:lnTo>
                      <a:pt x="2148" y="615"/>
                    </a:lnTo>
                    <a:lnTo>
                      <a:pt x="2148" y="620"/>
                    </a:lnTo>
                    <a:lnTo>
                      <a:pt x="2146" y="622"/>
                    </a:lnTo>
                    <a:lnTo>
                      <a:pt x="2146" y="625"/>
                    </a:lnTo>
                    <a:lnTo>
                      <a:pt x="2146" y="627"/>
                    </a:lnTo>
                    <a:lnTo>
                      <a:pt x="2146" y="627"/>
                    </a:lnTo>
                    <a:lnTo>
                      <a:pt x="2146" y="629"/>
                    </a:lnTo>
                    <a:lnTo>
                      <a:pt x="2146" y="632"/>
                    </a:lnTo>
                    <a:lnTo>
                      <a:pt x="2148" y="629"/>
                    </a:lnTo>
                    <a:lnTo>
                      <a:pt x="2148" y="627"/>
                    </a:lnTo>
                    <a:lnTo>
                      <a:pt x="2148" y="625"/>
                    </a:lnTo>
                    <a:lnTo>
                      <a:pt x="2151" y="622"/>
                    </a:lnTo>
                    <a:lnTo>
                      <a:pt x="2151" y="622"/>
                    </a:lnTo>
                    <a:lnTo>
                      <a:pt x="2151" y="620"/>
                    </a:lnTo>
                    <a:lnTo>
                      <a:pt x="2151" y="620"/>
                    </a:lnTo>
                    <a:lnTo>
                      <a:pt x="2153" y="620"/>
                    </a:lnTo>
                    <a:lnTo>
                      <a:pt x="2155" y="620"/>
                    </a:lnTo>
                    <a:lnTo>
                      <a:pt x="2155" y="615"/>
                    </a:lnTo>
                    <a:lnTo>
                      <a:pt x="2158" y="613"/>
                    </a:lnTo>
                    <a:lnTo>
                      <a:pt x="2160" y="613"/>
                    </a:lnTo>
                    <a:lnTo>
                      <a:pt x="2162" y="610"/>
                    </a:lnTo>
                    <a:lnTo>
                      <a:pt x="2165" y="610"/>
                    </a:lnTo>
                    <a:lnTo>
                      <a:pt x="2165" y="610"/>
                    </a:lnTo>
                    <a:lnTo>
                      <a:pt x="2165" y="608"/>
                    </a:lnTo>
                    <a:lnTo>
                      <a:pt x="2162" y="608"/>
                    </a:lnTo>
                    <a:moveTo>
                      <a:pt x="480" y="606"/>
                    </a:moveTo>
                    <a:lnTo>
                      <a:pt x="480" y="606"/>
                    </a:lnTo>
                    <a:lnTo>
                      <a:pt x="480" y="608"/>
                    </a:lnTo>
                    <a:lnTo>
                      <a:pt x="480" y="608"/>
                    </a:lnTo>
                    <a:lnTo>
                      <a:pt x="480" y="606"/>
                    </a:lnTo>
                    <a:lnTo>
                      <a:pt x="480" y="603"/>
                    </a:lnTo>
                    <a:lnTo>
                      <a:pt x="480" y="606"/>
                    </a:lnTo>
                    <a:moveTo>
                      <a:pt x="216" y="217"/>
                    </a:moveTo>
                    <a:lnTo>
                      <a:pt x="216" y="217"/>
                    </a:lnTo>
                    <a:lnTo>
                      <a:pt x="216" y="215"/>
                    </a:lnTo>
                    <a:lnTo>
                      <a:pt x="213" y="217"/>
                    </a:lnTo>
                    <a:lnTo>
                      <a:pt x="213" y="217"/>
                    </a:lnTo>
                    <a:lnTo>
                      <a:pt x="211" y="217"/>
                    </a:lnTo>
                    <a:lnTo>
                      <a:pt x="213" y="217"/>
                    </a:lnTo>
                    <a:lnTo>
                      <a:pt x="213" y="220"/>
                    </a:lnTo>
                    <a:lnTo>
                      <a:pt x="216" y="220"/>
                    </a:lnTo>
                    <a:lnTo>
                      <a:pt x="216" y="220"/>
                    </a:lnTo>
                    <a:lnTo>
                      <a:pt x="218" y="220"/>
                    </a:lnTo>
                    <a:lnTo>
                      <a:pt x="216" y="220"/>
                    </a:lnTo>
                    <a:lnTo>
                      <a:pt x="218" y="217"/>
                    </a:lnTo>
                    <a:lnTo>
                      <a:pt x="216" y="217"/>
                    </a:lnTo>
                    <a:moveTo>
                      <a:pt x="686" y="189"/>
                    </a:moveTo>
                    <a:lnTo>
                      <a:pt x="684" y="189"/>
                    </a:lnTo>
                    <a:lnTo>
                      <a:pt x="684" y="187"/>
                    </a:lnTo>
                    <a:lnTo>
                      <a:pt x="682" y="187"/>
                    </a:lnTo>
                    <a:lnTo>
                      <a:pt x="679" y="187"/>
                    </a:lnTo>
                    <a:lnTo>
                      <a:pt x="679" y="189"/>
                    </a:lnTo>
                    <a:lnTo>
                      <a:pt x="682" y="191"/>
                    </a:lnTo>
                    <a:lnTo>
                      <a:pt x="686" y="191"/>
                    </a:lnTo>
                    <a:lnTo>
                      <a:pt x="689" y="191"/>
                    </a:lnTo>
                    <a:lnTo>
                      <a:pt x="689" y="191"/>
                    </a:lnTo>
                    <a:lnTo>
                      <a:pt x="689" y="191"/>
                    </a:lnTo>
                    <a:lnTo>
                      <a:pt x="689" y="191"/>
                    </a:lnTo>
                    <a:lnTo>
                      <a:pt x="689" y="189"/>
                    </a:lnTo>
                    <a:lnTo>
                      <a:pt x="686" y="189"/>
                    </a:lnTo>
                    <a:moveTo>
                      <a:pt x="1829" y="412"/>
                    </a:moveTo>
                    <a:lnTo>
                      <a:pt x="1826" y="412"/>
                    </a:lnTo>
                    <a:lnTo>
                      <a:pt x="1824" y="414"/>
                    </a:lnTo>
                    <a:lnTo>
                      <a:pt x="1824" y="414"/>
                    </a:lnTo>
                    <a:lnTo>
                      <a:pt x="1826" y="414"/>
                    </a:lnTo>
                    <a:lnTo>
                      <a:pt x="1826" y="414"/>
                    </a:lnTo>
                    <a:lnTo>
                      <a:pt x="1829" y="414"/>
                    </a:lnTo>
                    <a:lnTo>
                      <a:pt x="1831" y="414"/>
                    </a:lnTo>
                    <a:lnTo>
                      <a:pt x="1829" y="412"/>
                    </a:lnTo>
                    <a:lnTo>
                      <a:pt x="1829" y="412"/>
                    </a:lnTo>
                    <a:lnTo>
                      <a:pt x="1829" y="412"/>
                    </a:lnTo>
                    <a:moveTo>
                      <a:pt x="625" y="139"/>
                    </a:moveTo>
                    <a:lnTo>
                      <a:pt x="625" y="137"/>
                    </a:lnTo>
                    <a:lnTo>
                      <a:pt x="625" y="137"/>
                    </a:lnTo>
                    <a:lnTo>
                      <a:pt x="622" y="137"/>
                    </a:lnTo>
                    <a:lnTo>
                      <a:pt x="620" y="139"/>
                    </a:lnTo>
                    <a:lnTo>
                      <a:pt x="620" y="139"/>
                    </a:lnTo>
                    <a:lnTo>
                      <a:pt x="622" y="139"/>
                    </a:lnTo>
                    <a:lnTo>
                      <a:pt x="625" y="139"/>
                    </a:lnTo>
                    <a:moveTo>
                      <a:pt x="2207" y="497"/>
                    </a:moveTo>
                    <a:lnTo>
                      <a:pt x="2207" y="497"/>
                    </a:lnTo>
                    <a:lnTo>
                      <a:pt x="2205" y="497"/>
                    </a:lnTo>
                    <a:lnTo>
                      <a:pt x="2203" y="499"/>
                    </a:lnTo>
                    <a:lnTo>
                      <a:pt x="2203" y="499"/>
                    </a:lnTo>
                    <a:lnTo>
                      <a:pt x="2205" y="499"/>
                    </a:lnTo>
                    <a:lnTo>
                      <a:pt x="2207" y="502"/>
                    </a:lnTo>
                    <a:lnTo>
                      <a:pt x="2210" y="502"/>
                    </a:lnTo>
                    <a:lnTo>
                      <a:pt x="2210" y="502"/>
                    </a:lnTo>
                    <a:lnTo>
                      <a:pt x="2207" y="499"/>
                    </a:lnTo>
                    <a:lnTo>
                      <a:pt x="2207" y="497"/>
                    </a:lnTo>
                    <a:moveTo>
                      <a:pt x="1834" y="416"/>
                    </a:moveTo>
                    <a:lnTo>
                      <a:pt x="1836" y="416"/>
                    </a:lnTo>
                    <a:lnTo>
                      <a:pt x="1836" y="416"/>
                    </a:lnTo>
                    <a:lnTo>
                      <a:pt x="1838" y="416"/>
                    </a:lnTo>
                    <a:lnTo>
                      <a:pt x="1838" y="416"/>
                    </a:lnTo>
                    <a:lnTo>
                      <a:pt x="1843" y="421"/>
                    </a:lnTo>
                    <a:lnTo>
                      <a:pt x="1845" y="419"/>
                    </a:lnTo>
                    <a:lnTo>
                      <a:pt x="1845" y="419"/>
                    </a:lnTo>
                    <a:lnTo>
                      <a:pt x="1845" y="419"/>
                    </a:lnTo>
                    <a:lnTo>
                      <a:pt x="1848" y="416"/>
                    </a:lnTo>
                    <a:lnTo>
                      <a:pt x="1845" y="416"/>
                    </a:lnTo>
                    <a:lnTo>
                      <a:pt x="1845" y="414"/>
                    </a:lnTo>
                    <a:lnTo>
                      <a:pt x="1845" y="414"/>
                    </a:lnTo>
                    <a:lnTo>
                      <a:pt x="1845" y="412"/>
                    </a:lnTo>
                    <a:lnTo>
                      <a:pt x="1845" y="412"/>
                    </a:lnTo>
                    <a:lnTo>
                      <a:pt x="1843" y="412"/>
                    </a:lnTo>
                    <a:lnTo>
                      <a:pt x="1841" y="412"/>
                    </a:lnTo>
                    <a:lnTo>
                      <a:pt x="1841" y="412"/>
                    </a:lnTo>
                    <a:lnTo>
                      <a:pt x="1834" y="409"/>
                    </a:lnTo>
                    <a:lnTo>
                      <a:pt x="1834" y="409"/>
                    </a:lnTo>
                    <a:lnTo>
                      <a:pt x="1834" y="414"/>
                    </a:lnTo>
                    <a:lnTo>
                      <a:pt x="1834" y="414"/>
                    </a:lnTo>
                    <a:lnTo>
                      <a:pt x="1834" y="416"/>
                    </a:lnTo>
                    <a:moveTo>
                      <a:pt x="2167" y="343"/>
                    </a:moveTo>
                    <a:lnTo>
                      <a:pt x="2167" y="343"/>
                    </a:lnTo>
                    <a:lnTo>
                      <a:pt x="2169" y="343"/>
                    </a:lnTo>
                    <a:lnTo>
                      <a:pt x="2169" y="343"/>
                    </a:lnTo>
                    <a:lnTo>
                      <a:pt x="2172" y="338"/>
                    </a:lnTo>
                    <a:lnTo>
                      <a:pt x="2174" y="338"/>
                    </a:lnTo>
                    <a:lnTo>
                      <a:pt x="2179" y="336"/>
                    </a:lnTo>
                    <a:lnTo>
                      <a:pt x="2177" y="336"/>
                    </a:lnTo>
                    <a:lnTo>
                      <a:pt x="2174" y="331"/>
                    </a:lnTo>
                    <a:lnTo>
                      <a:pt x="2169" y="329"/>
                    </a:lnTo>
                    <a:lnTo>
                      <a:pt x="2169" y="329"/>
                    </a:lnTo>
                    <a:lnTo>
                      <a:pt x="2167" y="333"/>
                    </a:lnTo>
                    <a:lnTo>
                      <a:pt x="2162" y="333"/>
                    </a:lnTo>
                    <a:lnTo>
                      <a:pt x="2162" y="336"/>
                    </a:lnTo>
                    <a:lnTo>
                      <a:pt x="2165" y="336"/>
                    </a:lnTo>
                    <a:lnTo>
                      <a:pt x="2167" y="338"/>
                    </a:lnTo>
                    <a:lnTo>
                      <a:pt x="2167" y="340"/>
                    </a:lnTo>
                    <a:lnTo>
                      <a:pt x="2167" y="343"/>
                    </a:lnTo>
                    <a:lnTo>
                      <a:pt x="2167" y="343"/>
                    </a:lnTo>
                    <a:moveTo>
                      <a:pt x="1554" y="85"/>
                    </a:moveTo>
                    <a:lnTo>
                      <a:pt x="1550" y="85"/>
                    </a:lnTo>
                    <a:lnTo>
                      <a:pt x="1547" y="85"/>
                    </a:lnTo>
                    <a:lnTo>
                      <a:pt x="1538" y="85"/>
                    </a:lnTo>
                    <a:lnTo>
                      <a:pt x="1535" y="87"/>
                    </a:lnTo>
                    <a:lnTo>
                      <a:pt x="1535" y="90"/>
                    </a:lnTo>
                    <a:lnTo>
                      <a:pt x="1535" y="90"/>
                    </a:lnTo>
                    <a:lnTo>
                      <a:pt x="1538" y="92"/>
                    </a:lnTo>
                    <a:lnTo>
                      <a:pt x="1543" y="92"/>
                    </a:lnTo>
                    <a:lnTo>
                      <a:pt x="1543" y="90"/>
                    </a:lnTo>
                    <a:lnTo>
                      <a:pt x="1543" y="90"/>
                    </a:lnTo>
                    <a:lnTo>
                      <a:pt x="1550" y="90"/>
                    </a:lnTo>
                    <a:lnTo>
                      <a:pt x="1552" y="92"/>
                    </a:lnTo>
                    <a:lnTo>
                      <a:pt x="1550" y="92"/>
                    </a:lnTo>
                    <a:lnTo>
                      <a:pt x="1547" y="92"/>
                    </a:lnTo>
                    <a:lnTo>
                      <a:pt x="1547" y="94"/>
                    </a:lnTo>
                    <a:lnTo>
                      <a:pt x="1545" y="94"/>
                    </a:lnTo>
                    <a:lnTo>
                      <a:pt x="1550" y="97"/>
                    </a:lnTo>
                    <a:lnTo>
                      <a:pt x="1552" y="97"/>
                    </a:lnTo>
                    <a:lnTo>
                      <a:pt x="1554" y="99"/>
                    </a:lnTo>
                    <a:lnTo>
                      <a:pt x="1562" y="101"/>
                    </a:lnTo>
                    <a:lnTo>
                      <a:pt x="1564" y="104"/>
                    </a:lnTo>
                    <a:lnTo>
                      <a:pt x="1559" y="104"/>
                    </a:lnTo>
                    <a:lnTo>
                      <a:pt x="1557" y="104"/>
                    </a:lnTo>
                    <a:lnTo>
                      <a:pt x="1554" y="104"/>
                    </a:lnTo>
                    <a:lnTo>
                      <a:pt x="1550" y="101"/>
                    </a:lnTo>
                    <a:lnTo>
                      <a:pt x="1545" y="101"/>
                    </a:lnTo>
                    <a:lnTo>
                      <a:pt x="1543" y="101"/>
                    </a:lnTo>
                    <a:lnTo>
                      <a:pt x="1543" y="101"/>
                    </a:lnTo>
                    <a:lnTo>
                      <a:pt x="1540" y="101"/>
                    </a:lnTo>
                    <a:lnTo>
                      <a:pt x="1538" y="101"/>
                    </a:lnTo>
                    <a:lnTo>
                      <a:pt x="1538" y="101"/>
                    </a:lnTo>
                    <a:lnTo>
                      <a:pt x="1538" y="101"/>
                    </a:lnTo>
                    <a:lnTo>
                      <a:pt x="1538" y="104"/>
                    </a:lnTo>
                    <a:lnTo>
                      <a:pt x="1538" y="104"/>
                    </a:lnTo>
                    <a:lnTo>
                      <a:pt x="1538" y="104"/>
                    </a:lnTo>
                    <a:lnTo>
                      <a:pt x="1540" y="106"/>
                    </a:lnTo>
                    <a:lnTo>
                      <a:pt x="1540" y="106"/>
                    </a:lnTo>
                    <a:lnTo>
                      <a:pt x="1545" y="106"/>
                    </a:lnTo>
                    <a:lnTo>
                      <a:pt x="1543" y="106"/>
                    </a:lnTo>
                    <a:lnTo>
                      <a:pt x="1543" y="106"/>
                    </a:lnTo>
                    <a:lnTo>
                      <a:pt x="1543" y="106"/>
                    </a:lnTo>
                    <a:lnTo>
                      <a:pt x="1540" y="108"/>
                    </a:lnTo>
                    <a:lnTo>
                      <a:pt x="1543" y="108"/>
                    </a:lnTo>
                    <a:lnTo>
                      <a:pt x="1543" y="108"/>
                    </a:lnTo>
                    <a:lnTo>
                      <a:pt x="1545" y="108"/>
                    </a:lnTo>
                    <a:lnTo>
                      <a:pt x="1545" y="108"/>
                    </a:lnTo>
                    <a:lnTo>
                      <a:pt x="1543" y="108"/>
                    </a:lnTo>
                    <a:lnTo>
                      <a:pt x="1538" y="108"/>
                    </a:lnTo>
                    <a:lnTo>
                      <a:pt x="1533" y="106"/>
                    </a:lnTo>
                    <a:lnTo>
                      <a:pt x="1531" y="106"/>
                    </a:lnTo>
                    <a:lnTo>
                      <a:pt x="1528" y="104"/>
                    </a:lnTo>
                    <a:lnTo>
                      <a:pt x="1514" y="101"/>
                    </a:lnTo>
                    <a:lnTo>
                      <a:pt x="1509" y="101"/>
                    </a:lnTo>
                    <a:lnTo>
                      <a:pt x="1507" y="101"/>
                    </a:lnTo>
                    <a:lnTo>
                      <a:pt x="1502" y="101"/>
                    </a:lnTo>
                    <a:lnTo>
                      <a:pt x="1502" y="101"/>
                    </a:lnTo>
                    <a:lnTo>
                      <a:pt x="1498" y="104"/>
                    </a:lnTo>
                    <a:lnTo>
                      <a:pt x="1495" y="104"/>
                    </a:lnTo>
                    <a:lnTo>
                      <a:pt x="1495" y="104"/>
                    </a:lnTo>
                    <a:lnTo>
                      <a:pt x="1488" y="106"/>
                    </a:lnTo>
                    <a:lnTo>
                      <a:pt x="1481" y="104"/>
                    </a:lnTo>
                    <a:lnTo>
                      <a:pt x="1476" y="104"/>
                    </a:lnTo>
                    <a:lnTo>
                      <a:pt x="1472" y="101"/>
                    </a:lnTo>
                    <a:lnTo>
                      <a:pt x="1465" y="99"/>
                    </a:lnTo>
                    <a:lnTo>
                      <a:pt x="1465" y="99"/>
                    </a:lnTo>
                    <a:lnTo>
                      <a:pt x="1462" y="97"/>
                    </a:lnTo>
                    <a:lnTo>
                      <a:pt x="1460" y="97"/>
                    </a:lnTo>
                    <a:lnTo>
                      <a:pt x="1457" y="97"/>
                    </a:lnTo>
                    <a:lnTo>
                      <a:pt x="1457" y="97"/>
                    </a:lnTo>
                    <a:lnTo>
                      <a:pt x="1457" y="99"/>
                    </a:lnTo>
                    <a:lnTo>
                      <a:pt x="1457" y="101"/>
                    </a:lnTo>
                    <a:lnTo>
                      <a:pt x="1460" y="104"/>
                    </a:lnTo>
                    <a:lnTo>
                      <a:pt x="1462" y="106"/>
                    </a:lnTo>
                    <a:lnTo>
                      <a:pt x="1462" y="106"/>
                    </a:lnTo>
                    <a:lnTo>
                      <a:pt x="1465" y="106"/>
                    </a:lnTo>
                    <a:lnTo>
                      <a:pt x="1462" y="108"/>
                    </a:lnTo>
                    <a:lnTo>
                      <a:pt x="1462" y="111"/>
                    </a:lnTo>
                    <a:lnTo>
                      <a:pt x="1465" y="113"/>
                    </a:lnTo>
                    <a:lnTo>
                      <a:pt x="1465" y="116"/>
                    </a:lnTo>
                    <a:lnTo>
                      <a:pt x="1462" y="116"/>
                    </a:lnTo>
                    <a:lnTo>
                      <a:pt x="1462" y="116"/>
                    </a:lnTo>
                    <a:lnTo>
                      <a:pt x="1460" y="116"/>
                    </a:lnTo>
                    <a:lnTo>
                      <a:pt x="1457" y="116"/>
                    </a:lnTo>
                    <a:lnTo>
                      <a:pt x="1453" y="113"/>
                    </a:lnTo>
                    <a:lnTo>
                      <a:pt x="1453" y="113"/>
                    </a:lnTo>
                    <a:lnTo>
                      <a:pt x="1453" y="113"/>
                    </a:lnTo>
                    <a:lnTo>
                      <a:pt x="1450" y="113"/>
                    </a:lnTo>
                    <a:lnTo>
                      <a:pt x="1446" y="113"/>
                    </a:lnTo>
                    <a:lnTo>
                      <a:pt x="1441" y="111"/>
                    </a:lnTo>
                    <a:lnTo>
                      <a:pt x="1436" y="108"/>
                    </a:lnTo>
                    <a:lnTo>
                      <a:pt x="1427" y="104"/>
                    </a:lnTo>
                    <a:lnTo>
                      <a:pt x="1422" y="104"/>
                    </a:lnTo>
                    <a:lnTo>
                      <a:pt x="1420" y="101"/>
                    </a:lnTo>
                    <a:lnTo>
                      <a:pt x="1415" y="101"/>
                    </a:lnTo>
                    <a:lnTo>
                      <a:pt x="1412" y="99"/>
                    </a:lnTo>
                    <a:lnTo>
                      <a:pt x="1415" y="99"/>
                    </a:lnTo>
                    <a:lnTo>
                      <a:pt x="1417" y="99"/>
                    </a:lnTo>
                    <a:lnTo>
                      <a:pt x="1420" y="99"/>
                    </a:lnTo>
                    <a:lnTo>
                      <a:pt x="1415" y="97"/>
                    </a:lnTo>
                    <a:lnTo>
                      <a:pt x="1412" y="97"/>
                    </a:lnTo>
                    <a:lnTo>
                      <a:pt x="1412" y="94"/>
                    </a:lnTo>
                    <a:lnTo>
                      <a:pt x="1412" y="97"/>
                    </a:lnTo>
                    <a:lnTo>
                      <a:pt x="1415" y="97"/>
                    </a:lnTo>
                    <a:lnTo>
                      <a:pt x="1415" y="99"/>
                    </a:lnTo>
                    <a:lnTo>
                      <a:pt x="1412" y="99"/>
                    </a:lnTo>
                    <a:lnTo>
                      <a:pt x="1398" y="92"/>
                    </a:lnTo>
                    <a:lnTo>
                      <a:pt x="1391" y="90"/>
                    </a:lnTo>
                    <a:lnTo>
                      <a:pt x="1389" y="90"/>
                    </a:lnTo>
                    <a:lnTo>
                      <a:pt x="1384" y="87"/>
                    </a:lnTo>
                    <a:lnTo>
                      <a:pt x="1384" y="87"/>
                    </a:lnTo>
                    <a:lnTo>
                      <a:pt x="1391" y="90"/>
                    </a:lnTo>
                    <a:lnTo>
                      <a:pt x="1398" y="90"/>
                    </a:lnTo>
                    <a:lnTo>
                      <a:pt x="1405" y="92"/>
                    </a:lnTo>
                    <a:lnTo>
                      <a:pt x="1410" y="92"/>
                    </a:lnTo>
                    <a:lnTo>
                      <a:pt x="1410" y="92"/>
                    </a:lnTo>
                    <a:lnTo>
                      <a:pt x="1408" y="90"/>
                    </a:lnTo>
                    <a:lnTo>
                      <a:pt x="1403" y="87"/>
                    </a:lnTo>
                    <a:lnTo>
                      <a:pt x="1401" y="85"/>
                    </a:lnTo>
                    <a:lnTo>
                      <a:pt x="1394" y="85"/>
                    </a:lnTo>
                    <a:lnTo>
                      <a:pt x="1391" y="85"/>
                    </a:lnTo>
                    <a:lnTo>
                      <a:pt x="1391" y="85"/>
                    </a:lnTo>
                    <a:lnTo>
                      <a:pt x="1394" y="85"/>
                    </a:lnTo>
                    <a:lnTo>
                      <a:pt x="1396" y="85"/>
                    </a:lnTo>
                    <a:lnTo>
                      <a:pt x="1396" y="82"/>
                    </a:lnTo>
                    <a:lnTo>
                      <a:pt x="1398" y="82"/>
                    </a:lnTo>
                    <a:lnTo>
                      <a:pt x="1396" y="80"/>
                    </a:lnTo>
                    <a:lnTo>
                      <a:pt x="1391" y="80"/>
                    </a:lnTo>
                    <a:lnTo>
                      <a:pt x="1386" y="80"/>
                    </a:lnTo>
                    <a:lnTo>
                      <a:pt x="1386" y="80"/>
                    </a:lnTo>
                    <a:lnTo>
                      <a:pt x="1386" y="78"/>
                    </a:lnTo>
                    <a:lnTo>
                      <a:pt x="1389" y="78"/>
                    </a:lnTo>
                    <a:lnTo>
                      <a:pt x="1389" y="75"/>
                    </a:lnTo>
                    <a:lnTo>
                      <a:pt x="1389" y="75"/>
                    </a:lnTo>
                    <a:lnTo>
                      <a:pt x="1386" y="75"/>
                    </a:lnTo>
                    <a:lnTo>
                      <a:pt x="1386" y="75"/>
                    </a:lnTo>
                    <a:lnTo>
                      <a:pt x="1384" y="75"/>
                    </a:lnTo>
                    <a:lnTo>
                      <a:pt x="1384" y="73"/>
                    </a:lnTo>
                    <a:lnTo>
                      <a:pt x="1382" y="73"/>
                    </a:lnTo>
                    <a:lnTo>
                      <a:pt x="1379" y="73"/>
                    </a:lnTo>
                    <a:lnTo>
                      <a:pt x="1375" y="73"/>
                    </a:lnTo>
                    <a:lnTo>
                      <a:pt x="1375" y="73"/>
                    </a:lnTo>
                    <a:lnTo>
                      <a:pt x="1372" y="71"/>
                    </a:lnTo>
                    <a:lnTo>
                      <a:pt x="1370" y="71"/>
                    </a:lnTo>
                    <a:lnTo>
                      <a:pt x="1368" y="71"/>
                    </a:lnTo>
                    <a:lnTo>
                      <a:pt x="1368" y="71"/>
                    </a:lnTo>
                    <a:lnTo>
                      <a:pt x="1368" y="71"/>
                    </a:lnTo>
                    <a:lnTo>
                      <a:pt x="1363" y="68"/>
                    </a:lnTo>
                    <a:lnTo>
                      <a:pt x="1353" y="68"/>
                    </a:lnTo>
                    <a:lnTo>
                      <a:pt x="1351" y="68"/>
                    </a:lnTo>
                    <a:lnTo>
                      <a:pt x="1353" y="71"/>
                    </a:lnTo>
                    <a:lnTo>
                      <a:pt x="1351" y="71"/>
                    </a:lnTo>
                    <a:lnTo>
                      <a:pt x="1346" y="71"/>
                    </a:lnTo>
                    <a:lnTo>
                      <a:pt x="1346" y="71"/>
                    </a:lnTo>
                    <a:lnTo>
                      <a:pt x="1346" y="71"/>
                    </a:lnTo>
                    <a:lnTo>
                      <a:pt x="1344" y="68"/>
                    </a:lnTo>
                    <a:lnTo>
                      <a:pt x="1344" y="68"/>
                    </a:lnTo>
                    <a:lnTo>
                      <a:pt x="1344" y="68"/>
                    </a:lnTo>
                    <a:lnTo>
                      <a:pt x="1342" y="68"/>
                    </a:lnTo>
                    <a:lnTo>
                      <a:pt x="1342" y="68"/>
                    </a:lnTo>
                    <a:lnTo>
                      <a:pt x="1339" y="68"/>
                    </a:lnTo>
                    <a:lnTo>
                      <a:pt x="1339" y="68"/>
                    </a:lnTo>
                    <a:lnTo>
                      <a:pt x="1337" y="71"/>
                    </a:lnTo>
                    <a:lnTo>
                      <a:pt x="1334" y="68"/>
                    </a:lnTo>
                    <a:lnTo>
                      <a:pt x="1320" y="66"/>
                    </a:lnTo>
                    <a:lnTo>
                      <a:pt x="1315" y="63"/>
                    </a:lnTo>
                    <a:lnTo>
                      <a:pt x="1315" y="63"/>
                    </a:lnTo>
                    <a:lnTo>
                      <a:pt x="1311" y="66"/>
                    </a:lnTo>
                    <a:lnTo>
                      <a:pt x="1311" y="66"/>
                    </a:lnTo>
                    <a:lnTo>
                      <a:pt x="1311" y="66"/>
                    </a:lnTo>
                    <a:lnTo>
                      <a:pt x="1306" y="66"/>
                    </a:lnTo>
                    <a:lnTo>
                      <a:pt x="1304" y="66"/>
                    </a:lnTo>
                    <a:lnTo>
                      <a:pt x="1306" y="68"/>
                    </a:lnTo>
                    <a:lnTo>
                      <a:pt x="1308" y="71"/>
                    </a:lnTo>
                    <a:lnTo>
                      <a:pt x="1308" y="71"/>
                    </a:lnTo>
                    <a:lnTo>
                      <a:pt x="1311" y="71"/>
                    </a:lnTo>
                    <a:lnTo>
                      <a:pt x="1313" y="73"/>
                    </a:lnTo>
                    <a:lnTo>
                      <a:pt x="1315" y="73"/>
                    </a:lnTo>
                    <a:lnTo>
                      <a:pt x="1315" y="73"/>
                    </a:lnTo>
                    <a:lnTo>
                      <a:pt x="1315" y="75"/>
                    </a:lnTo>
                    <a:lnTo>
                      <a:pt x="1315" y="75"/>
                    </a:lnTo>
                    <a:lnTo>
                      <a:pt x="1315" y="75"/>
                    </a:lnTo>
                    <a:lnTo>
                      <a:pt x="1315" y="78"/>
                    </a:lnTo>
                    <a:lnTo>
                      <a:pt x="1315" y="78"/>
                    </a:lnTo>
                    <a:lnTo>
                      <a:pt x="1313" y="78"/>
                    </a:lnTo>
                    <a:lnTo>
                      <a:pt x="1306" y="78"/>
                    </a:lnTo>
                    <a:lnTo>
                      <a:pt x="1306" y="78"/>
                    </a:lnTo>
                    <a:lnTo>
                      <a:pt x="1306" y="78"/>
                    </a:lnTo>
                    <a:lnTo>
                      <a:pt x="1308" y="78"/>
                    </a:lnTo>
                    <a:lnTo>
                      <a:pt x="1311" y="78"/>
                    </a:lnTo>
                    <a:lnTo>
                      <a:pt x="1311" y="80"/>
                    </a:lnTo>
                    <a:lnTo>
                      <a:pt x="1308" y="80"/>
                    </a:lnTo>
                    <a:lnTo>
                      <a:pt x="1304" y="80"/>
                    </a:lnTo>
                    <a:lnTo>
                      <a:pt x="1301" y="80"/>
                    </a:lnTo>
                    <a:lnTo>
                      <a:pt x="1299" y="78"/>
                    </a:lnTo>
                    <a:lnTo>
                      <a:pt x="1297" y="78"/>
                    </a:lnTo>
                    <a:lnTo>
                      <a:pt x="1292" y="78"/>
                    </a:lnTo>
                    <a:lnTo>
                      <a:pt x="1287" y="78"/>
                    </a:lnTo>
                    <a:lnTo>
                      <a:pt x="1280" y="78"/>
                    </a:lnTo>
                    <a:lnTo>
                      <a:pt x="1273" y="78"/>
                    </a:lnTo>
                    <a:lnTo>
                      <a:pt x="1271" y="78"/>
                    </a:lnTo>
                    <a:lnTo>
                      <a:pt x="1263" y="75"/>
                    </a:lnTo>
                    <a:lnTo>
                      <a:pt x="1256" y="75"/>
                    </a:lnTo>
                    <a:lnTo>
                      <a:pt x="1247" y="73"/>
                    </a:lnTo>
                    <a:lnTo>
                      <a:pt x="1245" y="71"/>
                    </a:lnTo>
                    <a:lnTo>
                      <a:pt x="1245" y="68"/>
                    </a:lnTo>
                    <a:lnTo>
                      <a:pt x="1247" y="68"/>
                    </a:lnTo>
                    <a:lnTo>
                      <a:pt x="1249" y="68"/>
                    </a:lnTo>
                    <a:lnTo>
                      <a:pt x="1249" y="68"/>
                    </a:lnTo>
                    <a:lnTo>
                      <a:pt x="1249" y="68"/>
                    </a:lnTo>
                    <a:lnTo>
                      <a:pt x="1242" y="68"/>
                    </a:lnTo>
                    <a:lnTo>
                      <a:pt x="1228" y="66"/>
                    </a:lnTo>
                    <a:lnTo>
                      <a:pt x="1216" y="66"/>
                    </a:lnTo>
                    <a:lnTo>
                      <a:pt x="1200" y="66"/>
                    </a:lnTo>
                    <a:lnTo>
                      <a:pt x="1195" y="66"/>
                    </a:lnTo>
                    <a:lnTo>
                      <a:pt x="1185" y="68"/>
                    </a:lnTo>
                    <a:lnTo>
                      <a:pt x="1183" y="68"/>
                    </a:lnTo>
                    <a:lnTo>
                      <a:pt x="1181" y="68"/>
                    </a:lnTo>
                    <a:lnTo>
                      <a:pt x="1181" y="71"/>
                    </a:lnTo>
                    <a:lnTo>
                      <a:pt x="1185" y="71"/>
                    </a:lnTo>
                    <a:lnTo>
                      <a:pt x="1185" y="71"/>
                    </a:lnTo>
                    <a:lnTo>
                      <a:pt x="1188" y="71"/>
                    </a:lnTo>
                    <a:lnTo>
                      <a:pt x="1188" y="71"/>
                    </a:lnTo>
                    <a:lnTo>
                      <a:pt x="1188" y="71"/>
                    </a:lnTo>
                    <a:lnTo>
                      <a:pt x="1185" y="73"/>
                    </a:lnTo>
                    <a:lnTo>
                      <a:pt x="1185" y="73"/>
                    </a:lnTo>
                    <a:lnTo>
                      <a:pt x="1188" y="75"/>
                    </a:lnTo>
                    <a:lnTo>
                      <a:pt x="1188" y="75"/>
                    </a:lnTo>
                    <a:lnTo>
                      <a:pt x="1188" y="78"/>
                    </a:lnTo>
                    <a:lnTo>
                      <a:pt x="1188" y="80"/>
                    </a:lnTo>
                    <a:lnTo>
                      <a:pt x="1188" y="80"/>
                    </a:lnTo>
                    <a:lnTo>
                      <a:pt x="1190" y="82"/>
                    </a:lnTo>
                    <a:lnTo>
                      <a:pt x="1192" y="82"/>
                    </a:lnTo>
                    <a:lnTo>
                      <a:pt x="1197" y="82"/>
                    </a:lnTo>
                    <a:lnTo>
                      <a:pt x="1197" y="82"/>
                    </a:lnTo>
                    <a:lnTo>
                      <a:pt x="1197" y="82"/>
                    </a:lnTo>
                    <a:lnTo>
                      <a:pt x="1192" y="82"/>
                    </a:lnTo>
                    <a:lnTo>
                      <a:pt x="1190" y="82"/>
                    </a:lnTo>
                    <a:lnTo>
                      <a:pt x="1188" y="80"/>
                    </a:lnTo>
                    <a:lnTo>
                      <a:pt x="1188" y="80"/>
                    </a:lnTo>
                    <a:lnTo>
                      <a:pt x="1188" y="80"/>
                    </a:lnTo>
                    <a:lnTo>
                      <a:pt x="1188" y="78"/>
                    </a:lnTo>
                    <a:lnTo>
                      <a:pt x="1188" y="75"/>
                    </a:lnTo>
                    <a:lnTo>
                      <a:pt x="1185" y="75"/>
                    </a:lnTo>
                    <a:lnTo>
                      <a:pt x="1183" y="71"/>
                    </a:lnTo>
                    <a:lnTo>
                      <a:pt x="1178" y="71"/>
                    </a:lnTo>
                    <a:lnTo>
                      <a:pt x="1176" y="68"/>
                    </a:lnTo>
                    <a:lnTo>
                      <a:pt x="1176" y="68"/>
                    </a:lnTo>
                    <a:lnTo>
                      <a:pt x="1176" y="66"/>
                    </a:lnTo>
                    <a:lnTo>
                      <a:pt x="1174" y="66"/>
                    </a:lnTo>
                    <a:lnTo>
                      <a:pt x="1169" y="63"/>
                    </a:lnTo>
                    <a:lnTo>
                      <a:pt x="1166" y="61"/>
                    </a:lnTo>
                    <a:lnTo>
                      <a:pt x="1164" y="61"/>
                    </a:lnTo>
                    <a:lnTo>
                      <a:pt x="1164" y="61"/>
                    </a:lnTo>
                    <a:lnTo>
                      <a:pt x="1166" y="63"/>
                    </a:lnTo>
                    <a:lnTo>
                      <a:pt x="1166" y="63"/>
                    </a:lnTo>
                    <a:lnTo>
                      <a:pt x="1166" y="63"/>
                    </a:lnTo>
                    <a:lnTo>
                      <a:pt x="1162" y="66"/>
                    </a:lnTo>
                    <a:lnTo>
                      <a:pt x="1159" y="66"/>
                    </a:lnTo>
                    <a:lnTo>
                      <a:pt x="1155" y="63"/>
                    </a:lnTo>
                    <a:lnTo>
                      <a:pt x="1148" y="63"/>
                    </a:lnTo>
                    <a:lnTo>
                      <a:pt x="1145" y="61"/>
                    </a:lnTo>
                    <a:lnTo>
                      <a:pt x="1143" y="61"/>
                    </a:lnTo>
                    <a:lnTo>
                      <a:pt x="1145" y="61"/>
                    </a:lnTo>
                    <a:lnTo>
                      <a:pt x="1145" y="59"/>
                    </a:lnTo>
                    <a:lnTo>
                      <a:pt x="1143" y="59"/>
                    </a:lnTo>
                    <a:lnTo>
                      <a:pt x="1140" y="59"/>
                    </a:lnTo>
                    <a:lnTo>
                      <a:pt x="1140" y="61"/>
                    </a:lnTo>
                    <a:lnTo>
                      <a:pt x="1138" y="61"/>
                    </a:lnTo>
                    <a:lnTo>
                      <a:pt x="1129" y="61"/>
                    </a:lnTo>
                    <a:lnTo>
                      <a:pt x="1129" y="61"/>
                    </a:lnTo>
                    <a:lnTo>
                      <a:pt x="1126" y="61"/>
                    </a:lnTo>
                    <a:lnTo>
                      <a:pt x="1126" y="61"/>
                    </a:lnTo>
                    <a:lnTo>
                      <a:pt x="1126" y="63"/>
                    </a:lnTo>
                    <a:lnTo>
                      <a:pt x="1126" y="63"/>
                    </a:lnTo>
                    <a:lnTo>
                      <a:pt x="1129" y="66"/>
                    </a:lnTo>
                    <a:lnTo>
                      <a:pt x="1133" y="66"/>
                    </a:lnTo>
                    <a:lnTo>
                      <a:pt x="1136" y="66"/>
                    </a:lnTo>
                    <a:lnTo>
                      <a:pt x="1140" y="63"/>
                    </a:lnTo>
                    <a:lnTo>
                      <a:pt x="1140" y="63"/>
                    </a:lnTo>
                    <a:lnTo>
                      <a:pt x="1143" y="66"/>
                    </a:lnTo>
                    <a:lnTo>
                      <a:pt x="1143" y="66"/>
                    </a:lnTo>
                    <a:lnTo>
                      <a:pt x="1138" y="66"/>
                    </a:lnTo>
                    <a:lnTo>
                      <a:pt x="1133" y="68"/>
                    </a:lnTo>
                    <a:lnTo>
                      <a:pt x="1131" y="71"/>
                    </a:lnTo>
                    <a:lnTo>
                      <a:pt x="1126" y="68"/>
                    </a:lnTo>
                    <a:lnTo>
                      <a:pt x="1126" y="71"/>
                    </a:lnTo>
                    <a:lnTo>
                      <a:pt x="1126" y="71"/>
                    </a:lnTo>
                    <a:lnTo>
                      <a:pt x="1119" y="71"/>
                    </a:lnTo>
                    <a:lnTo>
                      <a:pt x="1117" y="73"/>
                    </a:lnTo>
                    <a:lnTo>
                      <a:pt x="1117" y="73"/>
                    </a:lnTo>
                    <a:lnTo>
                      <a:pt x="1114" y="73"/>
                    </a:lnTo>
                    <a:lnTo>
                      <a:pt x="1114" y="73"/>
                    </a:lnTo>
                    <a:lnTo>
                      <a:pt x="1112" y="75"/>
                    </a:lnTo>
                    <a:lnTo>
                      <a:pt x="1107" y="75"/>
                    </a:lnTo>
                    <a:lnTo>
                      <a:pt x="1103" y="73"/>
                    </a:lnTo>
                    <a:lnTo>
                      <a:pt x="1096" y="75"/>
                    </a:lnTo>
                    <a:lnTo>
                      <a:pt x="1093" y="75"/>
                    </a:lnTo>
                    <a:lnTo>
                      <a:pt x="1093" y="75"/>
                    </a:lnTo>
                    <a:lnTo>
                      <a:pt x="1093" y="78"/>
                    </a:lnTo>
                    <a:lnTo>
                      <a:pt x="1093" y="78"/>
                    </a:lnTo>
                    <a:lnTo>
                      <a:pt x="1091" y="80"/>
                    </a:lnTo>
                    <a:lnTo>
                      <a:pt x="1088" y="80"/>
                    </a:lnTo>
                    <a:lnTo>
                      <a:pt x="1084" y="80"/>
                    </a:lnTo>
                    <a:lnTo>
                      <a:pt x="1086" y="80"/>
                    </a:lnTo>
                    <a:lnTo>
                      <a:pt x="1088" y="78"/>
                    </a:lnTo>
                    <a:lnTo>
                      <a:pt x="1088" y="73"/>
                    </a:lnTo>
                    <a:lnTo>
                      <a:pt x="1096" y="71"/>
                    </a:lnTo>
                    <a:lnTo>
                      <a:pt x="1096" y="71"/>
                    </a:lnTo>
                    <a:lnTo>
                      <a:pt x="1098" y="68"/>
                    </a:lnTo>
                    <a:lnTo>
                      <a:pt x="1098" y="66"/>
                    </a:lnTo>
                    <a:lnTo>
                      <a:pt x="1105" y="66"/>
                    </a:lnTo>
                    <a:lnTo>
                      <a:pt x="1110" y="66"/>
                    </a:lnTo>
                    <a:lnTo>
                      <a:pt x="1114" y="59"/>
                    </a:lnTo>
                    <a:lnTo>
                      <a:pt x="1119" y="59"/>
                    </a:lnTo>
                    <a:lnTo>
                      <a:pt x="1122" y="56"/>
                    </a:lnTo>
                    <a:lnTo>
                      <a:pt x="1122" y="56"/>
                    </a:lnTo>
                    <a:lnTo>
                      <a:pt x="1122" y="56"/>
                    </a:lnTo>
                    <a:lnTo>
                      <a:pt x="1119" y="56"/>
                    </a:lnTo>
                    <a:lnTo>
                      <a:pt x="1119" y="54"/>
                    </a:lnTo>
                    <a:lnTo>
                      <a:pt x="1122" y="54"/>
                    </a:lnTo>
                    <a:lnTo>
                      <a:pt x="1124" y="52"/>
                    </a:lnTo>
                    <a:lnTo>
                      <a:pt x="1129" y="52"/>
                    </a:lnTo>
                    <a:lnTo>
                      <a:pt x="1131" y="49"/>
                    </a:lnTo>
                    <a:lnTo>
                      <a:pt x="1136" y="47"/>
                    </a:lnTo>
                    <a:lnTo>
                      <a:pt x="1138" y="47"/>
                    </a:lnTo>
                    <a:lnTo>
                      <a:pt x="1145" y="45"/>
                    </a:lnTo>
                    <a:lnTo>
                      <a:pt x="1148" y="40"/>
                    </a:lnTo>
                    <a:lnTo>
                      <a:pt x="1148" y="35"/>
                    </a:lnTo>
                    <a:lnTo>
                      <a:pt x="1143" y="35"/>
                    </a:lnTo>
                    <a:lnTo>
                      <a:pt x="1140" y="35"/>
                    </a:lnTo>
                    <a:lnTo>
                      <a:pt x="1138" y="33"/>
                    </a:lnTo>
                    <a:lnTo>
                      <a:pt x="1136" y="33"/>
                    </a:lnTo>
                    <a:lnTo>
                      <a:pt x="1136" y="35"/>
                    </a:lnTo>
                    <a:lnTo>
                      <a:pt x="1129" y="30"/>
                    </a:lnTo>
                    <a:lnTo>
                      <a:pt x="1124" y="30"/>
                    </a:lnTo>
                    <a:lnTo>
                      <a:pt x="1124" y="30"/>
                    </a:lnTo>
                    <a:lnTo>
                      <a:pt x="1124" y="30"/>
                    </a:lnTo>
                    <a:lnTo>
                      <a:pt x="1126" y="30"/>
                    </a:lnTo>
                    <a:lnTo>
                      <a:pt x="1133" y="33"/>
                    </a:lnTo>
                    <a:lnTo>
                      <a:pt x="1138" y="33"/>
                    </a:lnTo>
                    <a:lnTo>
                      <a:pt x="1140" y="33"/>
                    </a:lnTo>
                    <a:lnTo>
                      <a:pt x="1140" y="33"/>
                    </a:lnTo>
                    <a:lnTo>
                      <a:pt x="1140" y="35"/>
                    </a:lnTo>
                    <a:lnTo>
                      <a:pt x="1143" y="35"/>
                    </a:lnTo>
                    <a:lnTo>
                      <a:pt x="1143" y="33"/>
                    </a:lnTo>
                    <a:lnTo>
                      <a:pt x="1143" y="33"/>
                    </a:lnTo>
                    <a:lnTo>
                      <a:pt x="1140" y="30"/>
                    </a:lnTo>
                    <a:lnTo>
                      <a:pt x="1138" y="28"/>
                    </a:lnTo>
                    <a:lnTo>
                      <a:pt x="1136" y="28"/>
                    </a:lnTo>
                    <a:lnTo>
                      <a:pt x="1131" y="26"/>
                    </a:lnTo>
                    <a:lnTo>
                      <a:pt x="1129" y="23"/>
                    </a:lnTo>
                    <a:lnTo>
                      <a:pt x="1126" y="23"/>
                    </a:lnTo>
                    <a:lnTo>
                      <a:pt x="1124" y="23"/>
                    </a:lnTo>
                    <a:lnTo>
                      <a:pt x="1122" y="23"/>
                    </a:lnTo>
                    <a:lnTo>
                      <a:pt x="1124" y="23"/>
                    </a:lnTo>
                    <a:lnTo>
                      <a:pt x="1126" y="23"/>
                    </a:lnTo>
                    <a:lnTo>
                      <a:pt x="1126" y="26"/>
                    </a:lnTo>
                    <a:lnTo>
                      <a:pt x="1126" y="26"/>
                    </a:lnTo>
                    <a:lnTo>
                      <a:pt x="1124" y="26"/>
                    </a:lnTo>
                    <a:lnTo>
                      <a:pt x="1122" y="26"/>
                    </a:lnTo>
                    <a:lnTo>
                      <a:pt x="1122" y="26"/>
                    </a:lnTo>
                    <a:lnTo>
                      <a:pt x="1122" y="26"/>
                    </a:lnTo>
                    <a:lnTo>
                      <a:pt x="1119" y="23"/>
                    </a:lnTo>
                    <a:lnTo>
                      <a:pt x="1119" y="23"/>
                    </a:lnTo>
                    <a:lnTo>
                      <a:pt x="1114" y="21"/>
                    </a:lnTo>
                    <a:lnTo>
                      <a:pt x="1112" y="21"/>
                    </a:lnTo>
                    <a:lnTo>
                      <a:pt x="1110" y="21"/>
                    </a:lnTo>
                    <a:lnTo>
                      <a:pt x="1107" y="21"/>
                    </a:lnTo>
                    <a:lnTo>
                      <a:pt x="1107" y="21"/>
                    </a:lnTo>
                    <a:lnTo>
                      <a:pt x="1107" y="21"/>
                    </a:lnTo>
                    <a:lnTo>
                      <a:pt x="1107" y="18"/>
                    </a:lnTo>
                    <a:lnTo>
                      <a:pt x="1103" y="18"/>
                    </a:lnTo>
                    <a:lnTo>
                      <a:pt x="1100" y="18"/>
                    </a:lnTo>
                    <a:lnTo>
                      <a:pt x="1098" y="16"/>
                    </a:lnTo>
                    <a:lnTo>
                      <a:pt x="1093" y="16"/>
                    </a:lnTo>
                    <a:lnTo>
                      <a:pt x="1091" y="16"/>
                    </a:lnTo>
                    <a:lnTo>
                      <a:pt x="1081" y="16"/>
                    </a:lnTo>
                    <a:lnTo>
                      <a:pt x="1077" y="16"/>
                    </a:lnTo>
                    <a:lnTo>
                      <a:pt x="1067" y="16"/>
                    </a:lnTo>
                    <a:lnTo>
                      <a:pt x="1060" y="16"/>
                    </a:lnTo>
                    <a:lnTo>
                      <a:pt x="1055" y="16"/>
                    </a:lnTo>
                    <a:lnTo>
                      <a:pt x="1053" y="16"/>
                    </a:lnTo>
                    <a:lnTo>
                      <a:pt x="1053" y="16"/>
                    </a:lnTo>
                    <a:lnTo>
                      <a:pt x="1053" y="16"/>
                    </a:lnTo>
                    <a:lnTo>
                      <a:pt x="1053" y="18"/>
                    </a:lnTo>
                    <a:lnTo>
                      <a:pt x="1053" y="18"/>
                    </a:lnTo>
                    <a:lnTo>
                      <a:pt x="1051" y="18"/>
                    </a:lnTo>
                    <a:lnTo>
                      <a:pt x="1046" y="18"/>
                    </a:lnTo>
                    <a:lnTo>
                      <a:pt x="1041" y="18"/>
                    </a:lnTo>
                    <a:lnTo>
                      <a:pt x="1039" y="18"/>
                    </a:lnTo>
                    <a:lnTo>
                      <a:pt x="1036" y="18"/>
                    </a:lnTo>
                    <a:lnTo>
                      <a:pt x="1034" y="18"/>
                    </a:lnTo>
                    <a:lnTo>
                      <a:pt x="1036" y="18"/>
                    </a:lnTo>
                    <a:lnTo>
                      <a:pt x="1039" y="18"/>
                    </a:lnTo>
                    <a:lnTo>
                      <a:pt x="1039" y="16"/>
                    </a:lnTo>
                    <a:lnTo>
                      <a:pt x="1041" y="14"/>
                    </a:lnTo>
                    <a:lnTo>
                      <a:pt x="1041" y="11"/>
                    </a:lnTo>
                    <a:lnTo>
                      <a:pt x="1039" y="11"/>
                    </a:lnTo>
                    <a:lnTo>
                      <a:pt x="1034" y="11"/>
                    </a:lnTo>
                    <a:lnTo>
                      <a:pt x="1032" y="11"/>
                    </a:lnTo>
                    <a:lnTo>
                      <a:pt x="1032" y="11"/>
                    </a:lnTo>
                    <a:lnTo>
                      <a:pt x="1025" y="11"/>
                    </a:lnTo>
                    <a:lnTo>
                      <a:pt x="1022" y="11"/>
                    </a:lnTo>
                    <a:lnTo>
                      <a:pt x="1020" y="11"/>
                    </a:lnTo>
                    <a:lnTo>
                      <a:pt x="1017" y="11"/>
                    </a:lnTo>
                    <a:lnTo>
                      <a:pt x="1015" y="9"/>
                    </a:lnTo>
                    <a:lnTo>
                      <a:pt x="1013" y="9"/>
                    </a:lnTo>
                    <a:lnTo>
                      <a:pt x="999" y="9"/>
                    </a:lnTo>
                    <a:lnTo>
                      <a:pt x="999" y="9"/>
                    </a:lnTo>
                    <a:lnTo>
                      <a:pt x="1006" y="9"/>
                    </a:lnTo>
                    <a:lnTo>
                      <a:pt x="1010" y="7"/>
                    </a:lnTo>
                    <a:lnTo>
                      <a:pt x="1013" y="7"/>
                    </a:lnTo>
                    <a:lnTo>
                      <a:pt x="1015" y="4"/>
                    </a:lnTo>
                    <a:lnTo>
                      <a:pt x="1013" y="4"/>
                    </a:lnTo>
                    <a:lnTo>
                      <a:pt x="1013" y="4"/>
                    </a:lnTo>
                    <a:lnTo>
                      <a:pt x="1008" y="2"/>
                    </a:lnTo>
                    <a:lnTo>
                      <a:pt x="1003" y="2"/>
                    </a:lnTo>
                    <a:lnTo>
                      <a:pt x="999" y="2"/>
                    </a:lnTo>
                    <a:lnTo>
                      <a:pt x="996" y="2"/>
                    </a:lnTo>
                    <a:lnTo>
                      <a:pt x="987" y="0"/>
                    </a:lnTo>
                    <a:lnTo>
                      <a:pt x="984" y="0"/>
                    </a:lnTo>
                    <a:lnTo>
                      <a:pt x="982" y="2"/>
                    </a:lnTo>
                    <a:lnTo>
                      <a:pt x="977" y="2"/>
                    </a:lnTo>
                    <a:lnTo>
                      <a:pt x="975" y="2"/>
                    </a:lnTo>
                    <a:lnTo>
                      <a:pt x="972" y="2"/>
                    </a:lnTo>
                    <a:lnTo>
                      <a:pt x="963" y="9"/>
                    </a:lnTo>
                    <a:lnTo>
                      <a:pt x="963" y="9"/>
                    </a:lnTo>
                    <a:lnTo>
                      <a:pt x="963" y="11"/>
                    </a:lnTo>
                    <a:lnTo>
                      <a:pt x="961" y="11"/>
                    </a:lnTo>
                    <a:lnTo>
                      <a:pt x="961" y="14"/>
                    </a:lnTo>
                    <a:lnTo>
                      <a:pt x="963" y="14"/>
                    </a:lnTo>
                    <a:lnTo>
                      <a:pt x="965" y="14"/>
                    </a:lnTo>
                    <a:lnTo>
                      <a:pt x="968" y="16"/>
                    </a:lnTo>
                    <a:lnTo>
                      <a:pt x="968" y="16"/>
                    </a:lnTo>
                    <a:lnTo>
                      <a:pt x="968" y="18"/>
                    </a:lnTo>
                    <a:lnTo>
                      <a:pt x="970" y="18"/>
                    </a:lnTo>
                    <a:lnTo>
                      <a:pt x="972" y="18"/>
                    </a:lnTo>
                    <a:lnTo>
                      <a:pt x="980" y="18"/>
                    </a:lnTo>
                    <a:lnTo>
                      <a:pt x="977" y="21"/>
                    </a:lnTo>
                    <a:lnTo>
                      <a:pt x="975" y="18"/>
                    </a:lnTo>
                    <a:lnTo>
                      <a:pt x="970" y="18"/>
                    </a:lnTo>
                    <a:lnTo>
                      <a:pt x="968" y="18"/>
                    </a:lnTo>
                    <a:lnTo>
                      <a:pt x="963" y="18"/>
                    </a:lnTo>
                    <a:lnTo>
                      <a:pt x="956" y="18"/>
                    </a:lnTo>
                    <a:lnTo>
                      <a:pt x="954" y="18"/>
                    </a:lnTo>
                    <a:lnTo>
                      <a:pt x="944" y="18"/>
                    </a:lnTo>
                    <a:lnTo>
                      <a:pt x="944" y="18"/>
                    </a:lnTo>
                    <a:lnTo>
                      <a:pt x="946" y="21"/>
                    </a:lnTo>
                    <a:lnTo>
                      <a:pt x="949" y="21"/>
                    </a:lnTo>
                    <a:lnTo>
                      <a:pt x="956" y="23"/>
                    </a:lnTo>
                    <a:lnTo>
                      <a:pt x="958" y="23"/>
                    </a:lnTo>
                    <a:lnTo>
                      <a:pt x="961" y="26"/>
                    </a:lnTo>
                    <a:lnTo>
                      <a:pt x="965" y="28"/>
                    </a:lnTo>
                    <a:lnTo>
                      <a:pt x="965" y="30"/>
                    </a:lnTo>
                    <a:lnTo>
                      <a:pt x="965" y="30"/>
                    </a:lnTo>
                    <a:lnTo>
                      <a:pt x="963" y="30"/>
                    </a:lnTo>
                    <a:lnTo>
                      <a:pt x="963" y="30"/>
                    </a:lnTo>
                    <a:lnTo>
                      <a:pt x="963" y="30"/>
                    </a:lnTo>
                    <a:lnTo>
                      <a:pt x="963" y="28"/>
                    </a:lnTo>
                    <a:lnTo>
                      <a:pt x="963" y="26"/>
                    </a:lnTo>
                    <a:lnTo>
                      <a:pt x="961" y="26"/>
                    </a:lnTo>
                    <a:lnTo>
                      <a:pt x="961" y="26"/>
                    </a:lnTo>
                    <a:lnTo>
                      <a:pt x="958" y="26"/>
                    </a:lnTo>
                    <a:lnTo>
                      <a:pt x="954" y="23"/>
                    </a:lnTo>
                    <a:lnTo>
                      <a:pt x="951" y="23"/>
                    </a:lnTo>
                    <a:lnTo>
                      <a:pt x="946" y="23"/>
                    </a:lnTo>
                    <a:lnTo>
                      <a:pt x="946" y="23"/>
                    </a:lnTo>
                    <a:lnTo>
                      <a:pt x="942" y="23"/>
                    </a:lnTo>
                    <a:lnTo>
                      <a:pt x="942" y="26"/>
                    </a:lnTo>
                    <a:lnTo>
                      <a:pt x="939" y="26"/>
                    </a:lnTo>
                    <a:lnTo>
                      <a:pt x="939" y="26"/>
                    </a:lnTo>
                    <a:lnTo>
                      <a:pt x="937" y="26"/>
                    </a:lnTo>
                    <a:lnTo>
                      <a:pt x="937" y="26"/>
                    </a:lnTo>
                    <a:lnTo>
                      <a:pt x="935" y="28"/>
                    </a:lnTo>
                    <a:lnTo>
                      <a:pt x="932" y="26"/>
                    </a:lnTo>
                    <a:lnTo>
                      <a:pt x="932" y="28"/>
                    </a:lnTo>
                    <a:lnTo>
                      <a:pt x="928" y="28"/>
                    </a:lnTo>
                    <a:lnTo>
                      <a:pt x="925" y="28"/>
                    </a:lnTo>
                    <a:lnTo>
                      <a:pt x="925" y="28"/>
                    </a:lnTo>
                    <a:lnTo>
                      <a:pt x="925" y="28"/>
                    </a:lnTo>
                    <a:lnTo>
                      <a:pt x="923" y="28"/>
                    </a:lnTo>
                    <a:lnTo>
                      <a:pt x="918" y="28"/>
                    </a:lnTo>
                    <a:lnTo>
                      <a:pt x="916" y="30"/>
                    </a:lnTo>
                    <a:lnTo>
                      <a:pt x="913" y="28"/>
                    </a:lnTo>
                    <a:lnTo>
                      <a:pt x="916" y="28"/>
                    </a:lnTo>
                    <a:lnTo>
                      <a:pt x="916" y="26"/>
                    </a:lnTo>
                    <a:lnTo>
                      <a:pt x="913" y="26"/>
                    </a:lnTo>
                    <a:lnTo>
                      <a:pt x="909" y="26"/>
                    </a:lnTo>
                    <a:lnTo>
                      <a:pt x="906" y="26"/>
                    </a:lnTo>
                    <a:lnTo>
                      <a:pt x="904" y="26"/>
                    </a:lnTo>
                    <a:lnTo>
                      <a:pt x="897" y="26"/>
                    </a:lnTo>
                    <a:lnTo>
                      <a:pt x="897" y="26"/>
                    </a:lnTo>
                    <a:lnTo>
                      <a:pt x="894" y="26"/>
                    </a:lnTo>
                    <a:lnTo>
                      <a:pt x="892" y="26"/>
                    </a:lnTo>
                    <a:lnTo>
                      <a:pt x="887" y="26"/>
                    </a:lnTo>
                    <a:lnTo>
                      <a:pt x="887" y="26"/>
                    </a:lnTo>
                    <a:lnTo>
                      <a:pt x="883" y="26"/>
                    </a:lnTo>
                    <a:lnTo>
                      <a:pt x="880" y="26"/>
                    </a:lnTo>
                    <a:lnTo>
                      <a:pt x="880" y="28"/>
                    </a:lnTo>
                    <a:lnTo>
                      <a:pt x="878" y="26"/>
                    </a:lnTo>
                    <a:lnTo>
                      <a:pt x="878" y="28"/>
                    </a:lnTo>
                    <a:lnTo>
                      <a:pt x="880" y="28"/>
                    </a:lnTo>
                    <a:lnTo>
                      <a:pt x="880" y="28"/>
                    </a:lnTo>
                    <a:lnTo>
                      <a:pt x="883" y="28"/>
                    </a:lnTo>
                    <a:lnTo>
                      <a:pt x="883" y="28"/>
                    </a:lnTo>
                    <a:lnTo>
                      <a:pt x="883" y="28"/>
                    </a:lnTo>
                    <a:lnTo>
                      <a:pt x="885" y="28"/>
                    </a:lnTo>
                    <a:lnTo>
                      <a:pt x="887" y="28"/>
                    </a:lnTo>
                    <a:lnTo>
                      <a:pt x="887" y="28"/>
                    </a:lnTo>
                    <a:lnTo>
                      <a:pt x="890" y="28"/>
                    </a:lnTo>
                    <a:lnTo>
                      <a:pt x="894" y="28"/>
                    </a:lnTo>
                    <a:lnTo>
                      <a:pt x="894" y="28"/>
                    </a:lnTo>
                    <a:lnTo>
                      <a:pt x="890" y="30"/>
                    </a:lnTo>
                    <a:lnTo>
                      <a:pt x="878" y="30"/>
                    </a:lnTo>
                    <a:lnTo>
                      <a:pt x="876" y="30"/>
                    </a:lnTo>
                    <a:lnTo>
                      <a:pt x="868" y="33"/>
                    </a:lnTo>
                    <a:lnTo>
                      <a:pt x="866" y="33"/>
                    </a:lnTo>
                    <a:lnTo>
                      <a:pt x="861" y="33"/>
                    </a:lnTo>
                    <a:lnTo>
                      <a:pt x="852" y="35"/>
                    </a:lnTo>
                    <a:lnTo>
                      <a:pt x="845" y="35"/>
                    </a:lnTo>
                    <a:lnTo>
                      <a:pt x="842" y="35"/>
                    </a:lnTo>
                    <a:lnTo>
                      <a:pt x="835" y="37"/>
                    </a:lnTo>
                    <a:lnTo>
                      <a:pt x="835" y="40"/>
                    </a:lnTo>
                    <a:lnTo>
                      <a:pt x="826" y="42"/>
                    </a:lnTo>
                    <a:lnTo>
                      <a:pt x="819" y="40"/>
                    </a:lnTo>
                    <a:lnTo>
                      <a:pt x="816" y="40"/>
                    </a:lnTo>
                    <a:lnTo>
                      <a:pt x="816" y="42"/>
                    </a:lnTo>
                    <a:lnTo>
                      <a:pt x="819" y="42"/>
                    </a:lnTo>
                    <a:lnTo>
                      <a:pt x="821" y="42"/>
                    </a:lnTo>
                    <a:lnTo>
                      <a:pt x="823" y="42"/>
                    </a:lnTo>
                    <a:lnTo>
                      <a:pt x="826" y="45"/>
                    </a:lnTo>
                    <a:lnTo>
                      <a:pt x="826" y="45"/>
                    </a:lnTo>
                    <a:lnTo>
                      <a:pt x="823" y="47"/>
                    </a:lnTo>
                    <a:lnTo>
                      <a:pt x="821" y="49"/>
                    </a:lnTo>
                    <a:lnTo>
                      <a:pt x="819" y="49"/>
                    </a:lnTo>
                    <a:lnTo>
                      <a:pt x="812" y="47"/>
                    </a:lnTo>
                    <a:lnTo>
                      <a:pt x="812" y="47"/>
                    </a:lnTo>
                    <a:lnTo>
                      <a:pt x="812" y="49"/>
                    </a:lnTo>
                    <a:lnTo>
                      <a:pt x="809" y="47"/>
                    </a:lnTo>
                    <a:lnTo>
                      <a:pt x="809" y="49"/>
                    </a:lnTo>
                    <a:lnTo>
                      <a:pt x="814" y="49"/>
                    </a:lnTo>
                    <a:lnTo>
                      <a:pt x="819" y="52"/>
                    </a:lnTo>
                    <a:lnTo>
                      <a:pt x="823" y="52"/>
                    </a:lnTo>
                    <a:lnTo>
                      <a:pt x="826" y="52"/>
                    </a:lnTo>
                    <a:lnTo>
                      <a:pt x="828" y="54"/>
                    </a:lnTo>
                    <a:lnTo>
                      <a:pt x="831" y="54"/>
                    </a:lnTo>
                    <a:lnTo>
                      <a:pt x="828" y="54"/>
                    </a:lnTo>
                    <a:lnTo>
                      <a:pt x="823" y="54"/>
                    </a:lnTo>
                    <a:lnTo>
                      <a:pt x="821" y="54"/>
                    </a:lnTo>
                    <a:lnTo>
                      <a:pt x="819" y="52"/>
                    </a:lnTo>
                    <a:lnTo>
                      <a:pt x="816" y="54"/>
                    </a:lnTo>
                    <a:lnTo>
                      <a:pt x="816" y="54"/>
                    </a:lnTo>
                    <a:lnTo>
                      <a:pt x="819" y="56"/>
                    </a:lnTo>
                    <a:lnTo>
                      <a:pt x="823" y="56"/>
                    </a:lnTo>
                    <a:lnTo>
                      <a:pt x="826" y="56"/>
                    </a:lnTo>
                    <a:lnTo>
                      <a:pt x="838" y="63"/>
                    </a:lnTo>
                    <a:lnTo>
                      <a:pt x="840" y="63"/>
                    </a:lnTo>
                    <a:lnTo>
                      <a:pt x="842" y="63"/>
                    </a:lnTo>
                    <a:lnTo>
                      <a:pt x="842" y="63"/>
                    </a:lnTo>
                    <a:lnTo>
                      <a:pt x="842" y="63"/>
                    </a:lnTo>
                    <a:lnTo>
                      <a:pt x="840" y="66"/>
                    </a:lnTo>
                    <a:lnTo>
                      <a:pt x="840" y="66"/>
                    </a:lnTo>
                    <a:lnTo>
                      <a:pt x="831" y="68"/>
                    </a:lnTo>
                    <a:lnTo>
                      <a:pt x="828" y="68"/>
                    </a:lnTo>
                    <a:lnTo>
                      <a:pt x="828" y="68"/>
                    </a:lnTo>
                    <a:lnTo>
                      <a:pt x="828" y="68"/>
                    </a:lnTo>
                    <a:lnTo>
                      <a:pt x="826" y="71"/>
                    </a:lnTo>
                    <a:lnTo>
                      <a:pt x="828" y="71"/>
                    </a:lnTo>
                    <a:lnTo>
                      <a:pt x="828" y="71"/>
                    </a:lnTo>
                    <a:lnTo>
                      <a:pt x="831" y="73"/>
                    </a:lnTo>
                    <a:lnTo>
                      <a:pt x="840" y="75"/>
                    </a:lnTo>
                    <a:lnTo>
                      <a:pt x="840" y="75"/>
                    </a:lnTo>
                    <a:lnTo>
                      <a:pt x="838" y="75"/>
                    </a:lnTo>
                    <a:lnTo>
                      <a:pt x="835" y="73"/>
                    </a:lnTo>
                    <a:lnTo>
                      <a:pt x="831" y="73"/>
                    </a:lnTo>
                    <a:lnTo>
                      <a:pt x="828" y="71"/>
                    </a:lnTo>
                    <a:lnTo>
                      <a:pt x="826" y="71"/>
                    </a:lnTo>
                    <a:lnTo>
                      <a:pt x="826" y="71"/>
                    </a:lnTo>
                    <a:lnTo>
                      <a:pt x="826" y="68"/>
                    </a:lnTo>
                    <a:lnTo>
                      <a:pt x="826" y="68"/>
                    </a:lnTo>
                    <a:lnTo>
                      <a:pt x="828" y="68"/>
                    </a:lnTo>
                    <a:lnTo>
                      <a:pt x="831" y="66"/>
                    </a:lnTo>
                    <a:lnTo>
                      <a:pt x="833" y="66"/>
                    </a:lnTo>
                    <a:lnTo>
                      <a:pt x="835" y="63"/>
                    </a:lnTo>
                    <a:lnTo>
                      <a:pt x="835" y="63"/>
                    </a:lnTo>
                    <a:lnTo>
                      <a:pt x="833" y="61"/>
                    </a:lnTo>
                    <a:lnTo>
                      <a:pt x="831" y="61"/>
                    </a:lnTo>
                    <a:lnTo>
                      <a:pt x="821" y="63"/>
                    </a:lnTo>
                    <a:lnTo>
                      <a:pt x="819" y="63"/>
                    </a:lnTo>
                    <a:lnTo>
                      <a:pt x="816" y="66"/>
                    </a:lnTo>
                    <a:lnTo>
                      <a:pt x="814" y="66"/>
                    </a:lnTo>
                    <a:lnTo>
                      <a:pt x="812" y="66"/>
                    </a:lnTo>
                    <a:lnTo>
                      <a:pt x="807" y="63"/>
                    </a:lnTo>
                    <a:lnTo>
                      <a:pt x="805" y="66"/>
                    </a:lnTo>
                    <a:lnTo>
                      <a:pt x="795" y="66"/>
                    </a:lnTo>
                    <a:lnTo>
                      <a:pt x="793" y="66"/>
                    </a:lnTo>
                    <a:lnTo>
                      <a:pt x="771" y="66"/>
                    </a:lnTo>
                    <a:lnTo>
                      <a:pt x="767" y="66"/>
                    </a:lnTo>
                    <a:lnTo>
                      <a:pt x="757" y="68"/>
                    </a:lnTo>
                    <a:lnTo>
                      <a:pt x="757" y="68"/>
                    </a:lnTo>
                    <a:lnTo>
                      <a:pt x="757" y="68"/>
                    </a:lnTo>
                    <a:lnTo>
                      <a:pt x="757" y="71"/>
                    </a:lnTo>
                    <a:lnTo>
                      <a:pt x="757" y="71"/>
                    </a:lnTo>
                    <a:lnTo>
                      <a:pt x="757" y="73"/>
                    </a:lnTo>
                    <a:lnTo>
                      <a:pt x="760" y="73"/>
                    </a:lnTo>
                    <a:lnTo>
                      <a:pt x="760" y="75"/>
                    </a:lnTo>
                    <a:lnTo>
                      <a:pt x="762" y="75"/>
                    </a:lnTo>
                    <a:lnTo>
                      <a:pt x="764" y="75"/>
                    </a:lnTo>
                    <a:lnTo>
                      <a:pt x="767" y="78"/>
                    </a:lnTo>
                    <a:lnTo>
                      <a:pt x="767" y="78"/>
                    </a:lnTo>
                    <a:lnTo>
                      <a:pt x="767" y="80"/>
                    </a:lnTo>
                    <a:lnTo>
                      <a:pt x="767" y="80"/>
                    </a:lnTo>
                    <a:lnTo>
                      <a:pt x="769" y="82"/>
                    </a:lnTo>
                    <a:lnTo>
                      <a:pt x="769" y="82"/>
                    </a:lnTo>
                    <a:lnTo>
                      <a:pt x="771" y="85"/>
                    </a:lnTo>
                    <a:lnTo>
                      <a:pt x="774" y="85"/>
                    </a:lnTo>
                    <a:lnTo>
                      <a:pt x="779" y="87"/>
                    </a:lnTo>
                    <a:lnTo>
                      <a:pt x="781" y="87"/>
                    </a:lnTo>
                    <a:lnTo>
                      <a:pt x="783" y="87"/>
                    </a:lnTo>
                    <a:lnTo>
                      <a:pt x="788" y="90"/>
                    </a:lnTo>
                    <a:lnTo>
                      <a:pt x="793" y="90"/>
                    </a:lnTo>
                    <a:lnTo>
                      <a:pt x="793" y="90"/>
                    </a:lnTo>
                    <a:lnTo>
                      <a:pt x="795" y="90"/>
                    </a:lnTo>
                    <a:lnTo>
                      <a:pt x="797" y="92"/>
                    </a:lnTo>
                    <a:lnTo>
                      <a:pt x="797" y="92"/>
                    </a:lnTo>
                    <a:lnTo>
                      <a:pt x="802" y="97"/>
                    </a:lnTo>
                    <a:lnTo>
                      <a:pt x="805" y="97"/>
                    </a:lnTo>
                    <a:lnTo>
                      <a:pt x="812" y="97"/>
                    </a:lnTo>
                    <a:lnTo>
                      <a:pt x="814" y="97"/>
                    </a:lnTo>
                    <a:lnTo>
                      <a:pt x="819" y="99"/>
                    </a:lnTo>
                    <a:lnTo>
                      <a:pt x="819" y="101"/>
                    </a:lnTo>
                    <a:lnTo>
                      <a:pt x="819" y="101"/>
                    </a:lnTo>
                    <a:lnTo>
                      <a:pt x="819" y="101"/>
                    </a:lnTo>
                    <a:lnTo>
                      <a:pt x="819" y="104"/>
                    </a:lnTo>
                    <a:lnTo>
                      <a:pt x="819" y="104"/>
                    </a:lnTo>
                    <a:lnTo>
                      <a:pt x="819" y="106"/>
                    </a:lnTo>
                    <a:lnTo>
                      <a:pt x="819" y="111"/>
                    </a:lnTo>
                    <a:lnTo>
                      <a:pt x="823" y="111"/>
                    </a:lnTo>
                    <a:lnTo>
                      <a:pt x="828" y="116"/>
                    </a:lnTo>
                    <a:lnTo>
                      <a:pt x="831" y="118"/>
                    </a:lnTo>
                    <a:lnTo>
                      <a:pt x="833" y="120"/>
                    </a:lnTo>
                    <a:lnTo>
                      <a:pt x="835" y="120"/>
                    </a:lnTo>
                    <a:lnTo>
                      <a:pt x="835" y="123"/>
                    </a:lnTo>
                    <a:lnTo>
                      <a:pt x="833" y="123"/>
                    </a:lnTo>
                    <a:lnTo>
                      <a:pt x="831" y="123"/>
                    </a:lnTo>
                    <a:lnTo>
                      <a:pt x="828" y="125"/>
                    </a:lnTo>
                    <a:lnTo>
                      <a:pt x="828" y="125"/>
                    </a:lnTo>
                    <a:lnTo>
                      <a:pt x="831" y="127"/>
                    </a:lnTo>
                    <a:lnTo>
                      <a:pt x="831" y="127"/>
                    </a:lnTo>
                    <a:lnTo>
                      <a:pt x="831" y="127"/>
                    </a:lnTo>
                    <a:lnTo>
                      <a:pt x="828" y="127"/>
                    </a:lnTo>
                    <a:lnTo>
                      <a:pt x="828" y="127"/>
                    </a:lnTo>
                    <a:lnTo>
                      <a:pt x="826" y="127"/>
                    </a:lnTo>
                    <a:lnTo>
                      <a:pt x="823" y="125"/>
                    </a:lnTo>
                    <a:lnTo>
                      <a:pt x="823" y="125"/>
                    </a:lnTo>
                    <a:lnTo>
                      <a:pt x="823" y="123"/>
                    </a:lnTo>
                    <a:lnTo>
                      <a:pt x="823" y="118"/>
                    </a:lnTo>
                    <a:lnTo>
                      <a:pt x="823" y="118"/>
                    </a:lnTo>
                    <a:lnTo>
                      <a:pt x="821" y="116"/>
                    </a:lnTo>
                    <a:lnTo>
                      <a:pt x="821" y="113"/>
                    </a:lnTo>
                    <a:lnTo>
                      <a:pt x="816" y="113"/>
                    </a:lnTo>
                    <a:lnTo>
                      <a:pt x="816" y="113"/>
                    </a:lnTo>
                    <a:lnTo>
                      <a:pt x="814" y="113"/>
                    </a:lnTo>
                    <a:lnTo>
                      <a:pt x="814" y="118"/>
                    </a:lnTo>
                    <a:lnTo>
                      <a:pt x="814" y="120"/>
                    </a:lnTo>
                    <a:lnTo>
                      <a:pt x="814" y="120"/>
                    </a:lnTo>
                    <a:lnTo>
                      <a:pt x="814" y="120"/>
                    </a:lnTo>
                    <a:lnTo>
                      <a:pt x="816" y="123"/>
                    </a:lnTo>
                    <a:lnTo>
                      <a:pt x="814" y="120"/>
                    </a:lnTo>
                    <a:lnTo>
                      <a:pt x="812" y="118"/>
                    </a:lnTo>
                    <a:lnTo>
                      <a:pt x="812" y="116"/>
                    </a:lnTo>
                    <a:lnTo>
                      <a:pt x="812" y="116"/>
                    </a:lnTo>
                    <a:lnTo>
                      <a:pt x="812" y="113"/>
                    </a:lnTo>
                    <a:lnTo>
                      <a:pt x="809" y="111"/>
                    </a:lnTo>
                    <a:lnTo>
                      <a:pt x="809" y="111"/>
                    </a:lnTo>
                    <a:lnTo>
                      <a:pt x="809" y="111"/>
                    </a:lnTo>
                    <a:lnTo>
                      <a:pt x="807" y="106"/>
                    </a:lnTo>
                    <a:lnTo>
                      <a:pt x="809" y="106"/>
                    </a:lnTo>
                    <a:lnTo>
                      <a:pt x="812" y="104"/>
                    </a:lnTo>
                    <a:lnTo>
                      <a:pt x="814" y="104"/>
                    </a:lnTo>
                    <a:lnTo>
                      <a:pt x="814" y="101"/>
                    </a:lnTo>
                    <a:lnTo>
                      <a:pt x="814" y="101"/>
                    </a:lnTo>
                    <a:lnTo>
                      <a:pt x="814" y="99"/>
                    </a:lnTo>
                    <a:lnTo>
                      <a:pt x="812" y="99"/>
                    </a:lnTo>
                    <a:lnTo>
                      <a:pt x="809" y="99"/>
                    </a:lnTo>
                    <a:lnTo>
                      <a:pt x="807" y="99"/>
                    </a:lnTo>
                    <a:lnTo>
                      <a:pt x="805" y="99"/>
                    </a:lnTo>
                    <a:lnTo>
                      <a:pt x="797" y="99"/>
                    </a:lnTo>
                    <a:lnTo>
                      <a:pt x="793" y="99"/>
                    </a:lnTo>
                    <a:lnTo>
                      <a:pt x="790" y="99"/>
                    </a:lnTo>
                    <a:lnTo>
                      <a:pt x="779" y="94"/>
                    </a:lnTo>
                    <a:lnTo>
                      <a:pt x="779" y="94"/>
                    </a:lnTo>
                    <a:lnTo>
                      <a:pt x="776" y="92"/>
                    </a:lnTo>
                    <a:lnTo>
                      <a:pt x="776" y="92"/>
                    </a:lnTo>
                    <a:lnTo>
                      <a:pt x="771" y="92"/>
                    </a:lnTo>
                    <a:lnTo>
                      <a:pt x="764" y="90"/>
                    </a:lnTo>
                    <a:lnTo>
                      <a:pt x="755" y="87"/>
                    </a:lnTo>
                    <a:lnTo>
                      <a:pt x="743" y="87"/>
                    </a:lnTo>
                    <a:lnTo>
                      <a:pt x="741" y="87"/>
                    </a:lnTo>
                    <a:lnTo>
                      <a:pt x="738" y="90"/>
                    </a:lnTo>
                    <a:lnTo>
                      <a:pt x="736" y="90"/>
                    </a:lnTo>
                    <a:lnTo>
                      <a:pt x="734" y="92"/>
                    </a:lnTo>
                    <a:lnTo>
                      <a:pt x="734" y="92"/>
                    </a:lnTo>
                    <a:lnTo>
                      <a:pt x="734" y="92"/>
                    </a:lnTo>
                    <a:lnTo>
                      <a:pt x="734" y="92"/>
                    </a:lnTo>
                    <a:lnTo>
                      <a:pt x="734" y="92"/>
                    </a:lnTo>
                    <a:lnTo>
                      <a:pt x="738" y="92"/>
                    </a:lnTo>
                    <a:lnTo>
                      <a:pt x="741" y="92"/>
                    </a:lnTo>
                    <a:lnTo>
                      <a:pt x="743" y="94"/>
                    </a:lnTo>
                    <a:lnTo>
                      <a:pt x="745" y="94"/>
                    </a:lnTo>
                    <a:lnTo>
                      <a:pt x="745" y="97"/>
                    </a:lnTo>
                    <a:lnTo>
                      <a:pt x="741" y="97"/>
                    </a:lnTo>
                    <a:lnTo>
                      <a:pt x="738" y="97"/>
                    </a:lnTo>
                    <a:lnTo>
                      <a:pt x="729" y="94"/>
                    </a:lnTo>
                    <a:lnTo>
                      <a:pt x="726" y="94"/>
                    </a:lnTo>
                    <a:lnTo>
                      <a:pt x="722" y="94"/>
                    </a:lnTo>
                    <a:lnTo>
                      <a:pt x="717" y="97"/>
                    </a:lnTo>
                    <a:lnTo>
                      <a:pt x="717" y="97"/>
                    </a:lnTo>
                    <a:lnTo>
                      <a:pt x="719" y="97"/>
                    </a:lnTo>
                    <a:lnTo>
                      <a:pt x="722" y="99"/>
                    </a:lnTo>
                    <a:lnTo>
                      <a:pt x="724" y="101"/>
                    </a:lnTo>
                    <a:lnTo>
                      <a:pt x="726" y="101"/>
                    </a:lnTo>
                    <a:lnTo>
                      <a:pt x="734" y="104"/>
                    </a:lnTo>
                    <a:lnTo>
                      <a:pt x="736" y="104"/>
                    </a:lnTo>
                    <a:lnTo>
                      <a:pt x="743" y="106"/>
                    </a:lnTo>
                    <a:lnTo>
                      <a:pt x="745" y="106"/>
                    </a:lnTo>
                    <a:lnTo>
                      <a:pt x="748" y="106"/>
                    </a:lnTo>
                    <a:lnTo>
                      <a:pt x="753" y="106"/>
                    </a:lnTo>
                    <a:lnTo>
                      <a:pt x="757" y="111"/>
                    </a:lnTo>
                    <a:lnTo>
                      <a:pt x="760" y="111"/>
                    </a:lnTo>
                    <a:lnTo>
                      <a:pt x="760" y="111"/>
                    </a:lnTo>
                    <a:lnTo>
                      <a:pt x="762" y="111"/>
                    </a:lnTo>
                    <a:lnTo>
                      <a:pt x="764" y="111"/>
                    </a:lnTo>
                    <a:lnTo>
                      <a:pt x="764" y="111"/>
                    </a:lnTo>
                    <a:lnTo>
                      <a:pt x="767" y="111"/>
                    </a:lnTo>
                    <a:lnTo>
                      <a:pt x="767" y="113"/>
                    </a:lnTo>
                    <a:lnTo>
                      <a:pt x="767" y="113"/>
                    </a:lnTo>
                    <a:lnTo>
                      <a:pt x="760" y="113"/>
                    </a:lnTo>
                    <a:lnTo>
                      <a:pt x="757" y="113"/>
                    </a:lnTo>
                    <a:lnTo>
                      <a:pt x="753" y="111"/>
                    </a:lnTo>
                    <a:lnTo>
                      <a:pt x="745" y="108"/>
                    </a:lnTo>
                    <a:lnTo>
                      <a:pt x="738" y="108"/>
                    </a:lnTo>
                    <a:lnTo>
                      <a:pt x="736" y="108"/>
                    </a:lnTo>
                    <a:lnTo>
                      <a:pt x="734" y="108"/>
                    </a:lnTo>
                    <a:lnTo>
                      <a:pt x="724" y="108"/>
                    </a:lnTo>
                    <a:lnTo>
                      <a:pt x="719" y="106"/>
                    </a:lnTo>
                    <a:lnTo>
                      <a:pt x="715" y="106"/>
                    </a:lnTo>
                    <a:lnTo>
                      <a:pt x="712" y="106"/>
                    </a:lnTo>
                    <a:lnTo>
                      <a:pt x="712" y="104"/>
                    </a:lnTo>
                    <a:lnTo>
                      <a:pt x="712" y="104"/>
                    </a:lnTo>
                    <a:lnTo>
                      <a:pt x="712" y="101"/>
                    </a:lnTo>
                    <a:lnTo>
                      <a:pt x="712" y="99"/>
                    </a:lnTo>
                    <a:lnTo>
                      <a:pt x="708" y="97"/>
                    </a:lnTo>
                    <a:lnTo>
                      <a:pt x="705" y="94"/>
                    </a:lnTo>
                    <a:lnTo>
                      <a:pt x="708" y="94"/>
                    </a:lnTo>
                    <a:lnTo>
                      <a:pt x="708" y="92"/>
                    </a:lnTo>
                    <a:lnTo>
                      <a:pt x="708" y="90"/>
                    </a:lnTo>
                    <a:lnTo>
                      <a:pt x="708" y="90"/>
                    </a:lnTo>
                    <a:lnTo>
                      <a:pt x="710" y="90"/>
                    </a:lnTo>
                    <a:lnTo>
                      <a:pt x="708" y="87"/>
                    </a:lnTo>
                    <a:lnTo>
                      <a:pt x="708" y="87"/>
                    </a:lnTo>
                    <a:lnTo>
                      <a:pt x="705" y="87"/>
                    </a:lnTo>
                    <a:lnTo>
                      <a:pt x="705" y="85"/>
                    </a:lnTo>
                    <a:lnTo>
                      <a:pt x="703" y="85"/>
                    </a:lnTo>
                    <a:lnTo>
                      <a:pt x="700" y="82"/>
                    </a:lnTo>
                    <a:lnTo>
                      <a:pt x="698" y="80"/>
                    </a:lnTo>
                    <a:lnTo>
                      <a:pt x="696" y="80"/>
                    </a:lnTo>
                    <a:lnTo>
                      <a:pt x="693" y="80"/>
                    </a:lnTo>
                    <a:lnTo>
                      <a:pt x="691" y="80"/>
                    </a:lnTo>
                    <a:lnTo>
                      <a:pt x="691" y="80"/>
                    </a:lnTo>
                    <a:lnTo>
                      <a:pt x="693" y="82"/>
                    </a:lnTo>
                    <a:lnTo>
                      <a:pt x="696" y="82"/>
                    </a:lnTo>
                    <a:lnTo>
                      <a:pt x="698" y="85"/>
                    </a:lnTo>
                    <a:lnTo>
                      <a:pt x="698" y="87"/>
                    </a:lnTo>
                    <a:lnTo>
                      <a:pt x="700" y="90"/>
                    </a:lnTo>
                    <a:lnTo>
                      <a:pt x="700" y="92"/>
                    </a:lnTo>
                    <a:lnTo>
                      <a:pt x="700" y="92"/>
                    </a:lnTo>
                    <a:lnTo>
                      <a:pt x="698" y="92"/>
                    </a:lnTo>
                    <a:lnTo>
                      <a:pt x="696" y="94"/>
                    </a:lnTo>
                    <a:lnTo>
                      <a:pt x="693" y="94"/>
                    </a:lnTo>
                    <a:lnTo>
                      <a:pt x="689" y="97"/>
                    </a:lnTo>
                    <a:lnTo>
                      <a:pt x="686" y="97"/>
                    </a:lnTo>
                    <a:lnTo>
                      <a:pt x="684" y="104"/>
                    </a:lnTo>
                    <a:lnTo>
                      <a:pt x="684" y="104"/>
                    </a:lnTo>
                    <a:lnTo>
                      <a:pt x="689" y="106"/>
                    </a:lnTo>
                    <a:lnTo>
                      <a:pt x="691" y="106"/>
                    </a:lnTo>
                    <a:lnTo>
                      <a:pt x="691" y="108"/>
                    </a:lnTo>
                    <a:lnTo>
                      <a:pt x="696" y="111"/>
                    </a:lnTo>
                    <a:lnTo>
                      <a:pt x="708" y="118"/>
                    </a:lnTo>
                    <a:lnTo>
                      <a:pt x="708" y="118"/>
                    </a:lnTo>
                    <a:lnTo>
                      <a:pt x="708" y="120"/>
                    </a:lnTo>
                    <a:lnTo>
                      <a:pt x="705" y="125"/>
                    </a:lnTo>
                    <a:lnTo>
                      <a:pt x="705" y="125"/>
                    </a:lnTo>
                    <a:lnTo>
                      <a:pt x="705" y="132"/>
                    </a:lnTo>
                    <a:lnTo>
                      <a:pt x="708" y="134"/>
                    </a:lnTo>
                    <a:lnTo>
                      <a:pt x="710" y="137"/>
                    </a:lnTo>
                    <a:lnTo>
                      <a:pt x="712" y="137"/>
                    </a:lnTo>
                    <a:lnTo>
                      <a:pt x="715" y="139"/>
                    </a:lnTo>
                    <a:lnTo>
                      <a:pt x="715" y="144"/>
                    </a:lnTo>
                    <a:lnTo>
                      <a:pt x="717" y="144"/>
                    </a:lnTo>
                    <a:lnTo>
                      <a:pt x="717" y="144"/>
                    </a:lnTo>
                    <a:lnTo>
                      <a:pt x="724" y="144"/>
                    </a:lnTo>
                    <a:lnTo>
                      <a:pt x="729" y="144"/>
                    </a:lnTo>
                    <a:lnTo>
                      <a:pt x="734" y="144"/>
                    </a:lnTo>
                    <a:lnTo>
                      <a:pt x="736" y="142"/>
                    </a:lnTo>
                    <a:lnTo>
                      <a:pt x="738" y="142"/>
                    </a:lnTo>
                    <a:lnTo>
                      <a:pt x="745" y="142"/>
                    </a:lnTo>
                    <a:lnTo>
                      <a:pt x="755" y="144"/>
                    </a:lnTo>
                    <a:lnTo>
                      <a:pt x="764" y="146"/>
                    </a:lnTo>
                    <a:lnTo>
                      <a:pt x="767" y="149"/>
                    </a:lnTo>
                    <a:lnTo>
                      <a:pt x="769" y="149"/>
                    </a:lnTo>
                    <a:lnTo>
                      <a:pt x="774" y="153"/>
                    </a:lnTo>
                    <a:lnTo>
                      <a:pt x="779" y="156"/>
                    </a:lnTo>
                    <a:lnTo>
                      <a:pt x="781" y="158"/>
                    </a:lnTo>
                    <a:lnTo>
                      <a:pt x="781" y="161"/>
                    </a:lnTo>
                    <a:lnTo>
                      <a:pt x="781" y="161"/>
                    </a:lnTo>
                    <a:lnTo>
                      <a:pt x="779" y="161"/>
                    </a:lnTo>
                    <a:lnTo>
                      <a:pt x="779" y="161"/>
                    </a:lnTo>
                    <a:lnTo>
                      <a:pt x="779" y="165"/>
                    </a:lnTo>
                    <a:lnTo>
                      <a:pt x="779" y="165"/>
                    </a:lnTo>
                    <a:lnTo>
                      <a:pt x="781" y="170"/>
                    </a:lnTo>
                    <a:lnTo>
                      <a:pt x="790" y="170"/>
                    </a:lnTo>
                    <a:lnTo>
                      <a:pt x="795" y="172"/>
                    </a:lnTo>
                    <a:lnTo>
                      <a:pt x="800" y="172"/>
                    </a:lnTo>
                    <a:lnTo>
                      <a:pt x="800" y="172"/>
                    </a:lnTo>
                    <a:lnTo>
                      <a:pt x="802" y="172"/>
                    </a:lnTo>
                    <a:lnTo>
                      <a:pt x="797" y="172"/>
                    </a:lnTo>
                    <a:lnTo>
                      <a:pt x="788" y="172"/>
                    </a:lnTo>
                    <a:lnTo>
                      <a:pt x="786" y="172"/>
                    </a:lnTo>
                    <a:lnTo>
                      <a:pt x="783" y="172"/>
                    </a:lnTo>
                    <a:lnTo>
                      <a:pt x="783" y="170"/>
                    </a:lnTo>
                    <a:lnTo>
                      <a:pt x="779" y="170"/>
                    </a:lnTo>
                    <a:lnTo>
                      <a:pt x="779" y="170"/>
                    </a:lnTo>
                    <a:lnTo>
                      <a:pt x="776" y="168"/>
                    </a:lnTo>
                    <a:lnTo>
                      <a:pt x="774" y="165"/>
                    </a:lnTo>
                    <a:lnTo>
                      <a:pt x="771" y="158"/>
                    </a:lnTo>
                    <a:lnTo>
                      <a:pt x="769" y="156"/>
                    </a:lnTo>
                    <a:lnTo>
                      <a:pt x="767" y="153"/>
                    </a:lnTo>
                    <a:lnTo>
                      <a:pt x="760" y="151"/>
                    </a:lnTo>
                    <a:lnTo>
                      <a:pt x="755" y="149"/>
                    </a:lnTo>
                    <a:lnTo>
                      <a:pt x="753" y="146"/>
                    </a:lnTo>
                    <a:lnTo>
                      <a:pt x="750" y="146"/>
                    </a:lnTo>
                    <a:lnTo>
                      <a:pt x="748" y="146"/>
                    </a:lnTo>
                    <a:lnTo>
                      <a:pt x="743" y="149"/>
                    </a:lnTo>
                    <a:lnTo>
                      <a:pt x="736" y="149"/>
                    </a:lnTo>
                    <a:lnTo>
                      <a:pt x="729" y="151"/>
                    </a:lnTo>
                    <a:lnTo>
                      <a:pt x="729" y="153"/>
                    </a:lnTo>
                    <a:lnTo>
                      <a:pt x="731" y="158"/>
                    </a:lnTo>
                    <a:lnTo>
                      <a:pt x="734" y="158"/>
                    </a:lnTo>
                    <a:lnTo>
                      <a:pt x="736" y="161"/>
                    </a:lnTo>
                    <a:lnTo>
                      <a:pt x="738" y="163"/>
                    </a:lnTo>
                    <a:lnTo>
                      <a:pt x="741" y="165"/>
                    </a:lnTo>
                    <a:lnTo>
                      <a:pt x="741" y="168"/>
                    </a:lnTo>
                    <a:lnTo>
                      <a:pt x="743" y="170"/>
                    </a:lnTo>
                    <a:lnTo>
                      <a:pt x="741" y="170"/>
                    </a:lnTo>
                    <a:lnTo>
                      <a:pt x="736" y="175"/>
                    </a:lnTo>
                    <a:lnTo>
                      <a:pt x="736" y="177"/>
                    </a:lnTo>
                    <a:lnTo>
                      <a:pt x="736" y="182"/>
                    </a:lnTo>
                    <a:lnTo>
                      <a:pt x="736" y="182"/>
                    </a:lnTo>
                    <a:lnTo>
                      <a:pt x="734" y="184"/>
                    </a:lnTo>
                    <a:lnTo>
                      <a:pt x="731" y="187"/>
                    </a:lnTo>
                    <a:lnTo>
                      <a:pt x="722" y="191"/>
                    </a:lnTo>
                    <a:lnTo>
                      <a:pt x="722" y="191"/>
                    </a:lnTo>
                    <a:lnTo>
                      <a:pt x="722" y="196"/>
                    </a:lnTo>
                    <a:lnTo>
                      <a:pt x="719" y="196"/>
                    </a:lnTo>
                    <a:lnTo>
                      <a:pt x="717" y="196"/>
                    </a:lnTo>
                    <a:lnTo>
                      <a:pt x="712" y="196"/>
                    </a:lnTo>
                    <a:lnTo>
                      <a:pt x="708" y="194"/>
                    </a:lnTo>
                    <a:lnTo>
                      <a:pt x="705" y="194"/>
                    </a:lnTo>
                    <a:lnTo>
                      <a:pt x="693" y="196"/>
                    </a:lnTo>
                    <a:lnTo>
                      <a:pt x="689" y="194"/>
                    </a:lnTo>
                    <a:lnTo>
                      <a:pt x="684" y="191"/>
                    </a:lnTo>
                    <a:lnTo>
                      <a:pt x="679" y="191"/>
                    </a:lnTo>
                    <a:lnTo>
                      <a:pt x="677" y="191"/>
                    </a:lnTo>
                    <a:lnTo>
                      <a:pt x="674" y="189"/>
                    </a:lnTo>
                    <a:lnTo>
                      <a:pt x="674" y="189"/>
                    </a:lnTo>
                    <a:lnTo>
                      <a:pt x="672" y="187"/>
                    </a:lnTo>
                    <a:lnTo>
                      <a:pt x="672" y="187"/>
                    </a:lnTo>
                    <a:lnTo>
                      <a:pt x="672" y="187"/>
                    </a:lnTo>
                    <a:lnTo>
                      <a:pt x="674" y="187"/>
                    </a:lnTo>
                    <a:lnTo>
                      <a:pt x="682" y="187"/>
                    </a:lnTo>
                    <a:lnTo>
                      <a:pt x="684" y="187"/>
                    </a:lnTo>
                    <a:lnTo>
                      <a:pt x="684" y="187"/>
                    </a:lnTo>
                    <a:lnTo>
                      <a:pt x="686" y="187"/>
                    </a:lnTo>
                    <a:lnTo>
                      <a:pt x="691" y="189"/>
                    </a:lnTo>
                    <a:lnTo>
                      <a:pt x="693" y="189"/>
                    </a:lnTo>
                    <a:lnTo>
                      <a:pt x="693" y="187"/>
                    </a:lnTo>
                    <a:lnTo>
                      <a:pt x="693" y="187"/>
                    </a:lnTo>
                    <a:lnTo>
                      <a:pt x="696" y="187"/>
                    </a:lnTo>
                    <a:lnTo>
                      <a:pt x="693" y="189"/>
                    </a:lnTo>
                    <a:lnTo>
                      <a:pt x="693" y="189"/>
                    </a:lnTo>
                    <a:lnTo>
                      <a:pt x="693" y="189"/>
                    </a:lnTo>
                    <a:lnTo>
                      <a:pt x="693" y="189"/>
                    </a:lnTo>
                    <a:lnTo>
                      <a:pt x="696" y="191"/>
                    </a:lnTo>
                    <a:lnTo>
                      <a:pt x="698" y="191"/>
                    </a:lnTo>
                    <a:lnTo>
                      <a:pt x="700" y="191"/>
                    </a:lnTo>
                    <a:lnTo>
                      <a:pt x="703" y="189"/>
                    </a:lnTo>
                    <a:lnTo>
                      <a:pt x="705" y="189"/>
                    </a:lnTo>
                    <a:lnTo>
                      <a:pt x="708" y="189"/>
                    </a:lnTo>
                    <a:lnTo>
                      <a:pt x="708" y="187"/>
                    </a:lnTo>
                    <a:lnTo>
                      <a:pt x="705" y="184"/>
                    </a:lnTo>
                    <a:lnTo>
                      <a:pt x="703" y="184"/>
                    </a:lnTo>
                    <a:lnTo>
                      <a:pt x="708" y="184"/>
                    </a:lnTo>
                    <a:lnTo>
                      <a:pt x="710" y="182"/>
                    </a:lnTo>
                    <a:lnTo>
                      <a:pt x="715" y="172"/>
                    </a:lnTo>
                    <a:lnTo>
                      <a:pt x="717" y="170"/>
                    </a:lnTo>
                    <a:lnTo>
                      <a:pt x="719" y="170"/>
                    </a:lnTo>
                    <a:lnTo>
                      <a:pt x="719" y="168"/>
                    </a:lnTo>
                    <a:lnTo>
                      <a:pt x="719" y="165"/>
                    </a:lnTo>
                    <a:lnTo>
                      <a:pt x="717" y="163"/>
                    </a:lnTo>
                    <a:lnTo>
                      <a:pt x="715" y="161"/>
                    </a:lnTo>
                    <a:lnTo>
                      <a:pt x="717" y="161"/>
                    </a:lnTo>
                    <a:lnTo>
                      <a:pt x="717" y="156"/>
                    </a:lnTo>
                    <a:lnTo>
                      <a:pt x="719" y="156"/>
                    </a:lnTo>
                    <a:lnTo>
                      <a:pt x="719" y="156"/>
                    </a:lnTo>
                    <a:lnTo>
                      <a:pt x="717" y="153"/>
                    </a:lnTo>
                    <a:lnTo>
                      <a:pt x="712" y="151"/>
                    </a:lnTo>
                    <a:lnTo>
                      <a:pt x="705" y="151"/>
                    </a:lnTo>
                    <a:lnTo>
                      <a:pt x="703" y="149"/>
                    </a:lnTo>
                    <a:lnTo>
                      <a:pt x="700" y="146"/>
                    </a:lnTo>
                    <a:lnTo>
                      <a:pt x="698" y="146"/>
                    </a:lnTo>
                    <a:lnTo>
                      <a:pt x="698" y="144"/>
                    </a:lnTo>
                    <a:lnTo>
                      <a:pt x="696" y="139"/>
                    </a:lnTo>
                    <a:lnTo>
                      <a:pt x="696" y="139"/>
                    </a:lnTo>
                    <a:lnTo>
                      <a:pt x="693" y="132"/>
                    </a:lnTo>
                    <a:lnTo>
                      <a:pt x="689" y="125"/>
                    </a:lnTo>
                    <a:lnTo>
                      <a:pt x="686" y="125"/>
                    </a:lnTo>
                    <a:lnTo>
                      <a:pt x="686" y="123"/>
                    </a:lnTo>
                    <a:lnTo>
                      <a:pt x="689" y="123"/>
                    </a:lnTo>
                    <a:lnTo>
                      <a:pt x="689" y="120"/>
                    </a:lnTo>
                    <a:lnTo>
                      <a:pt x="684" y="116"/>
                    </a:lnTo>
                    <a:lnTo>
                      <a:pt x="682" y="113"/>
                    </a:lnTo>
                    <a:lnTo>
                      <a:pt x="679" y="108"/>
                    </a:lnTo>
                    <a:lnTo>
                      <a:pt x="672" y="106"/>
                    </a:lnTo>
                    <a:lnTo>
                      <a:pt x="667" y="104"/>
                    </a:lnTo>
                    <a:lnTo>
                      <a:pt x="667" y="104"/>
                    </a:lnTo>
                    <a:lnTo>
                      <a:pt x="667" y="101"/>
                    </a:lnTo>
                    <a:lnTo>
                      <a:pt x="670" y="101"/>
                    </a:lnTo>
                    <a:lnTo>
                      <a:pt x="670" y="99"/>
                    </a:lnTo>
                    <a:lnTo>
                      <a:pt x="670" y="97"/>
                    </a:lnTo>
                    <a:lnTo>
                      <a:pt x="670" y="94"/>
                    </a:lnTo>
                    <a:lnTo>
                      <a:pt x="670" y="92"/>
                    </a:lnTo>
                    <a:lnTo>
                      <a:pt x="670" y="87"/>
                    </a:lnTo>
                    <a:lnTo>
                      <a:pt x="667" y="85"/>
                    </a:lnTo>
                    <a:lnTo>
                      <a:pt x="667" y="82"/>
                    </a:lnTo>
                    <a:lnTo>
                      <a:pt x="663" y="82"/>
                    </a:lnTo>
                    <a:lnTo>
                      <a:pt x="660" y="80"/>
                    </a:lnTo>
                    <a:lnTo>
                      <a:pt x="656" y="80"/>
                    </a:lnTo>
                    <a:lnTo>
                      <a:pt x="653" y="80"/>
                    </a:lnTo>
                    <a:lnTo>
                      <a:pt x="648" y="78"/>
                    </a:lnTo>
                    <a:lnTo>
                      <a:pt x="646" y="78"/>
                    </a:lnTo>
                    <a:lnTo>
                      <a:pt x="637" y="80"/>
                    </a:lnTo>
                    <a:lnTo>
                      <a:pt x="629" y="78"/>
                    </a:lnTo>
                    <a:lnTo>
                      <a:pt x="627" y="80"/>
                    </a:lnTo>
                    <a:lnTo>
                      <a:pt x="625" y="80"/>
                    </a:lnTo>
                    <a:lnTo>
                      <a:pt x="622" y="78"/>
                    </a:lnTo>
                    <a:lnTo>
                      <a:pt x="622" y="78"/>
                    </a:lnTo>
                    <a:lnTo>
                      <a:pt x="622" y="78"/>
                    </a:lnTo>
                    <a:lnTo>
                      <a:pt x="622" y="78"/>
                    </a:lnTo>
                    <a:lnTo>
                      <a:pt x="622" y="78"/>
                    </a:lnTo>
                    <a:lnTo>
                      <a:pt x="620" y="78"/>
                    </a:lnTo>
                    <a:lnTo>
                      <a:pt x="618" y="82"/>
                    </a:lnTo>
                    <a:lnTo>
                      <a:pt x="618" y="87"/>
                    </a:lnTo>
                    <a:lnTo>
                      <a:pt x="618" y="94"/>
                    </a:lnTo>
                    <a:lnTo>
                      <a:pt x="618" y="97"/>
                    </a:lnTo>
                    <a:lnTo>
                      <a:pt x="618" y="99"/>
                    </a:lnTo>
                    <a:lnTo>
                      <a:pt x="615" y="101"/>
                    </a:lnTo>
                    <a:lnTo>
                      <a:pt x="611" y="104"/>
                    </a:lnTo>
                    <a:lnTo>
                      <a:pt x="608" y="106"/>
                    </a:lnTo>
                    <a:lnTo>
                      <a:pt x="603" y="106"/>
                    </a:lnTo>
                    <a:lnTo>
                      <a:pt x="603" y="108"/>
                    </a:lnTo>
                    <a:lnTo>
                      <a:pt x="601" y="111"/>
                    </a:lnTo>
                    <a:lnTo>
                      <a:pt x="603" y="111"/>
                    </a:lnTo>
                    <a:lnTo>
                      <a:pt x="603" y="111"/>
                    </a:lnTo>
                    <a:lnTo>
                      <a:pt x="603" y="113"/>
                    </a:lnTo>
                    <a:lnTo>
                      <a:pt x="603" y="113"/>
                    </a:lnTo>
                    <a:lnTo>
                      <a:pt x="603" y="113"/>
                    </a:lnTo>
                    <a:lnTo>
                      <a:pt x="603" y="116"/>
                    </a:lnTo>
                    <a:lnTo>
                      <a:pt x="606" y="116"/>
                    </a:lnTo>
                    <a:lnTo>
                      <a:pt x="611" y="113"/>
                    </a:lnTo>
                    <a:lnTo>
                      <a:pt x="611" y="116"/>
                    </a:lnTo>
                    <a:lnTo>
                      <a:pt x="613" y="116"/>
                    </a:lnTo>
                    <a:lnTo>
                      <a:pt x="615" y="120"/>
                    </a:lnTo>
                    <a:lnTo>
                      <a:pt x="615" y="123"/>
                    </a:lnTo>
                    <a:lnTo>
                      <a:pt x="615" y="125"/>
                    </a:lnTo>
                    <a:lnTo>
                      <a:pt x="618" y="125"/>
                    </a:lnTo>
                    <a:lnTo>
                      <a:pt x="618" y="127"/>
                    </a:lnTo>
                    <a:lnTo>
                      <a:pt x="618" y="127"/>
                    </a:lnTo>
                    <a:lnTo>
                      <a:pt x="618" y="130"/>
                    </a:lnTo>
                    <a:lnTo>
                      <a:pt x="615" y="130"/>
                    </a:lnTo>
                    <a:lnTo>
                      <a:pt x="615" y="132"/>
                    </a:lnTo>
                    <a:lnTo>
                      <a:pt x="615" y="134"/>
                    </a:lnTo>
                    <a:lnTo>
                      <a:pt x="615" y="134"/>
                    </a:lnTo>
                    <a:lnTo>
                      <a:pt x="618" y="137"/>
                    </a:lnTo>
                    <a:lnTo>
                      <a:pt x="618" y="137"/>
                    </a:lnTo>
                    <a:lnTo>
                      <a:pt x="618" y="137"/>
                    </a:lnTo>
                    <a:lnTo>
                      <a:pt x="618" y="134"/>
                    </a:lnTo>
                    <a:lnTo>
                      <a:pt x="620" y="134"/>
                    </a:lnTo>
                    <a:lnTo>
                      <a:pt x="627" y="137"/>
                    </a:lnTo>
                    <a:lnTo>
                      <a:pt x="629" y="137"/>
                    </a:lnTo>
                    <a:lnTo>
                      <a:pt x="634" y="139"/>
                    </a:lnTo>
                    <a:lnTo>
                      <a:pt x="634" y="139"/>
                    </a:lnTo>
                    <a:lnTo>
                      <a:pt x="637" y="142"/>
                    </a:lnTo>
                    <a:lnTo>
                      <a:pt x="641" y="146"/>
                    </a:lnTo>
                    <a:lnTo>
                      <a:pt x="646" y="146"/>
                    </a:lnTo>
                    <a:lnTo>
                      <a:pt x="648" y="149"/>
                    </a:lnTo>
                    <a:lnTo>
                      <a:pt x="648" y="149"/>
                    </a:lnTo>
                    <a:lnTo>
                      <a:pt x="651" y="149"/>
                    </a:lnTo>
                    <a:lnTo>
                      <a:pt x="653" y="149"/>
                    </a:lnTo>
                    <a:lnTo>
                      <a:pt x="653" y="151"/>
                    </a:lnTo>
                    <a:lnTo>
                      <a:pt x="653" y="153"/>
                    </a:lnTo>
                    <a:lnTo>
                      <a:pt x="651" y="158"/>
                    </a:lnTo>
                    <a:lnTo>
                      <a:pt x="648" y="158"/>
                    </a:lnTo>
                    <a:lnTo>
                      <a:pt x="646" y="158"/>
                    </a:lnTo>
                    <a:lnTo>
                      <a:pt x="639" y="156"/>
                    </a:lnTo>
                    <a:lnTo>
                      <a:pt x="637" y="153"/>
                    </a:lnTo>
                    <a:lnTo>
                      <a:pt x="629" y="151"/>
                    </a:lnTo>
                    <a:lnTo>
                      <a:pt x="625" y="149"/>
                    </a:lnTo>
                    <a:lnTo>
                      <a:pt x="622" y="149"/>
                    </a:lnTo>
                    <a:lnTo>
                      <a:pt x="618" y="149"/>
                    </a:lnTo>
                    <a:lnTo>
                      <a:pt x="615" y="146"/>
                    </a:lnTo>
                    <a:lnTo>
                      <a:pt x="613" y="146"/>
                    </a:lnTo>
                    <a:lnTo>
                      <a:pt x="608" y="146"/>
                    </a:lnTo>
                    <a:lnTo>
                      <a:pt x="606" y="144"/>
                    </a:lnTo>
                    <a:lnTo>
                      <a:pt x="603" y="144"/>
                    </a:lnTo>
                    <a:lnTo>
                      <a:pt x="601" y="144"/>
                    </a:lnTo>
                    <a:lnTo>
                      <a:pt x="596" y="142"/>
                    </a:lnTo>
                    <a:lnTo>
                      <a:pt x="594" y="142"/>
                    </a:lnTo>
                    <a:lnTo>
                      <a:pt x="594" y="142"/>
                    </a:lnTo>
                    <a:lnTo>
                      <a:pt x="589" y="139"/>
                    </a:lnTo>
                    <a:lnTo>
                      <a:pt x="582" y="137"/>
                    </a:lnTo>
                    <a:lnTo>
                      <a:pt x="570" y="134"/>
                    </a:lnTo>
                    <a:lnTo>
                      <a:pt x="559" y="134"/>
                    </a:lnTo>
                    <a:lnTo>
                      <a:pt x="547" y="132"/>
                    </a:lnTo>
                    <a:lnTo>
                      <a:pt x="537" y="132"/>
                    </a:lnTo>
                    <a:lnTo>
                      <a:pt x="535" y="132"/>
                    </a:lnTo>
                    <a:lnTo>
                      <a:pt x="535" y="132"/>
                    </a:lnTo>
                    <a:lnTo>
                      <a:pt x="533" y="134"/>
                    </a:lnTo>
                    <a:lnTo>
                      <a:pt x="528" y="134"/>
                    </a:lnTo>
                    <a:lnTo>
                      <a:pt x="528" y="137"/>
                    </a:lnTo>
                    <a:lnTo>
                      <a:pt x="530" y="139"/>
                    </a:lnTo>
                    <a:lnTo>
                      <a:pt x="537" y="144"/>
                    </a:lnTo>
                    <a:lnTo>
                      <a:pt x="540" y="144"/>
                    </a:lnTo>
                    <a:lnTo>
                      <a:pt x="542" y="146"/>
                    </a:lnTo>
                    <a:lnTo>
                      <a:pt x="542" y="149"/>
                    </a:lnTo>
                    <a:lnTo>
                      <a:pt x="540" y="151"/>
                    </a:lnTo>
                    <a:lnTo>
                      <a:pt x="537" y="151"/>
                    </a:lnTo>
                    <a:lnTo>
                      <a:pt x="535" y="151"/>
                    </a:lnTo>
                    <a:lnTo>
                      <a:pt x="530" y="151"/>
                    </a:lnTo>
                    <a:lnTo>
                      <a:pt x="530" y="153"/>
                    </a:lnTo>
                    <a:lnTo>
                      <a:pt x="533" y="156"/>
                    </a:lnTo>
                    <a:lnTo>
                      <a:pt x="533" y="156"/>
                    </a:lnTo>
                    <a:lnTo>
                      <a:pt x="533" y="158"/>
                    </a:lnTo>
                    <a:lnTo>
                      <a:pt x="533" y="158"/>
                    </a:lnTo>
                    <a:lnTo>
                      <a:pt x="533" y="158"/>
                    </a:lnTo>
                    <a:lnTo>
                      <a:pt x="530" y="158"/>
                    </a:lnTo>
                    <a:lnTo>
                      <a:pt x="530" y="158"/>
                    </a:lnTo>
                    <a:lnTo>
                      <a:pt x="525" y="158"/>
                    </a:lnTo>
                    <a:lnTo>
                      <a:pt x="521" y="156"/>
                    </a:lnTo>
                    <a:lnTo>
                      <a:pt x="521" y="153"/>
                    </a:lnTo>
                    <a:lnTo>
                      <a:pt x="521" y="153"/>
                    </a:lnTo>
                    <a:lnTo>
                      <a:pt x="523" y="151"/>
                    </a:lnTo>
                    <a:lnTo>
                      <a:pt x="523" y="151"/>
                    </a:lnTo>
                    <a:lnTo>
                      <a:pt x="521" y="149"/>
                    </a:lnTo>
                    <a:lnTo>
                      <a:pt x="518" y="149"/>
                    </a:lnTo>
                    <a:lnTo>
                      <a:pt x="516" y="146"/>
                    </a:lnTo>
                    <a:lnTo>
                      <a:pt x="516" y="146"/>
                    </a:lnTo>
                    <a:lnTo>
                      <a:pt x="516" y="146"/>
                    </a:lnTo>
                    <a:lnTo>
                      <a:pt x="509" y="149"/>
                    </a:lnTo>
                    <a:lnTo>
                      <a:pt x="506" y="149"/>
                    </a:lnTo>
                    <a:lnTo>
                      <a:pt x="506" y="149"/>
                    </a:lnTo>
                    <a:lnTo>
                      <a:pt x="497" y="153"/>
                    </a:lnTo>
                    <a:lnTo>
                      <a:pt x="495" y="156"/>
                    </a:lnTo>
                    <a:lnTo>
                      <a:pt x="490" y="153"/>
                    </a:lnTo>
                    <a:lnTo>
                      <a:pt x="488" y="153"/>
                    </a:lnTo>
                    <a:lnTo>
                      <a:pt x="483" y="153"/>
                    </a:lnTo>
                    <a:lnTo>
                      <a:pt x="478" y="153"/>
                    </a:lnTo>
                    <a:lnTo>
                      <a:pt x="476" y="153"/>
                    </a:lnTo>
                    <a:lnTo>
                      <a:pt x="473" y="153"/>
                    </a:lnTo>
                    <a:lnTo>
                      <a:pt x="471" y="153"/>
                    </a:lnTo>
                    <a:lnTo>
                      <a:pt x="466" y="156"/>
                    </a:lnTo>
                    <a:lnTo>
                      <a:pt x="464" y="158"/>
                    </a:lnTo>
                    <a:lnTo>
                      <a:pt x="466" y="161"/>
                    </a:lnTo>
                    <a:lnTo>
                      <a:pt x="464" y="161"/>
                    </a:lnTo>
                    <a:lnTo>
                      <a:pt x="462" y="161"/>
                    </a:lnTo>
                    <a:lnTo>
                      <a:pt x="459" y="161"/>
                    </a:lnTo>
                    <a:lnTo>
                      <a:pt x="459" y="161"/>
                    </a:lnTo>
                    <a:lnTo>
                      <a:pt x="457" y="161"/>
                    </a:lnTo>
                    <a:lnTo>
                      <a:pt x="454" y="161"/>
                    </a:lnTo>
                    <a:lnTo>
                      <a:pt x="452" y="161"/>
                    </a:lnTo>
                    <a:lnTo>
                      <a:pt x="452" y="161"/>
                    </a:lnTo>
                    <a:lnTo>
                      <a:pt x="447" y="161"/>
                    </a:lnTo>
                    <a:lnTo>
                      <a:pt x="445" y="161"/>
                    </a:lnTo>
                    <a:lnTo>
                      <a:pt x="443" y="161"/>
                    </a:lnTo>
                    <a:lnTo>
                      <a:pt x="443" y="158"/>
                    </a:lnTo>
                    <a:lnTo>
                      <a:pt x="443" y="158"/>
                    </a:lnTo>
                    <a:lnTo>
                      <a:pt x="447" y="158"/>
                    </a:lnTo>
                    <a:lnTo>
                      <a:pt x="447" y="158"/>
                    </a:lnTo>
                    <a:lnTo>
                      <a:pt x="450" y="158"/>
                    </a:lnTo>
                    <a:lnTo>
                      <a:pt x="452" y="156"/>
                    </a:lnTo>
                    <a:lnTo>
                      <a:pt x="450" y="156"/>
                    </a:lnTo>
                    <a:lnTo>
                      <a:pt x="447" y="153"/>
                    </a:lnTo>
                    <a:lnTo>
                      <a:pt x="447" y="151"/>
                    </a:lnTo>
                    <a:lnTo>
                      <a:pt x="447" y="151"/>
                    </a:lnTo>
                    <a:lnTo>
                      <a:pt x="447" y="151"/>
                    </a:lnTo>
                    <a:lnTo>
                      <a:pt x="450" y="149"/>
                    </a:lnTo>
                    <a:lnTo>
                      <a:pt x="447" y="149"/>
                    </a:lnTo>
                    <a:lnTo>
                      <a:pt x="447" y="149"/>
                    </a:lnTo>
                    <a:lnTo>
                      <a:pt x="445" y="149"/>
                    </a:lnTo>
                    <a:lnTo>
                      <a:pt x="447" y="149"/>
                    </a:lnTo>
                    <a:lnTo>
                      <a:pt x="454" y="146"/>
                    </a:lnTo>
                    <a:lnTo>
                      <a:pt x="454" y="146"/>
                    </a:lnTo>
                    <a:lnTo>
                      <a:pt x="450" y="146"/>
                    </a:lnTo>
                    <a:lnTo>
                      <a:pt x="445" y="146"/>
                    </a:lnTo>
                    <a:lnTo>
                      <a:pt x="440" y="149"/>
                    </a:lnTo>
                    <a:lnTo>
                      <a:pt x="433" y="151"/>
                    </a:lnTo>
                    <a:lnTo>
                      <a:pt x="428" y="153"/>
                    </a:lnTo>
                    <a:lnTo>
                      <a:pt x="428" y="153"/>
                    </a:lnTo>
                    <a:lnTo>
                      <a:pt x="431" y="153"/>
                    </a:lnTo>
                    <a:lnTo>
                      <a:pt x="433" y="156"/>
                    </a:lnTo>
                    <a:lnTo>
                      <a:pt x="433" y="156"/>
                    </a:lnTo>
                    <a:lnTo>
                      <a:pt x="433" y="158"/>
                    </a:lnTo>
                    <a:lnTo>
                      <a:pt x="431" y="158"/>
                    </a:lnTo>
                    <a:lnTo>
                      <a:pt x="431" y="158"/>
                    </a:lnTo>
                    <a:lnTo>
                      <a:pt x="431" y="158"/>
                    </a:lnTo>
                    <a:lnTo>
                      <a:pt x="428" y="158"/>
                    </a:lnTo>
                    <a:lnTo>
                      <a:pt x="428" y="158"/>
                    </a:lnTo>
                    <a:lnTo>
                      <a:pt x="428" y="158"/>
                    </a:lnTo>
                    <a:lnTo>
                      <a:pt x="428" y="156"/>
                    </a:lnTo>
                    <a:lnTo>
                      <a:pt x="426" y="156"/>
                    </a:lnTo>
                    <a:lnTo>
                      <a:pt x="424" y="156"/>
                    </a:lnTo>
                    <a:lnTo>
                      <a:pt x="424" y="156"/>
                    </a:lnTo>
                    <a:lnTo>
                      <a:pt x="419" y="156"/>
                    </a:lnTo>
                    <a:lnTo>
                      <a:pt x="417" y="158"/>
                    </a:lnTo>
                    <a:lnTo>
                      <a:pt x="412" y="158"/>
                    </a:lnTo>
                    <a:lnTo>
                      <a:pt x="409" y="158"/>
                    </a:lnTo>
                    <a:lnTo>
                      <a:pt x="407" y="158"/>
                    </a:lnTo>
                    <a:lnTo>
                      <a:pt x="405" y="161"/>
                    </a:lnTo>
                    <a:lnTo>
                      <a:pt x="402" y="161"/>
                    </a:lnTo>
                    <a:lnTo>
                      <a:pt x="398" y="163"/>
                    </a:lnTo>
                    <a:lnTo>
                      <a:pt x="388" y="168"/>
                    </a:lnTo>
                    <a:lnTo>
                      <a:pt x="386" y="168"/>
                    </a:lnTo>
                    <a:lnTo>
                      <a:pt x="386" y="168"/>
                    </a:lnTo>
                    <a:lnTo>
                      <a:pt x="383" y="168"/>
                    </a:lnTo>
                    <a:lnTo>
                      <a:pt x="383" y="168"/>
                    </a:lnTo>
                    <a:lnTo>
                      <a:pt x="383" y="168"/>
                    </a:lnTo>
                    <a:lnTo>
                      <a:pt x="386" y="170"/>
                    </a:lnTo>
                    <a:lnTo>
                      <a:pt x="386" y="170"/>
                    </a:lnTo>
                    <a:lnTo>
                      <a:pt x="383" y="170"/>
                    </a:lnTo>
                    <a:lnTo>
                      <a:pt x="379" y="170"/>
                    </a:lnTo>
                    <a:lnTo>
                      <a:pt x="374" y="172"/>
                    </a:lnTo>
                    <a:lnTo>
                      <a:pt x="374" y="172"/>
                    </a:lnTo>
                    <a:lnTo>
                      <a:pt x="374" y="175"/>
                    </a:lnTo>
                    <a:lnTo>
                      <a:pt x="374" y="177"/>
                    </a:lnTo>
                    <a:lnTo>
                      <a:pt x="374" y="177"/>
                    </a:lnTo>
                    <a:lnTo>
                      <a:pt x="374" y="182"/>
                    </a:lnTo>
                    <a:lnTo>
                      <a:pt x="374" y="184"/>
                    </a:lnTo>
                    <a:lnTo>
                      <a:pt x="372" y="184"/>
                    </a:lnTo>
                    <a:lnTo>
                      <a:pt x="360" y="187"/>
                    </a:lnTo>
                    <a:lnTo>
                      <a:pt x="360" y="187"/>
                    </a:lnTo>
                    <a:lnTo>
                      <a:pt x="357" y="187"/>
                    </a:lnTo>
                    <a:lnTo>
                      <a:pt x="357" y="187"/>
                    </a:lnTo>
                    <a:lnTo>
                      <a:pt x="355" y="187"/>
                    </a:lnTo>
                    <a:lnTo>
                      <a:pt x="353" y="187"/>
                    </a:lnTo>
                    <a:lnTo>
                      <a:pt x="350" y="187"/>
                    </a:lnTo>
                    <a:lnTo>
                      <a:pt x="350" y="184"/>
                    </a:lnTo>
                    <a:lnTo>
                      <a:pt x="348" y="184"/>
                    </a:lnTo>
                    <a:lnTo>
                      <a:pt x="343" y="179"/>
                    </a:lnTo>
                    <a:lnTo>
                      <a:pt x="336" y="177"/>
                    </a:lnTo>
                    <a:lnTo>
                      <a:pt x="334" y="177"/>
                    </a:lnTo>
                    <a:lnTo>
                      <a:pt x="334" y="175"/>
                    </a:lnTo>
                    <a:lnTo>
                      <a:pt x="334" y="175"/>
                    </a:lnTo>
                    <a:lnTo>
                      <a:pt x="339" y="170"/>
                    </a:lnTo>
                    <a:lnTo>
                      <a:pt x="341" y="170"/>
                    </a:lnTo>
                    <a:lnTo>
                      <a:pt x="348" y="168"/>
                    </a:lnTo>
                    <a:lnTo>
                      <a:pt x="353" y="168"/>
                    </a:lnTo>
                    <a:lnTo>
                      <a:pt x="355" y="168"/>
                    </a:lnTo>
                    <a:lnTo>
                      <a:pt x="355" y="165"/>
                    </a:lnTo>
                    <a:lnTo>
                      <a:pt x="350" y="163"/>
                    </a:lnTo>
                    <a:lnTo>
                      <a:pt x="346" y="161"/>
                    </a:lnTo>
                    <a:lnTo>
                      <a:pt x="341" y="156"/>
                    </a:lnTo>
                    <a:lnTo>
                      <a:pt x="336" y="156"/>
                    </a:lnTo>
                    <a:lnTo>
                      <a:pt x="329" y="153"/>
                    </a:lnTo>
                    <a:lnTo>
                      <a:pt x="317" y="156"/>
                    </a:lnTo>
                    <a:lnTo>
                      <a:pt x="315" y="156"/>
                    </a:lnTo>
                    <a:lnTo>
                      <a:pt x="308" y="153"/>
                    </a:lnTo>
                    <a:lnTo>
                      <a:pt x="305" y="153"/>
                    </a:lnTo>
                    <a:lnTo>
                      <a:pt x="305" y="153"/>
                    </a:lnTo>
                    <a:lnTo>
                      <a:pt x="305" y="153"/>
                    </a:lnTo>
                    <a:lnTo>
                      <a:pt x="305" y="153"/>
                    </a:lnTo>
                    <a:lnTo>
                      <a:pt x="317" y="158"/>
                    </a:lnTo>
                    <a:lnTo>
                      <a:pt x="320" y="161"/>
                    </a:lnTo>
                    <a:lnTo>
                      <a:pt x="320" y="163"/>
                    </a:lnTo>
                    <a:lnTo>
                      <a:pt x="320" y="163"/>
                    </a:lnTo>
                    <a:lnTo>
                      <a:pt x="320" y="163"/>
                    </a:lnTo>
                    <a:lnTo>
                      <a:pt x="320" y="165"/>
                    </a:lnTo>
                    <a:lnTo>
                      <a:pt x="320" y="170"/>
                    </a:lnTo>
                    <a:lnTo>
                      <a:pt x="320" y="175"/>
                    </a:lnTo>
                    <a:lnTo>
                      <a:pt x="317" y="177"/>
                    </a:lnTo>
                    <a:lnTo>
                      <a:pt x="317" y="177"/>
                    </a:lnTo>
                    <a:lnTo>
                      <a:pt x="320" y="179"/>
                    </a:lnTo>
                    <a:lnTo>
                      <a:pt x="322" y="179"/>
                    </a:lnTo>
                    <a:lnTo>
                      <a:pt x="327" y="182"/>
                    </a:lnTo>
                    <a:lnTo>
                      <a:pt x="329" y="182"/>
                    </a:lnTo>
                    <a:lnTo>
                      <a:pt x="329" y="184"/>
                    </a:lnTo>
                    <a:lnTo>
                      <a:pt x="329" y="187"/>
                    </a:lnTo>
                    <a:lnTo>
                      <a:pt x="331" y="189"/>
                    </a:lnTo>
                    <a:lnTo>
                      <a:pt x="329" y="191"/>
                    </a:lnTo>
                    <a:lnTo>
                      <a:pt x="329" y="194"/>
                    </a:lnTo>
                    <a:lnTo>
                      <a:pt x="327" y="196"/>
                    </a:lnTo>
                    <a:lnTo>
                      <a:pt x="329" y="198"/>
                    </a:lnTo>
                    <a:lnTo>
                      <a:pt x="329" y="201"/>
                    </a:lnTo>
                    <a:lnTo>
                      <a:pt x="329" y="201"/>
                    </a:lnTo>
                    <a:lnTo>
                      <a:pt x="327" y="201"/>
                    </a:lnTo>
                    <a:lnTo>
                      <a:pt x="327" y="198"/>
                    </a:lnTo>
                    <a:lnTo>
                      <a:pt x="324" y="198"/>
                    </a:lnTo>
                    <a:lnTo>
                      <a:pt x="324" y="198"/>
                    </a:lnTo>
                    <a:lnTo>
                      <a:pt x="322" y="198"/>
                    </a:lnTo>
                    <a:lnTo>
                      <a:pt x="320" y="198"/>
                    </a:lnTo>
                    <a:lnTo>
                      <a:pt x="320" y="198"/>
                    </a:lnTo>
                    <a:lnTo>
                      <a:pt x="322" y="196"/>
                    </a:lnTo>
                    <a:lnTo>
                      <a:pt x="320" y="196"/>
                    </a:lnTo>
                    <a:lnTo>
                      <a:pt x="320" y="196"/>
                    </a:lnTo>
                    <a:lnTo>
                      <a:pt x="315" y="194"/>
                    </a:lnTo>
                    <a:lnTo>
                      <a:pt x="313" y="194"/>
                    </a:lnTo>
                    <a:lnTo>
                      <a:pt x="308" y="194"/>
                    </a:lnTo>
                    <a:lnTo>
                      <a:pt x="305" y="194"/>
                    </a:lnTo>
                    <a:lnTo>
                      <a:pt x="303" y="191"/>
                    </a:lnTo>
                    <a:lnTo>
                      <a:pt x="301" y="191"/>
                    </a:lnTo>
                    <a:lnTo>
                      <a:pt x="301" y="191"/>
                    </a:lnTo>
                    <a:lnTo>
                      <a:pt x="298" y="194"/>
                    </a:lnTo>
                    <a:lnTo>
                      <a:pt x="296" y="196"/>
                    </a:lnTo>
                    <a:lnTo>
                      <a:pt x="291" y="198"/>
                    </a:lnTo>
                    <a:lnTo>
                      <a:pt x="286" y="201"/>
                    </a:lnTo>
                    <a:lnTo>
                      <a:pt x="282" y="201"/>
                    </a:lnTo>
                    <a:lnTo>
                      <a:pt x="282" y="201"/>
                    </a:lnTo>
                    <a:lnTo>
                      <a:pt x="279" y="203"/>
                    </a:lnTo>
                    <a:lnTo>
                      <a:pt x="277" y="206"/>
                    </a:lnTo>
                    <a:lnTo>
                      <a:pt x="270" y="208"/>
                    </a:lnTo>
                    <a:lnTo>
                      <a:pt x="270" y="210"/>
                    </a:lnTo>
                    <a:lnTo>
                      <a:pt x="270" y="210"/>
                    </a:lnTo>
                    <a:lnTo>
                      <a:pt x="272" y="213"/>
                    </a:lnTo>
                    <a:lnTo>
                      <a:pt x="272" y="215"/>
                    </a:lnTo>
                    <a:lnTo>
                      <a:pt x="277" y="217"/>
                    </a:lnTo>
                    <a:lnTo>
                      <a:pt x="279" y="220"/>
                    </a:lnTo>
                    <a:lnTo>
                      <a:pt x="282" y="222"/>
                    </a:lnTo>
                    <a:lnTo>
                      <a:pt x="284" y="224"/>
                    </a:lnTo>
                    <a:lnTo>
                      <a:pt x="282" y="224"/>
                    </a:lnTo>
                    <a:lnTo>
                      <a:pt x="279" y="224"/>
                    </a:lnTo>
                    <a:lnTo>
                      <a:pt x="277" y="224"/>
                    </a:lnTo>
                    <a:lnTo>
                      <a:pt x="275" y="224"/>
                    </a:lnTo>
                    <a:lnTo>
                      <a:pt x="275" y="227"/>
                    </a:lnTo>
                    <a:lnTo>
                      <a:pt x="275" y="227"/>
                    </a:lnTo>
                    <a:lnTo>
                      <a:pt x="272" y="227"/>
                    </a:lnTo>
                    <a:lnTo>
                      <a:pt x="263" y="224"/>
                    </a:lnTo>
                    <a:lnTo>
                      <a:pt x="258" y="224"/>
                    </a:lnTo>
                    <a:lnTo>
                      <a:pt x="256" y="224"/>
                    </a:lnTo>
                    <a:lnTo>
                      <a:pt x="253" y="222"/>
                    </a:lnTo>
                    <a:lnTo>
                      <a:pt x="253" y="222"/>
                    </a:lnTo>
                    <a:lnTo>
                      <a:pt x="251" y="222"/>
                    </a:lnTo>
                    <a:lnTo>
                      <a:pt x="249" y="222"/>
                    </a:lnTo>
                    <a:lnTo>
                      <a:pt x="249" y="222"/>
                    </a:lnTo>
                    <a:lnTo>
                      <a:pt x="242" y="217"/>
                    </a:lnTo>
                    <a:lnTo>
                      <a:pt x="234" y="215"/>
                    </a:lnTo>
                    <a:lnTo>
                      <a:pt x="234" y="215"/>
                    </a:lnTo>
                    <a:lnTo>
                      <a:pt x="232" y="217"/>
                    </a:lnTo>
                    <a:lnTo>
                      <a:pt x="230" y="220"/>
                    </a:lnTo>
                    <a:lnTo>
                      <a:pt x="230" y="222"/>
                    </a:lnTo>
                    <a:lnTo>
                      <a:pt x="227" y="220"/>
                    </a:lnTo>
                    <a:lnTo>
                      <a:pt x="227" y="222"/>
                    </a:lnTo>
                    <a:lnTo>
                      <a:pt x="227" y="224"/>
                    </a:lnTo>
                    <a:lnTo>
                      <a:pt x="230" y="224"/>
                    </a:lnTo>
                    <a:lnTo>
                      <a:pt x="232" y="224"/>
                    </a:lnTo>
                    <a:lnTo>
                      <a:pt x="237" y="229"/>
                    </a:lnTo>
                    <a:lnTo>
                      <a:pt x="239" y="232"/>
                    </a:lnTo>
                    <a:lnTo>
                      <a:pt x="239" y="232"/>
                    </a:lnTo>
                    <a:lnTo>
                      <a:pt x="242" y="232"/>
                    </a:lnTo>
                    <a:lnTo>
                      <a:pt x="246" y="232"/>
                    </a:lnTo>
                    <a:lnTo>
                      <a:pt x="249" y="232"/>
                    </a:lnTo>
                    <a:lnTo>
                      <a:pt x="249" y="232"/>
                    </a:lnTo>
                    <a:lnTo>
                      <a:pt x="251" y="234"/>
                    </a:lnTo>
                    <a:lnTo>
                      <a:pt x="251" y="236"/>
                    </a:lnTo>
                    <a:lnTo>
                      <a:pt x="253" y="239"/>
                    </a:lnTo>
                    <a:lnTo>
                      <a:pt x="251" y="239"/>
                    </a:lnTo>
                    <a:lnTo>
                      <a:pt x="246" y="241"/>
                    </a:lnTo>
                    <a:lnTo>
                      <a:pt x="244" y="241"/>
                    </a:lnTo>
                    <a:lnTo>
                      <a:pt x="244" y="241"/>
                    </a:lnTo>
                    <a:lnTo>
                      <a:pt x="237" y="241"/>
                    </a:lnTo>
                    <a:lnTo>
                      <a:pt x="234" y="239"/>
                    </a:lnTo>
                    <a:lnTo>
                      <a:pt x="227" y="239"/>
                    </a:lnTo>
                    <a:lnTo>
                      <a:pt x="227" y="239"/>
                    </a:lnTo>
                    <a:lnTo>
                      <a:pt x="225" y="234"/>
                    </a:lnTo>
                    <a:lnTo>
                      <a:pt x="218" y="232"/>
                    </a:lnTo>
                    <a:lnTo>
                      <a:pt x="216" y="232"/>
                    </a:lnTo>
                    <a:lnTo>
                      <a:pt x="213" y="232"/>
                    </a:lnTo>
                    <a:lnTo>
                      <a:pt x="211" y="232"/>
                    </a:lnTo>
                    <a:lnTo>
                      <a:pt x="208" y="229"/>
                    </a:lnTo>
                    <a:lnTo>
                      <a:pt x="204" y="227"/>
                    </a:lnTo>
                    <a:lnTo>
                      <a:pt x="204" y="224"/>
                    </a:lnTo>
                    <a:lnTo>
                      <a:pt x="204" y="224"/>
                    </a:lnTo>
                    <a:lnTo>
                      <a:pt x="206" y="224"/>
                    </a:lnTo>
                    <a:lnTo>
                      <a:pt x="204" y="224"/>
                    </a:lnTo>
                    <a:lnTo>
                      <a:pt x="204" y="222"/>
                    </a:lnTo>
                    <a:lnTo>
                      <a:pt x="201" y="220"/>
                    </a:lnTo>
                    <a:lnTo>
                      <a:pt x="199" y="217"/>
                    </a:lnTo>
                    <a:lnTo>
                      <a:pt x="197" y="215"/>
                    </a:lnTo>
                    <a:lnTo>
                      <a:pt x="194" y="213"/>
                    </a:lnTo>
                    <a:lnTo>
                      <a:pt x="197" y="210"/>
                    </a:lnTo>
                    <a:lnTo>
                      <a:pt x="197" y="210"/>
                    </a:lnTo>
                    <a:lnTo>
                      <a:pt x="199" y="208"/>
                    </a:lnTo>
                    <a:lnTo>
                      <a:pt x="199" y="206"/>
                    </a:lnTo>
                    <a:lnTo>
                      <a:pt x="199" y="206"/>
                    </a:lnTo>
                    <a:lnTo>
                      <a:pt x="199" y="206"/>
                    </a:lnTo>
                    <a:lnTo>
                      <a:pt x="199" y="203"/>
                    </a:lnTo>
                    <a:lnTo>
                      <a:pt x="197" y="203"/>
                    </a:lnTo>
                    <a:lnTo>
                      <a:pt x="192" y="198"/>
                    </a:lnTo>
                    <a:lnTo>
                      <a:pt x="187" y="196"/>
                    </a:lnTo>
                    <a:lnTo>
                      <a:pt x="180" y="196"/>
                    </a:lnTo>
                    <a:lnTo>
                      <a:pt x="178" y="196"/>
                    </a:lnTo>
                    <a:lnTo>
                      <a:pt x="178" y="196"/>
                    </a:lnTo>
                    <a:lnTo>
                      <a:pt x="180" y="194"/>
                    </a:lnTo>
                    <a:lnTo>
                      <a:pt x="180" y="194"/>
                    </a:lnTo>
                    <a:lnTo>
                      <a:pt x="180" y="194"/>
                    </a:lnTo>
                    <a:lnTo>
                      <a:pt x="180" y="194"/>
                    </a:lnTo>
                    <a:lnTo>
                      <a:pt x="178" y="191"/>
                    </a:lnTo>
                    <a:lnTo>
                      <a:pt x="175" y="191"/>
                    </a:lnTo>
                    <a:lnTo>
                      <a:pt x="173" y="191"/>
                    </a:lnTo>
                    <a:lnTo>
                      <a:pt x="175" y="189"/>
                    </a:lnTo>
                    <a:lnTo>
                      <a:pt x="173" y="189"/>
                    </a:lnTo>
                    <a:lnTo>
                      <a:pt x="171" y="189"/>
                    </a:lnTo>
                    <a:lnTo>
                      <a:pt x="168" y="189"/>
                    </a:lnTo>
                    <a:lnTo>
                      <a:pt x="168" y="187"/>
                    </a:lnTo>
                    <a:lnTo>
                      <a:pt x="166" y="187"/>
                    </a:lnTo>
                    <a:lnTo>
                      <a:pt x="163" y="184"/>
                    </a:lnTo>
                    <a:lnTo>
                      <a:pt x="163" y="182"/>
                    </a:lnTo>
                    <a:lnTo>
                      <a:pt x="161" y="182"/>
                    </a:lnTo>
                    <a:lnTo>
                      <a:pt x="159" y="182"/>
                    </a:lnTo>
                    <a:lnTo>
                      <a:pt x="156" y="179"/>
                    </a:lnTo>
                    <a:lnTo>
                      <a:pt x="154" y="179"/>
                    </a:lnTo>
                    <a:lnTo>
                      <a:pt x="161" y="179"/>
                    </a:lnTo>
                    <a:lnTo>
                      <a:pt x="168" y="182"/>
                    </a:lnTo>
                    <a:lnTo>
                      <a:pt x="168" y="182"/>
                    </a:lnTo>
                    <a:lnTo>
                      <a:pt x="168" y="182"/>
                    </a:lnTo>
                    <a:lnTo>
                      <a:pt x="171" y="184"/>
                    </a:lnTo>
                    <a:lnTo>
                      <a:pt x="173" y="187"/>
                    </a:lnTo>
                    <a:lnTo>
                      <a:pt x="178" y="187"/>
                    </a:lnTo>
                    <a:lnTo>
                      <a:pt x="178" y="187"/>
                    </a:lnTo>
                    <a:lnTo>
                      <a:pt x="180" y="187"/>
                    </a:lnTo>
                    <a:lnTo>
                      <a:pt x="182" y="187"/>
                    </a:lnTo>
                    <a:lnTo>
                      <a:pt x="182" y="189"/>
                    </a:lnTo>
                    <a:lnTo>
                      <a:pt x="187" y="189"/>
                    </a:lnTo>
                    <a:lnTo>
                      <a:pt x="192" y="189"/>
                    </a:lnTo>
                    <a:lnTo>
                      <a:pt x="192" y="189"/>
                    </a:lnTo>
                    <a:lnTo>
                      <a:pt x="192" y="189"/>
                    </a:lnTo>
                    <a:lnTo>
                      <a:pt x="192" y="191"/>
                    </a:lnTo>
                    <a:lnTo>
                      <a:pt x="194" y="191"/>
                    </a:lnTo>
                    <a:lnTo>
                      <a:pt x="197" y="189"/>
                    </a:lnTo>
                    <a:lnTo>
                      <a:pt x="206" y="194"/>
                    </a:lnTo>
                    <a:lnTo>
                      <a:pt x="206" y="194"/>
                    </a:lnTo>
                    <a:lnTo>
                      <a:pt x="220" y="196"/>
                    </a:lnTo>
                    <a:lnTo>
                      <a:pt x="225" y="196"/>
                    </a:lnTo>
                    <a:lnTo>
                      <a:pt x="227" y="196"/>
                    </a:lnTo>
                    <a:lnTo>
                      <a:pt x="232" y="196"/>
                    </a:lnTo>
                    <a:lnTo>
                      <a:pt x="237" y="198"/>
                    </a:lnTo>
                    <a:lnTo>
                      <a:pt x="242" y="198"/>
                    </a:lnTo>
                    <a:lnTo>
                      <a:pt x="249" y="201"/>
                    </a:lnTo>
                    <a:lnTo>
                      <a:pt x="253" y="201"/>
                    </a:lnTo>
                    <a:lnTo>
                      <a:pt x="260" y="198"/>
                    </a:lnTo>
                    <a:lnTo>
                      <a:pt x="272" y="196"/>
                    </a:lnTo>
                    <a:lnTo>
                      <a:pt x="277" y="194"/>
                    </a:lnTo>
                    <a:lnTo>
                      <a:pt x="284" y="187"/>
                    </a:lnTo>
                    <a:lnTo>
                      <a:pt x="284" y="184"/>
                    </a:lnTo>
                    <a:lnTo>
                      <a:pt x="286" y="179"/>
                    </a:lnTo>
                    <a:lnTo>
                      <a:pt x="284" y="179"/>
                    </a:lnTo>
                    <a:lnTo>
                      <a:pt x="284" y="179"/>
                    </a:lnTo>
                    <a:lnTo>
                      <a:pt x="282" y="177"/>
                    </a:lnTo>
                    <a:lnTo>
                      <a:pt x="282" y="175"/>
                    </a:lnTo>
                    <a:lnTo>
                      <a:pt x="279" y="175"/>
                    </a:lnTo>
                    <a:lnTo>
                      <a:pt x="277" y="170"/>
                    </a:lnTo>
                    <a:lnTo>
                      <a:pt x="275" y="170"/>
                    </a:lnTo>
                    <a:lnTo>
                      <a:pt x="272" y="168"/>
                    </a:lnTo>
                    <a:lnTo>
                      <a:pt x="270" y="168"/>
                    </a:lnTo>
                    <a:lnTo>
                      <a:pt x="268" y="168"/>
                    </a:lnTo>
                    <a:lnTo>
                      <a:pt x="265" y="165"/>
                    </a:lnTo>
                    <a:lnTo>
                      <a:pt x="263" y="165"/>
                    </a:lnTo>
                    <a:lnTo>
                      <a:pt x="260" y="163"/>
                    </a:lnTo>
                    <a:lnTo>
                      <a:pt x="260" y="163"/>
                    </a:lnTo>
                    <a:lnTo>
                      <a:pt x="258" y="163"/>
                    </a:lnTo>
                    <a:lnTo>
                      <a:pt x="260" y="163"/>
                    </a:lnTo>
                    <a:lnTo>
                      <a:pt x="260" y="163"/>
                    </a:lnTo>
                    <a:lnTo>
                      <a:pt x="256" y="163"/>
                    </a:lnTo>
                    <a:lnTo>
                      <a:pt x="246" y="158"/>
                    </a:lnTo>
                    <a:lnTo>
                      <a:pt x="244" y="158"/>
                    </a:lnTo>
                    <a:lnTo>
                      <a:pt x="244" y="158"/>
                    </a:lnTo>
                    <a:lnTo>
                      <a:pt x="239" y="158"/>
                    </a:lnTo>
                    <a:lnTo>
                      <a:pt x="239" y="158"/>
                    </a:lnTo>
                    <a:lnTo>
                      <a:pt x="230" y="153"/>
                    </a:lnTo>
                    <a:lnTo>
                      <a:pt x="213" y="146"/>
                    </a:lnTo>
                    <a:lnTo>
                      <a:pt x="201" y="144"/>
                    </a:lnTo>
                    <a:lnTo>
                      <a:pt x="194" y="142"/>
                    </a:lnTo>
                    <a:lnTo>
                      <a:pt x="192" y="142"/>
                    </a:lnTo>
                    <a:lnTo>
                      <a:pt x="192" y="142"/>
                    </a:lnTo>
                    <a:lnTo>
                      <a:pt x="190" y="144"/>
                    </a:lnTo>
                    <a:lnTo>
                      <a:pt x="187" y="142"/>
                    </a:lnTo>
                    <a:lnTo>
                      <a:pt x="180" y="142"/>
                    </a:lnTo>
                    <a:lnTo>
                      <a:pt x="178" y="142"/>
                    </a:lnTo>
                    <a:lnTo>
                      <a:pt x="171" y="142"/>
                    </a:lnTo>
                    <a:lnTo>
                      <a:pt x="171" y="142"/>
                    </a:lnTo>
                    <a:lnTo>
                      <a:pt x="168" y="144"/>
                    </a:lnTo>
                    <a:lnTo>
                      <a:pt x="168" y="144"/>
                    </a:lnTo>
                    <a:lnTo>
                      <a:pt x="166" y="146"/>
                    </a:lnTo>
                    <a:lnTo>
                      <a:pt x="166" y="144"/>
                    </a:lnTo>
                    <a:lnTo>
                      <a:pt x="168" y="144"/>
                    </a:lnTo>
                    <a:lnTo>
                      <a:pt x="168" y="142"/>
                    </a:lnTo>
                    <a:lnTo>
                      <a:pt x="168" y="142"/>
                    </a:lnTo>
                    <a:lnTo>
                      <a:pt x="168" y="139"/>
                    </a:lnTo>
                    <a:lnTo>
                      <a:pt x="168" y="139"/>
                    </a:lnTo>
                    <a:lnTo>
                      <a:pt x="166" y="139"/>
                    </a:lnTo>
                    <a:lnTo>
                      <a:pt x="166" y="139"/>
                    </a:lnTo>
                    <a:lnTo>
                      <a:pt x="161" y="139"/>
                    </a:lnTo>
                    <a:lnTo>
                      <a:pt x="161" y="139"/>
                    </a:lnTo>
                    <a:lnTo>
                      <a:pt x="161" y="139"/>
                    </a:lnTo>
                    <a:lnTo>
                      <a:pt x="161" y="139"/>
                    </a:lnTo>
                    <a:lnTo>
                      <a:pt x="161" y="139"/>
                    </a:lnTo>
                    <a:lnTo>
                      <a:pt x="156" y="139"/>
                    </a:lnTo>
                    <a:lnTo>
                      <a:pt x="154" y="139"/>
                    </a:lnTo>
                    <a:lnTo>
                      <a:pt x="152" y="137"/>
                    </a:lnTo>
                    <a:lnTo>
                      <a:pt x="149" y="137"/>
                    </a:lnTo>
                    <a:lnTo>
                      <a:pt x="149" y="134"/>
                    </a:lnTo>
                    <a:lnTo>
                      <a:pt x="149" y="134"/>
                    </a:lnTo>
                    <a:lnTo>
                      <a:pt x="159" y="137"/>
                    </a:lnTo>
                    <a:lnTo>
                      <a:pt x="161" y="137"/>
                    </a:lnTo>
                    <a:lnTo>
                      <a:pt x="161" y="134"/>
                    </a:lnTo>
                    <a:lnTo>
                      <a:pt x="161" y="134"/>
                    </a:lnTo>
                    <a:lnTo>
                      <a:pt x="161" y="134"/>
                    </a:lnTo>
                    <a:lnTo>
                      <a:pt x="159" y="134"/>
                    </a:lnTo>
                    <a:lnTo>
                      <a:pt x="154" y="132"/>
                    </a:lnTo>
                    <a:lnTo>
                      <a:pt x="152" y="132"/>
                    </a:lnTo>
                    <a:lnTo>
                      <a:pt x="147" y="130"/>
                    </a:lnTo>
                    <a:lnTo>
                      <a:pt x="147" y="130"/>
                    </a:lnTo>
                    <a:lnTo>
                      <a:pt x="147" y="132"/>
                    </a:lnTo>
                    <a:lnTo>
                      <a:pt x="147" y="132"/>
                    </a:lnTo>
                    <a:lnTo>
                      <a:pt x="145" y="132"/>
                    </a:lnTo>
                    <a:lnTo>
                      <a:pt x="145" y="132"/>
                    </a:lnTo>
                    <a:lnTo>
                      <a:pt x="142" y="134"/>
                    </a:lnTo>
                    <a:lnTo>
                      <a:pt x="142" y="134"/>
                    </a:lnTo>
                    <a:lnTo>
                      <a:pt x="140" y="134"/>
                    </a:lnTo>
                    <a:lnTo>
                      <a:pt x="135" y="132"/>
                    </a:lnTo>
                    <a:lnTo>
                      <a:pt x="133" y="132"/>
                    </a:lnTo>
                    <a:lnTo>
                      <a:pt x="133" y="134"/>
                    </a:lnTo>
                    <a:lnTo>
                      <a:pt x="133" y="137"/>
                    </a:lnTo>
                    <a:lnTo>
                      <a:pt x="133" y="137"/>
                    </a:lnTo>
                    <a:lnTo>
                      <a:pt x="133" y="137"/>
                    </a:lnTo>
                    <a:lnTo>
                      <a:pt x="133" y="137"/>
                    </a:lnTo>
                    <a:lnTo>
                      <a:pt x="130" y="137"/>
                    </a:lnTo>
                    <a:lnTo>
                      <a:pt x="126" y="137"/>
                    </a:lnTo>
                    <a:lnTo>
                      <a:pt x="123" y="134"/>
                    </a:lnTo>
                    <a:lnTo>
                      <a:pt x="123" y="134"/>
                    </a:lnTo>
                    <a:lnTo>
                      <a:pt x="123" y="134"/>
                    </a:lnTo>
                    <a:lnTo>
                      <a:pt x="123" y="137"/>
                    </a:lnTo>
                    <a:lnTo>
                      <a:pt x="123" y="137"/>
                    </a:lnTo>
                    <a:lnTo>
                      <a:pt x="123" y="137"/>
                    </a:lnTo>
                    <a:lnTo>
                      <a:pt x="123" y="139"/>
                    </a:lnTo>
                    <a:lnTo>
                      <a:pt x="123" y="139"/>
                    </a:lnTo>
                    <a:lnTo>
                      <a:pt x="121" y="139"/>
                    </a:lnTo>
                    <a:lnTo>
                      <a:pt x="119" y="139"/>
                    </a:lnTo>
                    <a:lnTo>
                      <a:pt x="114" y="142"/>
                    </a:lnTo>
                    <a:lnTo>
                      <a:pt x="114" y="142"/>
                    </a:lnTo>
                    <a:lnTo>
                      <a:pt x="111" y="144"/>
                    </a:lnTo>
                    <a:lnTo>
                      <a:pt x="111" y="146"/>
                    </a:lnTo>
                    <a:lnTo>
                      <a:pt x="111" y="146"/>
                    </a:lnTo>
                    <a:lnTo>
                      <a:pt x="109" y="146"/>
                    </a:lnTo>
                    <a:lnTo>
                      <a:pt x="107" y="146"/>
                    </a:lnTo>
                    <a:lnTo>
                      <a:pt x="104" y="146"/>
                    </a:lnTo>
                    <a:lnTo>
                      <a:pt x="104" y="149"/>
                    </a:lnTo>
                    <a:lnTo>
                      <a:pt x="102" y="149"/>
                    </a:lnTo>
                    <a:lnTo>
                      <a:pt x="102" y="149"/>
                    </a:lnTo>
                    <a:lnTo>
                      <a:pt x="104" y="149"/>
                    </a:lnTo>
                    <a:lnTo>
                      <a:pt x="107" y="149"/>
                    </a:lnTo>
                    <a:lnTo>
                      <a:pt x="107" y="149"/>
                    </a:lnTo>
                    <a:lnTo>
                      <a:pt x="107" y="151"/>
                    </a:lnTo>
                    <a:lnTo>
                      <a:pt x="107" y="151"/>
                    </a:lnTo>
                    <a:lnTo>
                      <a:pt x="104" y="156"/>
                    </a:lnTo>
                    <a:lnTo>
                      <a:pt x="104" y="156"/>
                    </a:lnTo>
                    <a:lnTo>
                      <a:pt x="104" y="158"/>
                    </a:lnTo>
                    <a:lnTo>
                      <a:pt x="107" y="161"/>
                    </a:lnTo>
                    <a:lnTo>
                      <a:pt x="111" y="163"/>
                    </a:lnTo>
                    <a:lnTo>
                      <a:pt x="116" y="163"/>
                    </a:lnTo>
                    <a:lnTo>
                      <a:pt x="119" y="165"/>
                    </a:lnTo>
                    <a:lnTo>
                      <a:pt x="123" y="170"/>
                    </a:lnTo>
                    <a:lnTo>
                      <a:pt x="126" y="170"/>
                    </a:lnTo>
                    <a:lnTo>
                      <a:pt x="126" y="170"/>
                    </a:lnTo>
                    <a:lnTo>
                      <a:pt x="126" y="172"/>
                    </a:lnTo>
                    <a:lnTo>
                      <a:pt x="123" y="175"/>
                    </a:lnTo>
                    <a:lnTo>
                      <a:pt x="121" y="177"/>
                    </a:lnTo>
                    <a:lnTo>
                      <a:pt x="119" y="179"/>
                    </a:lnTo>
                    <a:lnTo>
                      <a:pt x="119" y="182"/>
                    </a:lnTo>
                    <a:lnTo>
                      <a:pt x="116" y="184"/>
                    </a:lnTo>
                    <a:lnTo>
                      <a:pt x="116" y="184"/>
                    </a:lnTo>
                    <a:lnTo>
                      <a:pt x="116" y="184"/>
                    </a:lnTo>
                    <a:lnTo>
                      <a:pt x="116" y="187"/>
                    </a:lnTo>
                    <a:lnTo>
                      <a:pt x="119" y="189"/>
                    </a:lnTo>
                    <a:lnTo>
                      <a:pt x="121" y="189"/>
                    </a:lnTo>
                    <a:lnTo>
                      <a:pt x="123" y="191"/>
                    </a:lnTo>
                    <a:lnTo>
                      <a:pt x="123" y="194"/>
                    </a:lnTo>
                    <a:lnTo>
                      <a:pt x="126" y="194"/>
                    </a:lnTo>
                    <a:lnTo>
                      <a:pt x="126" y="196"/>
                    </a:lnTo>
                    <a:lnTo>
                      <a:pt x="126" y="196"/>
                    </a:lnTo>
                    <a:lnTo>
                      <a:pt x="128" y="198"/>
                    </a:lnTo>
                    <a:lnTo>
                      <a:pt x="130" y="198"/>
                    </a:lnTo>
                    <a:lnTo>
                      <a:pt x="130" y="201"/>
                    </a:lnTo>
                    <a:lnTo>
                      <a:pt x="133" y="206"/>
                    </a:lnTo>
                    <a:lnTo>
                      <a:pt x="133" y="206"/>
                    </a:lnTo>
                    <a:lnTo>
                      <a:pt x="133" y="208"/>
                    </a:lnTo>
                    <a:lnTo>
                      <a:pt x="133" y="208"/>
                    </a:lnTo>
                    <a:lnTo>
                      <a:pt x="130" y="208"/>
                    </a:lnTo>
                    <a:lnTo>
                      <a:pt x="128" y="208"/>
                    </a:lnTo>
                    <a:lnTo>
                      <a:pt x="128" y="208"/>
                    </a:lnTo>
                    <a:lnTo>
                      <a:pt x="130" y="210"/>
                    </a:lnTo>
                    <a:lnTo>
                      <a:pt x="128" y="210"/>
                    </a:lnTo>
                    <a:lnTo>
                      <a:pt x="128" y="213"/>
                    </a:lnTo>
                    <a:lnTo>
                      <a:pt x="128" y="215"/>
                    </a:lnTo>
                    <a:lnTo>
                      <a:pt x="128" y="215"/>
                    </a:lnTo>
                    <a:lnTo>
                      <a:pt x="128" y="215"/>
                    </a:lnTo>
                    <a:lnTo>
                      <a:pt x="128" y="215"/>
                    </a:lnTo>
                    <a:lnTo>
                      <a:pt x="130" y="215"/>
                    </a:lnTo>
                    <a:lnTo>
                      <a:pt x="130" y="217"/>
                    </a:lnTo>
                    <a:lnTo>
                      <a:pt x="130" y="217"/>
                    </a:lnTo>
                    <a:lnTo>
                      <a:pt x="130" y="217"/>
                    </a:lnTo>
                    <a:lnTo>
                      <a:pt x="130" y="217"/>
                    </a:lnTo>
                    <a:lnTo>
                      <a:pt x="128" y="220"/>
                    </a:lnTo>
                    <a:lnTo>
                      <a:pt x="128" y="220"/>
                    </a:lnTo>
                    <a:lnTo>
                      <a:pt x="128" y="220"/>
                    </a:lnTo>
                    <a:lnTo>
                      <a:pt x="130" y="222"/>
                    </a:lnTo>
                    <a:lnTo>
                      <a:pt x="130" y="222"/>
                    </a:lnTo>
                    <a:lnTo>
                      <a:pt x="133" y="224"/>
                    </a:lnTo>
                    <a:lnTo>
                      <a:pt x="135" y="224"/>
                    </a:lnTo>
                    <a:lnTo>
                      <a:pt x="137" y="224"/>
                    </a:lnTo>
                    <a:lnTo>
                      <a:pt x="137" y="224"/>
                    </a:lnTo>
                    <a:lnTo>
                      <a:pt x="137" y="227"/>
                    </a:lnTo>
                    <a:lnTo>
                      <a:pt x="135" y="227"/>
                    </a:lnTo>
                    <a:lnTo>
                      <a:pt x="135" y="229"/>
                    </a:lnTo>
                    <a:lnTo>
                      <a:pt x="137" y="229"/>
                    </a:lnTo>
                    <a:lnTo>
                      <a:pt x="137" y="232"/>
                    </a:lnTo>
                    <a:lnTo>
                      <a:pt x="142" y="234"/>
                    </a:lnTo>
                    <a:lnTo>
                      <a:pt x="142" y="234"/>
                    </a:lnTo>
                    <a:lnTo>
                      <a:pt x="145" y="234"/>
                    </a:lnTo>
                    <a:lnTo>
                      <a:pt x="145" y="236"/>
                    </a:lnTo>
                    <a:lnTo>
                      <a:pt x="145" y="236"/>
                    </a:lnTo>
                    <a:lnTo>
                      <a:pt x="145" y="239"/>
                    </a:lnTo>
                    <a:lnTo>
                      <a:pt x="142" y="239"/>
                    </a:lnTo>
                    <a:lnTo>
                      <a:pt x="140" y="241"/>
                    </a:lnTo>
                    <a:lnTo>
                      <a:pt x="137" y="243"/>
                    </a:lnTo>
                    <a:lnTo>
                      <a:pt x="137" y="243"/>
                    </a:lnTo>
                    <a:lnTo>
                      <a:pt x="137" y="243"/>
                    </a:lnTo>
                    <a:lnTo>
                      <a:pt x="145" y="248"/>
                    </a:lnTo>
                    <a:lnTo>
                      <a:pt x="147" y="251"/>
                    </a:lnTo>
                    <a:lnTo>
                      <a:pt x="154" y="251"/>
                    </a:lnTo>
                    <a:lnTo>
                      <a:pt x="156" y="253"/>
                    </a:lnTo>
                    <a:lnTo>
                      <a:pt x="156" y="255"/>
                    </a:lnTo>
                    <a:lnTo>
                      <a:pt x="159" y="255"/>
                    </a:lnTo>
                    <a:lnTo>
                      <a:pt x="161" y="258"/>
                    </a:lnTo>
                    <a:lnTo>
                      <a:pt x="161" y="258"/>
                    </a:lnTo>
                    <a:lnTo>
                      <a:pt x="161" y="258"/>
                    </a:lnTo>
                    <a:lnTo>
                      <a:pt x="161" y="260"/>
                    </a:lnTo>
                    <a:lnTo>
                      <a:pt x="161" y="262"/>
                    </a:lnTo>
                    <a:lnTo>
                      <a:pt x="161" y="262"/>
                    </a:lnTo>
                    <a:lnTo>
                      <a:pt x="159" y="265"/>
                    </a:lnTo>
                    <a:lnTo>
                      <a:pt x="159" y="267"/>
                    </a:lnTo>
                    <a:lnTo>
                      <a:pt x="156" y="269"/>
                    </a:lnTo>
                    <a:lnTo>
                      <a:pt x="149" y="274"/>
                    </a:lnTo>
                    <a:lnTo>
                      <a:pt x="149" y="274"/>
                    </a:lnTo>
                    <a:lnTo>
                      <a:pt x="147" y="277"/>
                    </a:lnTo>
                    <a:lnTo>
                      <a:pt x="142" y="281"/>
                    </a:lnTo>
                    <a:lnTo>
                      <a:pt x="142" y="281"/>
                    </a:lnTo>
                    <a:lnTo>
                      <a:pt x="140" y="286"/>
                    </a:lnTo>
                    <a:lnTo>
                      <a:pt x="137" y="286"/>
                    </a:lnTo>
                    <a:lnTo>
                      <a:pt x="137" y="286"/>
                    </a:lnTo>
                    <a:lnTo>
                      <a:pt x="133" y="291"/>
                    </a:lnTo>
                    <a:lnTo>
                      <a:pt x="130" y="293"/>
                    </a:lnTo>
                    <a:lnTo>
                      <a:pt x="126" y="293"/>
                    </a:lnTo>
                    <a:lnTo>
                      <a:pt x="126" y="296"/>
                    </a:lnTo>
                    <a:lnTo>
                      <a:pt x="123" y="296"/>
                    </a:lnTo>
                    <a:lnTo>
                      <a:pt x="123" y="298"/>
                    </a:lnTo>
                    <a:lnTo>
                      <a:pt x="121" y="298"/>
                    </a:lnTo>
                    <a:lnTo>
                      <a:pt x="119" y="300"/>
                    </a:lnTo>
                    <a:lnTo>
                      <a:pt x="114" y="305"/>
                    </a:lnTo>
                    <a:lnTo>
                      <a:pt x="119" y="303"/>
                    </a:lnTo>
                    <a:lnTo>
                      <a:pt x="123" y="303"/>
                    </a:lnTo>
                    <a:lnTo>
                      <a:pt x="126" y="303"/>
                    </a:lnTo>
                    <a:lnTo>
                      <a:pt x="126" y="303"/>
                    </a:lnTo>
                    <a:lnTo>
                      <a:pt x="126" y="305"/>
                    </a:lnTo>
                    <a:lnTo>
                      <a:pt x="126" y="305"/>
                    </a:lnTo>
                    <a:lnTo>
                      <a:pt x="123" y="305"/>
                    </a:lnTo>
                    <a:lnTo>
                      <a:pt x="126" y="305"/>
                    </a:lnTo>
                    <a:lnTo>
                      <a:pt x="126" y="307"/>
                    </a:lnTo>
                    <a:lnTo>
                      <a:pt x="130" y="307"/>
                    </a:lnTo>
                    <a:lnTo>
                      <a:pt x="133" y="312"/>
                    </a:lnTo>
                    <a:lnTo>
                      <a:pt x="137" y="312"/>
                    </a:lnTo>
                    <a:lnTo>
                      <a:pt x="140" y="310"/>
                    </a:lnTo>
                    <a:lnTo>
                      <a:pt x="142" y="312"/>
                    </a:lnTo>
                    <a:lnTo>
                      <a:pt x="145" y="312"/>
                    </a:lnTo>
                    <a:lnTo>
                      <a:pt x="147" y="314"/>
                    </a:lnTo>
                    <a:lnTo>
                      <a:pt x="149" y="314"/>
                    </a:lnTo>
                    <a:lnTo>
                      <a:pt x="152" y="314"/>
                    </a:lnTo>
                    <a:lnTo>
                      <a:pt x="152" y="317"/>
                    </a:lnTo>
                    <a:lnTo>
                      <a:pt x="149" y="317"/>
                    </a:lnTo>
                    <a:lnTo>
                      <a:pt x="142" y="314"/>
                    </a:lnTo>
                    <a:lnTo>
                      <a:pt x="135" y="314"/>
                    </a:lnTo>
                    <a:lnTo>
                      <a:pt x="135" y="314"/>
                    </a:lnTo>
                    <a:lnTo>
                      <a:pt x="133" y="317"/>
                    </a:lnTo>
                    <a:lnTo>
                      <a:pt x="133" y="317"/>
                    </a:lnTo>
                    <a:lnTo>
                      <a:pt x="133" y="317"/>
                    </a:lnTo>
                    <a:lnTo>
                      <a:pt x="130" y="319"/>
                    </a:lnTo>
                    <a:lnTo>
                      <a:pt x="130" y="319"/>
                    </a:lnTo>
                    <a:lnTo>
                      <a:pt x="128" y="319"/>
                    </a:lnTo>
                    <a:lnTo>
                      <a:pt x="126" y="317"/>
                    </a:lnTo>
                    <a:lnTo>
                      <a:pt x="126" y="319"/>
                    </a:lnTo>
                    <a:lnTo>
                      <a:pt x="126" y="319"/>
                    </a:lnTo>
                    <a:lnTo>
                      <a:pt x="123" y="322"/>
                    </a:lnTo>
                    <a:lnTo>
                      <a:pt x="121" y="319"/>
                    </a:lnTo>
                    <a:lnTo>
                      <a:pt x="121" y="319"/>
                    </a:lnTo>
                    <a:lnTo>
                      <a:pt x="119" y="319"/>
                    </a:lnTo>
                    <a:lnTo>
                      <a:pt x="119" y="319"/>
                    </a:lnTo>
                    <a:lnTo>
                      <a:pt x="119" y="322"/>
                    </a:lnTo>
                    <a:lnTo>
                      <a:pt x="121" y="324"/>
                    </a:lnTo>
                    <a:lnTo>
                      <a:pt x="119" y="324"/>
                    </a:lnTo>
                    <a:lnTo>
                      <a:pt x="121" y="326"/>
                    </a:lnTo>
                    <a:lnTo>
                      <a:pt x="121" y="326"/>
                    </a:lnTo>
                    <a:lnTo>
                      <a:pt x="121" y="326"/>
                    </a:lnTo>
                    <a:lnTo>
                      <a:pt x="121" y="326"/>
                    </a:lnTo>
                    <a:lnTo>
                      <a:pt x="121" y="326"/>
                    </a:lnTo>
                    <a:lnTo>
                      <a:pt x="121" y="329"/>
                    </a:lnTo>
                    <a:lnTo>
                      <a:pt x="121" y="329"/>
                    </a:lnTo>
                    <a:lnTo>
                      <a:pt x="119" y="329"/>
                    </a:lnTo>
                    <a:lnTo>
                      <a:pt x="119" y="329"/>
                    </a:lnTo>
                    <a:lnTo>
                      <a:pt x="119" y="331"/>
                    </a:lnTo>
                    <a:lnTo>
                      <a:pt x="116" y="333"/>
                    </a:lnTo>
                    <a:lnTo>
                      <a:pt x="114" y="336"/>
                    </a:lnTo>
                    <a:lnTo>
                      <a:pt x="114" y="336"/>
                    </a:lnTo>
                    <a:lnTo>
                      <a:pt x="114" y="338"/>
                    </a:lnTo>
                    <a:lnTo>
                      <a:pt x="111" y="338"/>
                    </a:lnTo>
                    <a:lnTo>
                      <a:pt x="111" y="340"/>
                    </a:lnTo>
                    <a:lnTo>
                      <a:pt x="114" y="345"/>
                    </a:lnTo>
                    <a:lnTo>
                      <a:pt x="114" y="345"/>
                    </a:lnTo>
                    <a:lnTo>
                      <a:pt x="114" y="348"/>
                    </a:lnTo>
                    <a:lnTo>
                      <a:pt x="114" y="348"/>
                    </a:lnTo>
                    <a:lnTo>
                      <a:pt x="114" y="350"/>
                    </a:lnTo>
                    <a:lnTo>
                      <a:pt x="116" y="350"/>
                    </a:lnTo>
                    <a:lnTo>
                      <a:pt x="119" y="352"/>
                    </a:lnTo>
                    <a:lnTo>
                      <a:pt x="119" y="355"/>
                    </a:lnTo>
                    <a:lnTo>
                      <a:pt x="119" y="355"/>
                    </a:lnTo>
                    <a:lnTo>
                      <a:pt x="119" y="357"/>
                    </a:lnTo>
                    <a:lnTo>
                      <a:pt x="121" y="357"/>
                    </a:lnTo>
                    <a:lnTo>
                      <a:pt x="121" y="357"/>
                    </a:lnTo>
                    <a:lnTo>
                      <a:pt x="119" y="357"/>
                    </a:lnTo>
                    <a:lnTo>
                      <a:pt x="116" y="357"/>
                    </a:lnTo>
                    <a:lnTo>
                      <a:pt x="116" y="359"/>
                    </a:lnTo>
                    <a:lnTo>
                      <a:pt x="116" y="359"/>
                    </a:lnTo>
                    <a:lnTo>
                      <a:pt x="114" y="359"/>
                    </a:lnTo>
                    <a:lnTo>
                      <a:pt x="114" y="362"/>
                    </a:lnTo>
                    <a:lnTo>
                      <a:pt x="114" y="362"/>
                    </a:lnTo>
                    <a:lnTo>
                      <a:pt x="114" y="362"/>
                    </a:lnTo>
                    <a:lnTo>
                      <a:pt x="116" y="364"/>
                    </a:lnTo>
                    <a:lnTo>
                      <a:pt x="116" y="364"/>
                    </a:lnTo>
                    <a:lnTo>
                      <a:pt x="116" y="364"/>
                    </a:lnTo>
                    <a:lnTo>
                      <a:pt x="119" y="367"/>
                    </a:lnTo>
                    <a:lnTo>
                      <a:pt x="121" y="367"/>
                    </a:lnTo>
                    <a:lnTo>
                      <a:pt x="121" y="367"/>
                    </a:lnTo>
                    <a:lnTo>
                      <a:pt x="123" y="369"/>
                    </a:lnTo>
                    <a:lnTo>
                      <a:pt x="123" y="369"/>
                    </a:lnTo>
                    <a:lnTo>
                      <a:pt x="121" y="369"/>
                    </a:lnTo>
                    <a:lnTo>
                      <a:pt x="121" y="371"/>
                    </a:lnTo>
                    <a:lnTo>
                      <a:pt x="121" y="371"/>
                    </a:lnTo>
                    <a:lnTo>
                      <a:pt x="121" y="374"/>
                    </a:lnTo>
                    <a:lnTo>
                      <a:pt x="121" y="376"/>
                    </a:lnTo>
                    <a:lnTo>
                      <a:pt x="121" y="376"/>
                    </a:lnTo>
                    <a:lnTo>
                      <a:pt x="123" y="376"/>
                    </a:lnTo>
                    <a:lnTo>
                      <a:pt x="123" y="376"/>
                    </a:lnTo>
                    <a:lnTo>
                      <a:pt x="123" y="376"/>
                    </a:lnTo>
                    <a:lnTo>
                      <a:pt x="123" y="378"/>
                    </a:lnTo>
                    <a:lnTo>
                      <a:pt x="126" y="378"/>
                    </a:lnTo>
                    <a:lnTo>
                      <a:pt x="126" y="381"/>
                    </a:lnTo>
                    <a:lnTo>
                      <a:pt x="126" y="381"/>
                    </a:lnTo>
                    <a:lnTo>
                      <a:pt x="128" y="383"/>
                    </a:lnTo>
                    <a:lnTo>
                      <a:pt x="128" y="383"/>
                    </a:lnTo>
                    <a:lnTo>
                      <a:pt x="128" y="385"/>
                    </a:lnTo>
                    <a:lnTo>
                      <a:pt x="130" y="388"/>
                    </a:lnTo>
                    <a:lnTo>
                      <a:pt x="130" y="388"/>
                    </a:lnTo>
                    <a:lnTo>
                      <a:pt x="130" y="390"/>
                    </a:lnTo>
                    <a:lnTo>
                      <a:pt x="130" y="390"/>
                    </a:lnTo>
                    <a:lnTo>
                      <a:pt x="133" y="393"/>
                    </a:lnTo>
                    <a:lnTo>
                      <a:pt x="133" y="393"/>
                    </a:lnTo>
                    <a:lnTo>
                      <a:pt x="133" y="393"/>
                    </a:lnTo>
                    <a:lnTo>
                      <a:pt x="133" y="390"/>
                    </a:lnTo>
                    <a:lnTo>
                      <a:pt x="135" y="390"/>
                    </a:lnTo>
                    <a:lnTo>
                      <a:pt x="137" y="393"/>
                    </a:lnTo>
                    <a:lnTo>
                      <a:pt x="137" y="393"/>
                    </a:lnTo>
                    <a:lnTo>
                      <a:pt x="140" y="395"/>
                    </a:lnTo>
                    <a:lnTo>
                      <a:pt x="140" y="395"/>
                    </a:lnTo>
                    <a:lnTo>
                      <a:pt x="142" y="393"/>
                    </a:lnTo>
                    <a:lnTo>
                      <a:pt x="142" y="393"/>
                    </a:lnTo>
                    <a:lnTo>
                      <a:pt x="145" y="393"/>
                    </a:lnTo>
                    <a:lnTo>
                      <a:pt x="147" y="395"/>
                    </a:lnTo>
                    <a:lnTo>
                      <a:pt x="149" y="395"/>
                    </a:lnTo>
                    <a:lnTo>
                      <a:pt x="149" y="395"/>
                    </a:lnTo>
                    <a:lnTo>
                      <a:pt x="149" y="395"/>
                    </a:lnTo>
                    <a:lnTo>
                      <a:pt x="149" y="397"/>
                    </a:lnTo>
                    <a:lnTo>
                      <a:pt x="149" y="397"/>
                    </a:lnTo>
                    <a:lnTo>
                      <a:pt x="149" y="400"/>
                    </a:lnTo>
                    <a:lnTo>
                      <a:pt x="152" y="400"/>
                    </a:lnTo>
                    <a:lnTo>
                      <a:pt x="154" y="397"/>
                    </a:lnTo>
                    <a:lnTo>
                      <a:pt x="154" y="397"/>
                    </a:lnTo>
                    <a:lnTo>
                      <a:pt x="154" y="397"/>
                    </a:lnTo>
                    <a:lnTo>
                      <a:pt x="156" y="397"/>
                    </a:lnTo>
                    <a:lnTo>
                      <a:pt x="156" y="397"/>
                    </a:lnTo>
                    <a:lnTo>
                      <a:pt x="159" y="397"/>
                    </a:lnTo>
                    <a:lnTo>
                      <a:pt x="159" y="397"/>
                    </a:lnTo>
                    <a:lnTo>
                      <a:pt x="163" y="397"/>
                    </a:lnTo>
                    <a:lnTo>
                      <a:pt x="166" y="397"/>
                    </a:lnTo>
                    <a:lnTo>
                      <a:pt x="166" y="397"/>
                    </a:lnTo>
                    <a:lnTo>
                      <a:pt x="168" y="400"/>
                    </a:lnTo>
                    <a:lnTo>
                      <a:pt x="168" y="400"/>
                    </a:lnTo>
                    <a:lnTo>
                      <a:pt x="171" y="400"/>
                    </a:lnTo>
                    <a:lnTo>
                      <a:pt x="171" y="400"/>
                    </a:lnTo>
                    <a:lnTo>
                      <a:pt x="171" y="402"/>
                    </a:lnTo>
                    <a:lnTo>
                      <a:pt x="173" y="402"/>
                    </a:lnTo>
                    <a:lnTo>
                      <a:pt x="173" y="402"/>
                    </a:lnTo>
                    <a:lnTo>
                      <a:pt x="173" y="402"/>
                    </a:lnTo>
                    <a:lnTo>
                      <a:pt x="173" y="402"/>
                    </a:lnTo>
                    <a:lnTo>
                      <a:pt x="173" y="404"/>
                    </a:lnTo>
                    <a:lnTo>
                      <a:pt x="173" y="407"/>
                    </a:lnTo>
                    <a:lnTo>
                      <a:pt x="173" y="407"/>
                    </a:lnTo>
                    <a:lnTo>
                      <a:pt x="173" y="407"/>
                    </a:lnTo>
                    <a:lnTo>
                      <a:pt x="173" y="407"/>
                    </a:lnTo>
                    <a:lnTo>
                      <a:pt x="173" y="409"/>
                    </a:lnTo>
                    <a:lnTo>
                      <a:pt x="175" y="409"/>
                    </a:lnTo>
                    <a:lnTo>
                      <a:pt x="175" y="412"/>
                    </a:lnTo>
                    <a:lnTo>
                      <a:pt x="175" y="412"/>
                    </a:lnTo>
                    <a:lnTo>
                      <a:pt x="175" y="414"/>
                    </a:lnTo>
                    <a:lnTo>
                      <a:pt x="173" y="414"/>
                    </a:lnTo>
                    <a:lnTo>
                      <a:pt x="173" y="416"/>
                    </a:lnTo>
                    <a:lnTo>
                      <a:pt x="173" y="416"/>
                    </a:lnTo>
                    <a:lnTo>
                      <a:pt x="173" y="416"/>
                    </a:lnTo>
                    <a:lnTo>
                      <a:pt x="178" y="419"/>
                    </a:lnTo>
                    <a:lnTo>
                      <a:pt x="180" y="421"/>
                    </a:lnTo>
                    <a:lnTo>
                      <a:pt x="180" y="421"/>
                    </a:lnTo>
                    <a:lnTo>
                      <a:pt x="180" y="421"/>
                    </a:lnTo>
                    <a:lnTo>
                      <a:pt x="180" y="423"/>
                    </a:lnTo>
                    <a:lnTo>
                      <a:pt x="180" y="423"/>
                    </a:lnTo>
                    <a:lnTo>
                      <a:pt x="180" y="423"/>
                    </a:lnTo>
                    <a:lnTo>
                      <a:pt x="182" y="426"/>
                    </a:lnTo>
                    <a:lnTo>
                      <a:pt x="182" y="428"/>
                    </a:lnTo>
                    <a:lnTo>
                      <a:pt x="185" y="428"/>
                    </a:lnTo>
                    <a:lnTo>
                      <a:pt x="190" y="430"/>
                    </a:lnTo>
                    <a:lnTo>
                      <a:pt x="192" y="433"/>
                    </a:lnTo>
                    <a:lnTo>
                      <a:pt x="192" y="433"/>
                    </a:lnTo>
                    <a:lnTo>
                      <a:pt x="192" y="433"/>
                    </a:lnTo>
                    <a:lnTo>
                      <a:pt x="192" y="435"/>
                    </a:lnTo>
                    <a:lnTo>
                      <a:pt x="192" y="435"/>
                    </a:lnTo>
                    <a:lnTo>
                      <a:pt x="192" y="438"/>
                    </a:lnTo>
                    <a:lnTo>
                      <a:pt x="192" y="438"/>
                    </a:lnTo>
                    <a:lnTo>
                      <a:pt x="194" y="438"/>
                    </a:lnTo>
                    <a:lnTo>
                      <a:pt x="199" y="438"/>
                    </a:lnTo>
                    <a:lnTo>
                      <a:pt x="204" y="440"/>
                    </a:lnTo>
                    <a:lnTo>
                      <a:pt x="204" y="440"/>
                    </a:lnTo>
                    <a:lnTo>
                      <a:pt x="201" y="440"/>
                    </a:lnTo>
                    <a:lnTo>
                      <a:pt x="204" y="442"/>
                    </a:lnTo>
                    <a:lnTo>
                      <a:pt x="204" y="442"/>
                    </a:lnTo>
                    <a:lnTo>
                      <a:pt x="206" y="445"/>
                    </a:lnTo>
                    <a:lnTo>
                      <a:pt x="208" y="445"/>
                    </a:lnTo>
                    <a:lnTo>
                      <a:pt x="208" y="445"/>
                    </a:lnTo>
                    <a:lnTo>
                      <a:pt x="208" y="447"/>
                    </a:lnTo>
                    <a:lnTo>
                      <a:pt x="206" y="447"/>
                    </a:lnTo>
                    <a:lnTo>
                      <a:pt x="206" y="447"/>
                    </a:lnTo>
                    <a:lnTo>
                      <a:pt x="204" y="447"/>
                    </a:lnTo>
                    <a:lnTo>
                      <a:pt x="204" y="449"/>
                    </a:lnTo>
                    <a:lnTo>
                      <a:pt x="201" y="449"/>
                    </a:lnTo>
                    <a:lnTo>
                      <a:pt x="199" y="452"/>
                    </a:lnTo>
                    <a:lnTo>
                      <a:pt x="199" y="452"/>
                    </a:lnTo>
                    <a:lnTo>
                      <a:pt x="194" y="452"/>
                    </a:lnTo>
                    <a:lnTo>
                      <a:pt x="194" y="449"/>
                    </a:lnTo>
                    <a:lnTo>
                      <a:pt x="192" y="449"/>
                    </a:lnTo>
                    <a:lnTo>
                      <a:pt x="192" y="449"/>
                    </a:lnTo>
                    <a:lnTo>
                      <a:pt x="190" y="449"/>
                    </a:lnTo>
                    <a:lnTo>
                      <a:pt x="187" y="449"/>
                    </a:lnTo>
                    <a:lnTo>
                      <a:pt x="187" y="449"/>
                    </a:lnTo>
                    <a:lnTo>
                      <a:pt x="187" y="449"/>
                    </a:lnTo>
                    <a:lnTo>
                      <a:pt x="187" y="452"/>
                    </a:lnTo>
                    <a:lnTo>
                      <a:pt x="185" y="452"/>
                    </a:lnTo>
                    <a:lnTo>
                      <a:pt x="187" y="454"/>
                    </a:lnTo>
                    <a:lnTo>
                      <a:pt x="187" y="454"/>
                    </a:lnTo>
                    <a:lnTo>
                      <a:pt x="190" y="457"/>
                    </a:lnTo>
                    <a:lnTo>
                      <a:pt x="190" y="457"/>
                    </a:lnTo>
                    <a:lnTo>
                      <a:pt x="192" y="459"/>
                    </a:lnTo>
                    <a:lnTo>
                      <a:pt x="192" y="459"/>
                    </a:lnTo>
                    <a:lnTo>
                      <a:pt x="190" y="459"/>
                    </a:lnTo>
                    <a:lnTo>
                      <a:pt x="192" y="461"/>
                    </a:lnTo>
                    <a:lnTo>
                      <a:pt x="192" y="461"/>
                    </a:lnTo>
                    <a:lnTo>
                      <a:pt x="192" y="464"/>
                    </a:lnTo>
                    <a:lnTo>
                      <a:pt x="192" y="464"/>
                    </a:lnTo>
                    <a:lnTo>
                      <a:pt x="192" y="466"/>
                    </a:lnTo>
                    <a:lnTo>
                      <a:pt x="192" y="468"/>
                    </a:lnTo>
                    <a:lnTo>
                      <a:pt x="194" y="468"/>
                    </a:lnTo>
                    <a:lnTo>
                      <a:pt x="194" y="468"/>
                    </a:lnTo>
                    <a:lnTo>
                      <a:pt x="197" y="471"/>
                    </a:lnTo>
                    <a:lnTo>
                      <a:pt x="197" y="471"/>
                    </a:lnTo>
                    <a:lnTo>
                      <a:pt x="197" y="471"/>
                    </a:lnTo>
                    <a:lnTo>
                      <a:pt x="197" y="473"/>
                    </a:lnTo>
                    <a:lnTo>
                      <a:pt x="199" y="473"/>
                    </a:lnTo>
                    <a:lnTo>
                      <a:pt x="201" y="473"/>
                    </a:lnTo>
                    <a:lnTo>
                      <a:pt x="201" y="473"/>
                    </a:lnTo>
                    <a:lnTo>
                      <a:pt x="204" y="471"/>
                    </a:lnTo>
                    <a:lnTo>
                      <a:pt x="204" y="471"/>
                    </a:lnTo>
                    <a:lnTo>
                      <a:pt x="206" y="468"/>
                    </a:lnTo>
                    <a:lnTo>
                      <a:pt x="206" y="468"/>
                    </a:lnTo>
                    <a:lnTo>
                      <a:pt x="206" y="466"/>
                    </a:lnTo>
                    <a:lnTo>
                      <a:pt x="206" y="466"/>
                    </a:lnTo>
                    <a:lnTo>
                      <a:pt x="208" y="468"/>
                    </a:lnTo>
                    <a:lnTo>
                      <a:pt x="213" y="468"/>
                    </a:lnTo>
                    <a:lnTo>
                      <a:pt x="213" y="468"/>
                    </a:lnTo>
                    <a:lnTo>
                      <a:pt x="218" y="466"/>
                    </a:lnTo>
                    <a:lnTo>
                      <a:pt x="220" y="466"/>
                    </a:lnTo>
                    <a:lnTo>
                      <a:pt x="223" y="466"/>
                    </a:lnTo>
                    <a:lnTo>
                      <a:pt x="225" y="466"/>
                    </a:lnTo>
                    <a:lnTo>
                      <a:pt x="227" y="466"/>
                    </a:lnTo>
                    <a:lnTo>
                      <a:pt x="227" y="466"/>
                    </a:lnTo>
                    <a:lnTo>
                      <a:pt x="230" y="468"/>
                    </a:lnTo>
                    <a:lnTo>
                      <a:pt x="232" y="471"/>
                    </a:lnTo>
                    <a:lnTo>
                      <a:pt x="234" y="473"/>
                    </a:lnTo>
                    <a:lnTo>
                      <a:pt x="239" y="478"/>
                    </a:lnTo>
                    <a:lnTo>
                      <a:pt x="239" y="478"/>
                    </a:lnTo>
                    <a:lnTo>
                      <a:pt x="239" y="480"/>
                    </a:lnTo>
                    <a:lnTo>
                      <a:pt x="237" y="480"/>
                    </a:lnTo>
                    <a:lnTo>
                      <a:pt x="234" y="480"/>
                    </a:lnTo>
                    <a:lnTo>
                      <a:pt x="234" y="480"/>
                    </a:lnTo>
                    <a:lnTo>
                      <a:pt x="234" y="480"/>
                    </a:lnTo>
                    <a:lnTo>
                      <a:pt x="237" y="483"/>
                    </a:lnTo>
                    <a:lnTo>
                      <a:pt x="237" y="485"/>
                    </a:lnTo>
                    <a:lnTo>
                      <a:pt x="237" y="485"/>
                    </a:lnTo>
                    <a:lnTo>
                      <a:pt x="237" y="487"/>
                    </a:lnTo>
                    <a:lnTo>
                      <a:pt x="239" y="487"/>
                    </a:lnTo>
                    <a:lnTo>
                      <a:pt x="239" y="487"/>
                    </a:lnTo>
                    <a:lnTo>
                      <a:pt x="237" y="487"/>
                    </a:lnTo>
                    <a:lnTo>
                      <a:pt x="237" y="490"/>
                    </a:lnTo>
                    <a:lnTo>
                      <a:pt x="237" y="490"/>
                    </a:lnTo>
                    <a:lnTo>
                      <a:pt x="242" y="490"/>
                    </a:lnTo>
                    <a:lnTo>
                      <a:pt x="244" y="490"/>
                    </a:lnTo>
                    <a:lnTo>
                      <a:pt x="246" y="490"/>
                    </a:lnTo>
                    <a:lnTo>
                      <a:pt x="246" y="490"/>
                    </a:lnTo>
                    <a:lnTo>
                      <a:pt x="249" y="490"/>
                    </a:lnTo>
                    <a:lnTo>
                      <a:pt x="251" y="490"/>
                    </a:lnTo>
                    <a:lnTo>
                      <a:pt x="251" y="490"/>
                    </a:lnTo>
                    <a:lnTo>
                      <a:pt x="251" y="490"/>
                    </a:lnTo>
                    <a:lnTo>
                      <a:pt x="253" y="492"/>
                    </a:lnTo>
                    <a:lnTo>
                      <a:pt x="253" y="492"/>
                    </a:lnTo>
                    <a:lnTo>
                      <a:pt x="253" y="492"/>
                    </a:lnTo>
                    <a:lnTo>
                      <a:pt x="256" y="492"/>
                    </a:lnTo>
                    <a:lnTo>
                      <a:pt x="256" y="492"/>
                    </a:lnTo>
                    <a:lnTo>
                      <a:pt x="256" y="494"/>
                    </a:lnTo>
                    <a:lnTo>
                      <a:pt x="256" y="494"/>
                    </a:lnTo>
                    <a:lnTo>
                      <a:pt x="256" y="494"/>
                    </a:lnTo>
                    <a:lnTo>
                      <a:pt x="256" y="497"/>
                    </a:lnTo>
                    <a:lnTo>
                      <a:pt x="258" y="497"/>
                    </a:lnTo>
                    <a:lnTo>
                      <a:pt x="258" y="499"/>
                    </a:lnTo>
                    <a:lnTo>
                      <a:pt x="258" y="499"/>
                    </a:lnTo>
                    <a:lnTo>
                      <a:pt x="258" y="499"/>
                    </a:lnTo>
                    <a:lnTo>
                      <a:pt x="258" y="502"/>
                    </a:lnTo>
                    <a:lnTo>
                      <a:pt x="258" y="502"/>
                    </a:lnTo>
                    <a:lnTo>
                      <a:pt x="258" y="504"/>
                    </a:lnTo>
                    <a:lnTo>
                      <a:pt x="260" y="504"/>
                    </a:lnTo>
                    <a:lnTo>
                      <a:pt x="260" y="506"/>
                    </a:lnTo>
                    <a:lnTo>
                      <a:pt x="263" y="506"/>
                    </a:lnTo>
                    <a:lnTo>
                      <a:pt x="263" y="506"/>
                    </a:lnTo>
                    <a:lnTo>
                      <a:pt x="265" y="506"/>
                    </a:lnTo>
                    <a:lnTo>
                      <a:pt x="268" y="506"/>
                    </a:lnTo>
                    <a:lnTo>
                      <a:pt x="268" y="506"/>
                    </a:lnTo>
                    <a:lnTo>
                      <a:pt x="270" y="506"/>
                    </a:lnTo>
                    <a:lnTo>
                      <a:pt x="272" y="506"/>
                    </a:lnTo>
                    <a:lnTo>
                      <a:pt x="272" y="509"/>
                    </a:lnTo>
                    <a:lnTo>
                      <a:pt x="275" y="509"/>
                    </a:lnTo>
                    <a:lnTo>
                      <a:pt x="275" y="509"/>
                    </a:lnTo>
                    <a:lnTo>
                      <a:pt x="277" y="509"/>
                    </a:lnTo>
                    <a:lnTo>
                      <a:pt x="277" y="509"/>
                    </a:lnTo>
                    <a:lnTo>
                      <a:pt x="279" y="511"/>
                    </a:lnTo>
                    <a:lnTo>
                      <a:pt x="279" y="509"/>
                    </a:lnTo>
                    <a:lnTo>
                      <a:pt x="282" y="509"/>
                    </a:lnTo>
                    <a:lnTo>
                      <a:pt x="284" y="506"/>
                    </a:lnTo>
                    <a:lnTo>
                      <a:pt x="286" y="506"/>
                    </a:lnTo>
                    <a:lnTo>
                      <a:pt x="286" y="506"/>
                    </a:lnTo>
                    <a:lnTo>
                      <a:pt x="289" y="506"/>
                    </a:lnTo>
                    <a:lnTo>
                      <a:pt x="291" y="506"/>
                    </a:lnTo>
                    <a:lnTo>
                      <a:pt x="291" y="506"/>
                    </a:lnTo>
                    <a:lnTo>
                      <a:pt x="294" y="506"/>
                    </a:lnTo>
                    <a:lnTo>
                      <a:pt x="294" y="509"/>
                    </a:lnTo>
                    <a:lnTo>
                      <a:pt x="296" y="509"/>
                    </a:lnTo>
                    <a:lnTo>
                      <a:pt x="296" y="511"/>
                    </a:lnTo>
                    <a:lnTo>
                      <a:pt x="301" y="516"/>
                    </a:lnTo>
                    <a:lnTo>
                      <a:pt x="303" y="516"/>
                    </a:lnTo>
                    <a:lnTo>
                      <a:pt x="303" y="516"/>
                    </a:lnTo>
                    <a:lnTo>
                      <a:pt x="305" y="516"/>
                    </a:lnTo>
                    <a:lnTo>
                      <a:pt x="305" y="516"/>
                    </a:lnTo>
                    <a:lnTo>
                      <a:pt x="305" y="513"/>
                    </a:lnTo>
                    <a:lnTo>
                      <a:pt x="305" y="513"/>
                    </a:lnTo>
                    <a:lnTo>
                      <a:pt x="305" y="513"/>
                    </a:lnTo>
                    <a:lnTo>
                      <a:pt x="310" y="516"/>
                    </a:lnTo>
                    <a:lnTo>
                      <a:pt x="310" y="516"/>
                    </a:lnTo>
                    <a:lnTo>
                      <a:pt x="313" y="516"/>
                    </a:lnTo>
                    <a:lnTo>
                      <a:pt x="315" y="516"/>
                    </a:lnTo>
                    <a:lnTo>
                      <a:pt x="317" y="518"/>
                    </a:lnTo>
                    <a:lnTo>
                      <a:pt x="320" y="518"/>
                    </a:lnTo>
                    <a:lnTo>
                      <a:pt x="320" y="518"/>
                    </a:lnTo>
                    <a:lnTo>
                      <a:pt x="322" y="518"/>
                    </a:lnTo>
                    <a:lnTo>
                      <a:pt x="322" y="518"/>
                    </a:lnTo>
                    <a:lnTo>
                      <a:pt x="322" y="518"/>
                    </a:lnTo>
                    <a:lnTo>
                      <a:pt x="324" y="520"/>
                    </a:lnTo>
                    <a:lnTo>
                      <a:pt x="324" y="520"/>
                    </a:lnTo>
                    <a:lnTo>
                      <a:pt x="327" y="520"/>
                    </a:lnTo>
                    <a:lnTo>
                      <a:pt x="329" y="520"/>
                    </a:lnTo>
                    <a:lnTo>
                      <a:pt x="331" y="523"/>
                    </a:lnTo>
                    <a:lnTo>
                      <a:pt x="334" y="523"/>
                    </a:lnTo>
                    <a:lnTo>
                      <a:pt x="336" y="523"/>
                    </a:lnTo>
                    <a:lnTo>
                      <a:pt x="336" y="523"/>
                    </a:lnTo>
                    <a:lnTo>
                      <a:pt x="336" y="523"/>
                    </a:lnTo>
                    <a:lnTo>
                      <a:pt x="339" y="523"/>
                    </a:lnTo>
                    <a:lnTo>
                      <a:pt x="336" y="525"/>
                    </a:lnTo>
                    <a:lnTo>
                      <a:pt x="336" y="525"/>
                    </a:lnTo>
                    <a:lnTo>
                      <a:pt x="339" y="528"/>
                    </a:lnTo>
                    <a:lnTo>
                      <a:pt x="339" y="528"/>
                    </a:lnTo>
                    <a:lnTo>
                      <a:pt x="339" y="530"/>
                    </a:lnTo>
                    <a:lnTo>
                      <a:pt x="339" y="530"/>
                    </a:lnTo>
                    <a:lnTo>
                      <a:pt x="336" y="532"/>
                    </a:lnTo>
                    <a:lnTo>
                      <a:pt x="336" y="532"/>
                    </a:lnTo>
                    <a:lnTo>
                      <a:pt x="334" y="535"/>
                    </a:lnTo>
                    <a:lnTo>
                      <a:pt x="331" y="535"/>
                    </a:lnTo>
                    <a:lnTo>
                      <a:pt x="334" y="535"/>
                    </a:lnTo>
                    <a:lnTo>
                      <a:pt x="334" y="537"/>
                    </a:lnTo>
                    <a:lnTo>
                      <a:pt x="336" y="537"/>
                    </a:lnTo>
                    <a:lnTo>
                      <a:pt x="339" y="537"/>
                    </a:lnTo>
                    <a:lnTo>
                      <a:pt x="339" y="539"/>
                    </a:lnTo>
                    <a:lnTo>
                      <a:pt x="339" y="539"/>
                    </a:lnTo>
                    <a:lnTo>
                      <a:pt x="336" y="539"/>
                    </a:lnTo>
                    <a:lnTo>
                      <a:pt x="334" y="539"/>
                    </a:lnTo>
                    <a:lnTo>
                      <a:pt x="334" y="539"/>
                    </a:lnTo>
                    <a:lnTo>
                      <a:pt x="334" y="539"/>
                    </a:lnTo>
                    <a:lnTo>
                      <a:pt x="334" y="542"/>
                    </a:lnTo>
                    <a:lnTo>
                      <a:pt x="334" y="544"/>
                    </a:lnTo>
                    <a:lnTo>
                      <a:pt x="336" y="544"/>
                    </a:lnTo>
                    <a:lnTo>
                      <a:pt x="336" y="544"/>
                    </a:lnTo>
                    <a:lnTo>
                      <a:pt x="336" y="546"/>
                    </a:lnTo>
                    <a:lnTo>
                      <a:pt x="339" y="546"/>
                    </a:lnTo>
                    <a:lnTo>
                      <a:pt x="339" y="549"/>
                    </a:lnTo>
                    <a:lnTo>
                      <a:pt x="336" y="549"/>
                    </a:lnTo>
                    <a:lnTo>
                      <a:pt x="339" y="549"/>
                    </a:lnTo>
                    <a:lnTo>
                      <a:pt x="339" y="549"/>
                    </a:lnTo>
                    <a:lnTo>
                      <a:pt x="339" y="549"/>
                    </a:lnTo>
                    <a:lnTo>
                      <a:pt x="339" y="549"/>
                    </a:lnTo>
                    <a:lnTo>
                      <a:pt x="339" y="551"/>
                    </a:lnTo>
                    <a:lnTo>
                      <a:pt x="339" y="551"/>
                    </a:lnTo>
                    <a:lnTo>
                      <a:pt x="339" y="554"/>
                    </a:lnTo>
                    <a:lnTo>
                      <a:pt x="336" y="556"/>
                    </a:lnTo>
                    <a:lnTo>
                      <a:pt x="339" y="558"/>
                    </a:lnTo>
                    <a:lnTo>
                      <a:pt x="336" y="558"/>
                    </a:lnTo>
                    <a:lnTo>
                      <a:pt x="336" y="558"/>
                    </a:lnTo>
                    <a:lnTo>
                      <a:pt x="331" y="558"/>
                    </a:lnTo>
                    <a:lnTo>
                      <a:pt x="327" y="558"/>
                    </a:lnTo>
                    <a:lnTo>
                      <a:pt x="327" y="558"/>
                    </a:lnTo>
                    <a:lnTo>
                      <a:pt x="324" y="558"/>
                    </a:lnTo>
                    <a:lnTo>
                      <a:pt x="322" y="558"/>
                    </a:lnTo>
                    <a:lnTo>
                      <a:pt x="320" y="561"/>
                    </a:lnTo>
                    <a:lnTo>
                      <a:pt x="320" y="563"/>
                    </a:lnTo>
                    <a:lnTo>
                      <a:pt x="317" y="563"/>
                    </a:lnTo>
                    <a:lnTo>
                      <a:pt x="315" y="563"/>
                    </a:lnTo>
                    <a:lnTo>
                      <a:pt x="315" y="565"/>
                    </a:lnTo>
                    <a:lnTo>
                      <a:pt x="315" y="565"/>
                    </a:lnTo>
                    <a:lnTo>
                      <a:pt x="315" y="568"/>
                    </a:lnTo>
                    <a:lnTo>
                      <a:pt x="315" y="568"/>
                    </a:lnTo>
                    <a:lnTo>
                      <a:pt x="313" y="568"/>
                    </a:lnTo>
                    <a:lnTo>
                      <a:pt x="313" y="570"/>
                    </a:lnTo>
                    <a:lnTo>
                      <a:pt x="313" y="570"/>
                    </a:lnTo>
                    <a:lnTo>
                      <a:pt x="315" y="570"/>
                    </a:lnTo>
                    <a:lnTo>
                      <a:pt x="315" y="570"/>
                    </a:lnTo>
                    <a:lnTo>
                      <a:pt x="315" y="570"/>
                    </a:lnTo>
                    <a:lnTo>
                      <a:pt x="315" y="570"/>
                    </a:lnTo>
                    <a:lnTo>
                      <a:pt x="315" y="573"/>
                    </a:lnTo>
                    <a:lnTo>
                      <a:pt x="313" y="573"/>
                    </a:lnTo>
                    <a:lnTo>
                      <a:pt x="315" y="573"/>
                    </a:lnTo>
                    <a:lnTo>
                      <a:pt x="315" y="575"/>
                    </a:lnTo>
                    <a:lnTo>
                      <a:pt x="317" y="573"/>
                    </a:lnTo>
                    <a:lnTo>
                      <a:pt x="320" y="570"/>
                    </a:lnTo>
                    <a:lnTo>
                      <a:pt x="322" y="570"/>
                    </a:lnTo>
                    <a:lnTo>
                      <a:pt x="322" y="570"/>
                    </a:lnTo>
                    <a:lnTo>
                      <a:pt x="322" y="573"/>
                    </a:lnTo>
                    <a:lnTo>
                      <a:pt x="320" y="573"/>
                    </a:lnTo>
                    <a:lnTo>
                      <a:pt x="322" y="573"/>
                    </a:lnTo>
                    <a:lnTo>
                      <a:pt x="327" y="573"/>
                    </a:lnTo>
                    <a:lnTo>
                      <a:pt x="327" y="570"/>
                    </a:lnTo>
                    <a:lnTo>
                      <a:pt x="329" y="570"/>
                    </a:lnTo>
                    <a:lnTo>
                      <a:pt x="331" y="573"/>
                    </a:lnTo>
                    <a:lnTo>
                      <a:pt x="331" y="575"/>
                    </a:lnTo>
                    <a:lnTo>
                      <a:pt x="331" y="575"/>
                    </a:lnTo>
                    <a:lnTo>
                      <a:pt x="331" y="575"/>
                    </a:lnTo>
                    <a:lnTo>
                      <a:pt x="329" y="575"/>
                    </a:lnTo>
                    <a:lnTo>
                      <a:pt x="324" y="577"/>
                    </a:lnTo>
                    <a:lnTo>
                      <a:pt x="322" y="580"/>
                    </a:lnTo>
                    <a:lnTo>
                      <a:pt x="320" y="580"/>
                    </a:lnTo>
                    <a:lnTo>
                      <a:pt x="320" y="582"/>
                    </a:lnTo>
                    <a:lnTo>
                      <a:pt x="320" y="582"/>
                    </a:lnTo>
                    <a:lnTo>
                      <a:pt x="317" y="582"/>
                    </a:lnTo>
                    <a:lnTo>
                      <a:pt x="315" y="582"/>
                    </a:lnTo>
                    <a:lnTo>
                      <a:pt x="315" y="582"/>
                    </a:lnTo>
                    <a:lnTo>
                      <a:pt x="313" y="584"/>
                    </a:lnTo>
                    <a:lnTo>
                      <a:pt x="310" y="584"/>
                    </a:lnTo>
                    <a:lnTo>
                      <a:pt x="308" y="584"/>
                    </a:lnTo>
                    <a:lnTo>
                      <a:pt x="310" y="587"/>
                    </a:lnTo>
                    <a:lnTo>
                      <a:pt x="310" y="589"/>
                    </a:lnTo>
                    <a:lnTo>
                      <a:pt x="313" y="589"/>
                    </a:lnTo>
                    <a:lnTo>
                      <a:pt x="315" y="589"/>
                    </a:lnTo>
                    <a:lnTo>
                      <a:pt x="317" y="591"/>
                    </a:lnTo>
                    <a:lnTo>
                      <a:pt x="322" y="594"/>
                    </a:lnTo>
                    <a:lnTo>
                      <a:pt x="320" y="596"/>
                    </a:lnTo>
                    <a:lnTo>
                      <a:pt x="320" y="594"/>
                    </a:lnTo>
                    <a:lnTo>
                      <a:pt x="317" y="594"/>
                    </a:lnTo>
                    <a:lnTo>
                      <a:pt x="315" y="596"/>
                    </a:lnTo>
                    <a:lnTo>
                      <a:pt x="315" y="599"/>
                    </a:lnTo>
                    <a:lnTo>
                      <a:pt x="315" y="596"/>
                    </a:lnTo>
                    <a:lnTo>
                      <a:pt x="315" y="596"/>
                    </a:lnTo>
                    <a:lnTo>
                      <a:pt x="315" y="596"/>
                    </a:lnTo>
                    <a:lnTo>
                      <a:pt x="313" y="596"/>
                    </a:lnTo>
                    <a:lnTo>
                      <a:pt x="313" y="601"/>
                    </a:lnTo>
                    <a:lnTo>
                      <a:pt x="310" y="603"/>
                    </a:lnTo>
                    <a:lnTo>
                      <a:pt x="308" y="606"/>
                    </a:lnTo>
                    <a:lnTo>
                      <a:pt x="308" y="608"/>
                    </a:lnTo>
                    <a:lnTo>
                      <a:pt x="308" y="608"/>
                    </a:lnTo>
                    <a:lnTo>
                      <a:pt x="310" y="608"/>
                    </a:lnTo>
                    <a:lnTo>
                      <a:pt x="310" y="608"/>
                    </a:lnTo>
                    <a:lnTo>
                      <a:pt x="310" y="610"/>
                    </a:lnTo>
                    <a:lnTo>
                      <a:pt x="303" y="610"/>
                    </a:lnTo>
                    <a:lnTo>
                      <a:pt x="303" y="613"/>
                    </a:lnTo>
                    <a:lnTo>
                      <a:pt x="301" y="610"/>
                    </a:lnTo>
                    <a:lnTo>
                      <a:pt x="298" y="610"/>
                    </a:lnTo>
                    <a:lnTo>
                      <a:pt x="296" y="608"/>
                    </a:lnTo>
                    <a:lnTo>
                      <a:pt x="296" y="608"/>
                    </a:lnTo>
                    <a:lnTo>
                      <a:pt x="294" y="610"/>
                    </a:lnTo>
                    <a:lnTo>
                      <a:pt x="294" y="610"/>
                    </a:lnTo>
                    <a:lnTo>
                      <a:pt x="296" y="610"/>
                    </a:lnTo>
                    <a:lnTo>
                      <a:pt x="298" y="610"/>
                    </a:lnTo>
                    <a:lnTo>
                      <a:pt x="296" y="613"/>
                    </a:lnTo>
                    <a:lnTo>
                      <a:pt x="294" y="613"/>
                    </a:lnTo>
                    <a:lnTo>
                      <a:pt x="294" y="615"/>
                    </a:lnTo>
                    <a:lnTo>
                      <a:pt x="294" y="615"/>
                    </a:lnTo>
                    <a:lnTo>
                      <a:pt x="298" y="615"/>
                    </a:lnTo>
                    <a:lnTo>
                      <a:pt x="303" y="620"/>
                    </a:lnTo>
                    <a:lnTo>
                      <a:pt x="305" y="620"/>
                    </a:lnTo>
                    <a:lnTo>
                      <a:pt x="305" y="622"/>
                    </a:lnTo>
                    <a:lnTo>
                      <a:pt x="308" y="625"/>
                    </a:lnTo>
                    <a:lnTo>
                      <a:pt x="308" y="625"/>
                    </a:lnTo>
                    <a:lnTo>
                      <a:pt x="310" y="625"/>
                    </a:lnTo>
                    <a:lnTo>
                      <a:pt x="313" y="627"/>
                    </a:lnTo>
                    <a:lnTo>
                      <a:pt x="315" y="625"/>
                    </a:lnTo>
                    <a:lnTo>
                      <a:pt x="322" y="632"/>
                    </a:lnTo>
                    <a:lnTo>
                      <a:pt x="324" y="632"/>
                    </a:lnTo>
                    <a:lnTo>
                      <a:pt x="329" y="634"/>
                    </a:lnTo>
                    <a:lnTo>
                      <a:pt x="331" y="634"/>
                    </a:lnTo>
                    <a:lnTo>
                      <a:pt x="341" y="641"/>
                    </a:lnTo>
                    <a:lnTo>
                      <a:pt x="346" y="646"/>
                    </a:lnTo>
                    <a:lnTo>
                      <a:pt x="353" y="651"/>
                    </a:lnTo>
                    <a:lnTo>
                      <a:pt x="355" y="651"/>
                    </a:lnTo>
                    <a:lnTo>
                      <a:pt x="355" y="651"/>
                    </a:lnTo>
                    <a:lnTo>
                      <a:pt x="355" y="648"/>
                    </a:lnTo>
                    <a:lnTo>
                      <a:pt x="357" y="648"/>
                    </a:lnTo>
                    <a:lnTo>
                      <a:pt x="360" y="648"/>
                    </a:lnTo>
                    <a:lnTo>
                      <a:pt x="362" y="648"/>
                    </a:lnTo>
                    <a:lnTo>
                      <a:pt x="365" y="648"/>
                    </a:lnTo>
                    <a:lnTo>
                      <a:pt x="367" y="651"/>
                    </a:lnTo>
                    <a:lnTo>
                      <a:pt x="369" y="651"/>
                    </a:lnTo>
                    <a:lnTo>
                      <a:pt x="372" y="653"/>
                    </a:lnTo>
                    <a:lnTo>
                      <a:pt x="376" y="653"/>
                    </a:lnTo>
                    <a:lnTo>
                      <a:pt x="379" y="655"/>
                    </a:lnTo>
                    <a:lnTo>
                      <a:pt x="381" y="655"/>
                    </a:lnTo>
                    <a:lnTo>
                      <a:pt x="391" y="655"/>
                    </a:lnTo>
                    <a:lnTo>
                      <a:pt x="391" y="655"/>
                    </a:lnTo>
                    <a:lnTo>
                      <a:pt x="391" y="655"/>
                    </a:lnTo>
                    <a:lnTo>
                      <a:pt x="393" y="655"/>
                    </a:lnTo>
                    <a:lnTo>
                      <a:pt x="395" y="655"/>
                    </a:lnTo>
                    <a:lnTo>
                      <a:pt x="398" y="658"/>
                    </a:lnTo>
                    <a:lnTo>
                      <a:pt x="400" y="658"/>
                    </a:lnTo>
                    <a:lnTo>
                      <a:pt x="402" y="655"/>
                    </a:lnTo>
                    <a:lnTo>
                      <a:pt x="405" y="658"/>
                    </a:lnTo>
                    <a:lnTo>
                      <a:pt x="405" y="658"/>
                    </a:lnTo>
                    <a:lnTo>
                      <a:pt x="407" y="658"/>
                    </a:lnTo>
                    <a:lnTo>
                      <a:pt x="407" y="660"/>
                    </a:lnTo>
                    <a:lnTo>
                      <a:pt x="412" y="663"/>
                    </a:lnTo>
                    <a:lnTo>
                      <a:pt x="417" y="663"/>
                    </a:lnTo>
                    <a:lnTo>
                      <a:pt x="417" y="665"/>
                    </a:lnTo>
                    <a:lnTo>
                      <a:pt x="421" y="665"/>
                    </a:lnTo>
                    <a:lnTo>
                      <a:pt x="421" y="665"/>
                    </a:lnTo>
                    <a:lnTo>
                      <a:pt x="421" y="665"/>
                    </a:lnTo>
                    <a:lnTo>
                      <a:pt x="419" y="667"/>
                    </a:lnTo>
                    <a:lnTo>
                      <a:pt x="419" y="667"/>
                    </a:lnTo>
                    <a:lnTo>
                      <a:pt x="421" y="667"/>
                    </a:lnTo>
                    <a:lnTo>
                      <a:pt x="421" y="670"/>
                    </a:lnTo>
                    <a:lnTo>
                      <a:pt x="424" y="670"/>
                    </a:lnTo>
                    <a:lnTo>
                      <a:pt x="424" y="667"/>
                    </a:lnTo>
                    <a:lnTo>
                      <a:pt x="426" y="667"/>
                    </a:lnTo>
                    <a:lnTo>
                      <a:pt x="428" y="667"/>
                    </a:lnTo>
                    <a:lnTo>
                      <a:pt x="431" y="665"/>
                    </a:lnTo>
                    <a:lnTo>
                      <a:pt x="433" y="665"/>
                    </a:lnTo>
                    <a:lnTo>
                      <a:pt x="433" y="665"/>
                    </a:lnTo>
                    <a:lnTo>
                      <a:pt x="436" y="665"/>
                    </a:lnTo>
                    <a:lnTo>
                      <a:pt x="436" y="665"/>
                    </a:lnTo>
                    <a:lnTo>
                      <a:pt x="438" y="667"/>
                    </a:lnTo>
                    <a:lnTo>
                      <a:pt x="438" y="665"/>
                    </a:lnTo>
                    <a:lnTo>
                      <a:pt x="438" y="665"/>
                    </a:lnTo>
                    <a:lnTo>
                      <a:pt x="440" y="665"/>
                    </a:lnTo>
                    <a:lnTo>
                      <a:pt x="443" y="667"/>
                    </a:lnTo>
                    <a:lnTo>
                      <a:pt x="445" y="667"/>
                    </a:lnTo>
                    <a:lnTo>
                      <a:pt x="445" y="667"/>
                    </a:lnTo>
                    <a:lnTo>
                      <a:pt x="447" y="670"/>
                    </a:lnTo>
                    <a:lnTo>
                      <a:pt x="452" y="670"/>
                    </a:lnTo>
                    <a:lnTo>
                      <a:pt x="452" y="670"/>
                    </a:lnTo>
                    <a:lnTo>
                      <a:pt x="454" y="670"/>
                    </a:lnTo>
                    <a:lnTo>
                      <a:pt x="454" y="670"/>
                    </a:lnTo>
                    <a:lnTo>
                      <a:pt x="454" y="672"/>
                    </a:lnTo>
                    <a:lnTo>
                      <a:pt x="454" y="674"/>
                    </a:lnTo>
                    <a:lnTo>
                      <a:pt x="454" y="677"/>
                    </a:lnTo>
                    <a:lnTo>
                      <a:pt x="454" y="677"/>
                    </a:lnTo>
                    <a:lnTo>
                      <a:pt x="457" y="679"/>
                    </a:lnTo>
                    <a:lnTo>
                      <a:pt x="459" y="679"/>
                    </a:lnTo>
                    <a:lnTo>
                      <a:pt x="459" y="679"/>
                    </a:lnTo>
                    <a:lnTo>
                      <a:pt x="462" y="679"/>
                    </a:lnTo>
                    <a:lnTo>
                      <a:pt x="464" y="681"/>
                    </a:lnTo>
                    <a:lnTo>
                      <a:pt x="464" y="681"/>
                    </a:lnTo>
                    <a:lnTo>
                      <a:pt x="464" y="681"/>
                    </a:lnTo>
                    <a:lnTo>
                      <a:pt x="469" y="681"/>
                    </a:lnTo>
                    <a:lnTo>
                      <a:pt x="469" y="681"/>
                    </a:lnTo>
                    <a:lnTo>
                      <a:pt x="471" y="684"/>
                    </a:lnTo>
                    <a:lnTo>
                      <a:pt x="471" y="684"/>
                    </a:lnTo>
                    <a:lnTo>
                      <a:pt x="471" y="684"/>
                    </a:lnTo>
                    <a:lnTo>
                      <a:pt x="471" y="684"/>
                    </a:lnTo>
                    <a:lnTo>
                      <a:pt x="473" y="684"/>
                    </a:lnTo>
                    <a:lnTo>
                      <a:pt x="473" y="684"/>
                    </a:lnTo>
                    <a:lnTo>
                      <a:pt x="476" y="686"/>
                    </a:lnTo>
                    <a:lnTo>
                      <a:pt x="478" y="686"/>
                    </a:lnTo>
                    <a:lnTo>
                      <a:pt x="478" y="689"/>
                    </a:lnTo>
                    <a:lnTo>
                      <a:pt x="478" y="689"/>
                    </a:lnTo>
                    <a:lnTo>
                      <a:pt x="480" y="689"/>
                    </a:lnTo>
                    <a:lnTo>
                      <a:pt x="480" y="691"/>
                    </a:lnTo>
                    <a:lnTo>
                      <a:pt x="483" y="691"/>
                    </a:lnTo>
                    <a:lnTo>
                      <a:pt x="485" y="693"/>
                    </a:lnTo>
                    <a:lnTo>
                      <a:pt x="485" y="696"/>
                    </a:lnTo>
                    <a:lnTo>
                      <a:pt x="490" y="696"/>
                    </a:lnTo>
                    <a:lnTo>
                      <a:pt x="490" y="696"/>
                    </a:lnTo>
                    <a:lnTo>
                      <a:pt x="495" y="696"/>
                    </a:lnTo>
                    <a:lnTo>
                      <a:pt x="495" y="696"/>
                    </a:lnTo>
                    <a:lnTo>
                      <a:pt x="497" y="693"/>
                    </a:lnTo>
                    <a:lnTo>
                      <a:pt x="497" y="691"/>
                    </a:lnTo>
                    <a:lnTo>
                      <a:pt x="499" y="691"/>
                    </a:lnTo>
                    <a:lnTo>
                      <a:pt x="502" y="689"/>
                    </a:lnTo>
                    <a:lnTo>
                      <a:pt x="502" y="689"/>
                    </a:lnTo>
                    <a:lnTo>
                      <a:pt x="502" y="686"/>
                    </a:lnTo>
                    <a:lnTo>
                      <a:pt x="504" y="684"/>
                    </a:lnTo>
                    <a:lnTo>
                      <a:pt x="504" y="684"/>
                    </a:lnTo>
                    <a:lnTo>
                      <a:pt x="502" y="681"/>
                    </a:lnTo>
                    <a:lnTo>
                      <a:pt x="502" y="681"/>
                    </a:lnTo>
                    <a:lnTo>
                      <a:pt x="502" y="681"/>
                    </a:lnTo>
                    <a:lnTo>
                      <a:pt x="499" y="679"/>
                    </a:lnTo>
                    <a:lnTo>
                      <a:pt x="497" y="677"/>
                    </a:lnTo>
                    <a:lnTo>
                      <a:pt x="495" y="672"/>
                    </a:lnTo>
                    <a:lnTo>
                      <a:pt x="490" y="667"/>
                    </a:lnTo>
                    <a:lnTo>
                      <a:pt x="488" y="667"/>
                    </a:lnTo>
                    <a:lnTo>
                      <a:pt x="488" y="667"/>
                    </a:lnTo>
                    <a:lnTo>
                      <a:pt x="488" y="665"/>
                    </a:lnTo>
                    <a:lnTo>
                      <a:pt x="485" y="663"/>
                    </a:lnTo>
                    <a:lnTo>
                      <a:pt x="483" y="660"/>
                    </a:lnTo>
                    <a:lnTo>
                      <a:pt x="483" y="660"/>
                    </a:lnTo>
                    <a:lnTo>
                      <a:pt x="483" y="660"/>
                    </a:lnTo>
                    <a:lnTo>
                      <a:pt x="483" y="655"/>
                    </a:lnTo>
                    <a:lnTo>
                      <a:pt x="480" y="655"/>
                    </a:lnTo>
                    <a:lnTo>
                      <a:pt x="480" y="653"/>
                    </a:lnTo>
                    <a:lnTo>
                      <a:pt x="480" y="648"/>
                    </a:lnTo>
                    <a:lnTo>
                      <a:pt x="480" y="646"/>
                    </a:lnTo>
                    <a:lnTo>
                      <a:pt x="483" y="644"/>
                    </a:lnTo>
                    <a:lnTo>
                      <a:pt x="483" y="641"/>
                    </a:lnTo>
                    <a:lnTo>
                      <a:pt x="480" y="644"/>
                    </a:lnTo>
                    <a:lnTo>
                      <a:pt x="480" y="648"/>
                    </a:lnTo>
                    <a:lnTo>
                      <a:pt x="478" y="644"/>
                    </a:lnTo>
                    <a:lnTo>
                      <a:pt x="476" y="639"/>
                    </a:lnTo>
                    <a:lnTo>
                      <a:pt x="476" y="636"/>
                    </a:lnTo>
                    <a:lnTo>
                      <a:pt x="473" y="636"/>
                    </a:lnTo>
                    <a:lnTo>
                      <a:pt x="471" y="634"/>
                    </a:lnTo>
                    <a:lnTo>
                      <a:pt x="469" y="632"/>
                    </a:lnTo>
                    <a:lnTo>
                      <a:pt x="469" y="632"/>
                    </a:lnTo>
                    <a:lnTo>
                      <a:pt x="464" y="632"/>
                    </a:lnTo>
                    <a:lnTo>
                      <a:pt x="464" y="629"/>
                    </a:lnTo>
                    <a:lnTo>
                      <a:pt x="464" y="629"/>
                    </a:lnTo>
                    <a:lnTo>
                      <a:pt x="464" y="627"/>
                    </a:lnTo>
                    <a:lnTo>
                      <a:pt x="464" y="627"/>
                    </a:lnTo>
                    <a:lnTo>
                      <a:pt x="466" y="625"/>
                    </a:lnTo>
                    <a:lnTo>
                      <a:pt x="466" y="625"/>
                    </a:lnTo>
                    <a:lnTo>
                      <a:pt x="466" y="622"/>
                    </a:lnTo>
                    <a:lnTo>
                      <a:pt x="466" y="622"/>
                    </a:lnTo>
                    <a:lnTo>
                      <a:pt x="469" y="622"/>
                    </a:lnTo>
                    <a:lnTo>
                      <a:pt x="469" y="622"/>
                    </a:lnTo>
                    <a:lnTo>
                      <a:pt x="469" y="620"/>
                    </a:lnTo>
                    <a:lnTo>
                      <a:pt x="469" y="620"/>
                    </a:lnTo>
                    <a:lnTo>
                      <a:pt x="471" y="618"/>
                    </a:lnTo>
                    <a:lnTo>
                      <a:pt x="471" y="615"/>
                    </a:lnTo>
                    <a:lnTo>
                      <a:pt x="471" y="613"/>
                    </a:lnTo>
                    <a:lnTo>
                      <a:pt x="473" y="610"/>
                    </a:lnTo>
                    <a:lnTo>
                      <a:pt x="473" y="608"/>
                    </a:lnTo>
                    <a:lnTo>
                      <a:pt x="473" y="608"/>
                    </a:lnTo>
                    <a:lnTo>
                      <a:pt x="473" y="608"/>
                    </a:lnTo>
                    <a:lnTo>
                      <a:pt x="473" y="608"/>
                    </a:lnTo>
                    <a:lnTo>
                      <a:pt x="473" y="606"/>
                    </a:lnTo>
                    <a:lnTo>
                      <a:pt x="473" y="606"/>
                    </a:lnTo>
                    <a:lnTo>
                      <a:pt x="471" y="603"/>
                    </a:lnTo>
                    <a:lnTo>
                      <a:pt x="473" y="603"/>
                    </a:lnTo>
                    <a:lnTo>
                      <a:pt x="473" y="603"/>
                    </a:lnTo>
                    <a:lnTo>
                      <a:pt x="473" y="603"/>
                    </a:lnTo>
                    <a:lnTo>
                      <a:pt x="476" y="606"/>
                    </a:lnTo>
                    <a:lnTo>
                      <a:pt x="476" y="603"/>
                    </a:lnTo>
                    <a:lnTo>
                      <a:pt x="476" y="603"/>
                    </a:lnTo>
                    <a:lnTo>
                      <a:pt x="478" y="603"/>
                    </a:lnTo>
                    <a:lnTo>
                      <a:pt x="478" y="603"/>
                    </a:lnTo>
                    <a:lnTo>
                      <a:pt x="483" y="603"/>
                    </a:lnTo>
                    <a:lnTo>
                      <a:pt x="483" y="603"/>
                    </a:lnTo>
                    <a:lnTo>
                      <a:pt x="485" y="601"/>
                    </a:lnTo>
                    <a:lnTo>
                      <a:pt x="488" y="599"/>
                    </a:lnTo>
                    <a:lnTo>
                      <a:pt x="490" y="599"/>
                    </a:lnTo>
                    <a:lnTo>
                      <a:pt x="490" y="599"/>
                    </a:lnTo>
                    <a:lnTo>
                      <a:pt x="490" y="599"/>
                    </a:lnTo>
                    <a:lnTo>
                      <a:pt x="492" y="599"/>
                    </a:lnTo>
                    <a:lnTo>
                      <a:pt x="492" y="599"/>
                    </a:lnTo>
                    <a:lnTo>
                      <a:pt x="492" y="599"/>
                    </a:lnTo>
                    <a:lnTo>
                      <a:pt x="492" y="596"/>
                    </a:lnTo>
                    <a:lnTo>
                      <a:pt x="492" y="596"/>
                    </a:lnTo>
                    <a:lnTo>
                      <a:pt x="490" y="594"/>
                    </a:lnTo>
                    <a:lnTo>
                      <a:pt x="492" y="594"/>
                    </a:lnTo>
                    <a:lnTo>
                      <a:pt x="492" y="594"/>
                    </a:lnTo>
                    <a:lnTo>
                      <a:pt x="497" y="594"/>
                    </a:lnTo>
                    <a:lnTo>
                      <a:pt x="497" y="591"/>
                    </a:lnTo>
                    <a:lnTo>
                      <a:pt x="497" y="591"/>
                    </a:lnTo>
                    <a:lnTo>
                      <a:pt x="499" y="591"/>
                    </a:lnTo>
                    <a:lnTo>
                      <a:pt x="499" y="589"/>
                    </a:lnTo>
                    <a:lnTo>
                      <a:pt x="497" y="589"/>
                    </a:lnTo>
                    <a:lnTo>
                      <a:pt x="495" y="587"/>
                    </a:lnTo>
                    <a:lnTo>
                      <a:pt x="490" y="587"/>
                    </a:lnTo>
                    <a:lnTo>
                      <a:pt x="488" y="584"/>
                    </a:lnTo>
                    <a:lnTo>
                      <a:pt x="488" y="584"/>
                    </a:lnTo>
                    <a:lnTo>
                      <a:pt x="488" y="584"/>
                    </a:lnTo>
                    <a:lnTo>
                      <a:pt x="485" y="584"/>
                    </a:lnTo>
                    <a:lnTo>
                      <a:pt x="485" y="582"/>
                    </a:lnTo>
                    <a:lnTo>
                      <a:pt x="485" y="582"/>
                    </a:lnTo>
                    <a:lnTo>
                      <a:pt x="485" y="582"/>
                    </a:lnTo>
                    <a:lnTo>
                      <a:pt x="488" y="582"/>
                    </a:lnTo>
                    <a:lnTo>
                      <a:pt x="488" y="582"/>
                    </a:lnTo>
                    <a:lnTo>
                      <a:pt x="488" y="582"/>
                    </a:lnTo>
                    <a:lnTo>
                      <a:pt x="490" y="582"/>
                    </a:lnTo>
                    <a:lnTo>
                      <a:pt x="492" y="582"/>
                    </a:lnTo>
                    <a:lnTo>
                      <a:pt x="492" y="582"/>
                    </a:lnTo>
                    <a:lnTo>
                      <a:pt x="492" y="580"/>
                    </a:lnTo>
                    <a:lnTo>
                      <a:pt x="490" y="577"/>
                    </a:lnTo>
                    <a:lnTo>
                      <a:pt x="488" y="575"/>
                    </a:lnTo>
                    <a:lnTo>
                      <a:pt x="485" y="570"/>
                    </a:lnTo>
                    <a:lnTo>
                      <a:pt x="483" y="570"/>
                    </a:lnTo>
                    <a:lnTo>
                      <a:pt x="480" y="568"/>
                    </a:lnTo>
                    <a:lnTo>
                      <a:pt x="478" y="563"/>
                    </a:lnTo>
                    <a:lnTo>
                      <a:pt x="476" y="561"/>
                    </a:lnTo>
                    <a:lnTo>
                      <a:pt x="476" y="561"/>
                    </a:lnTo>
                    <a:lnTo>
                      <a:pt x="471" y="561"/>
                    </a:lnTo>
                    <a:lnTo>
                      <a:pt x="466" y="561"/>
                    </a:lnTo>
                    <a:lnTo>
                      <a:pt x="464" y="558"/>
                    </a:lnTo>
                    <a:lnTo>
                      <a:pt x="464" y="561"/>
                    </a:lnTo>
                    <a:lnTo>
                      <a:pt x="462" y="561"/>
                    </a:lnTo>
                    <a:lnTo>
                      <a:pt x="459" y="561"/>
                    </a:lnTo>
                    <a:lnTo>
                      <a:pt x="459" y="558"/>
                    </a:lnTo>
                    <a:lnTo>
                      <a:pt x="457" y="556"/>
                    </a:lnTo>
                    <a:lnTo>
                      <a:pt x="457" y="556"/>
                    </a:lnTo>
                    <a:lnTo>
                      <a:pt x="457" y="554"/>
                    </a:lnTo>
                    <a:lnTo>
                      <a:pt x="457" y="551"/>
                    </a:lnTo>
                    <a:lnTo>
                      <a:pt x="454" y="549"/>
                    </a:lnTo>
                    <a:lnTo>
                      <a:pt x="452" y="549"/>
                    </a:lnTo>
                    <a:lnTo>
                      <a:pt x="450" y="546"/>
                    </a:lnTo>
                    <a:lnTo>
                      <a:pt x="447" y="544"/>
                    </a:lnTo>
                    <a:lnTo>
                      <a:pt x="447" y="539"/>
                    </a:lnTo>
                    <a:lnTo>
                      <a:pt x="450" y="535"/>
                    </a:lnTo>
                    <a:lnTo>
                      <a:pt x="452" y="535"/>
                    </a:lnTo>
                    <a:lnTo>
                      <a:pt x="452" y="532"/>
                    </a:lnTo>
                    <a:lnTo>
                      <a:pt x="452" y="532"/>
                    </a:lnTo>
                    <a:lnTo>
                      <a:pt x="452" y="530"/>
                    </a:lnTo>
                    <a:lnTo>
                      <a:pt x="450" y="530"/>
                    </a:lnTo>
                    <a:lnTo>
                      <a:pt x="447" y="528"/>
                    </a:lnTo>
                    <a:lnTo>
                      <a:pt x="447" y="528"/>
                    </a:lnTo>
                    <a:lnTo>
                      <a:pt x="447" y="525"/>
                    </a:lnTo>
                    <a:lnTo>
                      <a:pt x="447" y="520"/>
                    </a:lnTo>
                    <a:lnTo>
                      <a:pt x="447" y="518"/>
                    </a:lnTo>
                    <a:lnTo>
                      <a:pt x="450" y="516"/>
                    </a:lnTo>
                    <a:lnTo>
                      <a:pt x="452" y="513"/>
                    </a:lnTo>
                    <a:lnTo>
                      <a:pt x="452" y="513"/>
                    </a:lnTo>
                    <a:lnTo>
                      <a:pt x="452" y="511"/>
                    </a:lnTo>
                    <a:lnTo>
                      <a:pt x="452" y="509"/>
                    </a:lnTo>
                    <a:lnTo>
                      <a:pt x="452" y="509"/>
                    </a:lnTo>
                    <a:lnTo>
                      <a:pt x="452" y="509"/>
                    </a:lnTo>
                    <a:lnTo>
                      <a:pt x="454" y="506"/>
                    </a:lnTo>
                    <a:lnTo>
                      <a:pt x="454" y="506"/>
                    </a:lnTo>
                    <a:lnTo>
                      <a:pt x="457" y="506"/>
                    </a:lnTo>
                    <a:lnTo>
                      <a:pt x="457" y="506"/>
                    </a:lnTo>
                    <a:lnTo>
                      <a:pt x="462" y="509"/>
                    </a:lnTo>
                    <a:lnTo>
                      <a:pt x="464" y="513"/>
                    </a:lnTo>
                    <a:lnTo>
                      <a:pt x="466" y="516"/>
                    </a:lnTo>
                    <a:lnTo>
                      <a:pt x="469" y="516"/>
                    </a:lnTo>
                    <a:lnTo>
                      <a:pt x="471" y="518"/>
                    </a:lnTo>
                    <a:lnTo>
                      <a:pt x="471" y="518"/>
                    </a:lnTo>
                    <a:lnTo>
                      <a:pt x="473" y="516"/>
                    </a:lnTo>
                    <a:lnTo>
                      <a:pt x="476" y="516"/>
                    </a:lnTo>
                    <a:lnTo>
                      <a:pt x="478" y="516"/>
                    </a:lnTo>
                    <a:lnTo>
                      <a:pt x="478" y="513"/>
                    </a:lnTo>
                    <a:lnTo>
                      <a:pt x="476" y="511"/>
                    </a:lnTo>
                    <a:lnTo>
                      <a:pt x="476" y="511"/>
                    </a:lnTo>
                    <a:lnTo>
                      <a:pt x="476" y="509"/>
                    </a:lnTo>
                    <a:lnTo>
                      <a:pt x="473" y="506"/>
                    </a:lnTo>
                    <a:lnTo>
                      <a:pt x="473" y="504"/>
                    </a:lnTo>
                    <a:lnTo>
                      <a:pt x="471" y="502"/>
                    </a:lnTo>
                    <a:lnTo>
                      <a:pt x="471" y="502"/>
                    </a:lnTo>
                    <a:lnTo>
                      <a:pt x="473" y="502"/>
                    </a:lnTo>
                    <a:lnTo>
                      <a:pt x="473" y="502"/>
                    </a:lnTo>
                    <a:lnTo>
                      <a:pt x="476" y="502"/>
                    </a:lnTo>
                    <a:lnTo>
                      <a:pt x="478" y="499"/>
                    </a:lnTo>
                    <a:lnTo>
                      <a:pt x="483" y="497"/>
                    </a:lnTo>
                    <a:lnTo>
                      <a:pt x="483" y="494"/>
                    </a:lnTo>
                    <a:lnTo>
                      <a:pt x="483" y="492"/>
                    </a:lnTo>
                    <a:lnTo>
                      <a:pt x="483" y="492"/>
                    </a:lnTo>
                    <a:lnTo>
                      <a:pt x="485" y="492"/>
                    </a:lnTo>
                    <a:lnTo>
                      <a:pt x="488" y="492"/>
                    </a:lnTo>
                    <a:lnTo>
                      <a:pt x="490" y="490"/>
                    </a:lnTo>
                    <a:lnTo>
                      <a:pt x="492" y="490"/>
                    </a:lnTo>
                    <a:lnTo>
                      <a:pt x="495" y="487"/>
                    </a:lnTo>
                    <a:lnTo>
                      <a:pt x="495" y="487"/>
                    </a:lnTo>
                    <a:lnTo>
                      <a:pt x="497" y="487"/>
                    </a:lnTo>
                    <a:lnTo>
                      <a:pt x="497" y="483"/>
                    </a:lnTo>
                    <a:lnTo>
                      <a:pt x="499" y="483"/>
                    </a:lnTo>
                    <a:lnTo>
                      <a:pt x="502" y="480"/>
                    </a:lnTo>
                    <a:lnTo>
                      <a:pt x="502" y="478"/>
                    </a:lnTo>
                    <a:lnTo>
                      <a:pt x="502" y="480"/>
                    </a:lnTo>
                    <a:lnTo>
                      <a:pt x="504" y="480"/>
                    </a:lnTo>
                    <a:lnTo>
                      <a:pt x="506" y="480"/>
                    </a:lnTo>
                    <a:lnTo>
                      <a:pt x="509" y="483"/>
                    </a:lnTo>
                    <a:lnTo>
                      <a:pt x="511" y="483"/>
                    </a:lnTo>
                    <a:lnTo>
                      <a:pt x="511" y="483"/>
                    </a:lnTo>
                    <a:lnTo>
                      <a:pt x="511" y="485"/>
                    </a:lnTo>
                    <a:lnTo>
                      <a:pt x="511" y="485"/>
                    </a:lnTo>
                    <a:lnTo>
                      <a:pt x="514" y="485"/>
                    </a:lnTo>
                    <a:lnTo>
                      <a:pt x="516" y="485"/>
                    </a:lnTo>
                    <a:lnTo>
                      <a:pt x="518" y="483"/>
                    </a:lnTo>
                    <a:lnTo>
                      <a:pt x="521" y="480"/>
                    </a:lnTo>
                    <a:lnTo>
                      <a:pt x="523" y="480"/>
                    </a:lnTo>
                    <a:lnTo>
                      <a:pt x="525" y="480"/>
                    </a:lnTo>
                    <a:lnTo>
                      <a:pt x="528" y="483"/>
                    </a:lnTo>
                    <a:lnTo>
                      <a:pt x="530" y="483"/>
                    </a:lnTo>
                    <a:lnTo>
                      <a:pt x="530" y="485"/>
                    </a:lnTo>
                    <a:lnTo>
                      <a:pt x="533" y="485"/>
                    </a:lnTo>
                    <a:lnTo>
                      <a:pt x="533" y="485"/>
                    </a:lnTo>
                    <a:lnTo>
                      <a:pt x="533" y="483"/>
                    </a:lnTo>
                    <a:lnTo>
                      <a:pt x="533" y="483"/>
                    </a:lnTo>
                    <a:lnTo>
                      <a:pt x="535" y="483"/>
                    </a:lnTo>
                    <a:lnTo>
                      <a:pt x="537" y="485"/>
                    </a:lnTo>
                    <a:lnTo>
                      <a:pt x="540" y="485"/>
                    </a:lnTo>
                    <a:lnTo>
                      <a:pt x="542" y="485"/>
                    </a:lnTo>
                    <a:lnTo>
                      <a:pt x="542" y="483"/>
                    </a:lnTo>
                    <a:lnTo>
                      <a:pt x="544" y="485"/>
                    </a:lnTo>
                    <a:lnTo>
                      <a:pt x="544" y="485"/>
                    </a:lnTo>
                    <a:lnTo>
                      <a:pt x="547" y="485"/>
                    </a:lnTo>
                    <a:lnTo>
                      <a:pt x="549" y="490"/>
                    </a:lnTo>
                    <a:lnTo>
                      <a:pt x="551" y="490"/>
                    </a:lnTo>
                    <a:lnTo>
                      <a:pt x="554" y="490"/>
                    </a:lnTo>
                    <a:lnTo>
                      <a:pt x="556" y="492"/>
                    </a:lnTo>
                    <a:lnTo>
                      <a:pt x="559" y="492"/>
                    </a:lnTo>
                    <a:lnTo>
                      <a:pt x="559" y="494"/>
                    </a:lnTo>
                    <a:lnTo>
                      <a:pt x="561" y="494"/>
                    </a:lnTo>
                    <a:lnTo>
                      <a:pt x="563" y="499"/>
                    </a:lnTo>
                    <a:lnTo>
                      <a:pt x="566" y="502"/>
                    </a:lnTo>
                    <a:lnTo>
                      <a:pt x="566" y="502"/>
                    </a:lnTo>
                    <a:lnTo>
                      <a:pt x="568" y="504"/>
                    </a:lnTo>
                    <a:lnTo>
                      <a:pt x="568" y="504"/>
                    </a:lnTo>
                    <a:lnTo>
                      <a:pt x="568" y="504"/>
                    </a:lnTo>
                    <a:lnTo>
                      <a:pt x="568" y="502"/>
                    </a:lnTo>
                    <a:lnTo>
                      <a:pt x="568" y="502"/>
                    </a:lnTo>
                    <a:lnTo>
                      <a:pt x="568" y="499"/>
                    </a:lnTo>
                    <a:lnTo>
                      <a:pt x="566" y="497"/>
                    </a:lnTo>
                    <a:lnTo>
                      <a:pt x="566" y="494"/>
                    </a:lnTo>
                    <a:lnTo>
                      <a:pt x="566" y="494"/>
                    </a:lnTo>
                    <a:lnTo>
                      <a:pt x="566" y="494"/>
                    </a:lnTo>
                    <a:lnTo>
                      <a:pt x="566" y="494"/>
                    </a:lnTo>
                    <a:lnTo>
                      <a:pt x="568" y="494"/>
                    </a:lnTo>
                    <a:lnTo>
                      <a:pt x="570" y="494"/>
                    </a:lnTo>
                    <a:lnTo>
                      <a:pt x="573" y="497"/>
                    </a:lnTo>
                    <a:lnTo>
                      <a:pt x="577" y="499"/>
                    </a:lnTo>
                    <a:lnTo>
                      <a:pt x="580" y="502"/>
                    </a:lnTo>
                    <a:lnTo>
                      <a:pt x="582" y="502"/>
                    </a:lnTo>
                    <a:lnTo>
                      <a:pt x="585" y="502"/>
                    </a:lnTo>
                    <a:lnTo>
                      <a:pt x="587" y="502"/>
                    </a:lnTo>
                    <a:lnTo>
                      <a:pt x="589" y="502"/>
                    </a:lnTo>
                    <a:lnTo>
                      <a:pt x="592" y="499"/>
                    </a:lnTo>
                    <a:lnTo>
                      <a:pt x="592" y="499"/>
                    </a:lnTo>
                    <a:lnTo>
                      <a:pt x="592" y="497"/>
                    </a:lnTo>
                    <a:lnTo>
                      <a:pt x="594" y="494"/>
                    </a:lnTo>
                    <a:lnTo>
                      <a:pt x="596" y="494"/>
                    </a:lnTo>
                    <a:lnTo>
                      <a:pt x="596" y="494"/>
                    </a:lnTo>
                    <a:lnTo>
                      <a:pt x="599" y="494"/>
                    </a:lnTo>
                    <a:lnTo>
                      <a:pt x="601" y="492"/>
                    </a:lnTo>
                    <a:lnTo>
                      <a:pt x="601" y="492"/>
                    </a:lnTo>
                    <a:lnTo>
                      <a:pt x="603" y="492"/>
                    </a:lnTo>
                    <a:lnTo>
                      <a:pt x="608" y="492"/>
                    </a:lnTo>
                    <a:lnTo>
                      <a:pt x="611" y="494"/>
                    </a:lnTo>
                    <a:lnTo>
                      <a:pt x="613" y="497"/>
                    </a:lnTo>
                    <a:lnTo>
                      <a:pt x="613" y="497"/>
                    </a:lnTo>
                    <a:lnTo>
                      <a:pt x="615" y="494"/>
                    </a:lnTo>
                    <a:lnTo>
                      <a:pt x="615" y="494"/>
                    </a:lnTo>
                    <a:lnTo>
                      <a:pt x="618" y="492"/>
                    </a:lnTo>
                    <a:lnTo>
                      <a:pt x="618" y="492"/>
                    </a:lnTo>
                    <a:lnTo>
                      <a:pt x="618" y="492"/>
                    </a:lnTo>
                    <a:lnTo>
                      <a:pt x="620" y="492"/>
                    </a:lnTo>
                    <a:lnTo>
                      <a:pt x="622" y="492"/>
                    </a:lnTo>
                    <a:lnTo>
                      <a:pt x="622" y="492"/>
                    </a:lnTo>
                    <a:lnTo>
                      <a:pt x="627" y="492"/>
                    </a:lnTo>
                    <a:lnTo>
                      <a:pt x="629" y="494"/>
                    </a:lnTo>
                    <a:lnTo>
                      <a:pt x="632" y="497"/>
                    </a:lnTo>
                    <a:lnTo>
                      <a:pt x="634" y="499"/>
                    </a:lnTo>
                    <a:lnTo>
                      <a:pt x="637" y="499"/>
                    </a:lnTo>
                    <a:lnTo>
                      <a:pt x="639" y="499"/>
                    </a:lnTo>
                    <a:lnTo>
                      <a:pt x="639" y="502"/>
                    </a:lnTo>
                    <a:lnTo>
                      <a:pt x="641" y="502"/>
                    </a:lnTo>
                    <a:lnTo>
                      <a:pt x="646" y="502"/>
                    </a:lnTo>
                    <a:lnTo>
                      <a:pt x="646" y="502"/>
                    </a:lnTo>
                    <a:lnTo>
                      <a:pt x="648" y="502"/>
                    </a:lnTo>
                    <a:lnTo>
                      <a:pt x="648" y="504"/>
                    </a:lnTo>
                    <a:lnTo>
                      <a:pt x="648" y="504"/>
                    </a:lnTo>
                    <a:lnTo>
                      <a:pt x="651" y="504"/>
                    </a:lnTo>
                    <a:lnTo>
                      <a:pt x="653" y="502"/>
                    </a:lnTo>
                    <a:lnTo>
                      <a:pt x="653" y="499"/>
                    </a:lnTo>
                    <a:lnTo>
                      <a:pt x="653" y="497"/>
                    </a:lnTo>
                    <a:lnTo>
                      <a:pt x="653" y="497"/>
                    </a:lnTo>
                    <a:lnTo>
                      <a:pt x="656" y="497"/>
                    </a:lnTo>
                    <a:lnTo>
                      <a:pt x="656" y="497"/>
                    </a:lnTo>
                    <a:lnTo>
                      <a:pt x="658" y="499"/>
                    </a:lnTo>
                    <a:lnTo>
                      <a:pt x="658" y="499"/>
                    </a:lnTo>
                    <a:lnTo>
                      <a:pt x="660" y="499"/>
                    </a:lnTo>
                    <a:lnTo>
                      <a:pt x="663" y="502"/>
                    </a:lnTo>
                    <a:lnTo>
                      <a:pt x="665" y="502"/>
                    </a:lnTo>
                    <a:lnTo>
                      <a:pt x="670" y="499"/>
                    </a:lnTo>
                    <a:lnTo>
                      <a:pt x="674" y="499"/>
                    </a:lnTo>
                    <a:lnTo>
                      <a:pt x="677" y="497"/>
                    </a:lnTo>
                    <a:lnTo>
                      <a:pt x="677" y="494"/>
                    </a:lnTo>
                    <a:lnTo>
                      <a:pt x="677" y="492"/>
                    </a:lnTo>
                    <a:lnTo>
                      <a:pt x="677" y="490"/>
                    </a:lnTo>
                    <a:lnTo>
                      <a:pt x="677" y="487"/>
                    </a:lnTo>
                    <a:lnTo>
                      <a:pt x="672" y="485"/>
                    </a:lnTo>
                    <a:lnTo>
                      <a:pt x="672" y="485"/>
                    </a:lnTo>
                    <a:lnTo>
                      <a:pt x="665" y="483"/>
                    </a:lnTo>
                    <a:lnTo>
                      <a:pt x="665" y="483"/>
                    </a:lnTo>
                    <a:lnTo>
                      <a:pt x="665" y="483"/>
                    </a:lnTo>
                    <a:lnTo>
                      <a:pt x="660" y="480"/>
                    </a:lnTo>
                    <a:lnTo>
                      <a:pt x="656" y="480"/>
                    </a:lnTo>
                    <a:lnTo>
                      <a:pt x="656" y="480"/>
                    </a:lnTo>
                    <a:lnTo>
                      <a:pt x="656" y="478"/>
                    </a:lnTo>
                    <a:lnTo>
                      <a:pt x="653" y="478"/>
                    </a:lnTo>
                    <a:lnTo>
                      <a:pt x="648" y="475"/>
                    </a:lnTo>
                    <a:lnTo>
                      <a:pt x="648" y="475"/>
                    </a:lnTo>
                    <a:lnTo>
                      <a:pt x="648" y="473"/>
                    </a:lnTo>
                    <a:lnTo>
                      <a:pt x="651" y="473"/>
                    </a:lnTo>
                    <a:lnTo>
                      <a:pt x="653" y="471"/>
                    </a:lnTo>
                    <a:lnTo>
                      <a:pt x="653" y="471"/>
                    </a:lnTo>
                    <a:lnTo>
                      <a:pt x="656" y="471"/>
                    </a:lnTo>
                    <a:lnTo>
                      <a:pt x="658" y="468"/>
                    </a:lnTo>
                    <a:lnTo>
                      <a:pt x="660" y="468"/>
                    </a:lnTo>
                    <a:lnTo>
                      <a:pt x="660" y="466"/>
                    </a:lnTo>
                    <a:lnTo>
                      <a:pt x="660" y="466"/>
                    </a:lnTo>
                    <a:lnTo>
                      <a:pt x="656" y="461"/>
                    </a:lnTo>
                    <a:lnTo>
                      <a:pt x="656" y="459"/>
                    </a:lnTo>
                    <a:lnTo>
                      <a:pt x="656" y="459"/>
                    </a:lnTo>
                    <a:lnTo>
                      <a:pt x="656" y="457"/>
                    </a:lnTo>
                    <a:lnTo>
                      <a:pt x="656" y="457"/>
                    </a:lnTo>
                    <a:lnTo>
                      <a:pt x="658" y="454"/>
                    </a:lnTo>
                    <a:lnTo>
                      <a:pt x="658" y="454"/>
                    </a:lnTo>
                    <a:lnTo>
                      <a:pt x="660" y="454"/>
                    </a:lnTo>
                    <a:lnTo>
                      <a:pt x="663" y="454"/>
                    </a:lnTo>
                    <a:lnTo>
                      <a:pt x="665" y="454"/>
                    </a:lnTo>
                    <a:lnTo>
                      <a:pt x="667" y="454"/>
                    </a:lnTo>
                    <a:lnTo>
                      <a:pt x="672" y="454"/>
                    </a:lnTo>
                    <a:lnTo>
                      <a:pt x="672" y="454"/>
                    </a:lnTo>
                    <a:lnTo>
                      <a:pt x="674" y="454"/>
                    </a:lnTo>
                    <a:lnTo>
                      <a:pt x="674" y="454"/>
                    </a:lnTo>
                    <a:lnTo>
                      <a:pt x="674" y="452"/>
                    </a:lnTo>
                    <a:lnTo>
                      <a:pt x="672" y="452"/>
                    </a:lnTo>
                    <a:lnTo>
                      <a:pt x="667" y="449"/>
                    </a:lnTo>
                    <a:lnTo>
                      <a:pt x="665" y="449"/>
                    </a:lnTo>
                    <a:lnTo>
                      <a:pt x="665" y="449"/>
                    </a:lnTo>
                    <a:lnTo>
                      <a:pt x="663" y="449"/>
                    </a:lnTo>
                    <a:lnTo>
                      <a:pt x="660" y="447"/>
                    </a:lnTo>
                    <a:lnTo>
                      <a:pt x="658" y="447"/>
                    </a:lnTo>
                    <a:lnTo>
                      <a:pt x="658" y="447"/>
                    </a:lnTo>
                    <a:lnTo>
                      <a:pt x="658" y="445"/>
                    </a:lnTo>
                    <a:lnTo>
                      <a:pt x="658" y="445"/>
                    </a:lnTo>
                    <a:lnTo>
                      <a:pt x="658" y="445"/>
                    </a:lnTo>
                    <a:lnTo>
                      <a:pt x="660" y="445"/>
                    </a:lnTo>
                    <a:lnTo>
                      <a:pt x="663" y="442"/>
                    </a:lnTo>
                    <a:lnTo>
                      <a:pt x="663" y="442"/>
                    </a:lnTo>
                    <a:lnTo>
                      <a:pt x="663" y="442"/>
                    </a:lnTo>
                    <a:lnTo>
                      <a:pt x="660" y="442"/>
                    </a:lnTo>
                    <a:lnTo>
                      <a:pt x="660" y="442"/>
                    </a:lnTo>
                    <a:lnTo>
                      <a:pt x="660" y="442"/>
                    </a:lnTo>
                    <a:lnTo>
                      <a:pt x="658" y="442"/>
                    </a:lnTo>
                    <a:lnTo>
                      <a:pt x="658" y="442"/>
                    </a:lnTo>
                    <a:lnTo>
                      <a:pt x="656" y="442"/>
                    </a:lnTo>
                    <a:lnTo>
                      <a:pt x="653" y="440"/>
                    </a:lnTo>
                    <a:lnTo>
                      <a:pt x="653" y="440"/>
                    </a:lnTo>
                    <a:lnTo>
                      <a:pt x="653" y="440"/>
                    </a:lnTo>
                    <a:lnTo>
                      <a:pt x="653" y="438"/>
                    </a:lnTo>
                    <a:lnTo>
                      <a:pt x="653" y="438"/>
                    </a:lnTo>
                    <a:lnTo>
                      <a:pt x="653" y="435"/>
                    </a:lnTo>
                    <a:lnTo>
                      <a:pt x="653" y="433"/>
                    </a:lnTo>
                    <a:lnTo>
                      <a:pt x="653" y="433"/>
                    </a:lnTo>
                    <a:lnTo>
                      <a:pt x="656" y="433"/>
                    </a:lnTo>
                    <a:lnTo>
                      <a:pt x="660" y="433"/>
                    </a:lnTo>
                    <a:lnTo>
                      <a:pt x="665" y="435"/>
                    </a:lnTo>
                    <a:lnTo>
                      <a:pt x="665" y="433"/>
                    </a:lnTo>
                    <a:lnTo>
                      <a:pt x="667" y="433"/>
                    </a:lnTo>
                    <a:lnTo>
                      <a:pt x="667" y="433"/>
                    </a:lnTo>
                    <a:lnTo>
                      <a:pt x="674" y="433"/>
                    </a:lnTo>
                    <a:lnTo>
                      <a:pt x="674" y="433"/>
                    </a:lnTo>
                    <a:lnTo>
                      <a:pt x="674" y="433"/>
                    </a:lnTo>
                    <a:lnTo>
                      <a:pt x="682" y="430"/>
                    </a:lnTo>
                    <a:lnTo>
                      <a:pt x="684" y="430"/>
                    </a:lnTo>
                    <a:lnTo>
                      <a:pt x="684" y="430"/>
                    </a:lnTo>
                    <a:lnTo>
                      <a:pt x="686" y="430"/>
                    </a:lnTo>
                    <a:lnTo>
                      <a:pt x="686" y="430"/>
                    </a:lnTo>
                    <a:lnTo>
                      <a:pt x="689" y="428"/>
                    </a:lnTo>
                    <a:lnTo>
                      <a:pt x="691" y="428"/>
                    </a:lnTo>
                    <a:lnTo>
                      <a:pt x="691" y="428"/>
                    </a:lnTo>
                    <a:lnTo>
                      <a:pt x="693" y="428"/>
                    </a:lnTo>
                    <a:lnTo>
                      <a:pt x="696" y="428"/>
                    </a:lnTo>
                    <a:lnTo>
                      <a:pt x="696" y="428"/>
                    </a:lnTo>
                    <a:lnTo>
                      <a:pt x="696" y="428"/>
                    </a:lnTo>
                    <a:lnTo>
                      <a:pt x="698" y="426"/>
                    </a:lnTo>
                    <a:lnTo>
                      <a:pt x="703" y="426"/>
                    </a:lnTo>
                    <a:lnTo>
                      <a:pt x="703" y="426"/>
                    </a:lnTo>
                    <a:lnTo>
                      <a:pt x="705" y="426"/>
                    </a:lnTo>
                    <a:lnTo>
                      <a:pt x="708" y="426"/>
                    </a:lnTo>
                    <a:lnTo>
                      <a:pt x="710" y="426"/>
                    </a:lnTo>
                    <a:lnTo>
                      <a:pt x="710" y="426"/>
                    </a:lnTo>
                    <a:lnTo>
                      <a:pt x="712" y="426"/>
                    </a:lnTo>
                    <a:lnTo>
                      <a:pt x="712" y="426"/>
                    </a:lnTo>
                    <a:lnTo>
                      <a:pt x="712" y="423"/>
                    </a:lnTo>
                    <a:lnTo>
                      <a:pt x="712" y="423"/>
                    </a:lnTo>
                    <a:lnTo>
                      <a:pt x="715" y="421"/>
                    </a:lnTo>
                    <a:lnTo>
                      <a:pt x="715" y="421"/>
                    </a:lnTo>
                    <a:lnTo>
                      <a:pt x="717" y="421"/>
                    </a:lnTo>
                    <a:lnTo>
                      <a:pt x="717" y="421"/>
                    </a:lnTo>
                    <a:lnTo>
                      <a:pt x="719" y="421"/>
                    </a:lnTo>
                    <a:lnTo>
                      <a:pt x="722" y="419"/>
                    </a:lnTo>
                    <a:lnTo>
                      <a:pt x="724" y="421"/>
                    </a:lnTo>
                    <a:lnTo>
                      <a:pt x="726" y="419"/>
                    </a:lnTo>
                    <a:lnTo>
                      <a:pt x="734" y="419"/>
                    </a:lnTo>
                    <a:lnTo>
                      <a:pt x="736" y="419"/>
                    </a:lnTo>
                    <a:lnTo>
                      <a:pt x="741" y="416"/>
                    </a:lnTo>
                    <a:lnTo>
                      <a:pt x="743" y="416"/>
                    </a:lnTo>
                    <a:lnTo>
                      <a:pt x="745" y="416"/>
                    </a:lnTo>
                    <a:lnTo>
                      <a:pt x="750" y="416"/>
                    </a:lnTo>
                    <a:lnTo>
                      <a:pt x="750" y="414"/>
                    </a:lnTo>
                    <a:lnTo>
                      <a:pt x="753" y="414"/>
                    </a:lnTo>
                    <a:lnTo>
                      <a:pt x="755" y="414"/>
                    </a:lnTo>
                    <a:lnTo>
                      <a:pt x="755" y="414"/>
                    </a:lnTo>
                    <a:lnTo>
                      <a:pt x="757" y="414"/>
                    </a:lnTo>
                    <a:lnTo>
                      <a:pt x="757" y="412"/>
                    </a:lnTo>
                    <a:lnTo>
                      <a:pt x="755" y="412"/>
                    </a:lnTo>
                    <a:lnTo>
                      <a:pt x="755" y="409"/>
                    </a:lnTo>
                    <a:lnTo>
                      <a:pt x="757" y="409"/>
                    </a:lnTo>
                    <a:lnTo>
                      <a:pt x="757" y="409"/>
                    </a:lnTo>
                    <a:lnTo>
                      <a:pt x="760" y="409"/>
                    </a:lnTo>
                    <a:lnTo>
                      <a:pt x="762" y="407"/>
                    </a:lnTo>
                    <a:lnTo>
                      <a:pt x="764" y="407"/>
                    </a:lnTo>
                    <a:lnTo>
                      <a:pt x="764" y="404"/>
                    </a:lnTo>
                    <a:lnTo>
                      <a:pt x="769" y="407"/>
                    </a:lnTo>
                    <a:lnTo>
                      <a:pt x="774" y="407"/>
                    </a:lnTo>
                    <a:lnTo>
                      <a:pt x="779" y="407"/>
                    </a:lnTo>
                    <a:lnTo>
                      <a:pt x="781" y="409"/>
                    </a:lnTo>
                    <a:lnTo>
                      <a:pt x="783" y="409"/>
                    </a:lnTo>
                    <a:lnTo>
                      <a:pt x="783" y="409"/>
                    </a:lnTo>
                    <a:lnTo>
                      <a:pt x="786" y="409"/>
                    </a:lnTo>
                    <a:lnTo>
                      <a:pt x="788" y="409"/>
                    </a:lnTo>
                    <a:lnTo>
                      <a:pt x="788" y="409"/>
                    </a:lnTo>
                    <a:lnTo>
                      <a:pt x="788" y="409"/>
                    </a:lnTo>
                    <a:lnTo>
                      <a:pt x="790" y="407"/>
                    </a:lnTo>
                    <a:lnTo>
                      <a:pt x="793" y="407"/>
                    </a:lnTo>
                    <a:lnTo>
                      <a:pt x="795" y="407"/>
                    </a:lnTo>
                    <a:lnTo>
                      <a:pt x="797" y="412"/>
                    </a:lnTo>
                    <a:lnTo>
                      <a:pt x="800" y="414"/>
                    </a:lnTo>
                    <a:lnTo>
                      <a:pt x="805" y="419"/>
                    </a:lnTo>
                    <a:lnTo>
                      <a:pt x="807" y="421"/>
                    </a:lnTo>
                    <a:lnTo>
                      <a:pt x="807" y="423"/>
                    </a:lnTo>
                    <a:lnTo>
                      <a:pt x="807" y="423"/>
                    </a:lnTo>
                    <a:lnTo>
                      <a:pt x="807" y="426"/>
                    </a:lnTo>
                    <a:lnTo>
                      <a:pt x="807" y="428"/>
                    </a:lnTo>
                    <a:lnTo>
                      <a:pt x="807" y="428"/>
                    </a:lnTo>
                    <a:lnTo>
                      <a:pt x="812" y="430"/>
                    </a:lnTo>
                    <a:lnTo>
                      <a:pt x="816" y="430"/>
                    </a:lnTo>
                    <a:lnTo>
                      <a:pt x="819" y="428"/>
                    </a:lnTo>
                    <a:lnTo>
                      <a:pt x="821" y="428"/>
                    </a:lnTo>
                    <a:lnTo>
                      <a:pt x="823" y="428"/>
                    </a:lnTo>
                    <a:lnTo>
                      <a:pt x="823" y="426"/>
                    </a:lnTo>
                    <a:lnTo>
                      <a:pt x="823" y="426"/>
                    </a:lnTo>
                    <a:lnTo>
                      <a:pt x="826" y="428"/>
                    </a:lnTo>
                    <a:lnTo>
                      <a:pt x="826" y="430"/>
                    </a:lnTo>
                    <a:lnTo>
                      <a:pt x="828" y="430"/>
                    </a:lnTo>
                    <a:lnTo>
                      <a:pt x="828" y="433"/>
                    </a:lnTo>
                    <a:lnTo>
                      <a:pt x="831" y="433"/>
                    </a:lnTo>
                    <a:lnTo>
                      <a:pt x="831" y="435"/>
                    </a:lnTo>
                    <a:lnTo>
                      <a:pt x="831" y="433"/>
                    </a:lnTo>
                    <a:lnTo>
                      <a:pt x="833" y="433"/>
                    </a:lnTo>
                    <a:lnTo>
                      <a:pt x="833" y="433"/>
                    </a:lnTo>
                    <a:lnTo>
                      <a:pt x="833" y="433"/>
                    </a:lnTo>
                    <a:lnTo>
                      <a:pt x="831" y="430"/>
                    </a:lnTo>
                    <a:lnTo>
                      <a:pt x="831" y="430"/>
                    </a:lnTo>
                    <a:lnTo>
                      <a:pt x="833" y="430"/>
                    </a:lnTo>
                    <a:lnTo>
                      <a:pt x="833" y="430"/>
                    </a:lnTo>
                    <a:lnTo>
                      <a:pt x="838" y="430"/>
                    </a:lnTo>
                    <a:lnTo>
                      <a:pt x="840" y="433"/>
                    </a:lnTo>
                    <a:lnTo>
                      <a:pt x="842" y="433"/>
                    </a:lnTo>
                    <a:lnTo>
                      <a:pt x="845" y="433"/>
                    </a:lnTo>
                    <a:lnTo>
                      <a:pt x="845" y="433"/>
                    </a:lnTo>
                    <a:lnTo>
                      <a:pt x="847" y="433"/>
                    </a:lnTo>
                    <a:lnTo>
                      <a:pt x="847" y="433"/>
                    </a:lnTo>
                    <a:lnTo>
                      <a:pt x="847" y="433"/>
                    </a:lnTo>
                    <a:lnTo>
                      <a:pt x="849" y="433"/>
                    </a:lnTo>
                    <a:lnTo>
                      <a:pt x="849" y="433"/>
                    </a:lnTo>
                    <a:lnTo>
                      <a:pt x="849" y="433"/>
                    </a:lnTo>
                    <a:lnTo>
                      <a:pt x="849" y="435"/>
                    </a:lnTo>
                    <a:lnTo>
                      <a:pt x="849" y="435"/>
                    </a:lnTo>
                    <a:lnTo>
                      <a:pt x="847" y="438"/>
                    </a:lnTo>
                    <a:lnTo>
                      <a:pt x="847" y="440"/>
                    </a:lnTo>
                    <a:lnTo>
                      <a:pt x="847" y="440"/>
                    </a:lnTo>
                    <a:lnTo>
                      <a:pt x="847" y="442"/>
                    </a:lnTo>
                    <a:lnTo>
                      <a:pt x="849" y="442"/>
                    </a:lnTo>
                    <a:lnTo>
                      <a:pt x="849" y="445"/>
                    </a:lnTo>
                    <a:lnTo>
                      <a:pt x="849" y="445"/>
                    </a:lnTo>
                    <a:lnTo>
                      <a:pt x="849" y="445"/>
                    </a:lnTo>
                    <a:lnTo>
                      <a:pt x="852" y="442"/>
                    </a:lnTo>
                    <a:lnTo>
                      <a:pt x="854" y="440"/>
                    </a:lnTo>
                    <a:lnTo>
                      <a:pt x="857" y="440"/>
                    </a:lnTo>
                    <a:lnTo>
                      <a:pt x="859" y="440"/>
                    </a:lnTo>
                    <a:lnTo>
                      <a:pt x="861" y="442"/>
                    </a:lnTo>
                    <a:lnTo>
                      <a:pt x="864" y="442"/>
                    </a:lnTo>
                    <a:lnTo>
                      <a:pt x="864" y="442"/>
                    </a:lnTo>
                    <a:lnTo>
                      <a:pt x="866" y="442"/>
                    </a:lnTo>
                    <a:lnTo>
                      <a:pt x="866" y="442"/>
                    </a:lnTo>
                    <a:lnTo>
                      <a:pt x="864" y="440"/>
                    </a:lnTo>
                    <a:lnTo>
                      <a:pt x="864" y="440"/>
                    </a:lnTo>
                    <a:lnTo>
                      <a:pt x="868" y="438"/>
                    </a:lnTo>
                    <a:lnTo>
                      <a:pt x="868" y="438"/>
                    </a:lnTo>
                    <a:lnTo>
                      <a:pt x="871" y="435"/>
                    </a:lnTo>
                    <a:lnTo>
                      <a:pt x="871" y="438"/>
                    </a:lnTo>
                    <a:lnTo>
                      <a:pt x="873" y="438"/>
                    </a:lnTo>
                    <a:lnTo>
                      <a:pt x="876" y="435"/>
                    </a:lnTo>
                    <a:lnTo>
                      <a:pt x="876" y="433"/>
                    </a:lnTo>
                    <a:lnTo>
                      <a:pt x="876" y="433"/>
                    </a:lnTo>
                    <a:lnTo>
                      <a:pt x="876" y="433"/>
                    </a:lnTo>
                    <a:lnTo>
                      <a:pt x="876" y="430"/>
                    </a:lnTo>
                    <a:lnTo>
                      <a:pt x="880" y="430"/>
                    </a:lnTo>
                    <a:lnTo>
                      <a:pt x="880" y="430"/>
                    </a:lnTo>
                    <a:lnTo>
                      <a:pt x="883" y="430"/>
                    </a:lnTo>
                    <a:lnTo>
                      <a:pt x="885" y="428"/>
                    </a:lnTo>
                    <a:lnTo>
                      <a:pt x="887" y="426"/>
                    </a:lnTo>
                    <a:lnTo>
                      <a:pt x="892" y="426"/>
                    </a:lnTo>
                    <a:lnTo>
                      <a:pt x="892" y="426"/>
                    </a:lnTo>
                    <a:lnTo>
                      <a:pt x="892" y="426"/>
                    </a:lnTo>
                    <a:lnTo>
                      <a:pt x="894" y="423"/>
                    </a:lnTo>
                    <a:lnTo>
                      <a:pt x="894" y="423"/>
                    </a:lnTo>
                    <a:lnTo>
                      <a:pt x="897" y="426"/>
                    </a:lnTo>
                    <a:lnTo>
                      <a:pt x="894" y="430"/>
                    </a:lnTo>
                    <a:lnTo>
                      <a:pt x="894" y="430"/>
                    </a:lnTo>
                    <a:lnTo>
                      <a:pt x="892" y="430"/>
                    </a:lnTo>
                    <a:lnTo>
                      <a:pt x="892" y="430"/>
                    </a:lnTo>
                    <a:lnTo>
                      <a:pt x="892" y="433"/>
                    </a:lnTo>
                    <a:lnTo>
                      <a:pt x="894" y="433"/>
                    </a:lnTo>
                    <a:lnTo>
                      <a:pt x="894" y="433"/>
                    </a:lnTo>
                    <a:lnTo>
                      <a:pt x="894" y="435"/>
                    </a:lnTo>
                    <a:lnTo>
                      <a:pt x="902" y="438"/>
                    </a:lnTo>
                    <a:lnTo>
                      <a:pt x="906" y="440"/>
                    </a:lnTo>
                    <a:lnTo>
                      <a:pt x="913" y="442"/>
                    </a:lnTo>
                    <a:lnTo>
                      <a:pt x="918" y="445"/>
                    </a:lnTo>
                    <a:lnTo>
                      <a:pt x="920" y="447"/>
                    </a:lnTo>
                    <a:lnTo>
                      <a:pt x="920" y="447"/>
                    </a:lnTo>
                    <a:lnTo>
                      <a:pt x="925" y="452"/>
                    </a:lnTo>
                    <a:lnTo>
                      <a:pt x="930" y="454"/>
                    </a:lnTo>
                    <a:lnTo>
                      <a:pt x="937" y="461"/>
                    </a:lnTo>
                    <a:lnTo>
                      <a:pt x="942" y="466"/>
                    </a:lnTo>
                    <a:lnTo>
                      <a:pt x="949" y="473"/>
                    </a:lnTo>
                    <a:lnTo>
                      <a:pt x="954" y="475"/>
                    </a:lnTo>
                    <a:lnTo>
                      <a:pt x="961" y="483"/>
                    </a:lnTo>
                    <a:lnTo>
                      <a:pt x="963" y="485"/>
                    </a:lnTo>
                    <a:lnTo>
                      <a:pt x="968" y="490"/>
                    </a:lnTo>
                    <a:lnTo>
                      <a:pt x="972" y="494"/>
                    </a:lnTo>
                    <a:lnTo>
                      <a:pt x="975" y="499"/>
                    </a:lnTo>
                    <a:lnTo>
                      <a:pt x="977" y="499"/>
                    </a:lnTo>
                    <a:lnTo>
                      <a:pt x="977" y="497"/>
                    </a:lnTo>
                    <a:lnTo>
                      <a:pt x="977" y="497"/>
                    </a:lnTo>
                    <a:lnTo>
                      <a:pt x="977" y="497"/>
                    </a:lnTo>
                    <a:lnTo>
                      <a:pt x="980" y="494"/>
                    </a:lnTo>
                    <a:lnTo>
                      <a:pt x="980" y="494"/>
                    </a:lnTo>
                    <a:lnTo>
                      <a:pt x="980" y="494"/>
                    </a:lnTo>
                    <a:lnTo>
                      <a:pt x="982" y="494"/>
                    </a:lnTo>
                    <a:lnTo>
                      <a:pt x="982" y="494"/>
                    </a:lnTo>
                    <a:lnTo>
                      <a:pt x="980" y="492"/>
                    </a:lnTo>
                    <a:lnTo>
                      <a:pt x="980" y="492"/>
                    </a:lnTo>
                    <a:lnTo>
                      <a:pt x="980" y="490"/>
                    </a:lnTo>
                    <a:lnTo>
                      <a:pt x="980" y="490"/>
                    </a:lnTo>
                    <a:lnTo>
                      <a:pt x="982" y="490"/>
                    </a:lnTo>
                    <a:lnTo>
                      <a:pt x="982" y="490"/>
                    </a:lnTo>
                    <a:lnTo>
                      <a:pt x="982" y="487"/>
                    </a:lnTo>
                    <a:lnTo>
                      <a:pt x="984" y="487"/>
                    </a:lnTo>
                    <a:lnTo>
                      <a:pt x="984" y="487"/>
                    </a:lnTo>
                    <a:lnTo>
                      <a:pt x="987" y="487"/>
                    </a:lnTo>
                    <a:lnTo>
                      <a:pt x="987" y="490"/>
                    </a:lnTo>
                    <a:lnTo>
                      <a:pt x="989" y="490"/>
                    </a:lnTo>
                    <a:lnTo>
                      <a:pt x="989" y="490"/>
                    </a:lnTo>
                    <a:lnTo>
                      <a:pt x="991" y="490"/>
                    </a:lnTo>
                    <a:lnTo>
                      <a:pt x="991" y="490"/>
                    </a:lnTo>
                    <a:lnTo>
                      <a:pt x="991" y="492"/>
                    </a:lnTo>
                    <a:lnTo>
                      <a:pt x="991" y="494"/>
                    </a:lnTo>
                    <a:lnTo>
                      <a:pt x="991" y="494"/>
                    </a:lnTo>
                    <a:lnTo>
                      <a:pt x="994" y="494"/>
                    </a:lnTo>
                    <a:lnTo>
                      <a:pt x="996" y="494"/>
                    </a:lnTo>
                    <a:lnTo>
                      <a:pt x="996" y="494"/>
                    </a:lnTo>
                    <a:lnTo>
                      <a:pt x="999" y="494"/>
                    </a:lnTo>
                    <a:lnTo>
                      <a:pt x="999" y="497"/>
                    </a:lnTo>
                    <a:lnTo>
                      <a:pt x="999" y="497"/>
                    </a:lnTo>
                    <a:lnTo>
                      <a:pt x="999" y="499"/>
                    </a:lnTo>
                    <a:lnTo>
                      <a:pt x="1001" y="499"/>
                    </a:lnTo>
                    <a:lnTo>
                      <a:pt x="1003" y="499"/>
                    </a:lnTo>
                    <a:lnTo>
                      <a:pt x="1006" y="499"/>
                    </a:lnTo>
                    <a:lnTo>
                      <a:pt x="1008" y="499"/>
                    </a:lnTo>
                    <a:lnTo>
                      <a:pt x="1010" y="499"/>
                    </a:lnTo>
                    <a:lnTo>
                      <a:pt x="1013" y="499"/>
                    </a:lnTo>
                    <a:lnTo>
                      <a:pt x="1015" y="499"/>
                    </a:lnTo>
                    <a:lnTo>
                      <a:pt x="1017" y="499"/>
                    </a:lnTo>
                    <a:lnTo>
                      <a:pt x="1017" y="499"/>
                    </a:lnTo>
                    <a:lnTo>
                      <a:pt x="1020" y="497"/>
                    </a:lnTo>
                    <a:lnTo>
                      <a:pt x="1020" y="497"/>
                    </a:lnTo>
                    <a:lnTo>
                      <a:pt x="1020" y="497"/>
                    </a:lnTo>
                    <a:lnTo>
                      <a:pt x="1022" y="497"/>
                    </a:lnTo>
                    <a:lnTo>
                      <a:pt x="1025" y="497"/>
                    </a:lnTo>
                    <a:lnTo>
                      <a:pt x="1025" y="494"/>
                    </a:lnTo>
                    <a:lnTo>
                      <a:pt x="1025" y="494"/>
                    </a:lnTo>
                    <a:lnTo>
                      <a:pt x="1027" y="494"/>
                    </a:lnTo>
                    <a:lnTo>
                      <a:pt x="1029" y="494"/>
                    </a:lnTo>
                    <a:lnTo>
                      <a:pt x="1032" y="494"/>
                    </a:lnTo>
                    <a:lnTo>
                      <a:pt x="1034" y="497"/>
                    </a:lnTo>
                    <a:lnTo>
                      <a:pt x="1039" y="497"/>
                    </a:lnTo>
                    <a:lnTo>
                      <a:pt x="1039" y="499"/>
                    </a:lnTo>
                    <a:lnTo>
                      <a:pt x="1041" y="499"/>
                    </a:lnTo>
                    <a:lnTo>
                      <a:pt x="1043" y="502"/>
                    </a:lnTo>
                    <a:lnTo>
                      <a:pt x="1046" y="504"/>
                    </a:lnTo>
                    <a:lnTo>
                      <a:pt x="1046" y="506"/>
                    </a:lnTo>
                    <a:lnTo>
                      <a:pt x="1048" y="509"/>
                    </a:lnTo>
                    <a:lnTo>
                      <a:pt x="1051" y="509"/>
                    </a:lnTo>
                    <a:lnTo>
                      <a:pt x="1051" y="509"/>
                    </a:lnTo>
                    <a:lnTo>
                      <a:pt x="1053" y="509"/>
                    </a:lnTo>
                    <a:lnTo>
                      <a:pt x="1055" y="511"/>
                    </a:lnTo>
                    <a:lnTo>
                      <a:pt x="1060" y="513"/>
                    </a:lnTo>
                    <a:lnTo>
                      <a:pt x="1062" y="513"/>
                    </a:lnTo>
                    <a:lnTo>
                      <a:pt x="1062" y="513"/>
                    </a:lnTo>
                    <a:lnTo>
                      <a:pt x="1062" y="513"/>
                    </a:lnTo>
                    <a:lnTo>
                      <a:pt x="1062" y="516"/>
                    </a:lnTo>
                    <a:lnTo>
                      <a:pt x="1065" y="516"/>
                    </a:lnTo>
                    <a:lnTo>
                      <a:pt x="1067" y="518"/>
                    </a:lnTo>
                    <a:lnTo>
                      <a:pt x="1067" y="520"/>
                    </a:lnTo>
                    <a:lnTo>
                      <a:pt x="1069" y="520"/>
                    </a:lnTo>
                    <a:lnTo>
                      <a:pt x="1069" y="523"/>
                    </a:lnTo>
                    <a:lnTo>
                      <a:pt x="1072" y="523"/>
                    </a:lnTo>
                    <a:lnTo>
                      <a:pt x="1072" y="523"/>
                    </a:lnTo>
                    <a:lnTo>
                      <a:pt x="1074" y="523"/>
                    </a:lnTo>
                    <a:lnTo>
                      <a:pt x="1081" y="523"/>
                    </a:lnTo>
                    <a:lnTo>
                      <a:pt x="1081" y="523"/>
                    </a:lnTo>
                    <a:lnTo>
                      <a:pt x="1084" y="525"/>
                    </a:lnTo>
                    <a:lnTo>
                      <a:pt x="1084" y="525"/>
                    </a:lnTo>
                    <a:lnTo>
                      <a:pt x="1086" y="525"/>
                    </a:lnTo>
                    <a:lnTo>
                      <a:pt x="1086" y="525"/>
                    </a:lnTo>
                    <a:lnTo>
                      <a:pt x="1088" y="523"/>
                    </a:lnTo>
                    <a:lnTo>
                      <a:pt x="1088" y="523"/>
                    </a:lnTo>
                    <a:lnTo>
                      <a:pt x="1088" y="520"/>
                    </a:lnTo>
                    <a:lnTo>
                      <a:pt x="1091" y="520"/>
                    </a:lnTo>
                    <a:lnTo>
                      <a:pt x="1091" y="518"/>
                    </a:lnTo>
                    <a:lnTo>
                      <a:pt x="1093" y="518"/>
                    </a:lnTo>
                    <a:lnTo>
                      <a:pt x="1093" y="520"/>
                    </a:lnTo>
                    <a:lnTo>
                      <a:pt x="1093" y="520"/>
                    </a:lnTo>
                    <a:lnTo>
                      <a:pt x="1093" y="520"/>
                    </a:lnTo>
                    <a:lnTo>
                      <a:pt x="1093" y="523"/>
                    </a:lnTo>
                    <a:lnTo>
                      <a:pt x="1093" y="523"/>
                    </a:lnTo>
                    <a:lnTo>
                      <a:pt x="1096" y="523"/>
                    </a:lnTo>
                    <a:lnTo>
                      <a:pt x="1098" y="525"/>
                    </a:lnTo>
                    <a:lnTo>
                      <a:pt x="1100" y="528"/>
                    </a:lnTo>
                    <a:lnTo>
                      <a:pt x="1103" y="530"/>
                    </a:lnTo>
                    <a:lnTo>
                      <a:pt x="1103" y="530"/>
                    </a:lnTo>
                    <a:lnTo>
                      <a:pt x="1105" y="530"/>
                    </a:lnTo>
                    <a:lnTo>
                      <a:pt x="1107" y="530"/>
                    </a:lnTo>
                    <a:lnTo>
                      <a:pt x="1107" y="532"/>
                    </a:lnTo>
                    <a:lnTo>
                      <a:pt x="1110" y="532"/>
                    </a:lnTo>
                    <a:lnTo>
                      <a:pt x="1110" y="532"/>
                    </a:lnTo>
                    <a:lnTo>
                      <a:pt x="1112" y="532"/>
                    </a:lnTo>
                    <a:lnTo>
                      <a:pt x="1112" y="532"/>
                    </a:lnTo>
                    <a:lnTo>
                      <a:pt x="1112" y="532"/>
                    </a:lnTo>
                    <a:lnTo>
                      <a:pt x="1114" y="532"/>
                    </a:lnTo>
                    <a:lnTo>
                      <a:pt x="1114" y="532"/>
                    </a:lnTo>
                    <a:lnTo>
                      <a:pt x="1117" y="532"/>
                    </a:lnTo>
                    <a:lnTo>
                      <a:pt x="1117" y="532"/>
                    </a:lnTo>
                    <a:lnTo>
                      <a:pt x="1119" y="532"/>
                    </a:lnTo>
                    <a:lnTo>
                      <a:pt x="1119" y="530"/>
                    </a:lnTo>
                    <a:lnTo>
                      <a:pt x="1119" y="530"/>
                    </a:lnTo>
                    <a:lnTo>
                      <a:pt x="1119" y="530"/>
                    </a:lnTo>
                    <a:lnTo>
                      <a:pt x="1119" y="528"/>
                    </a:lnTo>
                    <a:lnTo>
                      <a:pt x="1119" y="528"/>
                    </a:lnTo>
                    <a:lnTo>
                      <a:pt x="1119" y="525"/>
                    </a:lnTo>
                    <a:lnTo>
                      <a:pt x="1122" y="525"/>
                    </a:lnTo>
                    <a:lnTo>
                      <a:pt x="1124" y="525"/>
                    </a:lnTo>
                    <a:lnTo>
                      <a:pt x="1124" y="525"/>
                    </a:lnTo>
                    <a:lnTo>
                      <a:pt x="1126" y="525"/>
                    </a:lnTo>
                    <a:lnTo>
                      <a:pt x="1126" y="525"/>
                    </a:lnTo>
                    <a:lnTo>
                      <a:pt x="1129" y="525"/>
                    </a:lnTo>
                    <a:lnTo>
                      <a:pt x="1129" y="525"/>
                    </a:lnTo>
                    <a:lnTo>
                      <a:pt x="1131" y="525"/>
                    </a:lnTo>
                    <a:lnTo>
                      <a:pt x="1131" y="525"/>
                    </a:lnTo>
                    <a:lnTo>
                      <a:pt x="1131" y="523"/>
                    </a:lnTo>
                    <a:lnTo>
                      <a:pt x="1131" y="523"/>
                    </a:lnTo>
                    <a:lnTo>
                      <a:pt x="1131" y="525"/>
                    </a:lnTo>
                    <a:lnTo>
                      <a:pt x="1131" y="525"/>
                    </a:lnTo>
                    <a:lnTo>
                      <a:pt x="1133" y="525"/>
                    </a:lnTo>
                    <a:lnTo>
                      <a:pt x="1133" y="525"/>
                    </a:lnTo>
                    <a:lnTo>
                      <a:pt x="1136" y="523"/>
                    </a:lnTo>
                    <a:lnTo>
                      <a:pt x="1136" y="523"/>
                    </a:lnTo>
                    <a:lnTo>
                      <a:pt x="1136" y="523"/>
                    </a:lnTo>
                    <a:lnTo>
                      <a:pt x="1136" y="523"/>
                    </a:lnTo>
                    <a:lnTo>
                      <a:pt x="1138" y="523"/>
                    </a:lnTo>
                    <a:lnTo>
                      <a:pt x="1138" y="520"/>
                    </a:lnTo>
                    <a:lnTo>
                      <a:pt x="1140" y="520"/>
                    </a:lnTo>
                    <a:lnTo>
                      <a:pt x="1140" y="520"/>
                    </a:lnTo>
                    <a:lnTo>
                      <a:pt x="1140" y="520"/>
                    </a:lnTo>
                    <a:lnTo>
                      <a:pt x="1140" y="518"/>
                    </a:lnTo>
                    <a:lnTo>
                      <a:pt x="1140" y="516"/>
                    </a:lnTo>
                    <a:lnTo>
                      <a:pt x="1140" y="516"/>
                    </a:lnTo>
                    <a:lnTo>
                      <a:pt x="1143" y="516"/>
                    </a:lnTo>
                    <a:lnTo>
                      <a:pt x="1145" y="513"/>
                    </a:lnTo>
                    <a:lnTo>
                      <a:pt x="1143" y="513"/>
                    </a:lnTo>
                    <a:lnTo>
                      <a:pt x="1145" y="513"/>
                    </a:lnTo>
                    <a:lnTo>
                      <a:pt x="1145" y="511"/>
                    </a:lnTo>
                    <a:lnTo>
                      <a:pt x="1148" y="511"/>
                    </a:lnTo>
                    <a:lnTo>
                      <a:pt x="1148" y="511"/>
                    </a:lnTo>
                    <a:lnTo>
                      <a:pt x="1148" y="511"/>
                    </a:lnTo>
                    <a:lnTo>
                      <a:pt x="1150" y="509"/>
                    </a:lnTo>
                    <a:lnTo>
                      <a:pt x="1152" y="509"/>
                    </a:lnTo>
                    <a:lnTo>
                      <a:pt x="1155" y="509"/>
                    </a:lnTo>
                    <a:lnTo>
                      <a:pt x="1155" y="509"/>
                    </a:lnTo>
                    <a:lnTo>
                      <a:pt x="1155" y="509"/>
                    </a:lnTo>
                    <a:lnTo>
                      <a:pt x="1155" y="506"/>
                    </a:lnTo>
                    <a:lnTo>
                      <a:pt x="1157" y="506"/>
                    </a:lnTo>
                    <a:lnTo>
                      <a:pt x="1157" y="506"/>
                    </a:lnTo>
                    <a:lnTo>
                      <a:pt x="1159" y="504"/>
                    </a:lnTo>
                    <a:lnTo>
                      <a:pt x="1162" y="504"/>
                    </a:lnTo>
                    <a:lnTo>
                      <a:pt x="1162" y="504"/>
                    </a:lnTo>
                    <a:lnTo>
                      <a:pt x="1162" y="504"/>
                    </a:lnTo>
                    <a:lnTo>
                      <a:pt x="1162" y="504"/>
                    </a:lnTo>
                    <a:lnTo>
                      <a:pt x="1164" y="502"/>
                    </a:lnTo>
                    <a:lnTo>
                      <a:pt x="1164" y="502"/>
                    </a:lnTo>
                    <a:lnTo>
                      <a:pt x="1164" y="502"/>
                    </a:lnTo>
                    <a:lnTo>
                      <a:pt x="1166" y="502"/>
                    </a:lnTo>
                    <a:lnTo>
                      <a:pt x="1166" y="499"/>
                    </a:lnTo>
                    <a:lnTo>
                      <a:pt x="1169" y="499"/>
                    </a:lnTo>
                    <a:lnTo>
                      <a:pt x="1171" y="499"/>
                    </a:lnTo>
                    <a:lnTo>
                      <a:pt x="1174" y="499"/>
                    </a:lnTo>
                    <a:lnTo>
                      <a:pt x="1174" y="499"/>
                    </a:lnTo>
                    <a:lnTo>
                      <a:pt x="1174" y="497"/>
                    </a:lnTo>
                    <a:lnTo>
                      <a:pt x="1174" y="497"/>
                    </a:lnTo>
                    <a:lnTo>
                      <a:pt x="1174" y="497"/>
                    </a:lnTo>
                    <a:lnTo>
                      <a:pt x="1176" y="497"/>
                    </a:lnTo>
                    <a:lnTo>
                      <a:pt x="1178" y="499"/>
                    </a:lnTo>
                    <a:lnTo>
                      <a:pt x="1178" y="499"/>
                    </a:lnTo>
                    <a:lnTo>
                      <a:pt x="1181" y="499"/>
                    </a:lnTo>
                    <a:lnTo>
                      <a:pt x="1181" y="499"/>
                    </a:lnTo>
                    <a:lnTo>
                      <a:pt x="1183" y="499"/>
                    </a:lnTo>
                    <a:lnTo>
                      <a:pt x="1183" y="499"/>
                    </a:lnTo>
                    <a:lnTo>
                      <a:pt x="1183" y="499"/>
                    </a:lnTo>
                    <a:lnTo>
                      <a:pt x="1185" y="499"/>
                    </a:lnTo>
                    <a:lnTo>
                      <a:pt x="1185" y="499"/>
                    </a:lnTo>
                    <a:lnTo>
                      <a:pt x="1185" y="499"/>
                    </a:lnTo>
                    <a:lnTo>
                      <a:pt x="1188" y="502"/>
                    </a:lnTo>
                    <a:lnTo>
                      <a:pt x="1188" y="502"/>
                    </a:lnTo>
                    <a:lnTo>
                      <a:pt x="1190" y="502"/>
                    </a:lnTo>
                    <a:lnTo>
                      <a:pt x="1192" y="502"/>
                    </a:lnTo>
                    <a:lnTo>
                      <a:pt x="1192" y="502"/>
                    </a:lnTo>
                    <a:lnTo>
                      <a:pt x="1195" y="502"/>
                    </a:lnTo>
                    <a:lnTo>
                      <a:pt x="1197" y="502"/>
                    </a:lnTo>
                    <a:lnTo>
                      <a:pt x="1197" y="502"/>
                    </a:lnTo>
                    <a:lnTo>
                      <a:pt x="1200" y="502"/>
                    </a:lnTo>
                    <a:lnTo>
                      <a:pt x="1204" y="502"/>
                    </a:lnTo>
                    <a:lnTo>
                      <a:pt x="1204" y="502"/>
                    </a:lnTo>
                    <a:lnTo>
                      <a:pt x="1207" y="504"/>
                    </a:lnTo>
                    <a:lnTo>
                      <a:pt x="1209" y="504"/>
                    </a:lnTo>
                    <a:lnTo>
                      <a:pt x="1211" y="506"/>
                    </a:lnTo>
                    <a:lnTo>
                      <a:pt x="1211" y="509"/>
                    </a:lnTo>
                    <a:lnTo>
                      <a:pt x="1214" y="509"/>
                    </a:lnTo>
                    <a:lnTo>
                      <a:pt x="1214" y="511"/>
                    </a:lnTo>
                    <a:lnTo>
                      <a:pt x="1214" y="511"/>
                    </a:lnTo>
                    <a:lnTo>
                      <a:pt x="1216" y="511"/>
                    </a:lnTo>
                    <a:lnTo>
                      <a:pt x="1219" y="513"/>
                    </a:lnTo>
                    <a:lnTo>
                      <a:pt x="1219" y="513"/>
                    </a:lnTo>
                    <a:lnTo>
                      <a:pt x="1221" y="513"/>
                    </a:lnTo>
                    <a:lnTo>
                      <a:pt x="1221" y="513"/>
                    </a:lnTo>
                    <a:lnTo>
                      <a:pt x="1221" y="513"/>
                    </a:lnTo>
                    <a:lnTo>
                      <a:pt x="1223" y="513"/>
                    </a:lnTo>
                    <a:lnTo>
                      <a:pt x="1226" y="513"/>
                    </a:lnTo>
                    <a:lnTo>
                      <a:pt x="1226" y="516"/>
                    </a:lnTo>
                    <a:lnTo>
                      <a:pt x="1228" y="516"/>
                    </a:lnTo>
                    <a:lnTo>
                      <a:pt x="1228" y="516"/>
                    </a:lnTo>
                    <a:lnTo>
                      <a:pt x="1230" y="516"/>
                    </a:lnTo>
                    <a:lnTo>
                      <a:pt x="1233" y="516"/>
                    </a:lnTo>
                    <a:lnTo>
                      <a:pt x="1233" y="516"/>
                    </a:lnTo>
                    <a:lnTo>
                      <a:pt x="1235" y="516"/>
                    </a:lnTo>
                    <a:lnTo>
                      <a:pt x="1235" y="516"/>
                    </a:lnTo>
                    <a:lnTo>
                      <a:pt x="1237" y="516"/>
                    </a:lnTo>
                    <a:lnTo>
                      <a:pt x="1237" y="513"/>
                    </a:lnTo>
                    <a:lnTo>
                      <a:pt x="1240" y="513"/>
                    </a:lnTo>
                    <a:lnTo>
                      <a:pt x="1240" y="513"/>
                    </a:lnTo>
                    <a:lnTo>
                      <a:pt x="1240" y="516"/>
                    </a:lnTo>
                    <a:lnTo>
                      <a:pt x="1242" y="516"/>
                    </a:lnTo>
                    <a:lnTo>
                      <a:pt x="1242" y="513"/>
                    </a:lnTo>
                    <a:lnTo>
                      <a:pt x="1242" y="513"/>
                    </a:lnTo>
                    <a:lnTo>
                      <a:pt x="1245" y="513"/>
                    </a:lnTo>
                    <a:lnTo>
                      <a:pt x="1245" y="516"/>
                    </a:lnTo>
                    <a:lnTo>
                      <a:pt x="1247" y="516"/>
                    </a:lnTo>
                    <a:lnTo>
                      <a:pt x="1249" y="516"/>
                    </a:lnTo>
                    <a:lnTo>
                      <a:pt x="1249" y="516"/>
                    </a:lnTo>
                    <a:lnTo>
                      <a:pt x="1249" y="516"/>
                    </a:lnTo>
                    <a:lnTo>
                      <a:pt x="1252" y="516"/>
                    </a:lnTo>
                    <a:lnTo>
                      <a:pt x="1252" y="516"/>
                    </a:lnTo>
                    <a:lnTo>
                      <a:pt x="1254" y="516"/>
                    </a:lnTo>
                    <a:lnTo>
                      <a:pt x="1254" y="516"/>
                    </a:lnTo>
                    <a:lnTo>
                      <a:pt x="1259" y="516"/>
                    </a:lnTo>
                    <a:lnTo>
                      <a:pt x="1261" y="518"/>
                    </a:lnTo>
                    <a:lnTo>
                      <a:pt x="1261" y="518"/>
                    </a:lnTo>
                    <a:lnTo>
                      <a:pt x="1261" y="518"/>
                    </a:lnTo>
                    <a:lnTo>
                      <a:pt x="1263" y="520"/>
                    </a:lnTo>
                    <a:lnTo>
                      <a:pt x="1266" y="520"/>
                    </a:lnTo>
                    <a:lnTo>
                      <a:pt x="1266" y="518"/>
                    </a:lnTo>
                    <a:lnTo>
                      <a:pt x="1268" y="518"/>
                    </a:lnTo>
                    <a:lnTo>
                      <a:pt x="1268" y="516"/>
                    </a:lnTo>
                    <a:lnTo>
                      <a:pt x="1268" y="516"/>
                    </a:lnTo>
                    <a:lnTo>
                      <a:pt x="1271" y="516"/>
                    </a:lnTo>
                    <a:lnTo>
                      <a:pt x="1271" y="516"/>
                    </a:lnTo>
                    <a:lnTo>
                      <a:pt x="1273" y="516"/>
                    </a:lnTo>
                    <a:lnTo>
                      <a:pt x="1273" y="513"/>
                    </a:lnTo>
                    <a:lnTo>
                      <a:pt x="1273" y="513"/>
                    </a:lnTo>
                    <a:lnTo>
                      <a:pt x="1275" y="513"/>
                    </a:lnTo>
                    <a:lnTo>
                      <a:pt x="1275" y="511"/>
                    </a:lnTo>
                    <a:lnTo>
                      <a:pt x="1275" y="511"/>
                    </a:lnTo>
                    <a:lnTo>
                      <a:pt x="1275" y="509"/>
                    </a:lnTo>
                    <a:lnTo>
                      <a:pt x="1275" y="509"/>
                    </a:lnTo>
                    <a:lnTo>
                      <a:pt x="1275" y="506"/>
                    </a:lnTo>
                    <a:lnTo>
                      <a:pt x="1273" y="504"/>
                    </a:lnTo>
                    <a:lnTo>
                      <a:pt x="1273" y="504"/>
                    </a:lnTo>
                    <a:lnTo>
                      <a:pt x="1273" y="504"/>
                    </a:lnTo>
                    <a:lnTo>
                      <a:pt x="1271" y="502"/>
                    </a:lnTo>
                    <a:lnTo>
                      <a:pt x="1268" y="502"/>
                    </a:lnTo>
                    <a:lnTo>
                      <a:pt x="1268" y="502"/>
                    </a:lnTo>
                    <a:lnTo>
                      <a:pt x="1266" y="499"/>
                    </a:lnTo>
                    <a:lnTo>
                      <a:pt x="1266" y="499"/>
                    </a:lnTo>
                    <a:lnTo>
                      <a:pt x="1266" y="497"/>
                    </a:lnTo>
                    <a:lnTo>
                      <a:pt x="1263" y="497"/>
                    </a:lnTo>
                    <a:lnTo>
                      <a:pt x="1263" y="497"/>
                    </a:lnTo>
                    <a:lnTo>
                      <a:pt x="1261" y="494"/>
                    </a:lnTo>
                    <a:lnTo>
                      <a:pt x="1261" y="494"/>
                    </a:lnTo>
                    <a:lnTo>
                      <a:pt x="1261" y="492"/>
                    </a:lnTo>
                    <a:lnTo>
                      <a:pt x="1261" y="490"/>
                    </a:lnTo>
                    <a:lnTo>
                      <a:pt x="1261" y="490"/>
                    </a:lnTo>
                    <a:lnTo>
                      <a:pt x="1261" y="490"/>
                    </a:lnTo>
                    <a:lnTo>
                      <a:pt x="1259" y="487"/>
                    </a:lnTo>
                    <a:lnTo>
                      <a:pt x="1259" y="487"/>
                    </a:lnTo>
                    <a:lnTo>
                      <a:pt x="1259" y="485"/>
                    </a:lnTo>
                    <a:lnTo>
                      <a:pt x="1259" y="485"/>
                    </a:lnTo>
                    <a:lnTo>
                      <a:pt x="1261" y="485"/>
                    </a:lnTo>
                    <a:lnTo>
                      <a:pt x="1261" y="485"/>
                    </a:lnTo>
                    <a:lnTo>
                      <a:pt x="1261" y="483"/>
                    </a:lnTo>
                    <a:lnTo>
                      <a:pt x="1261" y="483"/>
                    </a:lnTo>
                    <a:lnTo>
                      <a:pt x="1261" y="480"/>
                    </a:lnTo>
                    <a:lnTo>
                      <a:pt x="1261" y="480"/>
                    </a:lnTo>
                    <a:lnTo>
                      <a:pt x="1261" y="480"/>
                    </a:lnTo>
                    <a:lnTo>
                      <a:pt x="1266" y="478"/>
                    </a:lnTo>
                    <a:lnTo>
                      <a:pt x="1266" y="475"/>
                    </a:lnTo>
                    <a:lnTo>
                      <a:pt x="1266" y="473"/>
                    </a:lnTo>
                    <a:lnTo>
                      <a:pt x="1266" y="473"/>
                    </a:lnTo>
                    <a:lnTo>
                      <a:pt x="1266" y="471"/>
                    </a:lnTo>
                    <a:lnTo>
                      <a:pt x="1268" y="471"/>
                    </a:lnTo>
                    <a:lnTo>
                      <a:pt x="1271" y="473"/>
                    </a:lnTo>
                    <a:lnTo>
                      <a:pt x="1271" y="473"/>
                    </a:lnTo>
                    <a:lnTo>
                      <a:pt x="1273" y="473"/>
                    </a:lnTo>
                    <a:lnTo>
                      <a:pt x="1278" y="475"/>
                    </a:lnTo>
                    <a:lnTo>
                      <a:pt x="1280" y="475"/>
                    </a:lnTo>
                    <a:lnTo>
                      <a:pt x="1280" y="475"/>
                    </a:lnTo>
                    <a:lnTo>
                      <a:pt x="1282" y="475"/>
                    </a:lnTo>
                    <a:lnTo>
                      <a:pt x="1285" y="478"/>
                    </a:lnTo>
                    <a:lnTo>
                      <a:pt x="1287" y="478"/>
                    </a:lnTo>
                    <a:lnTo>
                      <a:pt x="1289" y="478"/>
                    </a:lnTo>
                    <a:lnTo>
                      <a:pt x="1292" y="478"/>
                    </a:lnTo>
                    <a:lnTo>
                      <a:pt x="1297" y="478"/>
                    </a:lnTo>
                    <a:lnTo>
                      <a:pt x="1297" y="480"/>
                    </a:lnTo>
                    <a:lnTo>
                      <a:pt x="1301" y="480"/>
                    </a:lnTo>
                    <a:lnTo>
                      <a:pt x="1304" y="483"/>
                    </a:lnTo>
                    <a:lnTo>
                      <a:pt x="1308" y="483"/>
                    </a:lnTo>
                    <a:lnTo>
                      <a:pt x="1311" y="483"/>
                    </a:lnTo>
                    <a:lnTo>
                      <a:pt x="1311" y="485"/>
                    </a:lnTo>
                    <a:lnTo>
                      <a:pt x="1313" y="485"/>
                    </a:lnTo>
                    <a:lnTo>
                      <a:pt x="1315" y="485"/>
                    </a:lnTo>
                    <a:lnTo>
                      <a:pt x="1315" y="485"/>
                    </a:lnTo>
                    <a:lnTo>
                      <a:pt x="1320" y="485"/>
                    </a:lnTo>
                    <a:lnTo>
                      <a:pt x="1323" y="485"/>
                    </a:lnTo>
                    <a:lnTo>
                      <a:pt x="1325" y="487"/>
                    </a:lnTo>
                    <a:lnTo>
                      <a:pt x="1327" y="487"/>
                    </a:lnTo>
                    <a:lnTo>
                      <a:pt x="1327" y="487"/>
                    </a:lnTo>
                    <a:lnTo>
                      <a:pt x="1327" y="490"/>
                    </a:lnTo>
                    <a:lnTo>
                      <a:pt x="1330" y="492"/>
                    </a:lnTo>
                    <a:lnTo>
                      <a:pt x="1330" y="492"/>
                    </a:lnTo>
                    <a:lnTo>
                      <a:pt x="1332" y="494"/>
                    </a:lnTo>
                    <a:lnTo>
                      <a:pt x="1332" y="497"/>
                    </a:lnTo>
                    <a:lnTo>
                      <a:pt x="1334" y="497"/>
                    </a:lnTo>
                    <a:lnTo>
                      <a:pt x="1334" y="499"/>
                    </a:lnTo>
                    <a:lnTo>
                      <a:pt x="1334" y="499"/>
                    </a:lnTo>
                    <a:lnTo>
                      <a:pt x="1337" y="499"/>
                    </a:lnTo>
                    <a:lnTo>
                      <a:pt x="1337" y="502"/>
                    </a:lnTo>
                    <a:lnTo>
                      <a:pt x="1337" y="502"/>
                    </a:lnTo>
                    <a:lnTo>
                      <a:pt x="1337" y="502"/>
                    </a:lnTo>
                    <a:lnTo>
                      <a:pt x="1339" y="504"/>
                    </a:lnTo>
                    <a:lnTo>
                      <a:pt x="1339" y="504"/>
                    </a:lnTo>
                    <a:lnTo>
                      <a:pt x="1342" y="504"/>
                    </a:lnTo>
                    <a:lnTo>
                      <a:pt x="1342" y="504"/>
                    </a:lnTo>
                    <a:lnTo>
                      <a:pt x="1346" y="506"/>
                    </a:lnTo>
                    <a:lnTo>
                      <a:pt x="1346" y="506"/>
                    </a:lnTo>
                    <a:lnTo>
                      <a:pt x="1349" y="506"/>
                    </a:lnTo>
                    <a:lnTo>
                      <a:pt x="1353" y="509"/>
                    </a:lnTo>
                    <a:lnTo>
                      <a:pt x="1353" y="509"/>
                    </a:lnTo>
                    <a:lnTo>
                      <a:pt x="1356" y="509"/>
                    </a:lnTo>
                    <a:lnTo>
                      <a:pt x="1358" y="511"/>
                    </a:lnTo>
                    <a:lnTo>
                      <a:pt x="1360" y="511"/>
                    </a:lnTo>
                    <a:lnTo>
                      <a:pt x="1360" y="511"/>
                    </a:lnTo>
                    <a:lnTo>
                      <a:pt x="1363" y="511"/>
                    </a:lnTo>
                    <a:lnTo>
                      <a:pt x="1365" y="511"/>
                    </a:lnTo>
                    <a:lnTo>
                      <a:pt x="1365" y="511"/>
                    </a:lnTo>
                    <a:lnTo>
                      <a:pt x="1368" y="511"/>
                    </a:lnTo>
                    <a:lnTo>
                      <a:pt x="1368" y="511"/>
                    </a:lnTo>
                    <a:lnTo>
                      <a:pt x="1370" y="511"/>
                    </a:lnTo>
                    <a:lnTo>
                      <a:pt x="1372" y="511"/>
                    </a:lnTo>
                    <a:lnTo>
                      <a:pt x="1372" y="509"/>
                    </a:lnTo>
                    <a:lnTo>
                      <a:pt x="1375" y="509"/>
                    </a:lnTo>
                    <a:lnTo>
                      <a:pt x="1375" y="509"/>
                    </a:lnTo>
                    <a:lnTo>
                      <a:pt x="1377" y="509"/>
                    </a:lnTo>
                    <a:lnTo>
                      <a:pt x="1379" y="506"/>
                    </a:lnTo>
                    <a:lnTo>
                      <a:pt x="1382" y="506"/>
                    </a:lnTo>
                    <a:lnTo>
                      <a:pt x="1384" y="506"/>
                    </a:lnTo>
                    <a:lnTo>
                      <a:pt x="1386" y="506"/>
                    </a:lnTo>
                    <a:lnTo>
                      <a:pt x="1386" y="504"/>
                    </a:lnTo>
                    <a:lnTo>
                      <a:pt x="1389" y="504"/>
                    </a:lnTo>
                    <a:lnTo>
                      <a:pt x="1391" y="506"/>
                    </a:lnTo>
                    <a:lnTo>
                      <a:pt x="1394" y="506"/>
                    </a:lnTo>
                    <a:lnTo>
                      <a:pt x="1396" y="506"/>
                    </a:lnTo>
                    <a:lnTo>
                      <a:pt x="1398" y="506"/>
                    </a:lnTo>
                    <a:lnTo>
                      <a:pt x="1401" y="506"/>
                    </a:lnTo>
                    <a:lnTo>
                      <a:pt x="1403" y="509"/>
                    </a:lnTo>
                    <a:lnTo>
                      <a:pt x="1405" y="509"/>
                    </a:lnTo>
                    <a:lnTo>
                      <a:pt x="1410" y="506"/>
                    </a:lnTo>
                    <a:lnTo>
                      <a:pt x="1412" y="509"/>
                    </a:lnTo>
                    <a:lnTo>
                      <a:pt x="1415" y="509"/>
                    </a:lnTo>
                    <a:lnTo>
                      <a:pt x="1417" y="511"/>
                    </a:lnTo>
                    <a:lnTo>
                      <a:pt x="1420" y="513"/>
                    </a:lnTo>
                    <a:lnTo>
                      <a:pt x="1422" y="513"/>
                    </a:lnTo>
                    <a:lnTo>
                      <a:pt x="1424" y="513"/>
                    </a:lnTo>
                    <a:lnTo>
                      <a:pt x="1424" y="513"/>
                    </a:lnTo>
                    <a:lnTo>
                      <a:pt x="1429" y="513"/>
                    </a:lnTo>
                    <a:lnTo>
                      <a:pt x="1434" y="516"/>
                    </a:lnTo>
                    <a:lnTo>
                      <a:pt x="1436" y="516"/>
                    </a:lnTo>
                    <a:lnTo>
                      <a:pt x="1436" y="516"/>
                    </a:lnTo>
                    <a:lnTo>
                      <a:pt x="1436" y="518"/>
                    </a:lnTo>
                    <a:lnTo>
                      <a:pt x="1439" y="520"/>
                    </a:lnTo>
                    <a:lnTo>
                      <a:pt x="1439" y="520"/>
                    </a:lnTo>
                    <a:lnTo>
                      <a:pt x="1439" y="520"/>
                    </a:lnTo>
                    <a:lnTo>
                      <a:pt x="1441" y="520"/>
                    </a:lnTo>
                    <a:lnTo>
                      <a:pt x="1441" y="523"/>
                    </a:lnTo>
                    <a:lnTo>
                      <a:pt x="1443" y="523"/>
                    </a:lnTo>
                    <a:lnTo>
                      <a:pt x="1446" y="523"/>
                    </a:lnTo>
                    <a:lnTo>
                      <a:pt x="1448" y="528"/>
                    </a:lnTo>
                    <a:lnTo>
                      <a:pt x="1450" y="528"/>
                    </a:lnTo>
                    <a:lnTo>
                      <a:pt x="1453" y="528"/>
                    </a:lnTo>
                    <a:lnTo>
                      <a:pt x="1455" y="528"/>
                    </a:lnTo>
                    <a:lnTo>
                      <a:pt x="1457" y="528"/>
                    </a:lnTo>
                    <a:lnTo>
                      <a:pt x="1462" y="528"/>
                    </a:lnTo>
                    <a:lnTo>
                      <a:pt x="1467" y="528"/>
                    </a:lnTo>
                    <a:lnTo>
                      <a:pt x="1469" y="530"/>
                    </a:lnTo>
                    <a:lnTo>
                      <a:pt x="1472" y="530"/>
                    </a:lnTo>
                    <a:lnTo>
                      <a:pt x="1476" y="530"/>
                    </a:lnTo>
                    <a:lnTo>
                      <a:pt x="1481" y="532"/>
                    </a:lnTo>
                    <a:lnTo>
                      <a:pt x="1481" y="530"/>
                    </a:lnTo>
                    <a:lnTo>
                      <a:pt x="1483" y="530"/>
                    </a:lnTo>
                    <a:lnTo>
                      <a:pt x="1486" y="530"/>
                    </a:lnTo>
                    <a:lnTo>
                      <a:pt x="1488" y="532"/>
                    </a:lnTo>
                    <a:lnTo>
                      <a:pt x="1488" y="532"/>
                    </a:lnTo>
                    <a:lnTo>
                      <a:pt x="1491" y="532"/>
                    </a:lnTo>
                    <a:lnTo>
                      <a:pt x="1495" y="528"/>
                    </a:lnTo>
                    <a:lnTo>
                      <a:pt x="1498" y="528"/>
                    </a:lnTo>
                    <a:lnTo>
                      <a:pt x="1498" y="528"/>
                    </a:lnTo>
                    <a:lnTo>
                      <a:pt x="1500" y="528"/>
                    </a:lnTo>
                    <a:lnTo>
                      <a:pt x="1500" y="528"/>
                    </a:lnTo>
                    <a:lnTo>
                      <a:pt x="1502" y="528"/>
                    </a:lnTo>
                    <a:lnTo>
                      <a:pt x="1505" y="528"/>
                    </a:lnTo>
                    <a:lnTo>
                      <a:pt x="1507" y="525"/>
                    </a:lnTo>
                    <a:lnTo>
                      <a:pt x="1509" y="525"/>
                    </a:lnTo>
                    <a:lnTo>
                      <a:pt x="1512" y="525"/>
                    </a:lnTo>
                    <a:lnTo>
                      <a:pt x="1514" y="523"/>
                    </a:lnTo>
                    <a:lnTo>
                      <a:pt x="1517" y="525"/>
                    </a:lnTo>
                    <a:lnTo>
                      <a:pt x="1519" y="523"/>
                    </a:lnTo>
                    <a:lnTo>
                      <a:pt x="1521" y="523"/>
                    </a:lnTo>
                    <a:lnTo>
                      <a:pt x="1521" y="523"/>
                    </a:lnTo>
                    <a:lnTo>
                      <a:pt x="1521" y="520"/>
                    </a:lnTo>
                    <a:lnTo>
                      <a:pt x="1521" y="518"/>
                    </a:lnTo>
                    <a:lnTo>
                      <a:pt x="1524" y="516"/>
                    </a:lnTo>
                    <a:lnTo>
                      <a:pt x="1524" y="516"/>
                    </a:lnTo>
                    <a:lnTo>
                      <a:pt x="1526" y="513"/>
                    </a:lnTo>
                    <a:lnTo>
                      <a:pt x="1528" y="513"/>
                    </a:lnTo>
                    <a:lnTo>
                      <a:pt x="1531" y="511"/>
                    </a:lnTo>
                    <a:lnTo>
                      <a:pt x="1531" y="511"/>
                    </a:lnTo>
                    <a:lnTo>
                      <a:pt x="1533" y="509"/>
                    </a:lnTo>
                    <a:lnTo>
                      <a:pt x="1535" y="509"/>
                    </a:lnTo>
                    <a:lnTo>
                      <a:pt x="1535" y="509"/>
                    </a:lnTo>
                    <a:lnTo>
                      <a:pt x="1540" y="509"/>
                    </a:lnTo>
                    <a:lnTo>
                      <a:pt x="1540" y="509"/>
                    </a:lnTo>
                    <a:lnTo>
                      <a:pt x="1543" y="509"/>
                    </a:lnTo>
                    <a:lnTo>
                      <a:pt x="1545" y="511"/>
                    </a:lnTo>
                    <a:lnTo>
                      <a:pt x="1547" y="511"/>
                    </a:lnTo>
                    <a:lnTo>
                      <a:pt x="1550" y="513"/>
                    </a:lnTo>
                    <a:lnTo>
                      <a:pt x="1554" y="516"/>
                    </a:lnTo>
                    <a:lnTo>
                      <a:pt x="1557" y="516"/>
                    </a:lnTo>
                    <a:lnTo>
                      <a:pt x="1557" y="516"/>
                    </a:lnTo>
                    <a:lnTo>
                      <a:pt x="1559" y="516"/>
                    </a:lnTo>
                    <a:lnTo>
                      <a:pt x="1562" y="516"/>
                    </a:lnTo>
                    <a:lnTo>
                      <a:pt x="1564" y="516"/>
                    </a:lnTo>
                    <a:lnTo>
                      <a:pt x="1564" y="516"/>
                    </a:lnTo>
                    <a:lnTo>
                      <a:pt x="1569" y="513"/>
                    </a:lnTo>
                    <a:lnTo>
                      <a:pt x="1569" y="513"/>
                    </a:lnTo>
                    <a:lnTo>
                      <a:pt x="1571" y="516"/>
                    </a:lnTo>
                    <a:lnTo>
                      <a:pt x="1576" y="516"/>
                    </a:lnTo>
                    <a:lnTo>
                      <a:pt x="1578" y="516"/>
                    </a:lnTo>
                    <a:lnTo>
                      <a:pt x="1578" y="518"/>
                    </a:lnTo>
                    <a:lnTo>
                      <a:pt x="1583" y="520"/>
                    </a:lnTo>
                    <a:lnTo>
                      <a:pt x="1585" y="520"/>
                    </a:lnTo>
                    <a:lnTo>
                      <a:pt x="1590" y="523"/>
                    </a:lnTo>
                    <a:lnTo>
                      <a:pt x="1595" y="523"/>
                    </a:lnTo>
                    <a:lnTo>
                      <a:pt x="1599" y="523"/>
                    </a:lnTo>
                    <a:lnTo>
                      <a:pt x="1602" y="525"/>
                    </a:lnTo>
                    <a:lnTo>
                      <a:pt x="1602" y="525"/>
                    </a:lnTo>
                    <a:lnTo>
                      <a:pt x="1604" y="520"/>
                    </a:lnTo>
                    <a:lnTo>
                      <a:pt x="1606" y="518"/>
                    </a:lnTo>
                    <a:lnTo>
                      <a:pt x="1611" y="516"/>
                    </a:lnTo>
                    <a:lnTo>
                      <a:pt x="1614" y="516"/>
                    </a:lnTo>
                    <a:lnTo>
                      <a:pt x="1616" y="513"/>
                    </a:lnTo>
                    <a:lnTo>
                      <a:pt x="1618" y="513"/>
                    </a:lnTo>
                    <a:lnTo>
                      <a:pt x="1618" y="511"/>
                    </a:lnTo>
                    <a:lnTo>
                      <a:pt x="1616" y="509"/>
                    </a:lnTo>
                    <a:lnTo>
                      <a:pt x="1614" y="506"/>
                    </a:lnTo>
                    <a:lnTo>
                      <a:pt x="1614" y="506"/>
                    </a:lnTo>
                    <a:lnTo>
                      <a:pt x="1611" y="506"/>
                    </a:lnTo>
                    <a:lnTo>
                      <a:pt x="1611" y="506"/>
                    </a:lnTo>
                    <a:lnTo>
                      <a:pt x="1611" y="504"/>
                    </a:lnTo>
                    <a:lnTo>
                      <a:pt x="1611" y="502"/>
                    </a:lnTo>
                    <a:lnTo>
                      <a:pt x="1611" y="502"/>
                    </a:lnTo>
                    <a:lnTo>
                      <a:pt x="1614" y="499"/>
                    </a:lnTo>
                    <a:lnTo>
                      <a:pt x="1611" y="499"/>
                    </a:lnTo>
                    <a:lnTo>
                      <a:pt x="1611" y="497"/>
                    </a:lnTo>
                    <a:lnTo>
                      <a:pt x="1611" y="494"/>
                    </a:lnTo>
                    <a:lnTo>
                      <a:pt x="1611" y="492"/>
                    </a:lnTo>
                    <a:lnTo>
                      <a:pt x="1611" y="492"/>
                    </a:lnTo>
                    <a:lnTo>
                      <a:pt x="1611" y="490"/>
                    </a:lnTo>
                    <a:lnTo>
                      <a:pt x="1611" y="487"/>
                    </a:lnTo>
                    <a:lnTo>
                      <a:pt x="1611" y="485"/>
                    </a:lnTo>
                    <a:lnTo>
                      <a:pt x="1611" y="483"/>
                    </a:lnTo>
                    <a:lnTo>
                      <a:pt x="1611" y="478"/>
                    </a:lnTo>
                    <a:lnTo>
                      <a:pt x="1614" y="475"/>
                    </a:lnTo>
                    <a:lnTo>
                      <a:pt x="1616" y="473"/>
                    </a:lnTo>
                    <a:lnTo>
                      <a:pt x="1616" y="471"/>
                    </a:lnTo>
                    <a:lnTo>
                      <a:pt x="1614" y="468"/>
                    </a:lnTo>
                    <a:lnTo>
                      <a:pt x="1611" y="468"/>
                    </a:lnTo>
                    <a:lnTo>
                      <a:pt x="1609" y="466"/>
                    </a:lnTo>
                    <a:lnTo>
                      <a:pt x="1609" y="464"/>
                    </a:lnTo>
                    <a:lnTo>
                      <a:pt x="1606" y="461"/>
                    </a:lnTo>
                    <a:lnTo>
                      <a:pt x="1604" y="461"/>
                    </a:lnTo>
                    <a:lnTo>
                      <a:pt x="1602" y="461"/>
                    </a:lnTo>
                    <a:lnTo>
                      <a:pt x="1599" y="461"/>
                    </a:lnTo>
                    <a:lnTo>
                      <a:pt x="1597" y="461"/>
                    </a:lnTo>
                    <a:lnTo>
                      <a:pt x="1595" y="459"/>
                    </a:lnTo>
                    <a:lnTo>
                      <a:pt x="1595" y="457"/>
                    </a:lnTo>
                    <a:lnTo>
                      <a:pt x="1597" y="457"/>
                    </a:lnTo>
                    <a:lnTo>
                      <a:pt x="1599" y="454"/>
                    </a:lnTo>
                    <a:lnTo>
                      <a:pt x="1599" y="449"/>
                    </a:lnTo>
                    <a:lnTo>
                      <a:pt x="1602" y="447"/>
                    </a:lnTo>
                    <a:lnTo>
                      <a:pt x="1609" y="447"/>
                    </a:lnTo>
                    <a:lnTo>
                      <a:pt x="1614" y="445"/>
                    </a:lnTo>
                    <a:lnTo>
                      <a:pt x="1618" y="445"/>
                    </a:lnTo>
                    <a:lnTo>
                      <a:pt x="1621" y="442"/>
                    </a:lnTo>
                    <a:lnTo>
                      <a:pt x="1623" y="445"/>
                    </a:lnTo>
                    <a:lnTo>
                      <a:pt x="1625" y="445"/>
                    </a:lnTo>
                    <a:lnTo>
                      <a:pt x="1628" y="445"/>
                    </a:lnTo>
                    <a:lnTo>
                      <a:pt x="1630" y="442"/>
                    </a:lnTo>
                    <a:lnTo>
                      <a:pt x="1632" y="442"/>
                    </a:lnTo>
                    <a:lnTo>
                      <a:pt x="1635" y="442"/>
                    </a:lnTo>
                    <a:lnTo>
                      <a:pt x="1637" y="442"/>
                    </a:lnTo>
                    <a:lnTo>
                      <a:pt x="1640" y="442"/>
                    </a:lnTo>
                    <a:lnTo>
                      <a:pt x="1640" y="442"/>
                    </a:lnTo>
                    <a:lnTo>
                      <a:pt x="1640" y="442"/>
                    </a:lnTo>
                    <a:lnTo>
                      <a:pt x="1640" y="442"/>
                    </a:lnTo>
                    <a:lnTo>
                      <a:pt x="1642" y="442"/>
                    </a:lnTo>
                    <a:lnTo>
                      <a:pt x="1649" y="445"/>
                    </a:lnTo>
                    <a:lnTo>
                      <a:pt x="1651" y="447"/>
                    </a:lnTo>
                    <a:lnTo>
                      <a:pt x="1654" y="445"/>
                    </a:lnTo>
                    <a:lnTo>
                      <a:pt x="1654" y="447"/>
                    </a:lnTo>
                    <a:lnTo>
                      <a:pt x="1656" y="447"/>
                    </a:lnTo>
                    <a:lnTo>
                      <a:pt x="1659" y="449"/>
                    </a:lnTo>
                    <a:lnTo>
                      <a:pt x="1661" y="449"/>
                    </a:lnTo>
                    <a:lnTo>
                      <a:pt x="1666" y="449"/>
                    </a:lnTo>
                    <a:lnTo>
                      <a:pt x="1666" y="449"/>
                    </a:lnTo>
                    <a:lnTo>
                      <a:pt x="1666" y="449"/>
                    </a:lnTo>
                    <a:lnTo>
                      <a:pt x="1668" y="449"/>
                    </a:lnTo>
                    <a:lnTo>
                      <a:pt x="1668" y="449"/>
                    </a:lnTo>
                    <a:lnTo>
                      <a:pt x="1670" y="449"/>
                    </a:lnTo>
                    <a:lnTo>
                      <a:pt x="1675" y="452"/>
                    </a:lnTo>
                    <a:lnTo>
                      <a:pt x="1677" y="452"/>
                    </a:lnTo>
                    <a:lnTo>
                      <a:pt x="1680" y="452"/>
                    </a:lnTo>
                    <a:lnTo>
                      <a:pt x="1680" y="452"/>
                    </a:lnTo>
                    <a:lnTo>
                      <a:pt x="1682" y="454"/>
                    </a:lnTo>
                    <a:lnTo>
                      <a:pt x="1682" y="454"/>
                    </a:lnTo>
                    <a:lnTo>
                      <a:pt x="1682" y="454"/>
                    </a:lnTo>
                    <a:lnTo>
                      <a:pt x="1685" y="457"/>
                    </a:lnTo>
                    <a:lnTo>
                      <a:pt x="1685" y="457"/>
                    </a:lnTo>
                    <a:lnTo>
                      <a:pt x="1687" y="457"/>
                    </a:lnTo>
                    <a:lnTo>
                      <a:pt x="1687" y="457"/>
                    </a:lnTo>
                    <a:lnTo>
                      <a:pt x="1689" y="459"/>
                    </a:lnTo>
                    <a:lnTo>
                      <a:pt x="1692" y="459"/>
                    </a:lnTo>
                    <a:lnTo>
                      <a:pt x="1692" y="459"/>
                    </a:lnTo>
                    <a:lnTo>
                      <a:pt x="1692" y="459"/>
                    </a:lnTo>
                    <a:lnTo>
                      <a:pt x="1692" y="459"/>
                    </a:lnTo>
                    <a:lnTo>
                      <a:pt x="1692" y="461"/>
                    </a:lnTo>
                    <a:lnTo>
                      <a:pt x="1692" y="461"/>
                    </a:lnTo>
                    <a:lnTo>
                      <a:pt x="1694" y="461"/>
                    </a:lnTo>
                    <a:lnTo>
                      <a:pt x="1694" y="461"/>
                    </a:lnTo>
                    <a:lnTo>
                      <a:pt x="1696" y="464"/>
                    </a:lnTo>
                    <a:lnTo>
                      <a:pt x="1696" y="464"/>
                    </a:lnTo>
                    <a:lnTo>
                      <a:pt x="1699" y="464"/>
                    </a:lnTo>
                    <a:lnTo>
                      <a:pt x="1699" y="466"/>
                    </a:lnTo>
                    <a:lnTo>
                      <a:pt x="1701" y="466"/>
                    </a:lnTo>
                    <a:lnTo>
                      <a:pt x="1701" y="466"/>
                    </a:lnTo>
                    <a:lnTo>
                      <a:pt x="1701" y="466"/>
                    </a:lnTo>
                    <a:lnTo>
                      <a:pt x="1703" y="468"/>
                    </a:lnTo>
                    <a:lnTo>
                      <a:pt x="1703" y="468"/>
                    </a:lnTo>
                    <a:lnTo>
                      <a:pt x="1703" y="471"/>
                    </a:lnTo>
                    <a:lnTo>
                      <a:pt x="1706" y="471"/>
                    </a:lnTo>
                    <a:lnTo>
                      <a:pt x="1708" y="473"/>
                    </a:lnTo>
                    <a:lnTo>
                      <a:pt x="1711" y="475"/>
                    </a:lnTo>
                    <a:lnTo>
                      <a:pt x="1713" y="478"/>
                    </a:lnTo>
                    <a:lnTo>
                      <a:pt x="1715" y="480"/>
                    </a:lnTo>
                    <a:lnTo>
                      <a:pt x="1718" y="480"/>
                    </a:lnTo>
                    <a:lnTo>
                      <a:pt x="1718" y="483"/>
                    </a:lnTo>
                    <a:lnTo>
                      <a:pt x="1720" y="483"/>
                    </a:lnTo>
                    <a:lnTo>
                      <a:pt x="1720" y="483"/>
                    </a:lnTo>
                    <a:lnTo>
                      <a:pt x="1720" y="485"/>
                    </a:lnTo>
                    <a:lnTo>
                      <a:pt x="1722" y="485"/>
                    </a:lnTo>
                    <a:lnTo>
                      <a:pt x="1722" y="485"/>
                    </a:lnTo>
                    <a:lnTo>
                      <a:pt x="1722" y="487"/>
                    </a:lnTo>
                    <a:lnTo>
                      <a:pt x="1725" y="487"/>
                    </a:lnTo>
                    <a:lnTo>
                      <a:pt x="1725" y="490"/>
                    </a:lnTo>
                    <a:lnTo>
                      <a:pt x="1727" y="490"/>
                    </a:lnTo>
                    <a:lnTo>
                      <a:pt x="1727" y="492"/>
                    </a:lnTo>
                    <a:lnTo>
                      <a:pt x="1729" y="494"/>
                    </a:lnTo>
                    <a:lnTo>
                      <a:pt x="1737" y="497"/>
                    </a:lnTo>
                    <a:lnTo>
                      <a:pt x="1739" y="499"/>
                    </a:lnTo>
                    <a:lnTo>
                      <a:pt x="1741" y="502"/>
                    </a:lnTo>
                    <a:lnTo>
                      <a:pt x="1741" y="504"/>
                    </a:lnTo>
                    <a:lnTo>
                      <a:pt x="1741" y="504"/>
                    </a:lnTo>
                    <a:lnTo>
                      <a:pt x="1741" y="504"/>
                    </a:lnTo>
                    <a:lnTo>
                      <a:pt x="1744" y="506"/>
                    </a:lnTo>
                    <a:lnTo>
                      <a:pt x="1744" y="506"/>
                    </a:lnTo>
                    <a:lnTo>
                      <a:pt x="1744" y="506"/>
                    </a:lnTo>
                    <a:lnTo>
                      <a:pt x="1746" y="509"/>
                    </a:lnTo>
                    <a:lnTo>
                      <a:pt x="1751" y="511"/>
                    </a:lnTo>
                    <a:lnTo>
                      <a:pt x="1751" y="513"/>
                    </a:lnTo>
                    <a:lnTo>
                      <a:pt x="1751" y="516"/>
                    </a:lnTo>
                    <a:lnTo>
                      <a:pt x="1753" y="516"/>
                    </a:lnTo>
                    <a:lnTo>
                      <a:pt x="1755" y="518"/>
                    </a:lnTo>
                    <a:lnTo>
                      <a:pt x="1758" y="518"/>
                    </a:lnTo>
                    <a:lnTo>
                      <a:pt x="1758" y="520"/>
                    </a:lnTo>
                    <a:lnTo>
                      <a:pt x="1760" y="520"/>
                    </a:lnTo>
                    <a:lnTo>
                      <a:pt x="1763" y="523"/>
                    </a:lnTo>
                    <a:lnTo>
                      <a:pt x="1765" y="523"/>
                    </a:lnTo>
                    <a:lnTo>
                      <a:pt x="1770" y="523"/>
                    </a:lnTo>
                    <a:lnTo>
                      <a:pt x="1774" y="523"/>
                    </a:lnTo>
                    <a:lnTo>
                      <a:pt x="1777" y="523"/>
                    </a:lnTo>
                    <a:lnTo>
                      <a:pt x="1777" y="523"/>
                    </a:lnTo>
                    <a:lnTo>
                      <a:pt x="1779" y="523"/>
                    </a:lnTo>
                    <a:lnTo>
                      <a:pt x="1779" y="525"/>
                    </a:lnTo>
                    <a:lnTo>
                      <a:pt x="1779" y="525"/>
                    </a:lnTo>
                    <a:lnTo>
                      <a:pt x="1782" y="525"/>
                    </a:lnTo>
                    <a:lnTo>
                      <a:pt x="1784" y="525"/>
                    </a:lnTo>
                    <a:lnTo>
                      <a:pt x="1786" y="528"/>
                    </a:lnTo>
                    <a:lnTo>
                      <a:pt x="1786" y="528"/>
                    </a:lnTo>
                    <a:lnTo>
                      <a:pt x="1786" y="528"/>
                    </a:lnTo>
                    <a:lnTo>
                      <a:pt x="1789" y="528"/>
                    </a:lnTo>
                    <a:lnTo>
                      <a:pt x="1789" y="528"/>
                    </a:lnTo>
                    <a:lnTo>
                      <a:pt x="1791" y="528"/>
                    </a:lnTo>
                    <a:lnTo>
                      <a:pt x="1791" y="528"/>
                    </a:lnTo>
                    <a:lnTo>
                      <a:pt x="1791" y="528"/>
                    </a:lnTo>
                    <a:lnTo>
                      <a:pt x="1791" y="528"/>
                    </a:lnTo>
                    <a:lnTo>
                      <a:pt x="1793" y="528"/>
                    </a:lnTo>
                    <a:lnTo>
                      <a:pt x="1796" y="530"/>
                    </a:lnTo>
                    <a:lnTo>
                      <a:pt x="1796" y="530"/>
                    </a:lnTo>
                    <a:lnTo>
                      <a:pt x="1800" y="530"/>
                    </a:lnTo>
                    <a:lnTo>
                      <a:pt x="1808" y="535"/>
                    </a:lnTo>
                    <a:lnTo>
                      <a:pt x="1810" y="537"/>
                    </a:lnTo>
                    <a:lnTo>
                      <a:pt x="1812" y="537"/>
                    </a:lnTo>
                    <a:lnTo>
                      <a:pt x="1817" y="537"/>
                    </a:lnTo>
                    <a:lnTo>
                      <a:pt x="1819" y="539"/>
                    </a:lnTo>
                    <a:lnTo>
                      <a:pt x="1819" y="542"/>
                    </a:lnTo>
                    <a:lnTo>
                      <a:pt x="1819" y="542"/>
                    </a:lnTo>
                    <a:lnTo>
                      <a:pt x="1822" y="544"/>
                    </a:lnTo>
                    <a:lnTo>
                      <a:pt x="1824" y="546"/>
                    </a:lnTo>
                    <a:lnTo>
                      <a:pt x="1824" y="546"/>
                    </a:lnTo>
                    <a:lnTo>
                      <a:pt x="1826" y="546"/>
                    </a:lnTo>
                    <a:lnTo>
                      <a:pt x="1826" y="549"/>
                    </a:lnTo>
                    <a:lnTo>
                      <a:pt x="1829" y="551"/>
                    </a:lnTo>
                    <a:lnTo>
                      <a:pt x="1829" y="554"/>
                    </a:lnTo>
                    <a:lnTo>
                      <a:pt x="1831" y="556"/>
                    </a:lnTo>
                    <a:lnTo>
                      <a:pt x="1834" y="556"/>
                    </a:lnTo>
                    <a:lnTo>
                      <a:pt x="1836" y="558"/>
                    </a:lnTo>
                    <a:lnTo>
                      <a:pt x="1836" y="561"/>
                    </a:lnTo>
                    <a:lnTo>
                      <a:pt x="1838" y="561"/>
                    </a:lnTo>
                    <a:lnTo>
                      <a:pt x="1838" y="561"/>
                    </a:lnTo>
                    <a:lnTo>
                      <a:pt x="1841" y="561"/>
                    </a:lnTo>
                    <a:lnTo>
                      <a:pt x="1843" y="561"/>
                    </a:lnTo>
                    <a:lnTo>
                      <a:pt x="1845" y="561"/>
                    </a:lnTo>
                    <a:lnTo>
                      <a:pt x="1848" y="563"/>
                    </a:lnTo>
                    <a:lnTo>
                      <a:pt x="1852" y="563"/>
                    </a:lnTo>
                    <a:lnTo>
                      <a:pt x="1857" y="561"/>
                    </a:lnTo>
                    <a:lnTo>
                      <a:pt x="1862" y="561"/>
                    </a:lnTo>
                    <a:lnTo>
                      <a:pt x="1862" y="561"/>
                    </a:lnTo>
                    <a:lnTo>
                      <a:pt x="1864" y="561"/>
                    </a:lnTo>
                    <a:lnTo>
                      <a:pt x="1862" y="558"/>
                    </a:lnTo>
                    <a:lnTo>
                      <a:pt x="1864" y="556"/>
                    </a:lnTo>
                    <a:lnTo>
                      <a:pt x="1864" y="556"/>
                    </a:lnTo>
                    <a:lnTo>
                      <a:pt x="1867" y="556"/>
                    </a:lnTo>
                    <a:lnTo>
                      <a:pt x="1867" y="554"/>
                    </a:lnTo>
                    <a:lnTo>
                      <a:pt x="1869" y="554"/>
                    </a:lnTo>
                    <a:lnTo>
                      <a:pt x="1871" y="554"/>
                    </a:lnTo>
                    <a:lnTo>
                      <a:pt x="1874" y="554"/>
                    </a:lnTo>
                    <a:lnTo>
                      <a:pt x="1876" y="554"/>
                    </a:lnTo>
                    <a:lnTo>
                      <a:pt x="1876" y="551"/>
                    </a:lnTo>
                    <a:lnTo>
                      <a:pt x="1878" y="549"/>
                    </a:lnTo>
                    <a:lnTo>
                      <a:pt x="1883" y="549"/>
                    </a:lnTo>
                    <a:lnTo>
                      <a:pt x="1883" y="546"/>
                    </a:lnTo>
                    <a:lnTo>
                      <a:pt x="1886" y="549"/>
                    </a:lnTo>
                    <a:lnTo>
                      <a:pt x="1886" y="549"/>
                    </a:lnTo>
                    <a:lnTo>
                      <a:pt x="1888" y="549"/>
                    </a:lnTo>
                    <a:lnTo>
                      <a:pt x="1893" y="551"/>
                    </a:lnTo>
                    <a:lnTo>
                      <a:pt x="1893" y="551"/>
                    </a:lnTo>
                    <a:lnTo>
                      <a:pt x="1893" y="551"/>
                    </a:lnTo>
                    <a:lnTo>
                      <a:pt x="1893" y="554"/>
                    </a:lnTo>
                    <a:lnTo>
                      <a:pt x="1893" y="554"/>
                    </a:lnTo>
                    <a:lnTo>
                      <a:pt x="1893" y="556"/>
                    </a:lnTo>
                    <a:lnTo>
                      <a:pt x="1895" y="556"/>
                    </a:lnTo>
                    <a:lnTo>
                      <a:pt x="1897" y="558"/>
                    </a:lnTo>
                    <a:lnTo>
                      <a:pt x="1897" y="558"/>
                    </a:lnTo>
                    <a:lnTo>
                      <a:pt x="1900" y="561"/>
                    </a:lnTo>
                    <a:lnTo>
                      <a:pt x="1900" y="563"/>
                    </a:lnTo>
                    <a:lnTo>
                      <a:pt x="1900" y="563"/>
                    </a:lnTo>
                    <a:lnTo>
                      <a:pt x="1900" y="565"/>
                    </a:lnTo>
                    <a:lnTo>
                      <a:pt x="1900" y="565"/>
                    </a:lnTo>
                    <a:lnTo>
                      <a:pt x="1900" y="568"/>
                    </a:lnTo>
                    <a:lnTo>
                      <a:pt x="1897" y="568"/>
                    </a:lnTo>
                    <a:lnTo>
                      <a:pt x="1897" y="568"/>
                    </a:lnTo>
                    <a:lnTo>
                      <a:pt x="1897" y="568"/>
                    </a:lnTo>
                    <a:lnTo>
                      <a:pt x="1897" y="568"/>
                    </a:lnTo>
                    <a:lnTo>
                      <a:pt x="1895" y="568"/>
                    </a:lnTo>
                    <a:lnTo>
                      <a:pt x="1895" y="570"/>
                    </a:lnTo>
                    <a:lnTo>
                      <a:pt x="1897" y="570"/>
                    </a:lnTo>
                    <a:lnTo>
                      <a:pt x="1897" y="573"/>
                    </a:lnTo>
                    <a:lnTo>
                      <a:pt x="1897" y="573"/>
                    </a:lnTo>
                    <a:lnTo>
                      <a:pt x="1897" y="575"/>
                    </a:lnTo>
                    <a:lnTo>
                      <a:pt x="1897" y="577"/>
                    </a:lnTo>
                    <a:lnTo>
                      <a:pt x="1900" y="577"/>
                    </a:lnTo>
                    <a:lnTo>
                      <a:pt x="1900" y="580"/>
                    </a:lnTo>
                    <a:lnTo>
                      <a:pt x="1900" y="580"/>
                    </a:lnTo>
                    <a:lnTo>
                      <a:pt x="1900" y="582"/>
                    </a:lnTo>
                    <a:lnTo>
                      <a:pt x="1902" y="584"/>
                    </a:lnTo>
                    <a:lnTo>
                      <a:pt x="1902" y="587"/>
                    </a:lnTo>
                    <a:lnTo>
                      <a:pt x="1902" y="587"/>
                    </a:lnTo>
                    <a:lnTo>
                      <a:pt x="1902" y="589"/>
                    </a:lnTo>
                    <a:lnTo>
                      <a:pt x="1902" y="589"/>
                    </a:lnTo>
                    <a:lnTo>
                      <a:pt x="1905" y="591"/>
                    </a:lnTo>
                    <a:lnTo>
                      <a:pt x="1905" y="591"/>
                    </a:lnTo>
                    <a:lnTo>
                      <a:pt x="1905" y="591"/>
                    </a:lnTo>
                    <a:lnTo>
                      <a:pt x="1902" y="594"/>
                    </a:lnTo>
                    <a:lnTo>
                      <a:pt x="1902" y="594"/>
                    </a:lnTo>
                    <a:lnTo>
                      <a:pt x="1905" y="596"/>
                    </a:lnTo>
                    <a:lnTo>
                      <a:pt x="1905" y="596"/>
                    </a:lnTo>
                    <a:lnTo>
                      <a:pt x="1905" y="599"/>
                    </a:lnTo>
                    <a:lnTo>
                      <a:pt x="1905" y="599"/>
                    </a:lnTo>
                    <a:lnTo>
                      <a:pt x="1902" y="599"/>
                    </a:lnTo>
                    <a:lnTo>
                      <a:pt x="1902" y="599"/>
                    </a:lnTo>
                    <a:lnTo>
                      <a:pt x="1902" y="601"/>
                    </a:lnTo>
                    <a:lnTo>
                      <a:pt x="1905" y="601"/>
                    </a:lnTo>
                    <a:lnTo>
                      <a:pt x="1905" y="603"/>
                    </a:lnTo>
                    <a:lnTo>
                      <a:pt x="1905" y="603"/>
                    </a:lnTo>
                    <a:lnTo>
                      <a:pt x="1905" y="606"/>
                    </a:lnTo>
                    <a:lnTo>
                      <a:pt x="1905" y="606"/>
                    </a:lnTo>
                    <a:lnTo>
                      <a:pt x="1905" y="606"/>
                    </a:lnTo>
                    <a:lnTo>
                      <a:pt x="1902" y="606"/>
                    </a:lnTo>
                    <a:lnTo>
                      <a:pt x="1902" y="608"/>
                    </a:lnTo>
                    <a:lnTo>
                      <a:pt x="1902" y="610"/>
                    </a:lnTo>
                    <a:lnTo>
                      <a:pt x="1905" y="613"/>
                    </a:lnTo>
                    <a:lnTo>
                      <a:pt x="1905" y="615"/>
                    </a:lnTo>
                    <a:lnTo>
                      <a:pt x="1905" y="615"/>
                    </a:lnTo>
                    <a:lnTo>
                      <a:pt x="1905" y="618"/>
                    </a:lnTo>
                    <a:lnTo>
                      <a:pt x="1902" y="618"/>
                    </a:lnTo>
                    <a:lnTo>
                      <a:pt x="1902" y="615"/>
                    </a:lnTo>
                    <a:lnTo>
                      <a:pt x="1900" y="615"/>
                    </a:lnTo>
                    <a:lnTo>
                      <a:pt x="1897" y="615"/>
                    </a:lnTo>
                    <a:lnTo>
                      <a:pt x="1895" y="615"/>
                    </a:lnTo>
                    <a:lnTo>
                      <a:pt x="1893" y="615"/>
                    </a:lnTo>
                    <a:lnTo>
                      <a:pt x="1888" y="613"/>
                    </a:lnTo>
                    <a:lnTo>
                      <a:pt x="1888" y="613"/>
                    </a:lnTo>
                    <a:lnTo>
                      <a:pt x="1886" y="613"/>
                    </a:lnTo>
                    <a:lnTo>
                      <a:pt x="1883" y="613"/>
                    </a:lnTo>
                    <a:lnTo>
                      <a:pt x="1881" y="610"/>
                    </a:lnTo>
                    <a:lnTo>
                      <a:pt x="1881" y="610"/>
                    </a:lnTo>
                    <a:lnTo>
                      <a:pt x="1881" y="613"/>
                    </a:lnTo>
                    <a:lnTo>
                      <a:pt x="1881" y="613"/>
                    </a:lnTo>
                    <a:lnTo>
                      <a:pt x="1881" y="615"/>
                    </a:lnTo>
                    <a:lnTo>
                      <a:pt x="1881" y="615"/>
                    </a:lnTo>
                    <a:lnTo>
                      <a:pt x="1881" y="618"/>
                    </a:lnTo>
                    <a:lnTo>
                      <a:pt x="1878" y="620"/>
                    </a:lnTo>
                    <a:lnTo>
                      <a:pt x="1876" y="620"/>
                    </a:lnTo>
                    <a:lnTo>
                      <a:pt x="1876" y="620"/>
                    </a:lnTo>
                    <a:lnTo>
                      <a:pt x="1874" y="620"/>
                    </a:lnTo>
                    <a:lnTo>
                      <a:pt x="1874" y="622"/>
                    </a:lnTo>
                    <a:lnTo>
                      <a:pt x="1874" y="622"/>
                    </a:lnTo>
                    <a:lnTo>
                      <a:pt x="1874" y="622"/>
                    </a:lnTo>
                    <a:lnTo>
                      <a:pt x="1874" y="625"/>
                    </a:lnTo>
                    <a:lnTo>
                      <a:pt x="1876" y="627"/>
                    </a:lnTo>
                    <a:lnTo>
                      <a:pt x="1878" y="627"/>
                    </a:lnTo>
                    <a:lnTo>
                      <a:pt x="1881" y="629"/>
                    </a:lnTo>
                    <a:lnTo>
                      <a:pt x="1888" y="639"/>
                    </a:lnTo>
                    <a:lnTo>
                      <a:pt x="1888" y="639"/>
                    </a:lnTo>
                    <a:lnTo>
                      <a:pt x="1890" y="646"/>
                    </a:lnTo>
                    <a:lnTo>
                      <a:pt x="1890" y="646"/>
                    </a:lnTo>
                    <a:lnTo>
                      <a:pt x="1893" y="648"/>
                    </a:lnTo>
                    <a:lnTo>
                      <a:pt x="1893" y="651"/>
                    </a:lnTo>
                    <a:lnTo>
                      <a:pt x="1893" y="651"/>
                    </a:lnTo>
                    <a:lnTo>
                      <a:pt x="1895" y="651"/>
                    </a:lnTo>
                    <a:lnTo>
                      <a:pt x="1895" y="651"/>
                    </a:lnTo>
                    <a:lnTo>
                      <a:pt x="1895" y="653"/>
                    </a:lnTo>
                    <a:lnTo>
                      <a:pt x="1895" y="653"/>
                    </a:lnTo>
                    <a:lnTo>
                      <a:pt x="1895" y="655"/>
                    </a:lnTo>
                    <a:lnTo>
                      <a:pt x="1897" y="658"/>
                    </a:lnTo>
                    <a:lnTo>
                      <a:pt x="1897" y="658"/>
                    </a:lnTo>
                    <a:lnTo>
                      <a:pt x="1897" y="658"/>
                    </a:lnTo>
                    <a:lnTo>
                      <a:pt x="1897" y="660"/>
                    </a:lnTo>
                    <a:lnTo>
                      <a:pt x="1897" y="660"/>
                    </a:lnTo>
                    <a:lnTo>
                      <a:pt x="1897" y="663"/>
                    </a:lnTo>
                    <a:lnTo>
                      <a:pt x="1897" y="663"/>
                    </a:lnTo>
                    <a:lnTo>
                      <a:pt x="1895" y="663"/>
                    </a:lnTo>
                    <a:lnTo>
                      <a:pt x="1895" y="663"/>
                    </a:lnTo>
                    <a:lnTo>
                      <a:pt x="1893" y="663"/>
                    </a:lnTo>
                    <a:lnTo>
                      <a:pt x="1893" y="663"/>
                    </a:lnTo>
                    <a:lnTo>
                      <a:pt x="1890" y="665"/>
                    </a:lnTo>
                    <a:lnTo>
                      <a:pt x="1890" y="665"/>
                    </a:lnTo>
                    <a:lnTo>
                      <a:pt x="1888" y="665"/>
                    </a:lnTo>
                    <a:lnTo>
                      <a:pt x="1888" y="665"/>
                    </a:lnTo>
                    <a:lnTo>
                      <a:pt x="1888" y="665"/>
                    </a:lnTo>
                    <a:lnTo>
                      <a:pt x="1890" y="667"/>
                    </a:lnTo>
                    <a:lnTo>
                      <a:pt x="1890" y="667"/>
                    </a:lnTo>
                    <a:lnTo>
                      <a:pt x="1893" y="667"/>
                    </a:lnTo>
                    <a:lnTo>
                      <a:pt x="1893" y="670"/>
                    </a:lnTo>
                    <a:lnTo>
                      <a:pt x="1893" y="670"/>
                    </a:lnTo>
                    <a:lnTo>
                      <a:pt x="1893" y="670"/>
                    </a:lnTo>
                    <a:lnTo>
                      <a:pt x="1895" y="672"/>
                    </a:lnTo>
                    <a:lnTo>
                      <a:pt x="1897" y="672"/>
                    </a:lnTo>
                    <a:lnTo>
                      <a:pt x="1897" y="674"/>
                    </a:lnTo>
                    <a:lnTo>
                      <a:pt x="1897" y="674"/>
                    </a:lnTo>
                    <a:lnTo>
                      <a:pt x="1897" y="674"/>
                    </a:lnTo>
                    <a:lnTo>
                      <a:pt x="1897" y="670"/>
                    </a:lnTo>
                    <a:lnTo>
                      <a:pt x="1895" y="667"/>
                    </a:lnTo>
                    <a:lnTo>
                      <a:pt x="1895" y="667"/>
                    </a:lnTo>
                    <a:lnTo>
                      <a:pt x="1900" y="667"/>
                    </a:lnTo>
                    <a:lnTo>
                      <a:pt x="1900" y="667"/>
                    </a:lnTo>
                    <a:lnTo>
                      <a:pt x="1902" y="667"/>
                    </a:lnTo>
                    <a:lnTo>
                      <a:pt x="1902" y="665"/>
                    </a:lnTo>
                    <a:lnTo>
                      <a:pt x="1902" y="665"/>
                    </a:lnTo>
                    <a:lnTo>
                      <a:pt x="1905" y="663"/>
                    </a:lnTo>
                    <a:lnTo>
                      <a:pt x="1905" y="660"/>
                    </a:lnTo>
                    <a:lnTo>
                      <a:pt x="1905" y="655"/>
                    </a:lnTo>
                    <a:lnTo>
                      <a:pt x="1907" y="655"/>
                    </a:lnTo>
                    <a:lnTo>
                      <a:pt x="1907" y="653"/>
                    </a:lnTo>
                    <a:lnTo>
                      <a:pt x="1909" y="653"/>
                    </a:lnTo>
                    <a:lnTo>
                      <a:pt x="1909" y="653"/>
                    </a:lnTo>
                    <a:lnTo>
                      <a:pt x="1909" y="655"/>
                    </a:lnTo>
                    <a:lnTo>
                      <a:pt x="1909" y="658"/>
                    </a:lnTo>
                    <a:lnTo>
                      <a:pt x="1909" y="658"/>
                    </a:lnTo>
                    <a:lnTo>
                      <a:pt x="1912" y="658"/>
                    </a:lnTo>
                    <a:lnTo>
                      <a:pt x="1914" y="655"/>
                    </a:lnTo>
                    <a:lnTo>
                      <a:pt x="1914" y="653"/>
                    </a:lnTo>
                    <a:lnTo>
                      <a:pt x="1914" y="655"/>
                    </a:lnTo>
                    <a:lnTo>
                      <a:pt x="1919" y="663"/>
                    </a:lnTo>
                    <a:lnTo>
                      <a:pt x="1921" y="663"/>
                    </a:lnTo>
                    <a:lnTo>
                      <a:pt x="1923" y="663"/>
                    </a:lnTo>
                    <a:lnTo>
                      <a:pt x="1926" y="663"/>
                    </a:lnTo>
                    <a:lnTo>
                      <a:pt x="1928" y="665"/>
                    </a:lnTo>
                    <a:lnTo>
                      <a:pt x="1931" y="665"/>
                    </a:lnTo>
                    <a:lnTo>
                      <a:pt x="1931" y="665"/>
                    </a:lnTo>
                    <a:lnTo>
                      <a:pt x="1933" y="665"/>
                    </a:lnTo>
                    <a:lnTo>
                      <a:pt x="1935" y="667"/>
                    </a:lnTo>
                    <a:lnTo>
                      <a:pt x="1938" y="665"/>
                    </a:lnTo>
                    <a:lnTo>
                      <a:pt x="1940" y="663"/>
                    </a:lnTo>
                    <a:lnTo>
                      <a:pt x="1942" y="663"/>
                    </a:lnTo>
                    <a:lnTo>
                      <a:pt x="1947" y="660"/>
                    </a:lnTo>
                    <a:lnTo>
                      <a:pt x="1947" y="660"/>
                    </a:lnTo>
                    <a:lnTo>
                      <a:pt x="1954" y="653"/>
                    </a:lnTo>
                    <a:lnTo>
                      <a:pt x="1957" y="651"/>
                    </a:lnTo>
                    <a:lnTo>
                      <a:pt x="1959" y="648"/>
                    </a:lnTo>
                    <a:lnTo>
                      <a:pt x="1959" y="646"/>
                    </a:lnTo>
                    <a:lnTo>
                      <a:pt x="1961" y="644"/>
                    </a:lnTo>
                    <a:lnTo>
                      <a:pt x="1961" y="641"/>
                    </a:lnTo>
                    <a:lnTo>
                      <a:pt x="1961" y="641"/>
                    </a:lnTo>
                    <a:lnTo>
                      <a:pt x="1961" y="632"/>
                    </a:lnTo>
                    <a:lnTo>
                      <a:pt x="1961" y="629"/>
                    </a:lnTo>
                    <a:lnTo>
                      <a:pt x="1964" y="629"/>
                    </a:lnTo>
                    <a:lnTo>
                      <a:pt x="1964" y="627"/>
                    </a:lnTo>
                    <a:lnTo>
                      <a:pt x="1964" y="627"/>
                    </a:lnTo>
                    <a:lnTo>
                      <a:pt x="1966" y="622"/>
                    </a:lnTo>
                    <a:lnTo>
                      <a:pt x="1966" y="620"/>
                    </a:lnTo>
                    <a:lnTo>
                      <a:pt x="1966" y="615"/>
                    </a:lnTo>
                    <a:lnTo>
                      <a:pt x="1966" y="613"/>
                    </a:lnTo>
                    <a:lnTo>
                      <a:pt x="1968" y="608"/>
                    </a:lnTo>
                    <a:lnTo>
                      <a:pt x="1971" y="603"/>
                    </a:lnTo>
                    <a:lnTo>
                      <a:pt x="1973" y="601"/>
                    </a:lnTo>
                    <a:lnTo>
                      <a:pt x="1973" y="599"/>
                    </a:lnTo>
                    <a:lnTo>
                      <a:pt x="1975" y="591"/>
                    </a:lnTo>
                    <a:lnTo>
                      <a:pt x="1973" y="587"/>
                    </a:lnTo>
                    <a:lnTo>
                      <a:pt x="1975" y="584"/>
                    </a:lnTo>
                    <a:lnTo>
                      <a:pt x="1973" y="582"/>
                    </a:lnTo>
                    <a:lnTo>
                      <a:pt x="1973" y="577"/>
                    </a:lnTo>
                    <a:lnTo>
                      <a:pt x="1973" y="577"/>
                    </a:lnTo>
                    <a:lnTo>
                      <a:pt x="1971" y="575"/>
                    </a:lnTo>
                    <a:lnTo>
                      <a:pt x="1975" y="568"/>
                    </a:lnTo>
                    <a:lnTo>
                      <a:pt x="1973" y="563"/>
                    </a:lnTo>
                    <a:lnTo>
                      <a:pt x="1973" y="558"/>
                    </a:lnTo>
                    <a:lnTo>
                      <a:pt x="1975" y="556"/>
                    </a:lnTo>
                    <a:lnTo>
                      <a:pt x="1975" y="554"/>
                    </a:lnTo>
                    <a:lnTo>
                      <a:pt x="1975" y="551"/>
                    </a:lnTo>
                    <a:lnTo>
                      <a:pt x="1978" y="549"/>
                    </a:lnTo>
                    <a:lnTo>
                      <a:pt x="1978" y="546"/>
                    </a:lnTo>
                    <a:lnTo>
                      <a:pt x="1978" y="544"/>
                    </a:lnTo>
                    <a:lnTo>
                      <a:pt x="1975" y="539"/>
                    </a:lnTo>
                    <a:lnTo>
                      <a:pt x="1975" y="535"/>
                    </a:lnTo>
                    <a:lnTo>
                      <a:pt x="1973" y="535"/>
                    </a:lnTo>
                    <a:lnTo>
                      <a:pt x="1973" y="535"/>
                    </a:lnTo>
                    <a:lnTo>
                      <a:pt x="1973" y="532"/>
                    </a:lnTo>
                    <a:lnTo>
                      <a:pt x="1971" y="532"/>
                    </a:lnTo>
                    <a:lnTo>
                      <a:pt x="1971" y="530"/>
                    </a:lnTo>
                    <a:lnTo>
                      <a:pt x="1971" y="530"/>
                    </a:lnTo>
                    <a:lnTo>
                      <a:pt x="1971" y="528"/>
                    </a:lnTo>
                    <a:lnTo>
                      <a:pt x="1968" y="523"/>
                    </a:lnTo>
                    <a:lnTo>
                      <a:pt x="1966" y="518"/>
                    </a:lnTo>
                    <a:lnTo>
                      <a:pt x="1964" y="518"/>
                    </a:lnTo>
                    <a:lnTo>
                      <a:pt x="1964" y="516"/>
                    </a:lnTo>
                    <a:lnTo>
                      <a:pt x="1964" y="513"/>
                    </a:lnTo>
                    <a:lnTo>
                      <a:pt x="1964" y="513"/>
                    </a:lnTo>
                    <a:lnTo>
                      <a:pt x="1964" y="513"/>
                    </a:lnTo>
                    <a:lnTo>
                      <a:pt x="1961" y="511"/>
                    </a:lnTo>
                    <a:lnTo>
                      <a:pt x="1961" y="511"/>
                    </a:lnTo>
                    <a:lnTo>
                      <a:pt x="1954" y="504"/>
                    </a:lnTo>
                    <a:lnTo>
                      <a:pt x="1949" y="497"/>
                    </a:lnTo>
                    <a:lnTo>
                      <a:pt x="1949" y="494"/>
                    </a:lnTo>
                    <a:lnTo>
                      <a:pt x="1949" y="492"/>
                    </a:lnTo>
                    <a:lnTo>
                      <a:pt x="1947" y="490"/>
                    </a:lnTo>
                    <a:lnTo>
                      <a:pt x="1947" y="485"/>
                    </a:lnTo>
                    <a:lnTo>
                      <a:pt x="1945" y="480"/>
                    </a:lnTo>
                    <a:lnTo>
                      <a:pt x="1947" y="478"/>
                    </a:lnTo>
                    <a:lnTo>
                      <a:pt x="1947" y="475"/>
                    </a:lnTo>
                    <a:lnTo>
                      <a:pt x="1947" y="475"/>
                    </a:lnTo>
                    <a:lnTo>
                      <a:pt x="1945" y="473"/>
                    </a:lnTo>
                    <a:lnTo>
                      <a:pt x="1945" y="471"/>
                    </a:lnTo>
                    <a:lnTo>
                      <a:pt x="1942" y="468"/>
                    </a:lnTo>
                    <a:lnTo>
                      <a:pt x="1940" y="468"/>
                    </a:lnTo>
                    <a:lnTo>
                      <a:pt x="1938" y="466"/>
                    </a:lnTo>
                    <a:lnTo>
                      <a:pt x="1935" y="464"/>
                    </a:lnTo>
                    <a:lnTo>
                      <a:pt x="1935" y="461"/>
                    </a:lnTo>
                    <a:lnTo>
                      <a:pt x="1933" y="461"/>
                    </a:lnTo>
                    <a:lnTo>
                      <a:pt x="1931" y="457"/>
                    </a:lnTo>
                    <a:lnTo>
                      <a:pt x="1926" y="454"/>
                    </a:lnTo>
                    <a:lnTo>
                      <a:pt x="1921" y="452"/>
                    </a:lnTo>
                    <a:lnTo>
                      <a:pt x="1919" y="452"/>
                    </a:lnTo>
                    <a:lnTo>
                      <a:pt x="1921" y="452"/>
                    </a:lnTo>
                    <a:lnTo>
                      <a:pt x="1926" y="452"/>
                    </a:lnTo>
                    <a:lnTo>
                      <a:pt x="1928" y="452"/>
                    </a:lnTo>
                    <a:lnTo>
                      <a:pt x="1928" y="449"/>
                    </a:lnTo>
                    <a:lnTo>
                      <a:pt x="1926" y="447"/>
                    </a:lnTo>
                    <a:lnTo>
                      <a:pt x="1921" y="447"/>
                    </a:lnTo>
                    <a:lnTo>
                      <a:pt x="1916" y="445"/>
                    </a:lnTo>
                    <a:lnTo>
                      <a:pt x="1916" y="442"/>
                    </a:lnTo>
                    <a:lnTo>
                      <a:pt x="1909" y="442"/>
                    </a:lnTo>
                    <a:lnTo>
                      <a:pt x="1900" y="438"/>
                    </a:lnTo>
                    <a:lnTo>
                      <a:pt x="1895" y="433"/>
                    </a:lnTo>
                    <a:lnTo>
                      <a:pt x="1893" y="433"/>
                    </a:lnTo>
                    <a:lnTo>
                      <a:pt x="1886" y="428"/>
                    </a:lnTo>
                    <a:lnTo>
                      <a:pt x="1883" y="428"/>
                    </a:lnTo>
                    <a:lnTo>
                      <a:pt x="1883" y="428"/>
                    </a:lnTo>
                    <a:lnTo>
                      <a:pt x="1878" y="428"/>
                    </a:lnTo>
                    <a:lnTo>
                      <a:pt x="1874" y="428"/>
                    </a:lnTo>
                    <a:lnTo>
                      <a:pt x="1867" y="426"/>
                    </a:lnTo>
                    <a:lnTo>
                      <a:pt x="1867" y="428"/>
                    </a:lnTo>
                    <a:lnTo>
                      <a:pt x="1867" y="428"/>
                    </a:lnTo>
                    <a:lnTo>
                      <a:pt x="1869" y="430"/>
                    </a:lnTo>
                    <a:lnTo>
                      <a:pt x="1871" y="433"/>
                    </a:lnTo>
                    <a:lnTo>
                      <a:pt x="1874" y="435"/>
                    </a:lnTo>
                    <a:lnTo>
                      <a:pt x="1874" y="438"/>
                    </a:lnTo>
                    <a:lnTo>
                      <a:pt x="1876" y="442"/>
                    </a:lnTo>
                    <a:lnTo>
                      <a:pt x="1874" y="442"/>
                    </a:lnTo>
                    <a:lnTo>
                      <a:pt x="1874" y="442"/>
                    </a:lnTo>
                    <a:lnTo>
                      <a:pt x="1871" y="442"/>
                    </a:lnTo>
                    <a:lnTo>
                      <a:pt x="1871" y="442"/>
                    </a:lnTo>
                    <a:lnTo>
                      <a:pt x="1871" y="440"/>
                    </a:lnTo>
                    <a:lnTo>
                      <a:pt x="1871" y="438"/>
                    </a:lnTo>
                    <a:lnTo>
                      <a:pt x="1869" y="435"/>
                    </a:lnTo>
                    <a:lnTo>
                      <a:pt x="1869" y="433"/>
                    </a:lnTo>
                    <a:lnTo>
                      <a:pt x="1869" y="433"/>
                    </a:lnTo>
                    <a:lnTo>
                      <a:pt x="1867" y="435"/>
                    </a:lnTo>
                    <a:lnTo>
                      <a:pt x="1869" y="438"/>
                    </a:lnTo>
                    <a:lnTo>
                      <a:pt x="1867" y="440"/>
                    </a:lnTo>
                    <a:lnTo>
                      <a:pt x="1862" y="442"/>
                    </a:lnTo>
                    <a:lnTo>
                      <a:pt x="1857" y="442"/>
                    </a:lnTo>
                    <a:lnTo>
                      <a:pt x="1855" y="442"/>
                    </a:lnTo>
                    <a:lnTo>
                      <a:pt x="1855" y="442"/>
                    </a:lnTo>
                    <a:lnTo>
                      <a:pt x="1855" y="440"/>
                    </a:lnTo>
                    <a:lnTo>
                      <a:pt x="1857" y="440"/>
                    </a:lnTo>
                    <a:lnTo>
                      <a:pt x="1857" y="435"/>
                    </a:lnTo>
                    <a:lnTo>
                      <a:pt x="1857" y="435"/>
                    </a:lnTo>
                    <a:lnTo>
                      <a:pt x="1860" y="435"/>
                    </a:lnTo>
                    <a:lnTo>
                      <a:pt x="1855" y="433"/>
                    </a:lnTo>
                    <a:lnTo>
                      <a:pt x="1852" y="433"/>
                    </a:lnTo>
                    <a:lnTo>
                      <a:pt x="1848" y="430"/>
                    </a:lnTo>
                    <a:lnTo>
                      <a:pt x="1848" y="430"/>
                    </a:lnTo>
                    <a:lnTo>
                      <a:pt x="1850" y="430"/>
                    </a:lnTo>
                    <a:lnTo>
                      <a:pt x="1850" y="430"/>
                    </a:lnTo>
                    <a:lnTo>
                      <a:pt x="1850" y="428"/>
                    </a:lnTo>
                    <a:lnTo>
                      <a:pt x="1848" y="428"/>
                    </a:lnTo>
                    <a:lnTo>
                      <a:pt x="1845" y="428"/>
                    </a:lnTo>
                    <a:lnTo>
                      <a:pt x="1843" y="430"/>
                    </a:lnTo>
                    <a:lnTo>
                      <a:pt x="1843" y="430"/>
                    </a:lnTo>
                    <a:lnTo>
                      <a:pt x="1845" y="433"/>
                    </a:lnTo>
                    <a:lnTo>
                      <a:pt x="1848" y="433"/>
                    </a:lnTo>
                    <a:lnTo>
                      <a:pt x="1850" y="438"/>
                    </a:lnTo>
                    <a:lnTo>
                      <a:pt x="1848" y="435"/>
                    </a:lnTo>
                    <a:lnTo>
                      <a:pt x="1845" y="435"/>
                    </a:lnTo>
                    <a:lnTo>
                      <a:pt x="1845" y="438"/>
                    </a:lnTo>
                    <a:lnTo>
                      <a:pt x="1843" y="438"/>
                    </a:lnTo>
                    <a:lnTo>
                      <a:pt x="1841" y="435"/>
                    </a:lnTo>
                    <a:lnTo>
                      <a:pt x="1838" y="433"/>
                    </a:lnTo>
                    <a:lnTo>
                      <a:pt x="1836" y="426"/>
                    </a:lnTo>
                    <a:lnTo>
                      <a:pt x="1834" y="423"/>
                    </a:lnTo>
                    <a:lnTo>
                      <a:pt x="1834" y="421"/>
                    </a:lnTo>
                    <a:lnTo>
                      <a:pt x="1831" y="421"/>
                    </a:lnTo>
                    <a:lnTo>
                      <a:pt x="1829" y="421"/>
                    </a:lnTo>
                    <a:lnTo>
                      <a:pt x="1829" y="421"/>
                    </a:lnTo>
                    <a:lnTo>
                      <a:pt x="1822" y="421"/>
                    </a:lnTo>
                    <a:lnTo>
                      <a:pt x="1817" y="421"/>
                    </a:lnTo>
                    <a:lnTo>
                      <a:pt x="1810" y="419"/>
                    </a:lnTo>
                    <a:lnTo>
                      <a:pt x="1808" y="419"/>
                    </a:lnTo>
                    <a:lnTo>
                      <a:pt x="1805" y="419"/>
                    </a:lnTo>
                    <a:lnTo>
                      <a:pt x="1803" y="416"/>
                    </a:lnTo>
                    <a:lnTo>
                      <a:pt x="1803" y="414"/>
                    </a:lnTo>
                    <a:lnTo>
                      <a:pt x="1803" y="414"/>
                    </a:lnTo>
                    <a:lnTo>
                      <a:pt x="1803" y="412"/>
                    </a:lnTo>
                    <a:lnTo>
                      <a:pt x="1805" y="409"/>
                    </a:lnTo>
                    <a:lnTo>
                      <a:pt x="1810" y="407"/>
                    </a:lnTo>
                    <a:lnTo>
                      <a:pt x="1810" y="402"/>
                    </a:lnTo>
                    <a:lnTo>
                      <a:pt x="1810" y="402"/>
                    </a:lnTo>
                    <a:lnTo>
                      <a:pt x="1815" y="400"/>
                    </a:lnTo>
                    <a:lnTo>
                      <a:pt x="1815" y="397"/>
                    </a:lnTo>
                    <a:lnTo>
                      <a:pt x="1817" y="395"/>
                    </a:lnTo>
                    <a:lnTo>
                      <a:pt x="1817" y="393"/>
                    </a:lnTo>
                    <a:lnTo>
                      <a:pt x="1819" y="390"/>
                    </a:lnTo>
                    <a:lnTo>
                      <a:pt x="1819" y="390"/>
                    </a:lnTo>
                    <a:lnTo>
                      <a:pt x="1822" y="385"/>
                    </a:lnTo>
                    <a:lnTo>
                      <a:pt x="1822" y="383"/>
                    </a:lnTo>
                    <a:lnTo>
                      <a:pt x="1819" y="381"/>
                    </a:lnTo>
                    <a:lnTo>
                      <a:pt x="1819" y="381"/>
                    </a:lnTo>
                    <a:lnTo>
                      <a:pt x="1822" y="374"/>
                    </a:lnTo>
                    <a:lnTo>
                      <a:pt x="1824" y="371"/>
                    </a:lnTo>
                    <a:lnTo>
                      <a:pt x="1824" y="369"/>
                    </a:lnTo>
                    <a:lnTo>
                      <a:pt x="1826" y="367"/>
                    </a:lnTo>
                    <a:lnTo>
                      <a:pt x="1826" y="367"/>
                    </a:lnTo>
                    <a:lnTo>
                      <a:pt x="1826" y="364"/>
                    </a:lnTo>
                    <a:lnTo>
                      <a:pt x="1829" y="364"/>
                    </a:lnTo>
                    <a:lnTo>
                      <a:pt x="1829" y="362"/>
                    </a:lnTo>
                    <a:lnTo>
                      <a:pt x="1829" y="359"/>
                    </a:lnTo>
                    <a:lnTo>
                      <a:pt x="1834" y="357"/>
                    </a:lnTo>
                    <a:lnTo>
                      <a:pt x="1834" y="357"/>
                    </a:lnTo>
                    <a:lnTo>
                      <a:pt x="1829" y="350"/>
                    </a:lnTo>
                    <a:lnTo>
                      <a:pt x="1829" y="348"/>
                    </a:lnTo>
                    <a:lnTo>
                      <a:pt x="1831" y="345"/>
                    </a:lnTo>
                    <a:lnTo>
                      <a:pt x="1834" y="343"/>
                    </a:lnTo>
                    <a:lnTo>
                      <a:pt x="1836" y="340"/>
                    </a:lnTo>
                    <a:lnTo>
                      <a:pt x="1836" y="338"/>
                    </a:lnTo>
                    <a:lnTo>
                      <a:pt x="1836" y="333"/>
                    </a:lnTo>
                    <a:lnTo>
                      <a:pt x="1838" y="331"/>
                    </a:lnTo>
                    <a:lnTo>
                      <a:pt x="1841" y="329"/>
                    </a:lnTo>
                    <a:lnTo>
                      <a:pt x="1845" y="326"/>
                    </a:lnTo>
                    <a:lnTo>
                      <a:pt x="1852" y="326"/>
                    </a:lnTo>
                    <a:lnTo>
                      <a:pt x="1855" y="326"/>
                    </a:lnTo>
                    <a:lnTo>
                      <a:pt x="1860" y="326"/>
                    </a:lnTo>
                    <a:lnTo>
                      <a:pt x="1867" y="326"/>
                    </a:lnTo>
                    <a:lnTo>
                      <a:pt x="1881" y="326"/>
                    </a:lnTo>
                    <a:lnTo>
                      <a:pt x="1886" y="326"/>
                    </a:lnTo>
                    <a:lnTo>
                      <a:pt x="1888" y="329"/>
                    </a:lnTo>
                    <a:lnTo>
                      <a:pt x="1890" y="331"/>
                    </a:lnTo>
                    <a:lnTo>
                      <a:pt x="1893" y="331"/>
                    </a:lnTo>
                    <a:lnTo>
                      <a:pt x="1895" y="329"/>
                    </a:lnTo>
                    <a:lnTo>
                      <a:pt x="1895" y="326"/>
                    </a:lnTo>
                    <a:lnTo>
                      <a:pt x="1895" y="326"/>
                    </a:lnTo>
                    <a:lnTo>
                      <a:pt x="1900" y="326"/>
                    </a:lnTo>
                    <a:lnTo>
                      <a:pt x="1905" y="326"/>
                    </a:lnTo>
                    <a:lnTo>
                      <a:pt x="1914" y="329"/>
                    </a:lnTo>
                    <a:lnTo>
                      <a:pt x="1916" y="329"/>
                    </a:lnTo>
                    <a:lnTo>
                      <a:pt x="1916" y="326"/>
                    </a:lnTo>
                    <a:lnTo>
                      <a:pt x="1921" y="326"/>
                    </a:lnTo>
                    <a:lnTo>
                      <a:pt x="1928" y="329"/>
                    </a:lnTo>
                    <a:lnTo>
                      <a:pt x="1931" y="329"/>
                    </a:lnTo>
                    <a:lnTo>
                      <a:pt x="1933" y="329"/>
                    </a:lnTo>
                    <a:lnTo>
                      <a:pt x="1933" y="326"/>
                    </a:lnTo>
                    <a:lnTo>
                      <a:pt x="1931" y="326"/>
                    </a:lnTo>
                    <a:lnTo>
                      <a:pt x="1931" y="326"/>
                    </a:lnTo>
                    <a:lnTo>
                      <a:pt x="1928" y="326"/>
                    </a:lnTo>
                    <a:lnTo>
                      <a:pt x="1928" y="324"/>
                    </a:lnTo>
                    <a:lnTo>
                      <a:pt x="1931" y="324"/>
                    </a:lnTo>
                    <a:lnTo>
                      <a:pt x="1933" y="324"/>
                    </a:lnTo>
                    <a:lnTo>
                      <a:pt x="1935" y="324"/>
                    </a:lnTo>
                    <a:lnTo>
                      <a:pt x="1933" y="324"/>
                    </a:lnTo>
                    <a:lnTo>
                      <a:pt x="1933" y="324"/>
                    </a:lnTo>
                    <a:lnTo>
                      <a:pt x="1931" y="322"/>
                    </a:lnTo>
                    <a:lnTo>
                      <a:pt x="1931" y="319"/>
                    </a:lnTo>
                    <a:lnTo>
                      <a:pt x="1933" y="319"/>
                    </a:lnTo>
                    <a:lnTo>
                      <a:pt x="1935" y="319"/>
                    </a:lnTo>
                    <a:lnTo>
                      <a:pt x="1947" y="322"/>
                    </a:lnTo>
                    <a:lnTo>
                      <a:pt x="1947" y="322"/>
                    </a:lnTo>
                    <a:lnTo>
                      <a:pt x="1952" y="322"/>
                    </a:lnTo>
                    <a:lnTo>
                      <a:pt x="1954" y="324"/>
                    </a:lnTo>
                    <a:lnTo>
                      <a:pt x="1954" y="324"/>
                    </a:lnTo>
                    <a:lnTo>
                      <a:pt x="1954" y="324"/>
                    </a:lnTo>
                    <a:lnTo>
                      <a:pt x="1954" y="324"/>
                    </a:lnTo>
                    <a:lnTo>
                      <a:pt x="1957" y="324"/>
                    </a:lnTo>
                    <a:lnTo>
                      <a:pt x="1959" y="326"/>
                    </a:lnTo>
                    <a:lnTo>
                      <a:pt x="1959" y="324"/>
                    </a:lnTo>
                    <a:lnTo>
                      <a:pt x="1959" y="324"/>
                    </a:lnTo>
                    <a:lnTo>
                      <a:pt x="1959" y="324"/>
                    </a:lnTo>
                    <a:lnTo>
                      <a:pt x="1959" y="322"/>
                    </a:lnTo>
                    <a:lnTo>
                      <a:pt x="1961" y="324"/>
                    </a:lnTo>
                    <a:lnTo>
                      <a:pt x="1966" y="324"/>
                    </a:lnTo>
                    <a:lnTo>
                      <a:pt x="1968" y="324"/>
                    </a:lnTo>
                    <a:lnTo>
                      <a:pt x="1975" y="329"/>
                    </a:lnTo>
                    <a:lnTo>
                      <a:pt x="1980" y="329"/>
                    </a:lnTo>
                    <a:lnTo>
                      <a:pt x="1983" y="329"/>
                    </a:lnTo>
                    <a:lnTo>
                      <a:pt x="1983" y="329"/>
                    </a:lnTo>
                    <a:lnTo>
                      <a:pt x="1985" y="329"/>
                    </a:lnTo>
                    <a:lnTo>
                      <a:pt x="1983" y="331"/>
                    </a:lnTo>
                    <a:lnTo>
                      <a:pt x="1978" y="331"/>
                    </a:lnTo>
                    <a:lnTo>
                      <a:pt x="1975" y="331"/>
                    </a:lnTo>
                    <a:lnTo>
                      <a:pt x="1971" y="333"/>
                    </a:lnTo>
                    <a:lnTo>
                      <a:pt x="1978" y="336"/>
                    </a:lnTo>
                    <a:lnTo>
                      <a:pt x="1985" y="336"/>
                    </a:lnTo>
                    <a:lnTo>
                      <a:pt x="1990" y="336"/>
                    </a:lnTo>
                    <a:lnTo>
                      <a:pt x="1987" y="333"/>
                    </a:lnTo>
                    <a:lnTo>
                      <a:pt x="1990" y="333"/>
                    </a:lnTo>
                    <a:lnTo>
                      <a:pt x="1992" y="333"/>
                    </a:lnTo>
                    <a:lnTo>
                      <a:pt x="1994" y="336"/>
                    </a:lnTo>
                    <a:lnTo>
                      <a:pt x="1999" y="336"/>
                    </a:lnTo>
                    <a:lnTo>
                      <a:pt x="2002" y="336"/>
                    </a:lnTo>
                    <a:lnTo>
                      <a:pt x="2002" y="333"/>
                    </a:lnTo>
                    <a:lnTo>
                      <a:pt x="2002" y="333"/>
                    </a:lnTo>
                    <a:lnTo>
                      <a:pt x="2004" y="333"/>
                    </a:lnTo>
                    <a:lnTo>
                      <a:pt x="2002" y="331"/>
                    </a:lnTo>
                    <a:lnTo>
                      <a:pt x="2006" y="329"/>
                    </a:lnTo>
                    <a:lnTo>
                      <a:pt x="2011" y="331"/>
                    </a:lnTo>
                    <a:lnTo>
                      <a:pt x="2016" y="333"/>
                    </a:lnTo>
                    <a:lnTo>
                      <a:pt x="2018" y="331"/>
                    </a:lnTo>
                    <a:lnTo>
                      <a:pt x="2018" y="331"/>
                    </a:lnTo>
                    <a:lnTo>
                      <a:pt x="2018" y="331"/>
                    </a:lnTo>
                    <a:lnTo>
                      <a:pt x="2023" y="331"/>
                    </a:lnTo>
                    <a:lnTo>
                      <a:pt x="2025" y="331"/>
                    </a:lnTo>
                    <a:lnTo>
                      <a:pt x="2028" y="331"/>
                    </a:lnTo>
                    <a:lnTo>
                      <a:pt x="2030" y="331"/>
                    </a:lnTo>
                    <a:lnTo>
                      <a:pt x="2028" y="329"/>
                    </a:lnTo>
                    <a:lnTo>
                      <a:pt x="2025" y="326"/>
                    </a:lnTo>
                    <a:lnTo>
                      <a:pt x="2020" y="326"/>
                    </a:lnTo>
                    <a:lnTo>
                      <a:pt x="2013" y="324"/>
                    </a:lnTo>
                    <a:lnTo>
                      <a:pt x="2011" y="324"/>
                    </a:lnTo>
                    <a:lnTo>
                      <a:pt x="2011" y="324"/>
                    </a:lnTo>
                    <a:lnTo>
                      <a:pt x="2009" y="324"/>
                    </a:lnTo>
                    <a:lnTo>
                      <a:pt x="2009" y="324"/>
                    </a:lnTo>
                    <a:lnTo>
                      <a:pt x="2006" y="322"/>
                    </a:lnTo>
                    <a:lnTo>
                      <a:pt x="2006" y="322"/>
                    </a:lnTo>
                    <a:lnTo>
                      <a:pt x="2006" y="319"/>
                    </a:lnTo>
                    <a:lnTo>
                      <a:pt x="2004" y="317"/>
                    </a:lnTo>
                    <a:lnTo>
                      <a:pt x="2004" y="317"/>
                    </a:lnTo>
                    <a:lnTo>
                      <a:pt x="2004" y="317"/>
                    </a:lnTo>
                    <a:lnTo>
                      <a:pt x="2002" y="312"/>
                    </a:lnTo>
                    <a:lnTo>
                      <a:pt x="2004" y="307"/>
                    </a:lnTo>
                    <a:lnTo>
                      <a:pt x="2006" y="305"/>
                    </a:lnTo>
                    <a:lnTo>
                      <a:pt x="2009" y="303"/>
                    </a:lnTo>
                    <a:lnTo>
                      <a:pt x="2009" y="300"/>
                    </a:lnTo>
                    <a:lnTo>
                      <a:pt x="2006" y="296"/>
                    </a:lnTo>
                    <a:lnTo>
                      <a:pt x="2006" y="293"/>
                    </a:lnTo>
                    <a:lnTo>
                      <a:pt x="2009" y="291"/>
                    </a:lnTo>
                    <a:lnTo>
                      <a:pt x="2009" y="291"/>
                    </a:lnTo>
                    <a:lnTo>
                      <a:pt x="2006" y="286"/>
                    </a:lnTo>
                    <a:lnTo>
                      <a:pt x="2006" y="286"/>
                    </a:lnTo>
                    <a:lnTo>
                      <a:pt x="2006" y="284"/>
                    </a:lnTo>
                    <a:lnTo>
                      <a:pt x="2006" y="281"/>
                    </a:lnTo>
                    <a:lnTo>
                      <a:pt x="2009" y="281"/>
                    </a:lnTo>
                    <a:lnTo>
                      <a:pt x="2011" y="279"/>
                    </a:lnTo>
                    <a:lnTo>
                      <a:pt x="2016" y="281"/>
                    </a:lnTo>
                    <a:lnTo>
                      <a:pt x="2020" y="281"/>
                    </a:lnTo>
                    <a:lnTo>
                      <a:pt x="2020" y="281"/>
                    </a:lnTo>
                    <a:lnTo>
                      <a:pt x="2023" y="279"/>
                    </a:lnTo>
                    <a:lnTo>
                      <a:pt x="2025" y="279"/>
                    </a:lnTo>
                    <a:lnTo>
                      <a:pt x="2030" y="279"/>
                    </a:lnTo>
                    <a:lnTo>
                      <a:pt x="2030" y="277"/>
                    </a:lnTo>
                    <a:lnTo>
                      <a:pt x="2032" y="277"/>
                    </a:lnTo>
                    <a:lnTo>
                      <a:pt x="2035" y="279"/>
                    </a:lnTo>
                    <a:lnTo>
                      <a:pt x="2039" y="279"/>
                    </a:lnTo>
                    <a:lnTo>
                      <a:pt x="2039" y="281"/>
                    </a:lnTo>
                    <a:lnTo>
                      <a:pt x="2042" y="281"/>
                    </a:lnTo>
                    <a:lnTo>
                      <a:pt x="2044" y="281"/>
                    </a:lnTo>
                    <a:lnTo>
                      <a:pt x="2046" y="279"/>
                    </a:lnTo>
                    <a:lnTo>
                      <a:pt x="2049" y="279"/>
                    </a:lnTo>
                    <a:lnTo>
                      <a:pt x="2049" y="279"/>
                    </a:lnTo>
                    <a:lnTo>
                      <a:pt x="2051" y="279"/>
                    </a:lnTo>
                    <a:lnTo>
                      <a:pt x="2051" y="281"/>
                    </a:lnTo>
                    <a:lnTo>
                      <a:pt x="2054" y="284"/>
                    </a:lnTo>
                    <a:lnTo>
                      <a:pt x="2056" y="286"/>
                    </a:lnTo>
                    <a:lnTo>
                      <a:pt x="2056" y="288"/>
                    </a:lnTo>
                    <a:lnTo>
                      <a:pt x="2056" y="291"/>
                    </a:lnTo>
                    <a:lnTo>
                      <a:pt x="2058" y="291"/>
                    </a:lnTo>
                    <a:lnTo>
                      <a:pt x="2061" y="293"/>
                    </a:lnTo>
                    <a:lnTo>
                      <a:pt x="2061" y="296"/>
                    </a:lnTo>
                    <a:lnTo>
                      <a:pt x="2063" y="296"/>
                    </a:lnTo>
                    <a:lnTo>
                      <a:pt x="2063" y="296"/>
                    </a:lnTo>
                    <a:lnTo>
                      <a:pt x="2063" y="296"/>
                    </a:lnTo>
                    <a:lnTo>
                      <a:pt x="2065" y="296"/>
                    </a:lnTo>
                    <a:lnTo>
                      <a:pt x="2068" y="296"/>
                    </a:lnTo>
                    <a:lnTo>
                      <a:pt x="2070" y="296"/>
                    </a:lnTo>
                    <a:lnTo>
                      <a:pt x="2070" y="298"/>
                    </a:lnTo>
                    <a:lnTo>
                      <a:pt x="2072" y="300"/>
                    </a:lnTo>
                    <a:lnTo>
                      <a:pt x="2072" y="300"/>
                    </a:lnTo>
                    <a:lnTo>
                      <a:pt x="2075" y="303"/>
                    </a:lnTo>
                    <a:lnTo>
                      <a:pt x="2075" y="303"/>
                    </a:lnTo>
                    <a:lnTo>
                      <a:pt x="2075" y="300"/>
                    </a:lnTo>
                    <a:lnTo>
                      <a:pt x="2077" y="300"/>
                    </a:lnTo>
                    <a:lnTo>
                      <a:pt x="2082" y="300"/>
                    </a:lnTo>
                    <a:lnTo>
                      <a:pt x="2080" y="298"/>
                    </a:lnTo>
                    <a:lnTo>
                      <a:pt x="2080" y="296"/>
                    </a:lnTo>
                    <a:lnTo>
                      <a:pt x="2084" y="286"/>
                    </a:lnTo>
                    <a:lnTo>
                      <a:pt x="2084" y="284"/>
                    </a:lnTo>
                    <a:lnTo>
                      <a:pt x="2087" y="284"/>
                    </a:lnTo>
                    <a:lnTo>
                      <a:pt x="2089" y="284"/>
                    </a:lnTo>
                    <a:lnTo>
                      <a:pt x="2089" y="284"/>
                    </a:lnTo>
                    <a:lnTo>
                      <a:pt x="2089" y="281"/>
                    </a:lnTo>
                    <a:lnTo>
                      <a:pt x="2089" y="281"/>
                    </a:lnTo>
                    <a:lnTo>
                      <a:pt x="2091" y="281"/>
                    </a:lnTo>
                    <a:lnTo>
                      <a:pt x="2094" y="284"/>
                    </a:lnTo>
                    <a:lnTo>
                      <a:pt x="2096" y="286"/>
                    </a:lnTo>
                    <a:lnTo>
                      <a:pt x="2096" y="284"/>
                    </a:lnTo>
                    <a:lnTo>
                      <a:pt x="2096" y="284"/>
                    </a:lnTo>
                    <a:lnTo>
                      <a:pt x="2096" y="284"/>
                    </a:lnTo>
                    <a:lnTo>
                      <a:pt x="2098" y="284"/>
                    </a:lnTo>
                    <a:lnTo>
                      <a:pt x="2096" y="281"/>
                    </a:lnTo>
                    <a:lnTo>
                      <a:pt x="2096" y="281"/>
                    </a:lnTo>
                    <a:lnTo>
                      <a:pt x="2091" y="281"/>
                    </a:lnTo>
                    <a:lnTo>
                      <a:pt x="2089" y="279"/>
                    </a:lnTo>
                    <a:lnTo>
                      <a:pt x="2087" y="274"/>
                    </a:lnTo>
                    <a:lnTo>
                      <a:pt x="2084" y="274"/>
                    </a:lnTo>
                    <a:lnTo>
                      <a:pt x="2084" y="272"/>
                    </a:lnTo>
                    <a:lnTo>
                      <a:pt x="2082" y="269"/>
                    </a:lnTo>
                    <a:lnTo>
                      <a:pt x="2082" y="269"/>
                    </a:lnTo>
                    <a:lnTo>
                      <a:pt x="2082" y="269"/>
                    </a:lnTo>
                    <a:lnTo>
                      <a:pt x="2080" y="267"/>
                    </a:lnTo>
                    <a:lnTo>
                      <a:pt x="2080" y="267"/>
                    </a:lnTo>
                    <a:lnTo>
                      <a:pt x="2080" y="265"/>
                    </a:lnTo>
                    <a:lnTo>
                      <a:pt x="2089" y="262"/>
                    </a:lnTo>
                    <a:lnTo>
                      <a:pt x="2091" y="262"/>
                    </a:lnTo>
                    <a:lnTo>
                      <a:pt x="2094" y="262"/>
                    </a:lnTo>
                    <a:lnTo>
                      <a:pt x="2101" y="265"/>
                    </a:lnTo>
                    <a:lnTo>
                      <a:pt x="2106" y="267"/>
                    </a:lnTo>
                    <a:lnTo>
                      <a:pt x="2110" y="267"/>
                    </a:lnTo>
                    <a:lnTo>
                      <a:pt x="2113" y="267"/>
                    </a:lnTo>
                    <a:lnTo>
                      <a:pt x="2110" y="267"/>
                    </a:lnTo>
                    <a:lnTo>
                      <a:pt x="2108" y="267"/>
                    </a:lnTo>
                    <a:lnTo>
                      <a:pt x="2110" y="269"/>
                    </a:lnTo>
                    <a:lnTo>
                      <a:pt x="2110" y="269"/>
                    </a:lnTo>
                    <a:lnTo>
                      <a:pt x="2108" y="269"/>
                    </a:lnTo>
                    <a:lnTo>
                      <a:pt x="2106" y="267"/>
                    </a:lnTo>
                    <a:lnTo>
                      <a:pt x="2101" y="267"/>
                    </a:lnTo>
                    <a:lnTo>
                      <a:pt x="2098" y="267"/>
                    </a:lnTo>
                    <a:lnTo>
                      <a:pt x="2098" y="269"/>
                    </a:lnTo>
                    <a:lnTo>
                      <a:pt x="2098" y="272"/>
                    </a:lnTo>
                    <a:lnTo>
                      <a:pt x="2101" y="277"/>
                    </a:lnTo>
                    <a:lnTo>
                      <a:pt x="2106" y="279"/>
                    </a:lnTo>
                    <a:lnTo>
                      <a:pt x="2108" y="281"/>
                    </a:lnTo>
                    <a:lnTo>
                      <a:pt x="2108" y="284"/>
                    </a:lnTo>
                    <a:lnTo>
                      <a:pt x="2108" y="284"/>
                    </a:lnTo>
                    <a:lnTo>
                      <a:pt x="2110" y="286"/>
                    </a:lnTo>
                    <a:lnTo>
                      <a:pt x="2113" y="288"/>
                    </a:lnTo>
                    <a:lnTo>
                      <a:pt x="2115" y="288"/>
                    </a:lnTo>
                    <a:lnTo>
                      <a:pt x="2115" y="288"/>
                    </a:lnTo>
                    <a:lnTo>
                      <a:pt x="2117" y="291"/>
                    </a:lnTo>
                    <a:lnTo>
                      <a:pt x="2115" y="293"/>
                    </a:lnTo>
                    <a:lnTo>
                      <a:pt x="2115" y="293"/>
                    </a:lnTo>
                    <a:lnTo>
                      <a:pt x="2115" y="296"/>
                    </a:lnTo>
                    <a:lnTo>
                      <a:pt x="2120" y="298"/>
                    </a:lnTo>
                    <a:lnTo>
                      <a:pt x="2120" y="298"/>
                    </a:lnTo>
                    <a:lnTo>
                      <a:pt x="2120" y="298"/>
                    </a:lnTo>
                    <a:lnTo>
                      <a:pt x="2117" y="300"/>
                    </a:lnTo>
                    <a:lnTo>
                      <a:pt x="2113" y="300"/>
                    </a:lnTo>
                    <a:lnTo>
                      <a:pt x="2113" y="303"/>
                    </a:lnTo>
                    <a:lnTo>
                      <a:pt x="2108" y="305"/>
                    </a:lnTo>
                    <a:lnTo>
                      <a:pt x="2106" y="305"/>
                    </a:lnTo>
                    <a:lnTo>
                      <a:pt x="2106" y="307"/>
                    </a:lnTo>
                    <a:lnTo>
                      <a:pt x="2108" y="310"/>
                    </a:lnTo>
                    <a:lnTo>
                      <a:pt x="2108" y="312"/>
                    </a:lnTo>
                    <a:lnTo>
                      <a:pt x="2106" y="314"/>
                    </a:lnTo>
                    <a:lnTo>
                      <a:pt x="2106" y="317"/>
                    </a:lnTo>
                    <a:lnTo>
                      <a:pt x="2106" y="322"/>
                    </a:lnTo>
                    <a:lnTo>
                      <a:pt x="2103" y="322"/>
                    </a:lnTo>
                    <a:lnTo>
                      <a:pt x="2103" y="324"/>
                    </a:lnTo>
                    <a:lnTo>
                      <a:pt x="2103" y="326"/>
                    </a:lnTo>
                    <a:lnTo>
                      <a:pt x="2101" y="331"/>
                    </a:lnTo>
                    <a:lnTo>
                      <a:pt x="2103" y="338"/>
                    </a:lnTo>
                    <a:lnTo>
                      <a:pt x="2103" y="340"/>
                    </a:lnTo>
                    <a:lnTo>
                      <a:pt x="2103" y="343"/>
                    </a:lnTo>
                    <a:lnTo>
                      <a:pt x="2103" y="343"/>
                    </a:lnTo>
                    <a:lnTo>
                      <a:pt x="2103" y="345"/>
                    </a:lnTo>
                    <a:lnTo>
                      <a:pt x="2101" y="348"/>
                    </a:lnTo>
                    <a:lnTo>
                      <a:pt x="2101" y="350"/>
                    </a:lnTo>
                    <a:lnTo>
                      <a:pt x="2098" y="352"/>
                    </a:lnTo>
                    <a:lnTo>
                      <a:pt x="2101" y="352"/>
                    </a:lnTo>
                    <a:lnTo>
                      <a:pt x="2098" y="352"/>
                    </a:lnTo>
                    <a:lnTo>
                      <a:pt x="2096" y="355"/>
                    </a:lnTo>
                    <a:lnTo>
                      <a:pt x="2091" y="352"/>
                    </a:lnTo>
                    <a:lnTo>
                      <a:pt x="2091" y="357"/>
                    </a:lnTo>
                    <a:lnTo>
                      <a:pt x="2089" y="357"/>
                    </a:lnTo>
                    <a:lnTo>
                      <a:pt x="2084" y="357"/>
                    </a:lnTo>
                    <a:lnTo>
                      <a:pt x="2084" y="357"/>
                    </a:lnTo>
                    <a:lnTo>
                      <a:pt x="2082" y="357"/>
                    </a:lnTo>
                    <a:lnTo>
                      <a:pt x="2082" y="359"/>
                    </a:lnTo>
                    <a:lnTo>
                      <a:pt x="2087" y="359"/>
                    </a:lnTo>
                    <a:lnTo>
                      <a:pt x="2089" y="362"/>
                    </a:lnTo>
                    <a:lnTo>
                      <a:pt x="2089" y="362"/>
                    </a:lnTo>
                    <a:lnTo>
                      <a:pt x="2091" y="364"/>
                    </a:lnTo>
                    <a:lnTo>
                      <a:pt x="2094" y="367"/>
                    </a:lnTo>
                    <a:lnTo>
                      <a:pt x="2094" y="371"/>
                    </a:lnTo>
                    <a:lnTo>
                      <a:pt x="2094" y="374"/>
                    </a:lnTo>
                    <a:lnTo>
                      <a:pt x="2091" y="378"/>
                    </a:lnTo>
                    <a:lnTo>
                      <a:pt x="2091" y="378"/>
                    </a:lnTo>
                    <a:lnTo>
                      <a:pt x="2091" y="378"/>
                    </a:lnTo>
                    <a:lnTo>
                      <a:pt x="2098" y="393"/>
                    </a:lnTo>
                    <a:lnTo>
                      <a:pt x="2103" y="397"/>
                    </a:lnTo>
                    <a:lnTo>
                      <a:pt x="2110" y="407"/>
                    </a:lnTo>
                    <a:lnTo>
                      <a:pt x="2113" y="409"/>
                    </a:lnTo>
                    <a:lnTo>
                      <a:pt x="2120" y="416"/>
                    </a:lnTo>
                    <a:lnTo>
                      <a:pt x="2129" y="423"/>
                    </a:lnTo>
                    <a:lnTo>
                      <a:pt x="2143" y="435"/>
                    </a:lnTo>
                    <a:lnTo>
                      <a:pt x="2146" y="438"/>
                    </a:lnTo>
                    <a:lnTo>
                      <a:pt x="2162" y="454"/>
                    </a:lnTo>
                    <a:lnTo>
                      <a:pt x="2165" y="457"/>
                    </a:lnTo>
                    <a:lnTo>
                      <a:pt x="2167" y="459"/>
                    </a:lnTo>
                    <a:lnTo>
                      <a:pt x="2172" y="461"/>
                    </a:lnTo>
                    <a:lnTo>
                      <a:pt x="2177" y="464"/>
                    </a:lnTo>
                    <a:lnTo>
                      <a:pt x="2179" y="466"/>
                    </a:lnTo>
                    <a:lnTo>
                      <a:pt x="2188" y="475"/>
                    </a:lnTo>
                    <a:lnTo>
                      <a:pt x="2195" y="485"/>
                    </a:lnTo>
                    <a:lnTo>
                      <a:pt x="2198" y="485"/>
                    </a:lnTo>
                    <a:lnTo>
                      <a:pt x="2200" y="487"/>
                    </a:lnTo>
                    <a:lnTo>
                      <a:pt x="2203" y="490"/>
                    </a:lnTo>
                    <a:lnTo>
                      <a:pt x="2205" y="492"/>
                    </a:lnTo>
                    <a:lnTo>
                      <a:pt x="2207" y="492"/>
                    </a:lnTo>
                    <a:lnTo>
                      <a:pt x="2210" y="494"/>
                    </a:lnTo>
                    <a:lnTo>
                      <a:pt x="2210" y="494"/>
                    </a:lnTo>
                    <a:lnTo>
                      <a:pt x="2212" y="490"/>
                    </a:lnTo>
                    <a:lnTo>
                      <a:pt x="2214" y="485"/>
                    </a:lnTo>
                    <a:lnTo>
                      <a:pt x="2212" y="485"/>
                    </a:lnTo>
                    <a:lnTo>
                      <a:pt x="2214" y="483"/>
                    </a:lnTo>
                    <a:lnTo>
                      <a:pt x="2214" y="480"/>
                    </a:lnTo>
                    <a:lnTo>
                      <a:pt x="2217" y="478"/>
                    </a:lnTo>
                    <a:lnTo>
                      <a:pt x="2214" y="471"/>
                    </a:lnTo>
                    <a:lnTo>
                      <a:pt x="2212" y="468"/>
                    </a:lnTo>
                    <a:lnTo>
                      <a:pt x="2212" y="466"/>
                    </a:lnTo>
                    <a:lnTo>
                      <a:pt x="2210" y="464"/>
                    </a:lnTo>
                    <a:lnTo>
                      <a:pt x="2207" y="461"/>
                    </a:lnTo>
                    <a:lnTo>
                      <a:pt x="2207" y="459"/>
                    </a:lnTo>
                    <a:lnTo>
                      <a:pt x="2205" y="457"/>
                    </a:lnTo>
                    <a:lnTo>
                      <a:pt x="2203" y="454"/>
                    </a:lnTo>
                    <a:lnTo>
                      <a:pt x="2200" y="454"/>
                    </a:lnTo>
                    <a:lnTo>
                      <a:pt x="2200" y="452"/>
                    </a:lnTo>
                    <a:lnTo>
                      <a:pt x="2200" y="452"/>
                    </a:lnTo>
                    <a:lnTo>
                      <a:pt x="2203" y="452"/>
                    </a:lnTo>
                    <a:lnTo>
                      <a:pt x="2205" y="454"/>
                    </a:lnTo>
                    <a:lnTo>
                      <a:pt x="2207" y="454"/>
                    </a:lnTo>
                    <a:lnTo>
                      <a:pt x="2207" y="452"/>
                    </a:lnTo>
                    <a:lnTo>
                      <a:pt x="2210" y="452"/>
                    </a:lnTo>
                    <a:lnTo>
                      <a:pt x="2214" y="449"/>
                    </a:lnTo>
                    <a:lnTo>
                      <a:pt x="2217" y="449"/>
                    </a:lnTo>
                    <a:lnTo>
                      <a:pt x="2222" y="452"/>
                    </a:lnTo>
                    <a:lnTo>
                      <a:pt x="2222" y="449"/>
                    </a:lnTo>
                    <a:lnTo>
                      <a:pt x="2219" y="447"/>
                    </a:lnTo>
                    <a:lnTo>
                      <a:pt x="2217" y="445"/>
                    </a:lnTo>
                    <a:lnTo>
                      <a:pt x="2214" y="445"/>
                    </a:lnTo>
                    <a:lnTo>
                      <a:pt x="2214" y="442"/>
                    </a:lnTo>
                    <a:lnTo>
                      <a:pt x="2212" y="440"/>
                    </a:lnTo>
                    <a:lnTo>
                      <a:pt x="2210" y="440"/>
                    </a:lnTo>
                    <a:lnTo>
                      <a:pt x="2207" y="438"/>
                    </a:lnTo>
                    <a:lnTo>
                      <a:pt x="2205" y="433"/>
                    </a:lnTo>
                    <a:lnTo>
                      <a:pt x="2203" y="430"/>
                    </a:lnTo>
                    <a:lnTo>
                      <a:pt x="2203" y="428"/>
                    </a:lnTo>
                    <a:lnTo>
                      <a:pt x="2205" y="428"/>
                    </a:lnTo>
                    <a:lnTo>
                      <a:pt x="2205" y="423"/>
                    </a:lnTo>
                    <a:lnTo>
                      <a:pt x="2207" y="423"/>
                    </a:lnTo>
                    <a:lnTo>
                      <a:pt x="2210" y="421"/>
                    </a:lnTo>
                    <a:lnTo>
                      <a:pt x="2212" y="421"/>
                    </a:lnTo>
                    <a:lnTo>
                      <a:pt x="2217" y="423"/>
                    </a:lnTo>
                    <a:lnTo>
                      <a:pt x="2222" y="423"/>
                    </a:lnTo>
                    <a:lnTo>
                      <a:pt x="2222" y="423"/>
                    </a:lnTo>
                    <a:lnTo>
                      <a:pt x="2224" y="419"/>
                    </a:lnTo>
                    <a:lnTo>
                      <a:pt x="2224" y="419"/>
                    </a:lnTo>
                    <a:lnTo>
                      <a:pt x="2222" y="416"/>
                    </a:lnTo>
                    <a:lnTo>
                      <a:pt x="2217" y="414"/>
                    </a:lnTo>
                    <a:lnTo>
                      <a:pt x="2212" y="409"/>
                    </a:lnTo>
                    <a:lnTo>
                      <a:pt x="2210" y="409"/>
                    </a:lnTo>
                    <a:lnTo>
                      <a:pt x="2207" y="407"/>
                    </a:lnTo>
                    <a:lnTo>
                      <a:pt x="2203" y="402"/>
                    </a:lnTo>
                    <a:lnTo>
                      <a:pt x="2200" y="400"/>
                    </a:lnTo>
                    <a:lnTo>
                      <a:pt x="2200" y="397"/>
                    </a:lnTo>
                    <a:lnTo>
                      <a:pt x="2198" y="390"/>
                    </a:lnTo>
                    <a:lnTo>
                      <a:pt x="2198" y="390"/>
                    </a:lnTo>
                    <a:lnTo>
                      <a:pt x="2200" y="390"/>
                    </a:lnTo>
                    <a:lnTo>
                      <a:pt x="2200" y="388"/>
                    </a:lnTo>
                    <a:lnTo>
                      <a:pt x="2200" y="388"/>
                    </a:lnTo>
                    <a:lnTo>
                      <a:pt x="2198" y="385"/>
                    </a:lnTo>
                    <a:lnTo>
                      <a:pt x="2198" y="383"/>
                    </a:lnTo>
                    <a:lnTo>
                      <a:pt x="2198" y="383"/>
                    </a:lnTo>
                    <a:lnTo>
                      <a:pt x="2203" y="383"/>
                    </a:lnTo>
                    <a:lnTo>
                      <a:pt x="2203" y="383"/>
                    </a:lnTo>
                    <a:lnTo>
                      <a:pt x="2203" y="383"/>
                    </a:lnTo>
                    <a:lnTo>
                      <a:pt x="2205" y="383"/>
                    </a:lnTo>
                    <a:lnTo>
                      <a:pt x="2203" y="385"/>
                    </a:lnTo>
                    <a:lnTo>
                      <a:pt x="2203" y="385"/>
                    </a:lnTo>
                    <a:lnTo>
                      <a:pt x="2203" y="388"/>
                    </a:lnTo>
                    <a:lnTo>
                      <a:pt x="2210" y="393"/>
                    </a:lnTo>
                    <a:lnTo>
                      <a:pt x="2212" y="393"/>
                    </a:lnTo>
                    <a:lnTo>
                      <a:pt x="2212" y="393"/>
                    </a:lnTo>
                    <a:lnTo>
                      <a:pt x="2214" y="390"/>
                    </a:lnTo>
                    <a:lnTo>
                      <a:pt x="2214" y="390"/>
                    </a:lnTo>
                    <a:lnTo>
                      <a:pt x="2214" y="388"/>
                    </a:lnTo>
                    <a:lnTo>
                      <a:pt x="2210" y="383"/>
                    </a:lnTo>
                    <a:lnTo>
                      <a:pt x="2205" y="383"/>
                    </a:lnTo>
                    <a:lnTo>
                      <a:pt x="2203" y="378"/>
                    </a:lnTo>
                    <a:lnTo>
                      <a:pt x="2200" y="378"/>
                    </a:lnTo>
                    <a:lnTo>
                      <a:pt x="2198" y="378"/>
                    </a:lnTo>
                    <a:lnTo>
                      <a:pt x="2198" y="378"/>
                    </a:lnTo>
                    <a:lnTo>
                      <a:pt x="2195" y="378"/>
                    </a:lnTo>
                    <a:lnTo>
                      <a:pt x="2193" y="376"/>
                    </a:lnTo>
                    <a:lnTo>
                      <a:pt x="2193" y="376"/>
                    </a:lnTo>
                    <a:lnTo>
                      <a:pt x="2191" y="374"/>
                    </a:lnTo>
                    <a:lnTo>
                      <a:pt x="2188" y="371"/>
                    </a:lnTo>
                    <a:lnTo>
                      <a:pt x="2184" y="369"/>
                    </a:lnTo>
                    <a:lnTo>
                      <a:pt x="2184" y="369"/>
                    </a:lnTo>
                    <a:lnTo>
                      <a:pt x="2181" y="367"/>
                    </a:lnTo>
                    <a:lnTo>
                      <a:pt x="2184" y="364"/>
                    </a:lnTo>
                    <a:lnTo>
                      <a:pt x="2184" y="362"/>
                    </a:lnTo>
                    <a:lnTo>
                      <a:pt x="2184" y="362"/>
                    </a:lnTo>
                    <a:lnTo>
                      <a:pt x="2181" y="359"/>
                    </a:lnTo>
                    <a:lnTo>
                      <a:pt x="2179" y="357"/>
                    </a:lnTo>
                    <a:lnTo>
                      <a:pt x="2179" y="357"/>
                    </a:lnTo>
                    <a:lnTo>
                      <a:pt x="2169" y="355"/>
                    </a:lnTo>
                    <a:lnTo>
                      <a:pt x="2167" y="355"/>
                    </a:lnTo>
                    <a:lnTo>
                      <a:pt x="2167" y="355"/>
                    </a:lnTo>
                    <a:lnTo>
                      <a:pt x="2169" y="359"/>
                    </a:lnTo>
                    <a:lnTo>
                      <a:pt x="2169" y="359"/>
                    </a:lnTo>
                    <a:lnTo>
                      <a:pt x="2169" y="359"/>
                    </a:lnTo>
                    <a:lnTo>
                      <a:pt x="2167" y="357"/>
                    </a:lnTo>
                    <a:lnTo>
                      <a:pt x="2165" y="357"/>
                    </a:lnTo>
                    <a:lnTo>
                      <a:pt x="2162" y="357"/>
                    </a:lnTo>
                    <a:lnTo>
                      <a:pt x="2160" y="355"/>
                    </a:lnTo>
                    <a:lnTo>
                      <a:pt x="2158" y="355"/>
                    </a:lnTo>
                    <a:lnTo>
                      <a:pt x="2155" y="352"/>
                    </a:lnTo>
                    <a:lnTo>
                      <a:pt x="2153" y="348"/>
                    </a:lnTo>
                    <a:lnTo>
                      <a:pt x="2151" y="345"/>
                    </a:lnTo>
                    <a:lnTo>
                      <a:pt x="2148" y="340"/>
                    </a:lnTo>
                    <a:lnTo>
                      <a:pt x="2151" y="338"/>
                    </a:lnTo>
                    <a:lnTo>
                      <a:pt x="2151" y="336"/>
                    </a:lnTo>
                    <a:lnTo>
                      <a:pt x="2151" y="336"/>
                    </a:lnTo>
                    <a:lnTo>
                      <a:pt x="2151" y="333"/>
                    </a:lnTo>
                    <a:lnTo>
                      <a:pt x="2151" y="333"/>
                    </a:lnTo>
                    <a:lnTo>
                      <a:pt x="2148" y="331"/>
                    </a:lnTo>
                    <a:lnTo>
                      <a:pt x="2148" y="331"/>
                    </a:lnTo>
                    <a:lnTo>
                      <a:pt x="2148" y="331"/>
                    </a:lnTo>
                    <a:lnTo>
                      <a:pt x="2151" y="331"/>
                    </a:lnTo>
                    <a:lnTo>
                      <a:pt x="2148" y="329"/>
                    </a:lnTo>
                    <a:lnTo>
                      <a:pt x="2143" y="324"/>
                    </a:lnTo>
                    <a:lnTo>
                      <a:pt x="2141" y="322"/>
                    </a:lnTo>
                    <a:lnTo>
                      <a:pt x="2141" y="319"/>
                    </a:lnTo>
                    <a:lnTo>
                      <a:pt x="2139" y="317"/>
                    </a:lnTo>
                    <a:lnTo>
                      <a:pt x="2139" y="317"/>
                    </a:lnTo>
                    <a:lnTo>
                      <a:pt x="2141" y="317"/>
                    </a:lnTo>
                    <a:lnTo>
                      <a:pt x="2141" y="314"/>
                    </a:lnTo>
                    <a:lnTo>
                      <a:pt x="2141" y="314"/>
                    </a:lnTo>
                    <a:lnTo>
                      <a:pt x="2141" y="314"/>
                    </a:lnTo>
                    <a:lnTo>
                      <a:pt x="2143" y="314"/>
                    </a:lnTo>
                    <a:lnTo>
                      <a:pt x="2146" y="314"/>
                    </a:lnTo>
                    <a:lnTo>
                      <a:pt x="2148" y="314"/>
                    </a:lnTo>
                    <a:lnTo>
                      <a:pt x="2148" y="317"/>
                    </a:lnTo>
                    <a:lnTo>
                      <a:pt x="2148" y="314"/>
                    </a:lnTo>
                    <a:lnTo>
                      <a:pt x="2148" y="314"/>
                    </a:lnTo>
                    <a:lnTo>
                      <a:pt x="2151" y="314"/>
                    </a:lnTo>
                    <a:lnTo>
                      <a:pt x="2151" y="314"/>
                    </a:lnTo>
                    <a:lnTo>
                      <a:pt x="2155" y="314"/>
                    </a:lnTo>
                    <a:lnTo>
                      <a:pt x="2160" y="317"/>
                    </a:lnTo>
                    <a:lnTo>
                      <a:pt x="2160" y="317"/>
                    </a:lnTo>
                    <a:lnTo>
                      <a:pt x="2162" y="317"/>
                    </a:lnTo>
                    <a:lnTo>
                      <a:pt x="2162" y="317"/>
                    </a:lnTo>
                    <a:lnTo>
                      <a:pt x="2162" y="317"/>
                    </a:lnTo>
                    <a:lnTo>
                      <a:pt x="2160" y="312"/>
                    </a:lnTo>
                    <a:lnTo>
                      <a:pt x="2160" y="312"/>
                    </a:lnTo>
                    <a:lnTo>
                      <a:pt x="2160" y="312"/>
                    </a:lnTo>
                    <a:lnTo>
                      <a:pt x="2162" y="310"/>
                    </a:lnTo>
                    <a:lnTo>
                      <a:pt x="2162" y="310"/>
                    </a:lnTo>
                    <a:lnTo>
                      <a:pt x="2167" y="307"/>
                    </a:lnTo>
                    <a:lnTo>
                      <a:pt x="2167" y="305"/>
                    </a:lnTo>
                    <a:lnTo>
                      <a:pt x="2169" y="305"/>
                    </a:lnTo>
                    <a:lnTo>
                      <a:pt x="2169" y="307"/>
                    </a:lnTo>
                    <a:lnTo>
                      <a:pt x="2172" y="307"/>
                    </a:lnTo>
                    <a:lnTo>
                      <a:pt x="2174" y="312"/>
                    </a:lnTo>
                    <a:lnTo>
                      <a:pt x="2174" y="312"/>
                    </a:lnTo>
                    <a:lnTo>
                      <a:pt x="2177" y="314"/>
                    </a:lnTo>
                    <a:lnTo>
                      <a:pt x="2179" y="317"/>
                    </a:lnTo>
                    <a:lnTo>
                      <a:pt x="2181" y="317"/>
                    </a:lnTo>
                    <a:lnTo>
                      <a:pt x="2181" y="317"/>
                    </a:lnTo>
                    <a:lnTo>
                      <a:pt x="2184" y="317"/>
                    </a:lnTo>
                    <a:lnTo>
                      <a:pt x="2184" y="317"/>
                    </a:lnTo>
                    <a:lnTo>
                      <a:pt x="2181" y="310"/>
                    </a:lnTo>
                    <a:lnTo>
                      <a:pt x="2184" y="307"/>
                    </a:lnTo>
                    <a:lnTo>
                      <a:pt x="2188" y="305"/>
                    </a:lnTo>
                    <a:lnTo>
                      <a:pt x="2188" y="305"/>
                    </a:lnTo>
                    <a:lnTo>
                      <a:pt x="2193" y="303"/>
                    </a:lnTo>
                    <a:lnTo>
                      <a:pt x="2198" y="303"/>
                    </a:lnTo>
                    <a:lnTo>
                      <a:pt x="2203" y="305"/>
                    </a:lnTo>
                    <a:lnTo>
                      <a:pt x="2203" y="303"/>
                    </a:lnTo>
                    <a:lnTo>
                      <a:pt x="2210" y="303"/>
                    </a:lnTo>
                    <a:lnTo>
                      <a:pt x="2212" y="305"/>
                    </a:lnTo>
                    <a:lnTo>
                      <a:pt x="2219" y="307"/>
                    </a:lnTo>
                    <a:lnTo>
                      <a:pt x="2226" y="310"/>
                    </a:lnTo>
                    <a:lnTo>
                      <a:pt x="2226" y="310"/>
                    </a:lnTo>
                    <a:lnTo>
                      <a:pt x="2229" y="310"/>
                    </a:lnTo>
                    <a:lnTo>
                      <a:pt x="2229" y="312"/>
                    </a:lnTo>
                    <a:lnTo>
                      <a:pt x="2231" y="312"/>
                    </a:lnTo>
                    <a:lnTo>
                      <a:pt x="2233" y="314"/>
                    </a:lnTo>
                    <a:lnTo>
                      <a:pt x="2238" y="314"/>
                    </a:lnTo>
                    <a:lnTo>
                      <a:pt x="2240" y="314"/>
                    </a:lnTo>
                    <a:lnTo>
                      <a:pt x="2240" y="314"/>
                    </a:lnTo>
                    <a:lnTo>
                      <a:pt x="2240" y="314"/>
                    </a:lnTo>
                    <a:lnTo>
                      <a:pt x="2236" y="310"/>
                    </a:lnTo>
                    <a:lnTo>
                      <a:pt x="2236" y="307"/>
                    </a:lnTo>
                    <a:lnTo>
                      <a:pt x="2233" y="307"/>
                    </a:lnTo>
                    <a:lnTo>
                      <a:pt x="2233" y="307"/>
                    </a:lnTo>
                    <a:lnTo>
                      <a:pt x="2236" y="305"/>
                    </a:lnTo>
                    <a:lnTo>
                      <a:pt x="2236" y="305"/>
                    </a:lnTo>
                    <a:lnTo>
                      <a:pt x="2240" y="300"/>
                    </a:lnTo>
                    <a:lnTo>
                      <a:pt x="2240" y="298"/>
                    </a:lnTo>
                    <a:lnTo>
                      <a:pt x="2243" y="298"/>
                    </a:lnTo>
                    <a:lnTo>
                      <a:pt x="2243" y="298"/>
                    </a:lnTo>
                    <a:lnTo>
                      <a:pt x="2243" y="298"/>
                    </a:lnTo>
                    <a:lnTo>
                      <a:pt x="2245" y="298"/>
                    </a:lnTo>
                    <a:lnTo>
                      <a:pt x="2245" y="296"/>
                    </a:lnTo>
                    <a:lnTo>
                      <a:pt x="2245" y="293"/>
                    </a:lnTo>
                    <a:lnTo>
                      <a:pt x="2245" y="293"/>
                    </a:lnTo>
                    <a:lnTo>
                      <a:pt x="2243" y="293"/>
                    </a:lnTo>
                    <a:lnTo>
                      <a:pt x="2245" y="291"/>
                    </a:lnTo>
                    <a:lnTo>
                      <a:pt x="2245" y="291"/>
                    </a:lnTo>
                    <a:lnTo>
                      <a:pt x="2245" y="291"/>
                    </a:lnTo>
                    <a:lnTo>
                      <a:pt x="2245" y="291"/>
                    </a:lnTo>
                    <a:lnTo>
                      <a:pt x="2245" y="288"/>
                    </a:lnTo>
                    <a:lnTo>
                      <a:pt x="2245" y="288"/>
                    </a:lnTo>
                    <a:lnTo>
                      <a:pt x="2248" y="291"/>
                    </a:lnTo>
                    <a:lnTo>
                      <a:pt x="2248" y="288"/>
                    </a:lnTo>
                    <a:lnTo>
                      <a:pt x="2245" y="288"/>
                    </a:lnTo>
                    <a:lnTo>
                      <a:pt x="2243" y="286"/>
                    </a:lnTo>
                    <a:lnTo>
                      <a:pt x="2243" y="286"/>
                    </a:lnTo>
                    <a:lnTo>
                      <a:pt x="2248" y="288"/>
                    </a:lnTo>
                    <a:lnTo>
                      <a:pt x="2248" y="288"/>
                    </a:lnTo>
                    <a:lnTo>
                      <a:pt x="2250" y="284"/>
                    </a:lnTo>
                    <a:lnTo>
                      <a:pt x="2248" y="281"/>
                    </a:lnTo>
                    <a:lnTo>
                      <a:pt x="2252" y="281"/>
                    </a:lnTo>
                    <a:lnTo>
                      <a:pt x="2255" y="281"/>
                    </a:lnTo>
                    <a:lnTo>
                      <a:pt x="2257" y="279"/>
                    </a:lnTo>
                    <a:lnTo>
                      <a:pt x="2259" y="279"/>
                    </a:lnTo>
                    <a:lnTo>
                      <a:pt x="2259" y="279"/>
                    </a:lnTo>
                    <a:lnTo>
                      <a:pt x="2259" y="277"/>
                    </a:lnTo>
                    <a:lnTo>
                      <a:pt x="2262" y="277"/>
                    </a:lnTo>
                    <a:lnTo>
                      <a:pt x="2264" y="277"/>
                    </a:lnTo>
                    <a:lnTo>
                      <a:pt x="2264" y="274"/>
                    </a:lnTo>
                    <a:lnTo>
                      <a:pt x="2264" y="274"/>
                    </a:lnTo>
                    <a:lnTo>
                      <a:pt x="2266" y="274"/>
                    </a:lnTo>
                    <a:lnTo>
                      <a:pt x="2266" y="272"/>
                    </a:lnTo>
                    <a:lnTo>
                      <a:pt x="2274" y="269"/>
                    </a:lnTo>
                    <a:lnTo>
                      <a:pt x="2274" y="269"/>
                    </a:lnTo>
                    <a:lnTo>
                      <a:pt x="2276" y="267"/>
                    </a:lnTo>
                    <a:lnTo>
                      <a:pt x="2276" y="267"/>
                    </a:lnTo>
                    <a:lnTo>
                      <a:pt x="2281" y="265"/>
                    </a:lnTo>
                    <a:lnTo>
                      <a:pt x="2281" y="265"/>
                    </a:lnTo>
                    <a:lnTo>
                      <a:pt x="2276" y="265"/>
                    </a:lnTo>
                    <a:lnTo>
                      <a:pt x="2276" y="265"/>
                    </a:lnTo>
                    <a:lnTo>
                      <a:pt x="2274" y="262"/>
                    </a:lnTo>
                    <a:lnTo>
                      <a:pt x="2274" y="262"/>
                    </a:lnTo>
                    <a:lnTo>
                      <a:pt x="2274" y="262"/>
                    </a:lnTo>
                    <a:lnTo>
                      <a:pt x="2274" y="262"/>
                    </a:lnTo>
                    <a:lnTo>
                      <a:pt x="2276" y="262"/>
                    </a:lnTo>
                    <a:lnTo>
                      <a:pt x="2276" y="262"/>
                    </a:lnTo>
                    <a:lnTo>
                      <a:pt x="2276" y="262"/>
                    </a:lnTo>
                    <a:lnTo>
                      <a:pt x="2278" y="262"/>
                    </a:lnTo>
                    <a:lnTo>
                      <a:pt x="2278" y="262"/>
                    </a:lnTo>
                    <a:lnTo>
                      <a:pt x="2278" y="262"/>
                    </a:lnTo>
                    <a:lnTo>
                      <a:pt x="2281" y="265"/>
                    </a:lnTo>
                    <a:lnTo>
                      <a:pt x="2281" y="265"/>
                    </a:lnTo>
                    <a:lnTo>
                      <a:pt x="2283" y="265"/>
                    </a:lnTo>
                    <a:lnTo>
                      <a:pt x="2288" y="265"/>
                    </a:lnTo>
                    <a:lnTo>
                      <a:pt x="2292" y="265"/>
                    </a:lnTo>
                    <a:lnTo>
                      <a:pt x="2311" y="269"/>
                    </a:lnTo>
                    <a:lnTo>
                      <a:pt x="2314" y="269"/>
                    </a:lnTo>
                    <a:lnTo>
                      <a:pt x="2314" y="269"/>
                    </a:lnTo>
                    <a:lnTo>
                      <a:pt x="2314" y="269"/>
                    </a:lnTo>
                    <a:lnTo>
                      <a:pt x="2311" y="267"/>
                    </a:lnTo>
                    <a:lnTo>
                      <a:pt x="2311" y="267"/>
                    </a:lnTo>
                    <a:lnTo>
                      <a:pt x="2311" y="265"/>
                    </a:lnTo>
                    <a:lnTo>
                      <a:pt x="2311" y="262"/>
                    </a:lnTo>
                    <a:lnTo>
                      <a:pt x="2309" y="262"/>
                    </a:lnTo>
                    <a:lnTo>
                      <a:pt x="2307" y="260"/>
                    </a:lnTo>
                    <a:lnTo>
                      <a:pt x="2304" y="260"/>
                    </a:lnTo>
                    <a:lnTo>
                      <a:pt x="2302" y="258"/>
                    </a:lnTo>
                    <a:lnTo>
                      <a:pt x="2300" y="258"/>
                    </a:lnTo>
                    <a:lnTo>
                      <a:pt x="2300" y="255"/>
                    </a:lnTo>
                    <a:lnTo>
                      <a:pt x="2300" y="255"/>
                    </a:lnTo>
                    <a:lnTo>
                      <a:pt x="2297" y="255"/>
                    </a:lnTo>
                    <a:lnTo>
                      <a:pt x="2297" y="253"/>
                    </a:lnTo>
                    <a:lnTo>
                      <a:pt x="2290" y="253"/>
                    </a:lnTo>
                    <a:lnTo>
                      <a:pt x="2285" y="251"/>
                    </a:lnTo>
                    <a:lnTo>
                      <a:pt x="2285" y="251"/>
                    </a:lnTo>
                    <a:lnTo>
                      <a:pt x="2281" y="248"/>
                    </a:lnTo>
                    <a:lnTo>
                      <a:pt x="2281" y="248"/>
                    </a:lnTo>
                    <a:lnTo>
                      <a:pt x="2283" y="248"/>
                    </a:lnTo>
                    <a:lnTo>
                      <a:pt x="2283" y="251"/>
                    </a:lnTo>
                    <a:lnTo>
                      <a:pt x="2281" y="251"/>
                    </a:lnTo>
                    <a:lnTo>
                      <a:pt x="2281" y="248"/>
                    </a:lnTo>
                    <a:lnTo>
                      <a:pt x="2278" y="248"/>
                    </a:lnTo>
                    <a:lnTo>
                      <a:pt x="2278" y="246"/>
                    </a:lnTo>
                    <a:lnTo>
                      <a:pt x="2274" y="246"/>
                    </a:lnTo>
                    <a:lnTo>
                      <a:pt x="2274" y="246"/>
                    </a:lnTo>
                    <a:lnTo>
                      <a:pt x="2274" y="246"/>
                    </a:lnTo>
                    <a:lnTo>
                      <a:pt x="2276" y="246"/>
                    </a:lnTo>
                    <a:lnTo>
                      <a:pt x="2276" y="246"/>
                    </a:lnTo>
                    <a:lnTo>
                      <a:pt x="2271" y="241"/>
                    </a:lnTo>
                    <a:lnTo>
                      <a:pt x="2266" y="239"/>
                    </a:lnTo>
                    <a:lnTo>
                      <a:pt x="2266" y="239"/>
                    </a:lnTo>
                    <a:lnTo>
                      <a:pt x="2264" y="239"/>
                    </a:lnTo>
                    <a:lnTo>
                      <a:pt x="2262" y="236"/>
                    </a:lnTo>
                    <a:lnTo>
                      <a:pt x="2262" y="236"/>
                    </a:lnTo>
                    <a:lnTo>
                      <a:pt x="2257" y="234"/>
                    </a:lnTo>
                    <a:lnTo>
                      <a:pt x="2255" y="232"/>
                    </a:lnTo>
                    <a:lnTo>
                      <a:pt x="2252" y="232"/>
                    </a:lnTo>
                    <a:lnTo>
                      <a:pt x="2252" y="232"/>
                    </a:lnTo>
                    <a:lnTo>
                      <a:pt x="2252" y="234"/>
                    </a:lnTo>
                    <a:lnTo>
                      <a:pt x="2252" y="234"/>
                    </a:lnTo>
                    <a:lnTo>
                      <a:pt x="2250" y="234"/>
                    </a:lnTo>
                    <a:lnTo>
                      <a:pt x="2245" y="232"/>
                    </a:lnTo>
                    <a:lnTo>
                      <a:pt x="2238" y="229"/>
                    </a:lnTo>
                    <a:lnTo>
                      <a:pt x="2236" y="227"/>
                    </a:lnTo>
                    <a:lnTo>
                      <a:pt x="2231" y="224"/>
                    </a:lnTo>
                    <a:lnTo>
                      <a:pt x="2231" y="224"/>
                    </a:lnTo>
                    <a:lnTo>
                      <a:pt x="2229" y="224"/>
                    </a:lnTo>
                    <a:lnTo>
                      <a:pt x="2226" y="224"/>
                    </a:lnTo>
                    <a:lnTo>
                      <a:pt x="2224" y="227"/>
                    </a:lnTo>
                    <a:lnTo>
                      <a:pt x="2224" y="227"/>
                    </a:lnTo>
                    <a:lnTo>
                      <a:pt x="2219" y="224"/>
                    </a:lnTo>
                    <a:lnTo>
                      <a:pt x="2217" y="227"/>
                    </a:lnTo>
                    <a:lnTo>
                      <a:pt x="2217" y="227"/>
                    </a:lnTo>
                    <a:lnTo>
                      <a:pt x="2217" y="227"/>
                    </a:lnTo>
                    <a:lnTo>
                      <a:pt x="2217" y="224"/>
                    </a:lnTo>
                    <a:lnTo>
                      <a:pt x="2214" y="224"/>
                    </a:lnTo>
                    <a:lnTo>
                      <a:pt x="2212" y="222"/>
                    </a:lnTo>
                    <a:lnTo>
                      <a:pt x="2210" y="222"/>
                    </a:lnTo>
                    <a:lnTo>
                      <a:pt x="2207" y="222"/>
                    </a:lnTo>
                    <a:lnTo>
                      <a:pt x="2207" y="222"/>
                    </a:lnTo>
                    <a:lnTo>
                      <a:pt x="2207" y="222"/>
                    </a:lnTo>
                    <a:lnTo>
                      <a:pt x="2205" y="224"/>
                    </a:lnTo>
                    <a:lnTo>
                      <a:pt x="2200" y="224"/>
                    </a:lnTo>
                    <a:lnTo>
                      <a:pt x="2198" y="224"/>
                    </a:lnTo>
                    <a:lnTo>
                      <a:pt x="2193" y="224"/>
                    </a:lnTo>
                    <a:lnTo>
                      <a:pt x="2191" y="224"/>
                    </a:lnTo>
                    <a:lnTo>
                      <a:pt x="2198" y="224"/>
                    </a:lnTo>
                    <a:lnTo>
                      <a:pt x="2200" y="224"/>
                    </a:lnTo>
                    <a:lnTo>
                      <a:pt x="2205" y="222"/>
                    </a:lnTo>
                    <a:lnTo>
                      <a:pt x="2205" y="220"/>
                    </a:lnTo>
                    <a:lnTo>
                      <a:pt x="2214" y="222"/>
                    </a:lnTo>
                    <a:lnTo>
                      <a:pt x="2217" y="222"/>
                    </a:lnTo>
                    <a:lnTo>
                      <a:pt x="2219" y="222"/>
                    </a:lnTo>
                    <a:lnTo>
                      <a:pt x="2224" y="224"/>
                    </a:lnTo>
                    <a:lnTo>
                      <a:pt x="2226" y="224"/>
                    </a:lnTo>
                    <a:lnTo>
                      <a:pt x="2224" y="222"/>
                    </a:lnTo>
                    <a:lnTo>
                      <a:pt x="2222" y="220"/>
                    </a:lnTo>
                    <a:lnTo>
                      <a:pt x="2219" y="220"/>
                    </a:lnTo>
                    <a:lnTo>
                      <a:pt x="2217" y="220"/>
                    </a:lnTo>
                    <a:lnTo>
                      <a:pt x="2212" y="220"/>
                    </a:lnTo>
                    <a:lnTo>
                      <a:pt x="2210" y="220"/>
                    </a:lnTo>
                    <a:lnTo>
                      <a:pt x="2207" y="220"/>
                    </a:lnTo>
                    <a:lnTo>
                      <a:pt x="2207" y="217"/>
                    </a:lnTo>
                    <a:lnTo>
                      <a:pt x="2212" y="220"/>
                    </a:lnTo>
                    <a:lnTo>
                      <a:pt x="2214" y="217"/>
                    </a:lnTo>
                    <a:lnTo>
                      <a:pt x="2222" y="220"/>
                    </a:lnTo>
                    <a:lnTo>
                      <a:pt x="2224" y="220"/>
                    </a:lnTo>
                    <a:lnTo>
                      <a:pt x="2224" y="222"/>
                    </a:lnTo>
                    <a:lnTo>
                      <a:pt x="2231" y="224"/>
                    </a:lnTo>
                    <a:lnTo>
                      <a:pt x="2236" y="224"/>
                    </a:lnTo>
                    <a:lnTo>
                      <a:pt x="2245" y="227"/>
                    </a:lnTo>
                    <a:lnTo>
                      <a:pt x="2250" y="227"/>
                    </a:lnTo>
                    <a:lnTo>
                      <a:pt x="2252" y="227"/>
                    </a:lnTo>
                    <a:lnTo>
                      <a:pt x="2255" y="224"/>
                    </a:lnTo>
                    <a:lnTo>
                      <a:pt x="2257" y="222"/>
                    </a:lnTo>
                    <a:lnTo>
                      <a:pt x="2257" y="222"/>
                    </a:lnTo>
                    <a:lnTo>
                      <a:pt x="2257" y="220"/>
                    </a:lnTo>
                    <a:lnTo>
                      <a:pt x="2259" y="220"/>
                    </a:lnTo>
                    <a:lnTo>
                      <a:pt x="2259" y="217"/>
                    </a:lnTo>
                    <a:lnTo>
                      <a:pt x="2259" y="217"/>
                    </a:lnTo>
                    <a:lnTo>
                      <a:pt x="2259" y="217"/>
                    </a:lnTo>
                    <a:lnTo>
                      <a:pt x="2259" y="215"/>
                    </a:lnTo>
                    <a:lnTo>
                      <a:pt x="2257" y="213"/>
                    </a:lnTo>
                    <a:lnTo>
                      <a:pt x="2257" y="213"/>
                    </a:lnTo>
                    <a:lnTo>
                      <a:pt x="2257" y="210"/>
                    </a:lnTo>
                    <a:lnTo>
                      <a:pt x="2255" y="208"/>
                    </a:lnTo>
                    <a:lnTo>
                      <a:pt x="2255" y="208"/>
                    </a:lnTo>
                    <a:lnTo>
                      <a:pt x="2252" y="208"/>
                    </a:lnTo>
                    <a:lnTo>
                      <a:pt x="2248" y="206"/>
                    </a:lnTo>
                    <a:lnTo>
                      <a:pt x="2245" y="206"/>
                    </a:lnTo>
                    <a:lnTo>
                      <a:pt x="2240" y="203"/>
                    </a:lnTo>
                    <a:lnTo>
                      <a:pt x="2238" y="201"/>
                    </a:lnTo>
                    <a:lnTo>
                      <a:pt x="2236" y="198"/>
                    </a:lnTo>
                    <a:lnTo>
                      <a:pt x="2236" y="198"/>
                    </a:lnTo>
                    <a:lnTo>
                      <a:pt x="2238" y="198"/>
                    </a:lnTo>
                    <a:lnTo>
                      <a:pt x="2240" y="198"/>
                    </a:lnTo>
                    <a:lnTo>
                      <a:pt x="2240" y="198"/>
                    </a:lnTo>
                    <a:lnTo>
                      <a:pt x="2240" y="196"/>
                    </a:lnTo>
                    <a:lnTo>
                      <a:pt x="2238" y="196"/>
                    </a:lnTo>
                    <a:lnTo>
                      <a:pt x="2238" y="196"/>
                    </a:lnTo>
                    <a:lnTo>
                      <a:pt x="2238" y="196"/>
                    </a:lnTo>
                    <a:lnTo>
                      <a:pt x="2238" y="194"/>
                    </a:lnTo>
                    <a:lnTo>
                      <a:pt x="2238" y="194"/>
                    </a:lnTo>
                    <a:lnTo>
                      <a:pt x="2238" y="194"/>
                    </a:lnTo>
                    <a:lnTo>
                      <a:pt x="2243" y="196"/>
                    </a:lnTo>
                    <a:lnTo>
                      <a:pt x="2243" y="198"/>
                    </a:lnTo>
                    <a:lnTo>
                      <a:pt x="2245" y="198"/>
                    </a:lnTo>
                    <a:lnTo>
                      <a:pt x="2248" y="198"/>
                    </a:lnTo>
                    <a:lnTo>
                      <a:pt x="2248" y="198"/>
                    </a:lnTo>
                    <a:lnTo>
                      <a:pt x="2248" y="196"/>
                    </a:lnTo>
                    <a:lnTo>
                      <a:pt x="2245" y="194"/>
                    </a:lnTo>
                    <a:lnTo>
                      <a:pt x="2245" y="194"/>
                    </a:lnTo>
                    <a:lnTo>
                      <a:pt x="2248" y="196"/>
                    </a:lnTo>
                    <a:lnTo>
                      <a:pt x="2250" y="198"/>
                    </a:lnTo>
                    <a:lnTo>
                      <a:pt x="2250" y="198"/>
                    </a:lnTo>
                    <a:lnTo>
                      <a:pt x="2250" y="198"/>
                    </a:lnTo>
                    <a:lnTo>
                      <a:pt x="2252" y="201"/>
                    </a:lnTo>
                    <a:lnTo>
                      <a:pt x="2252" y="201"/>
                    </a:lnTo>
                    <a:lnTo>
                      <a:pt x="2250" y="201"/>
                    </a:lnTo>
                    <a:lnTo>
                      <a:pt x="2250" y="201"/>
                    </a:lnTo>
                    <a:lnTo>
                      <a:pt x="2252" y="203"/>
                    </a:lnTo>
                    <a:lnTo>
                      <a:pt x="2257" y="203"/>
                    </a:lnTo>
                    <a:lnTo>
                      <a:pt x="2259" y="206"/>
                    </a:lnTo>
                    <a:lnTo>
                      <a:pt x="2262" y="206"/>
                    </a:lnTo>
                    <a:lnTo>
                      <a:pt x="2262" y="206"/>
                    </a:lnTo>
                    <a:lnTo>
                      <a:pt x="2264" y="206"/>
                    </a:lnTo>
                    <a:lnTo>
                      <a:pt x="2264" y="208"/>
                    </a:lnTo>
                    <a:lnTo>
                      <a:pt x="2266" y="208"/>
                    </a:lnTo>
                    <a:lnTo>
                      <a:pt x="2269" y="210"/>
                    </a:lnTo>
                    <a:lnTo>
                      <a:pt x="2271" y="210"/>
                    </a:lnTo>
                    <a:lnTo>
                      <a:pt x="2271" y="210"/>
                    </a:lnTo>
                    <a:lnTo>
                      <a:pt x="2281" y="210"/>
                    </a:lnTo>
                    <a:lnTo>
                      <a:pt x="2283" y="210"/>
                    </a:lnTo>
                    <a:lnTo>
                      <a:pt x="2285" y="208"/>
                    </a:lnTo>
                    <a:lnTo>
                      <a:pt x="2288" y="208"/>
                    </a:lnTo>
                    <a:lnTo>
                      <a:pt x="2288" y="208"/>
                    </a:lnTo>
                    <a:lnTo>
                      <a:pt x="2295" y="210"/>
                    </a:lnTo>
                    <a:lnTo>
                      <a:pt x="2304" y="210"/>
                    </a:lnTo>
                    <a:lnTo>
                      <a:pt x="2309" y="213"/>
                    </a:lnTo>
                    <a:lnTo>
                      <a:pt x="2314" y="215"/>
                    </a:lnTo>
                    <a:lnTo>
                      <a:pt x="2316" y="217"/>
                    </a:lnTo>
                    <a:lnTo>
                      <a:pt x="2318" y="220"/>
                    </a:lnTo>
                    <a:lnTo>
                      <a:pt x="2318" y="220"/>
                    </a:lnTo>
                    <a:lnTo>
                      <a:pt x="2323" y="220"/>
                    </a:lnTo>
                    <a:lnTo>
                      <a:pt x="2328" y="222"/>
                    </a:lnTo>
                    <a:lnTo>
                      <a:pt x="2328" y="222"/>
                    </a:lnTo>
                    <a:lnTo>
                      <a:pt x="2330" y="222"/>
                    </a:lnTo>
                    <a:lnTo>
                      <a:pt x="2330" y="224"/>
                    </a:lnTo>
                    <a:lnTo>
                      <a:pt x="2333" y="224"/>
                    </a:lnTo>
                    <a:lnTo>
                      <a:pt x="2335" y="222"/>
                    </a:lnTo>
                    <a:lnTo>
                      <a:pt x="2335" y="222"/>
                    </a:lnTo>
                    <a:lnTo>
                      <a:pt x="2340" y="224"/>
                    </a:lnTo>
                    <a:lnTo>
                      <a:pt x="2345" y="224"/>
                    </a:lnTo>
                    <a:lnTo>
                      <a:pt x="2352" y="227"/>
                    </a:lnTo>
                    <a:lnTo>
                      <a:pt x="2354" y="227"/>
                    </a:lnTo>
                    <a:lnTo>
                      <a:pt x="2361" y="229"/>
                    </a:lnTo>
                    <a:lnTo>
                      <a:pt x="2363" y="232"/>
                    </a:lnTo>
                    <a:lnTo>
                      <a:pt x="2366" y="232"/>
                    </a:lnTo>
                    <a:lnTo>
                      <a:pt x="2368" y="232"/>
                    </a:lnTo>
                    <a:lnTo>
                      <a:pt x="2368" y="232"/>
                    </a:lnTo>
                    <a:lnTo>
                      <a:pt x="2368" y="229"/>
                    </a:lnTo>
                    <a:lnTo>
                      <a:pt x="2368" y="229"/>
                    </a:lnTo>
                    <a:lnTo>
                      <a:pt x="2368" y="229"/>
                    </a:lnTo>
                    <a:lnTo>
                      <a:pt x="2368" y="229"/>
                    </a:lnTo>
                    <a:lnTo>
                      <a:pt x="2371" y="229"/>
                    </a:lnTo>
                    <a:lnTo>
                      <a:pt x="2371" y="232"/>
                    </a:lnTo>
                    <a:lnTo>
                      <a:pt x="2371" y="232"/>
                    </a:lnTo>
                    <a:lnTo>
                      <a:pt x="2375" y="234"/>
                    </a:lnTo>
                    <a:lnTo>
                      <a:pt x="2378" y="234"/>
                    </a:lnTo>
                    <a:lnTo>
                      <a:pt x="2378" y="234"/>
                    </a:lnTo>
                    <a:lnTo>
                      <a:pt x="2378" y="232"/>
                    </a:lnTo>
                    <a:lnTo>
                      <a:pt x="2378" y="232"/>
                    </a:lnTo>
                    <a:lnTo>
                      <a:pt x="2373" y="229"/>
                    </a:lnTo>
                    <a:lnTo>
                      <a:pt x="2373" y="229"/>
                    </a:lnTo>
                    <a:lnTo>
                      <a:pt x="2375" y="229"/>
                    </a:lnTo>
                    <a:lnTo>
                      <a:pt x="2378" y="229"/>
                    </a:lnTo>
                    <a:lnTo>
                      <a:pt x="2380" y="232"/>
                    </a:lnTo>
                    <a:lnTo>
                      <a:pt x="2380" y="232"/>
                    </a:lnTo>
                    <a:lnTo>
                      <a:pt x="2385" y="232"/>
                    </a:lnTo>
                    <a:lnTo>
                      <a:pt x="2385" y="229"/>
                    </a:lnTo>
                    <a:lnTo>
                      <a:pt x="2382" y="229"/>
                    </a:lnTo>
                    <a:lnTo>
                      <a:pt x="2380" y="229"/>
                    </a:lnTo>
                    <a:lnTo>
                      <a:pt x="2380" y="229"/>
                    </a:lnTo>
                    <a:lnTo>
                      <a:pt x="2378" y="227"/>
                    </a:lnTo>
                    <a:lnTo>
                      <a:pt x="2373" y="227"/>
                    </a:lnTo>
                    <a:lnTo>
                      <a:pt x="2373" y="227"/>
                    </a:lnTo>
                    <a:lnTo>
                      <a:pt x="2371" y="227"/>
                    </a:lnTo>
                    <a:lnTo>
                      <a:pt x="2371" y="227"/>
                    </a:lnTo>
                    <a:lnTo>
                      <a:pt x="2368" y="224"/>
                    </a:lnTo>
                    <a:lnTo>
                      <a:pt x="2368" y="224"/>
                    </a:lnTo>
                    <a:lnTo>
                      <a:pt x="2368" y="224"/>
                    </a:lnTo>
                    <a:lnTo>
                      <a:pt x="2368" y="224"/>
                    </a:lnTo>
                    <a:lnTo>
                      <a:pt x="2366" y="222"/>
                    </a:lnTo>
                    <a:lnTo>
                      <a:pt x="2363" y="222"/>
                    </a:lnTo>
                    <a:lnTo>
                      <a:pt x="2363" y="222"/>
                    </a:lnTo>
                    <a:lnTo>
                      <a:pt x="2363" y="222"/>
                    </a:lnTo>
                    <a:lnTo>
                      <a:pt x="2363" y="222"/>
                    </a:lnTo>
                    <a:lnTo>
                      <a:pt x="2363" y="222"/>
                    </a:lnTo>
                    <a:lnTo>
                      <a:pt x="2366" y="222"/>
                    </a:lnTo>
                    <a:lnTo>
                      <a:pt x="2368" y="222"/>
                    </a:lnTo>
                    <a:lnTo>
                      <a:pt x="2371" y="220"/>
                    </a:lnTo>
                    <a:lnTo>
                      <a:pt x="2371" y="220"/>
                    </a:lnTo>
                    <a:lnTo>
                      <a:pt x="2371" y="220"/>
                    </a:lnTo>
                    <a:lnTo>
                      <a:pt x="2368" y="217"/>
                    </a:lnTo>
                    <a:lnTo>
                      <a:pt x="2366" y="215"/>
                    </a:lnTo>
                    <a:lnTo>
                      <a:pt x="2363" y="215"/>
                    </a:lnTo>
                    <a:lnTo>
                      <a:pt x="2361" y="215"/>
                    </a:lnTo>
                    <a:lnTo>
                      <a:pt x="2361" y="215"/>
                    </a:lnTo>
                    <a:lnTo>
                      <a:pt x="2359" y="215"/>
                    </a:lnTo>
                    <a:lnTo>
                      <a:pt x="2363" y="215"/>
                    </a:lnTo>
                    <a:lnTo>
                      <a:pt x="2363" y="215"/>
                    </a:lnTo>
                    <a:lnTo>
                      <a:pt x="2361" y="213"/>
                    </a:lnTo>
                    <a:lnTo>
                      <a:pt x="2359" y="210"/>
                    </a:lnTo>
                    <a:lnTo>
                      <a:pt x="2359" y="210"/>
                    </a:lnTo>
                    <a:lnTo>
                      <a:pt x="2356" y="210"/>
                    </a:lnTo>
                    <a:lnTo>
                      <a:pt x="2356" y="210"/>
                    </a:lnTo>
                    <a:lnTo>
                      <a:pt x="2356" y="210"/>
                    </a:lnTo>
                    <a:lnTo>
                      <a:pt x="2349" y="208"/>
                    </a:lnTo>
                    <a:lnTo>
                      <a:pt x="2345" y="208"/>
                    </a:lnTo>
                    <a:lnTo>
                      <a:pt x="2347" y="208"/>
                    </a:lnTo>
                    <a:lnTo>
                      <a:pt x="2347" y="208"/>
                    </a:lnTo>
                    <a:lnTo>
                      <a:pt x="2349" y="208"/>
                    </a:lnTo>
                    <a:lnTo>
                      <a:pt x="2354" y="208"/>
                    </a:lnTo>
                    <a:lnTo>
                      <a:pt x="2354" y="208"/>
                    </a:lnTo>
                    <a:lnTo>
                      <a:pt x="2356" y="210"/>
                    </a:lnTo>
                    <a:lnTo>
                      <a:pt x="2356" y="210"/>
                    </a:lnTo>
                    <a:lnTo>
                      <a:pt x="2361" y="210"/>
                    </a:lnTo>
                    <a:lnTo>
                      <a:pt x="2361" y="210"/>
                    </a:lnTo>
                    <a:lnTo>
                      <a:pt x="2363" y="210"/>
                    </a:lnTo>
                    <a:lnTo>
                      <a:pt x="2363" y="210"/>
                    </a:lnTo>
                    <a:lnTo>
                      <a:pt x="2368" y="210"/>
                    </a:lnTo>
                    <a:lnTo>
                      <a:pt x="2368" y="210"/>
                    </a:lnTo>
                    <a:lnTo>
                      <a:pt x="2373" y="210"/>
                    </a:lnTo>
                    <a:lnTo>
                      <a:pt x="2373" y="210"/>
                    </a:lnTo>
                    <a:lnTo>
                      <a:pt x="2373" y="210"/>
                    </a:lnTo>
                    <a:lnTo>
                      <a:pt x="2373" y="210"/>
                    </a:lnTo>
                    <a:lnTo>
                      <a:pt x="2371" y="208"/>
                    </a:lnTo>
                    <a:lnTo>
                      <a:pt x="2366" y="208"/>
                    </a:lnTo>
                    <a:lnTo>
                      <a:pt x="2363" y="206"/>
                    </a:lnTo>
                    <a:lnTo>
                      <a:pt x="2361" y="206"/>
                    </a:lnTo>
                    <a:lnTo>
                      <a:pt x="2361" y="206"/>
                    </a:lnTo>
                    <a:lnTo>
                      <a:pt x="2361" y="206"/>
                    </a:lnTo>
                    <a:lnTo>
                      <a:pt x="2366" y="206"/>
                    </a:lnTo>
                    <a:lnTo>
                      <a:pt x="2368" y="208"/>
                    </a:lnTo>
                    <a:lnTo>
                      <a:pt x="2371" y="208"/>
                    </a:lnTo>
                    <a:lnTo>
                      <a:pt x="2373" y="208"/>
                    </a:lnTo>
                    <a:lnTo>
                      <a:pt x="2378" y="208"/>
                    </a:lnTo>
                    <a:lnTo>
                      <a:pt x="2378" y="208"/>
                    </a:lnTo>
                    <a:lnTo>
                      <a:pt x="2375" y="206"/>
                    </a:lnTo>
                    <a:lnTo>
                      <a:pt x="2373" y="206"/>
                    </a:lnTo>
                    <a:lnTo>
                      <a:pt x="2373" y="203"/>
                    </a:lnTo>
                    <a:lnTo>
                      <a:pt x="2373" y="203"/>
                    </a:lnTo>
                    <a:lnTo>
                      <a:pt x="2373" y="201"/>
                    </a:lnTo>
                    <a:lnTo>
                      <a:pt x="2375" y="201"/>
                    </a:lnTo>
                    <a:lnTo>
                      <a:pt x="2375" y="201"/>
                    </a:lnTo>
                    <a:lnTo>
                      <a:pt x="2378" y="201"/>
                    </a:lnTo>
                    <a:lnTo>
                      <a:pt x="2378" y="201"/>
                    </a:lnTo>
                    <a:lnTo>
                      <a:pt x="2378" y="201"/>
                    </a:lnTo>
                    <a:lnTo>
                      <a:pt x="2375" y="198"/>
                    </a:lnTo>
                    <a:lnTo>
                      <a:pt x="2373" y="198"/>
                    </a:lnTo>
                    <a:lnTo>
                      <a:pt x="2368" y="198"/>
                    </a:lnTo>
                    <a:lnTo>
                      <a:pt x="2368" y="198"/>
                    </a:lnTo>
                    <a:lnTo>
                      <a:pt x="2366" y="196"/>
                    </a:lnTo>
                    <a:lnTo>
                      <a:pt x="2366" y="196"/>
                    </a:lnTo>
                    <a:lnTo>
                      <a:pt x="2363" y="196"/>
                    </a:lnTo>
                    <a:lnTo>
                      <a:pt x="2363" y="196"/>
                    </a:lnTo>
                    <a:lnTo>
                      <a:pt x="2361" y="196"/>
                    </a:lnTo>
                    <a:lnTo>
                      <a:pt x="2361" y="196"/>
                    </a:lnTo>
                    <a:lnTo>
                      <a:pt x="2361" y="196"/>
                    </a:lnTo>
                    <a:lnTo>
                      <a:pt x="2361" y="196"/>
                    </a:lnTo>
                    <a:lnTo>
                      <a:pt x="2359" y="196"/>
                    </a:lnTo>
                    <a:lnTo>
                      <a:pt x="2359" y="194"/>
                    </a:lnTo>
                    <a:lnTo>
                      <a:pt x="2349" y="191"/>
                    </a:lnTo>
                    <a:lnTo>
                      <a:pt x="2345" y="191"/>
                    </a:lnTo>
                    <a:lnTo>
                      <a:pt x="2337" y="189"/>
                    </a:lnTo>
                    <a:lnTo>
                      <a:pt x="2333" y="187"/>
                    </a:lnTo>
                    <a:lnTo>
                      <a:pt x="2326" y="184"/>
                    </a:lnTo>
                    <a:lnTo>
                      <a:pt x="2321" y="184"/>
                    </a:lnTo>
                    <a:lnTo>
                      <a:pt x="2318" y="184"/>
                    </a:lnTo>
                    <a:lnTo>
                      <a:pt x="2314" y="182"/>
                    </a:lnTo>
                    <a:lnTo>
                      <a:pt x="2311" y="182"/>
                    </a:lnTo>
                    <a:lnTo>
                      <a:pt x="2304" y="182"/>
                    </a:lnTo>
                    <a:lnTo>
                      <a:pt x="2307" y="182"/>
                    </a:lnTo>
                    <a:lnTo>
                      <a:pt x="2314" y="184"/>
                    </a:lnTo>
                    <a:lnTo>
                      <a:pt x="2314" y="184"/>
                    </a:lnTo>
                    <a:lnTo>
                      <a:pt x="2316" y="184"/>
                    </a:lnTo>
                    <a:lnTo>
                      <a:pt x="2314" y="184"/>
                    </a:lnTo>
                    <a:lnTo>
                      <a:pt x="2309" y="184"/>
                    </a:lnTo>
                    <a:lnTo>
                      <a:pt x="2307" y="184"/>
                    </a:lnTo>
                    <a:lnTo>
                      <a:pt x="2304" y="182"/>
                    </a:lnTo>
                    <a:lnTo>
                      <a:pt x="2304" y="182"/>
                    </a:lnTo>
                    <a:lnTo>
                      <a:pt x="2304" y="184"/>
                    </a:lnTo>
                    <a:lnTo>
                      <a:pt x="2307" y="184"/>
                    </a:lnTo>
                    <a:lnTo>
                      <a:pt x="2309" y="184"/>
                    </a:lnTo>
                    <a:lnTo>
                      <a:pt x="2307" y="187"/>
                    </a:lnTo>
                    <a:lnTo>
                      <a:pt x="2307" y="187"/>
                    </a:lnTo>
                    <a:lnTo>
                      <a:pt x="2304" y="184"/>
                    </a:lnTo>
                    <a:lnTo>
                      <a:pt x="2304" y="184"/>
                    </a:lnTo>
                    <a:lnTo>
                      <a:pt x="2302" y="182"/>
                    </a:lnTo>
                    <a:lnTo>
                      <a:pt x="2304" y="182"/>
                    </a:lnTo>
                    <a:lnTo>
                      <a:pt x="2302" y="182"/>
                    </a:lnTo>
                    <a:lnTo>
                      <a:pt x="2297" y="182"/>
                    </a:lnTo>
                    <a:lnTo>
                      <a:pt x="2295" y="179"/>
                    </a:lnTo>
                    <a:lnTo>
                      <a:pt x="2295" y="179"/>
                    </a:lnTo>
                    <a:lnTo>
                      <a:pt x="2292" y="182"/>
                    </a:lnTo>
                    <a:lnTo>
                      <a:pt x="2283" y="182"/>
                    </a:lnTo>
                    <a:lnTo>
                      <a:pt x="2283" y="182"/>
                    </a:lnTo>
                    <a:lnTo>
                      <a:pt x="2283" y="182"/>
                    </a:lnTo>
                    <a:lnTo>
                      <a:pt x="2285" y="182"/>
                    </a:lnTo>
                    <a:lnTo>
                      <a:pt x="2285" y="182"/>
                    </a:lnTo>
                    <a:lnTo>
                      <a:pt x="2288" y="182"/>
                    </a:lnTo>
                    <a:lnTo>
                      <a:pt x="2290" y="182"/>
                    </a:lnTo>
                    <a:lnTo>
                      <a:pt x="2292" y="184"/>
                    </a:lnTo>
                    <a:lnTo>
                      <a:pt x="2292" y="184"/>
                    </a:lnTo>
                    <a:lnTo>
                      <a:pt x="2295" y="184"/>
                    </a:lnTo>
                    <a:lnTo>
                      <a:pt x="2297" y="187"/>
                    </a:lnTo>
                    <a:lnTo>
                      <a:pt x="2300" y="187"/>
                    </a:lnTo>
                    <a:lnTo>
                      <a:pt x="2300" y="189"/>
                    </a:lnTo>
                    <a:lnTo>
                      <a:pt x="2300" y="189"/>
                    </a:lnTo>
                    <a:lnTo>
                      <a:pt x="2300" y="189"/>
                    </a:lnTo>
                    <a:lnTo>
                      <a:pt x="2302" y="191"/>
                    </a:lnTo>
                    <a:lnTo>
                      <a:pt x="2304" y="191"/>
                    </a:lnTo>
                    <a:lnTo>
                      <a:pt x="2307" y="191"/>
                    </a:lnTo>
                    <a:lnTo>
                      <a:pt x="2309" y="191"/>
                    </a:lnTo>
                    <a:lnTo>
                      <a:pt x="2311" y="194"/>
                    </a:lnTo>
                    <a:lnTo>
                      <a:pt x="2311" y="194"/>
                    </a:lnTo>
                    <a:lnTo>
                      <a:pt x="2314" y="196"/>
                    </a:lnTo>
                    <a:lnTo>
                      <a:pt x="2314" y="196"/>
                    </a:lnTo>
                    <a:lnTo>
                      <a:pt x="2314" y="196"/>
                    </a:lnTo>
                    <a:lnTo>
                      <a:pt x="2314" y="196"/>
                    </a:lnTo>
                    <a:lnTo>
                      <a:pt x="2314" y="196"/>
                    </a:lnTo>
                    <a:lnTo>
                      <a:pt x="2309" y="194"/>
                    </a:lnTo>
                    <a:lnTo>
                      <a:pt x="2307" y="191"/>
                    </a:lnTo>
                    <a:lnTo>
                      <a:pt x="2304" y="194"/>
                    </a:lnTo>
                    <a:lnTo>
                      <a:pt x="2304" y="194"/>
                    </a:lnTo>
                    <a:lnTo>
                      <a:pt x="2304" y="194"/>
                    </a:lnTo>
                    <a:lnTo>
                      <a:pt x="2304" y="194"/>
                    </a:lnTo>
                    <a:lnTo>
                      <a:pt x="2304" y="194"/>
                    </a:lnTo>
                    <a:lnTo>
                      <a:pt x="2302" y="194"/>
                    </a:lnTo>
                    <a:lnTo>
                      <a:pt x="2300" y="191"/>
                    </a:lnTo>
                    <a:lnTo>
                      <a:pt x="2297" y="191"/>
                    </a:lnTo>
                    <a:lnTo>
                      <a:pt x="2295" y="191"/>
                    </a:lnTo>
                    <a:lnTo>
                      <a:pt x="2295" y="189"/>
                    </a:lnTo>
                    <a:lnTo>
                      <a:pt x="2292" y="189"/>
                    </a:lnTo>
                    <a:lnTo>
                      <a:pt x="2290" y="189"/>
                    </a:lnTo>
                    <a:lnTo>
                      <a:pt x="2288" y="189"/>
                    </a:lnTo>
                    <a:lnTo>
                      <a:pt x="2288" y="187"/>
                    </a:lnTo>
                    <a:lnTo>
                      <a:pt x="2285" y="184"/>
                    </a:lnTo>
                    <a:lnTo>
                      <a:pt x="2283" y="184"/>
                    </a:lnTo>
                    <a:lnTo>
                      <a:pt x="2281" y="182"/>
                    </a:lnTo>
                    <a:lnTo>
                      <a:pt x="2278" y="182"/>
                    </a:lnTo>
                    <a:lnTo>
                      <a:pt x="2276" y="179"/>
                    </a:lnTo>
                    <a:lnTo>
                      <a:pt x="2274" y="177"/>
                    </a:lnTo>
                    <a:lnTo>
                      <a:pt x="2271" y="177"/>
                    </a:lnTo>
                    <a:lnTo>
                      <a:pt x="2269" y="175"/>
                    </a:lnTo>
                    <a:lnTo>
                      <a:pt x="2266" y="175"/>
                    </a:lnTo>
                    <a:lnTo>
                      <a:pt x="2266" y="175"/>
                    </a:lnTo>
                    <a:lnTo>
                      <a:pt x="2266" y="177"/>
                    </a:lnTo>
                    <a:lnTo>
                      <a:pt x="2266" y="177"/>
                    </a:lnTo>
                    <a:lnTo>
                      <a:pt x="2264" y="177"/>
                    </a:lnTo>
                    <a:lnTo>
                      <a:pt x="2264" y="175"/>
                    </a:lnTo>
                    <a:lnTo>
                      <a:pt x="2262" y="172"/>
                    </a:lnTo>
                    <a:lnTo>
                      <a:pt x="2259" y="172"/>
                    </a:lnTo>
                    <a:lnTo>
                      <a:pt x="2259" y="172"/>
                    </a:lnTo>
                    <a:lnTo>
                      <a:pt x="2257" y="170"/>
                    </a:lnTo>
                    <a:lnTo>
                      <a:pt x="2224" y="163"/>
                    </a:lnTo>
                    <a:lnTo>
                      <a:pt x="2219" y="161"/>
                    </a:lnTo>
                    <a:lnTo>
                      <a:pt x="2214" y="161"/>
                    </a:lnTo>
                    <a:lnTo>
                      <a:pt x="2212" y="161"/>
                    </a:lnTo>
                    <a:lnTo>
                      <a:pt x="2212" y="161"/>
                    </a:lnTo>
                    <a:lnTo>
                      <a:pt x="2212" y="161"/>
                    </a:lnTo>
                    <a:lnTo>
                      <a:pt x="2210" y="161"/>
                    </a:lnTo>
                    <a:lnTo>
                      <a:pt x="2210" y="161"/>
                    </a:lnTo>
                    <a:lnTo>
                      <a:pt x="2210" y="161"/>
                    </a:lnTo>
                    <a:lnTo>
                      <a:pt x="2207" y="158"/>
                    </a:lnTo>
                    <a:lnTo>
                      <a:pt x="2193" y="156"/>
                    </a:lnTo>
                    <a:lnTo>
                      <a:pt x="2191" y="153"/>
                    </a:lnTo>
                    <a:lnTo>
                      <a:pt x="2193" y="156"/>
                    </a:lnTo>
                    <a:lnTo>
                      <a:pt x="2203" y="158"/>
                    </a:lnTo>
                    <a:lnTo>
                      <a:pt x="2205" y="158"/>
                    </a:lnTo>
                    <a:lnTo>
                      <a:pt x="2205" y="161"/>
                    </a:lnTo>
                    <a:lnTo>
                      <a:pt x="2203" y="161"/>
                    </a:lnTo>
                    <a:lnTo>
                      <a:pt x="2203" y="158"/>
                    </a:lnTo>
                    <a:lnTo>
                      <a:pt x="2200" y="158"/>
                    </a:lnTo>
                    <a:lnTo>
                      <a:pt x="2198" y="158"/>
                    </a:lnTo>
                    <a:lnTo>
                      <a:pt x="2195" y="156"/>
                    </a:lnTo>
                    <a:lnTo>
                      <a:pt x="2191" y="156"/>
                    </a:lnTo>
                    <a:lnTo>
                      <a:pt x="2188" y="156"/>
                    </a:lnTo>
                    <a:lnTo>
                      <a:pt x="2186" y="153"/>
                    </a:lnTo>
                    <a:lnTo>
                      <a:pt x="2184" y="153"/>
                    </a:lnTo>
                    <a:lnTo>
                      <a:pt x="2186" y="153"/>
                    </a:lnTo>
                    <a:lnTo>
                      <a:pt x="2188" y="153"/>
                    </a:lnTo>
                    <a:lnTo>
                      <a:pt x="2184" y="153"/>
                    </a:lnTo>
                    <a:lnTo>
                      <a:pt x="2179" y="151"/>
                    </a:lnTo>
                    <a:lnTo>
                      <a:pt x="2172" y="149"/>
                    </a:lnTo>
                    <a:lnTo>
                      <a:pt x="2169" y="149"/>
                    </a:lnTo>
                    <a:lnTo>
                      <a:pt x="2167" y="149"/>
                    </a:lnTo>
                    <a:lnTo>
                      <a:pt x="2167" y="149"/>
                    </a:lnTo>
                    <a:lnTo>
                      <a:pt x="2165" y="149"/>
                    </a:lnTo>
                    <a:lnTo>
                      <a:pt x="2162" y="149"/>
                    </a:lnTo>
                    <a:lnTo>
                      <a:pt x="2162" y="149"/>
                    </a:lnTo>
                    <a:lnTo>
                      <a:pt x="2160" y="146"/>
                    </a:lnTo>
                    <a:lnTo>
                      <a:pt x="2155" y="146"/>
                    </a:lnTo>
                    <a:lnTo>
                      <a:pt x="2153" y="146"/>
                    </a:lnTo>
                    <a:lnTo>
                      <a:pt x="2141" y="142"/>
                    </a:lnTo>
                    <a:lnTo>
                      <a:pt x="2136" y="142"/>
                    </a:lnTo>
                    <a:lnTo>
                      <a:pt x="2134" y="142"/>
                    </a:lnTo>
                    <a:lnTo>
                      <a:pt x="2134" y="139"/>
                    </a:lnTo>
                    <a:lnTo>
                      <a:pt x="2132" y="139"/>
                    </a:lnTo>
                    <a:lnTo>
                      <a:pt x="2125" y="139"/>
                    </a:lnTo>
                    <a:lnTo>
                      <a:pt x="2117" y="137"/>
                    </a:lnTo>
                    <a:lnTo>
                      <a:pt x="2106" y="137"/>
                    </a:lnTo>
                    <a:lnTo>
                      <a:pt x="2098" y="134"/>
                    </a:lnTo>
                    <a:lnTo>
                      <a:pt x="2089" y="132"/>
                    </a:lnTo>
                    <a:lnTo>
                      <a:pt x="2082" y="132"/>
                    </a:lnTo>
                    <a:lnTo>
                      <a:pt x="2080" y="130"/>
                    </a:lnTo>
                    <a:lnTo>
                      <a:pt x="2077" y="130"/>
                    </a:lnTo>
                    <a:lnTo>
                      <a:pt x="2072" y="132"/>
                    </a:lnTo>
                    <a:lnTo>
                      <a:pt x="2065" y="132"/>
                    </a:lnTo>
                    <a:lnTo>
                      <a:pt x="2058" y="132"/>
                    </a:lnTo>
                    <a:lnTo>
                      <a:pt x="2054" y="132"/>
                    </a:lnTo>
                    <a:lnTo>
                      <a:pt x="2049" y="130"/>
                    </a:lnTo>
                    <a:lnTo>
                      <a:pt x="2044" y="130"/>
                    </a:lnTo>
                    <a:lnTo>
                      <a:pt x="2044" y="130"/>
                    </a:lnTo>
                    <a:lnTo>
                      <a:pt x="2046" y="132"/>
                    </a:lnTo>
                    <a:lnTo>
                      <a:pt x="2042" y="132"/>
                    </a:lnTo>
                    <a:lnTo>
                      <a:pt x="2037" y="130"/>
                    </a:lnTo>
                    <a:lnTo>
                      <a:pt x="2032" y="130"/>
                    </a:lnTo>
                    <a:lnTo>
                      <a:pt x="2023" y="130"/>
                    </a:lnTo>
                    <a:lnTo>
                      <a:pt x="2011" y="127"/>
                    </a:lnTo>
                    <a:lnTo>
                      <a:pt x="2006" y="127"/>
                    </a:lnTo>
                    <a:lnTo>
                      <a:pt x="2002" y="127"/>
                    </a:lnTo>
                    <a:lnTo>
                      <a:pt x="2006" y="130"/>
                    </a:lnTo>
                    <a:lnTo>
                      <a:pt x="2006" y="132"/>
                    </a:lnTo>
                    <a:lnTo>
                      <a:pt x="2009" y="134"/>
                    </a:lnTo>
                    <a:lnTo>
                      <a:pt x="2009" y="134"/>
                    </a:lnTo>
                    <a:lnTo>
                      <a:pt x="2009" y="134"/>
                    </a:lnTo>
                    <a:lnTo>
                      <a:pt x="2016" y="137"/>
                    </a:lnTo>
                    <a:lnTo>
                      <a:pt x="2023" y="139"/>
                    </a:lnTo>
                    <a:lnTo>
                      <a:pt x="2028" y="142"/>
                    </a:lnTo>
                    <a:lnTo>
                      <a:pt x="2032" y="144"/>
                    </a:lnTo>
                    <a:lnTo>
                      <a:pt x="2035" y="146"/>
                    </a:lnTo>
                    <a:lnTo>
                      <a:pt x="2035" y="149"/>
                    </a:lnTo>
                    <a:lnTo>
                      <a:pt x="2028" y="151"/>
                    </a:lnTo>
                    <a:lnTo>
                      <a:pt x="2023" y="151"/>
                    </a:lnTo>
                    <a:lnTo>
                      <a:pt x="2016" y="149"/>
                    </a:lnTo>
                    <a:lnTo>
                      <a:pt x="2011" y="146"/>
                    </a:lnTo>
                    <a:lnTo>
                      <a:pt x="2004" y="144"/>
                    </a:lnTo>
                    <a:lnTo>
                      <a:pt x="1997" y="142"/>
                    </a:lnTo>
                    <a:lnTo>
                      <a:pt x="1994" y="142"/>
                    </a:lnTo>
                    <a:lnTo>
                      <a:pt x="1992" y="142"/>
                    </a:lnTo>
                    <a:lnTo>
                      <a:pt x="1987" y="139"/>
                    </a:lnTo>
                    <a:lnTo>
                      <a:pt x="1983" y="137"/>
                    </a:lnTo>
                    <a:lnTo>
                      <a:pt x="1980" y="134"/>
                    </a:lnTo>
                    <a:lnTo>
                      <a:pt x="1978" y="134"/>
                    </a:lnTo>
                    <a:lnTo>
                      <a:pt x="1975" y="134"/>
                    </a:lnTo>
                    <a:lnTo>
                      <a:pt x="1971" y="134"/>
                    </a:lnTo>
                    <a:lnTo>
                      <a:pt x="1968" y="137"/>
                    </a:lnTo>
                    <a:lnTo>
                      <a:pt x="1968" y="137"/>
                    </a:lnTo>
                    <a:lnTo>
                      <a:pt x="1966" y="137"/>
                    </a:lnTo>
                    <a:lnTo>
                      <a:pt x="1954" y="137"/>
                    </a:lnTo>
                    <a:lnTo>
                      <a:pt x="1949" y="137"/>
                    </a:lnTo>
                    <a:lnTo>
                      <a:pt x="1933" y="137"/>
                    </a:lnTo>
                    <a:lnTo>
                      <a:pt x="1926" y="134"/>
                    </a:lnTo>
                    <a:lnTo>
                      <a:pt x="1921" y="134"/>
                    </a:lnTo>
                    <a:lnTo>
                      <a:pt x="1919" y="134"/>
                    </a:lnTo>
                    <a:lnTo>
                      <a:pt x="1916" y="134"/>
                    </a:lnTo>
                    <a:lnTo>
                      <a:pt x="1912" y="134"/>
                    </a:lnTo>
                    <a:lnTo>
                      <a:pt x="1909" y="134"/>
                    </a:lnTo>
                    <a:lnTo>
                      <a:pt x="1902" y="134"/>
                    </a:lnTo>
                    <a:lnTo>
                      <a:pt x="1902" y="137"/>
                    </a:lnTo>
                    <a:lnTo>
                      <a:pt x="1900" y="137"/>
                    </a:lnTo>
                    <a:lnTo>
                      <a:pt x="1897" y="139"/>
                    </a:lnTo>
                    <a:lnTo>
                      <a:pt x="1900" y="142"/>
                    </a:lnTo>
                    <a:lnTo>
                      <a:pt x="1902" y="144"/>
                    </a:lnTo>
                    <a:lnTo>
                      <a:pt x="1907" y="146"/>
                    </a:lnTo>
                    <a:lnTo>
                      <a:pt x="1909" y="149"/>
                    </a:lnTo>
                    <a:lnTo>
                      <a:pt x="1909" y="149"/>
                    </a:lnTo>
                    <a:lnTo>
                      <a:pt x="1909" y="151"/>
                    </a:lnTo>
                    <a:lnTo>
                      <a:pt x="1912" y="153"/>
                    </a:lnTo>
                    <a:lnTo>
                      <a:pt x="1912" y="153"/>
                    </a:lnTo>
                    <a:lnTo>
                      <a:pt x="1909" y="156"/>
                    </a:lnTo>
                    <a:lnTo>
                      <a:pt x="1909" y="153"/>
                    </a:lnTo>
                    <a:lnTo>
                      <a:pt x="1909" y="153"/>
                    </a:lnTo>
                    <a:lnTo>
                      <a:pt x="1907" y="149"/>
                    </a:lnTo>
                    <a:lnTo>
                      <a:pt x="1905" y="146"/>
                    </a:lnTo>
                    <a:lnTo>
                      <a:pt x="1900" y="146"/>
                    </a:lnTo>
                    <a:lnTo>
                      <a:pt x="1897" y="144"/>
                    </a:lnTo>
                    <a:lnTo>
                      <a:pt x="1893" y="142"/>
                    </a:lnTo>
                    <a:lnTo>
                      <a:pt x="1888" y="139"/>
                    </a:lnTo>
                    <a:lnTo>
                      <a:pt x="1886" y="137"/>
                    </a:lnTo>
                    <a:lnTo>
                      <a:pt x="1881" y="134"/>
                    </a:lnTo>
                    <a:lnTo>
                      <a:pt x="1871" y="134"/>
                    </a:lnTo>
                    <a:lnTo>
                      <a:pt x="1867" y="132"/>
                    </a:lnTo>
                    <a:lnTo>
                      <a:pt x="1862" y="132"/>
                    </a:lnTo>
                    <a:lnTo>
                      <a:pt x="1862" y="130"/>
                    </a:lnTo>
                    <a:lnTo>
                      <a:pt x="1860" y="127"/>
                    </a:lnTo>
                    <a:lnTo>
                      <a:pt x="1857" y="127"/>
                    </a:lnTo>
                    <a:lnTo>
                      <a:pt x="1857" y="125"/>
                    </a:lnTo>
                    <a:lnTo>
                      <a:pt x="1855" y="123"/>
                    </a:lnTo>
                    <a:lnTo>
                      <a:pt x="1852" y="123"/>
                    </a:lnTo>
                    <a:lnTo>
                      <a:pt x="1850" y="120"/>
                    </a:lnTo>
                    <a:lnTo>
                      <a:pt x="1845" y="118"/>
                    </a:lnTo>
                    <a:lnTo>
                      <a:pt x="1843" y="118"/>
                    </a:lnTo>
                    <a:lnTo>
                      <a:pt x="1836" y="116"/>
                    </a:lnTo>
                    <a:lnTo>
                      <a:pt x="1824" y="113"/>
                    </a:lnTo>
                    <a:lnTo>
                      <a:pt x="1812" y="111"/>
                    </a:lnTo>
                    <a:lnTo>
                      <a:pt x="1803" y="111"/>
                    </a:lnTo>
                    <a:lnTo>
                      <a:pt x="1793" y="111"/>
                    </a:lnTo>
                    <a:lnTo>
                      <a:pt x="1782" y="111"/>
                    </a:lnTo>
                    <a:lnTo>
                      <a:pt x="1779" y="111"/>
                    </a:lnTo>
                    <a:lnTo>
                      <a:pt x="1772" y="111"/>
                    </a:lnTo>
                    <a:lnTo>
                      <a:pt x="1765" y="111"/>
                    </a:lnTo>
                    <a:lnTo>
                      <a:pt x="1760" y="113"/>
                    </a:lnTo>
                    <a:lnTo>
                      <a:pt x="1755" y="113"/>
                    </a:lnTo>
                    <a:lnTo>
                      <a:pt x="1748" y="113"/>
                    </a:lnTo>
                    <a:lnTo>
                      <a:pt x="1744" y="116"/>
                    </a:lnTo>
                    <a:lnTo>
                      <a:pt x="1729" y="111"/>
                    </a:lnTo>
                    <a:lnTo>
                      <a:pt x="1732" y="111"/>
                    </a:lnTo>
                    <a:lnTo>
                      <a:pt x="1734" y="111"/>
                    </a:lnTo>
                    <a:lnTo>
                      <a:pt x="1725" y="108"/>
                    </a:lnTo>
                    <a:lnTo>
                      <a:pt x="1720" y="106"/>
                    </a:lnTo>
                    <a:lnTo>
                      <a:pt x="1713" y="106"/>
                    </a:lnTo>
                    <a:lnTo>
                      <a:pt x="1711" y="104"/>
                    </a:lnTo>
                    <a:lnTo>
                      <a:pt x="1708" y="106"/>
                    </a:lnTo>
                    <a:lnTo>
                      <a:pt x="1703" y="106"/>
                    </a:lnTo>
                    <a:lnTo>
                      <a:pt x="1703" y="108"/>
                    </a:lnTo>
                    <a:lnTo>
                      <a:pt x="1703" y="106"/>
                    </a:lnTo>
                    <a:lnTo>
                      <a:pt x="1706" y="104"/>
                    </a:lnTo>
                    <a:lnTo>
                      <a:pt x="1706" y="104"/>
                    </a:lnTo>
                    <a:lnTo>
                      <a:pt x="1703" y="104"/>
                    </a:lnTo>
                    <a:lnTo>
                      <a:pt x="1703" y="101"/>
                    </a:lnTo>
                    <a:lnTo>
                      <a:pt x="1696" y="104"/>
                    </a:lnTo>
                    <a:lnTo>
                      <a:pt x="1694" y="101"/>
                    </a:lnTo>
                    <a:lnTo>
                      <a:pt x="1692" y="101"/>
                    </a:lnTo>
                    <a:lnTo>
                      <a:pt x="1692" y="101"/>
                    </a:lnTo>
                    <a:lnTo>
                      <a:pt x="1685" y="99"/>
                    </a:lnTo>
                    <a:lnTo>
                      <a:pt x="1680" y="99"/>
                    </a:lnTo>
                    <a:lnTo>
                      <a:pt x="1677" y="99"/>
                    </a:lnTo>
                    <a:lnTo>
                      <a:pt x="1675" y="99"/>
                    </a:lnTo>
                    <a:lnTo>
                      <a:pt x="1675" y="99"/>
                    </a:lnTo>
                    <a:lnTo>
                      <a:pt x="1675" y="99"/>
                    </a:lnTo>
                    <a:lnTo>
                      <a:pt x="1675" y="97"/>
                    </a:lnTo>
                    <a:lnTo>
                      <a:pt x="1677" y="97"/>
                    </a:lnTo>
                    <a:lnTo>
                      <a:pt x="1687" y="97"/>
                    </a:lnTo>
                    <a:lnTo>
                      <a:pt x="1687" y="97"/>
                    </a:lnTo>
                    <a:lnTo>
                      <a:pt x="1685" y="94"/>
                    </a:lnTo>
                    <a:lnTo>
                      <a:pt x="1685" y="94"/>
                    </a:lnTo>
                    <a:lnTo>
                      <a:pt x="1677" y="92"/>
                    </a:lnTo>
                    <a:lnTo>
                      <a:pt x="1673" y="92"/>
                    </a:lnTo>
                    <a:lnTo>
                      <a:pt x="1663" y="90"/>
                    </a:lnTo>
                    <a:lnTo>
                      <a:pt x="1656" y="90"/>
                    </a:lnTo>
                    <a:lnTo>
                      <a:pt x="1642" y="90"/>
                    </a:lnTo>
                    <a:lnTo>
                      <a:pt x="1640" y="90"/>
                    </a:lnTo>
                    <a:lnTo>
                      <a:pt x="1640" y="90"/>
                    </a:lnTo>
                    <a:lnTo>
                      <a:pt x="1640" y="92"/>
                    </a:lnTo>
                    <a:lnTo>
                      <a:pt x="1637" y="97"/>
                    </a:lnTo>
                    <a:lnTo>
                      <a:pt x="1637" y="97"/>
                    </a:lnTo>
                    <a:lnTo>
                      <a:pt x="1635" y="99"/>
                    </a:lnTo>
                    <a:lnTo>
                      <a:pt x="1628" y="99"/>
                    </a:lnTo>
                    <a:lnTo>
                      <a:pt x="1625" y="99"/>
                    </a:lnTo>
                    <a:lnTo>
                      <a:pt x="1623" y="99"/>
                    </a:lnTo>
                    <a:lnTo>
                      <a:pt x="1623" y="97"/>
                    </a:lnTo>
                    <a:lnTo>
                      <a:pt x="1623" y="97"/>
                    </a:lnTo>
                    <a:lnTo>
                      <a:pt x="1623" y="97"/>
                    </a:lnTo>
                    <a:lnTo>
                      <a:pt x="1621" y="97"/>
                    </a:lnTo>
                    <a:lnTo>
                      <a:pt x="1621" y="97"/>
                    </a:lnTo>
                    <a:lnTo>
                      <a:pt x="1621" y="97"/>
                    </a:lnTo>
                    <a:lnTo>
                      <a:pt x="1623" y="97"/>
                    </a:lnTo>
                    <a:lnTo>
                      <a:pt x="1625" y="97"/>
                    </a:lnTo>
                    <a:lnTo>
                      <a:pt x="1630" y="94"/>
                    </a:lnTo>
                    <a:lnTo>
                      <a:pt x="1628" y="94"/>
                    </a:lnTo>
                    <a:lnTo>
                      <a:pt x="1625" y="92"/>
                    </a:lnTo>
                    <a:lnTo>
                      <a:pt x="1623" y="92"/>
                    </a:lnTo>
                    <a:lnTo>
                      <a:pt x="1623" y="90"/>
                    </a:lnTo>
                    <a:lnTo>
                      <a:pt x="1623" y="90"/>
                    </a:lnTo>
                    <a:lnTo>
                      <a:pt x="1623" y="90"/>
                    </a:lnTo>
                    <a:lnTo>
                      <a:pt x="1628" y="92"/>
                    </a:lnTo>
                    <a:lnTo>
                      <a:pt x="1630" y="92"/>
                    </a:lnTo>
                    <a:lnTo>
                      <a:pt x="1630" y="92"/>
                    </a:lnTo>
                    <a:lnTo>
                      <a:pt x="1632" y="94"/>
                    </a:lnTo>
                    <a:lnTo>
                      <a:pt x="1635" y="94"/>
                    </a:lnTo>
                    <a:lnTo>
                      <a:pt x="1635" y="94"/>
                    </a:lnTo>
                    <a:lnTo>
                      <a:pt x="1637" y="92"/>
                    </a:lnTo>
                    <a:lnTo>
                      <a:pt x="1637" y="90"/>
                    </a:lnTo>
                    <a:lnTo>
                      <a:pt x="1635" y="90"/>
                    </a:lnTo>
                    <a:lnTo>
                      <a:pt x="1632" y="90"/>
                    </a:lnTo>
                    <a:lnTo>
                      <a:pt x="1614" y="90"/>
                    </a:lnTo>
                    <a:lnTo>
                      <a:pt x="1606" y="92"/>
                    </a:lnTo>
                    <a:lnTo>
                      <a:pt x="1604" y="92"/>
                    </a:lnTo>
                    <a:lnTo>
                      <a:pt x="1602" y="90"/>
                    </a:lnTo>
                    <a:lnTo>
                      <a:pt x="1604" y="90"/>
                    </a:lnTo>
                    <a:lnTo>
                      <a:pt x="1606" y="90"/>
                    </a:lnTo>
                    <a:lnTo>
                      <a:pt x="1606" y="87"/>
                    </a:lnTo>
                    <a:lnTo>
                      <a:pt x="1609" y="87"/>
                    </a:lnTo>
                    <a:lnTo>
                      <a:pt x="1611" y="87"/>
                    </a:lnTo>
                    <a:lnTo>
                      <a:pt x="1616" y="87"/>
                    </a:lnTo>
                    <a:lnTo>
                      <a:pt x="1625" y="87"/>
                    </a:lnTo>
                    <a:lnTo>
                      <a:pt x="1625" y="87"/>
                    </a:lnTo>
                    <a:lnTo>
                      <a:pt x="1621" y="87"/>
                    </a:lnTo>
                    <a:lnTo>
                      <a:pt x="1616" y="85"/>
                    </a:lnTo>
                    <a:lnTo>
                      <a:pt x="1614" y="85"/>
                    </a:lnTo>
                    <a:lnTo>
                      <a:pt x="1609" y="85"/>
                    </a:lnTo>
                    <a:lnTo>
                      <a:pt x="1599" y="85"/>
                    </a:lnTo>
                    <a:lnTo>
                      <a:pt x="1595" y="82"/>
                    </a:lnTo>
                    <a:lnTo>
                      <a:pt x="1585" y="82"/>
                    </a:lnTo>
                    <a:moveTo>
                      <a:pt x="369" y="142"/>
                    </a:moveTo>
                    <a:lnTo>
                      <a:pt x="369" y="144"/>
                    </a:lnTo>
                    <a:lnTo>
                      <a:pt x="369" y="144"/>
                    </a:lnTo>
                    <a:lnTo>
                      <a:pt x="369" y="146"/>
                    </a:lnTo>
                    <a:lnTo>
                      <a:pt x="372" y="146"/>
                    </a:lnTo>
                    <a:lnTo>
                      <a:pt x="372" y="149"/>
                    </a:lnTo>
                    <a:lnTo>
                      <a:pt x="374" y="151"/>
                    </a:lnTo>
                    <a:lnTo>
                      <a:pt x="376" y="151"/>
                    </a:lnTo>
                    <a:lnTo>
                      <a:pt x="381" y="151"/>
                    </a:lnTo>
                    <a:lnTo>
                      <a:pt x="383" y="151"/>
                    </a:lnTo>
                    <a:lnTo>
                      <a:pt x="391" y="149"/>
                    </a:lnTo>
                    <a:lnTo>
                      <a:pt x="393" y="146"/>
                    </a:lnTo>
                    <a:lnTo>
                      <a:pt x="393" y="146"/>
                    </a:lnTo>
                    <a:lnTo>
                      <a:pt x="395" y="144"/>
                    </a:lnTo>
                    <a:lnTo>
                      <a:pt x="395" y="144"/>
                    </a:lnTo>
                    <a:lnTo>
                      <a:pt x="395" y="146"/>
                    </a:lnTo>
                    <a:lnTo>
                      <a:pt x="398" y="146"/>
                    </a:lnTo>
                    <a:lnTo>
                      <a:pt x="398" y="146"/>
                    </a:lnTo>
                    <a:lnTo>
                      <a:pt x="395" y="144"/>
                    </a:lnTo>
                    <a:lnTo>
                      <a:pt x="395" y="142"/>
                    </a:lnTo>
                    <a:lnTo>
                      <a:pt x="393" y="142"/>
                    </a:lnTo>
                    <a:lnTo>
                      <a:pt x="381" y="137"/>
                    </a:lnTo>
                    <a:lnTo>
                      <a:pt x="376" y="137"/>
                    </a:lnTo>
                    <a:lnTo>
                      <a:pt x="376" y="137"/>
                    </a:lnTo>
                    <a:lnTo>
                      <a:pt x="372" y="139"/>
                    </a:lnTo>
                    <a:lnTo>
                      <a:pt x="369" y="142"/>
                    </a:lnTo>
                    <a:lnTo>
                      <a:pt x="369" y="142"/>
                    </a:lnTo>
                    <a:moveTo>
                      <a:pt x="303" y="187"/>
                    </a:moveTo>
                    <a:lnTo>
                      <a:pt x="303" y="187"/>
                    </a:lnTo>
                    <a:lnTo>
                      <a:pt x="303" y="187"/>
                    </a:lnTo>
                    <a:lnTo>
                      <a:pt x="305" y="189"/>
                    </a:lnTo>
                    <a:lnTo>
                      <a:pt x="305" y="189"/>
                    </a:lnTo>
                    <a:lnTo>
                      <a:pt x="305" y="187"/>
                    </a:lnTo>
                    <a:lnTo>
                      <a:pt x="305" y="187"/>
                    </a:lnTo>
                    <a:lnTo>
                      <a:pt x="303" y="187"/>
                    </a:lnTo>
                    <a:lnTo>
                      <a:pt x="303" y="187"/>
                    </a:lnTo>
                    <a:moveTo>
                      <a:pt x="2065" y="594"/>
                    </a:moveTo>
                    <a:lnTo>
                      <a:pt x="2065" y="594"/>
                    </a:lnTo>
                    <a:lnTo>
                      <a:pt x="2065" y="591"/>
                    </a:lnTo>
                    <a:lnTo>
                      <a:pt x="2063" y="589"/>
                    </a:lnTo>
                    <a:lnTo>
                      <a:pt x="2063" y="589"/>
                    </a:lnTo>
                    <a:lnTo>
                      <a:pt x="2061" y="584"/>
                    </a:lnTo>
                    <a:lnTo>
                      <a:pt x="2056" y="582"/>
                    </a:lnTo>
                    <a:lnTo>
                      <a:pt x="2056" y="580"/>
                    </a:lnTo>
                    <a:lnTo>
                      <a:pt x="2054" y="580"/>
                    </a:lnTo>
                    <a:lnTo>
                      <a:pt x="2054" y="580"/>
                    </a:lnTo>
                    <a:lnTo>
                      <a:pt x="2051" y="580"/>
                    </a:lnTo>
                    <a:lnTo>
                      <a:pt x="2051" y="580"/>
                    </a:lnTo>
                    <a:lnTo>
                      <a:pt x="2046" y="575"/>
                    </a:lnTo>
                    <a:lnTo>
                      <a:pt x="2042" y="573"/>
                    </a:lnTo>
                    <a:lnTo>
                      <a:pt x="2039" y="570"/>
                    </a:lnTo>
                    <a:lnTo>
                      <a:pt x="2039" y="568"/>
                    </a:lnTo>
                    <a:lnTo>
                      <a:pt x="2037" y="568"/>
                    </a:lnTo>
                    <a:lnTo>
                      <a:pt x="2037" y="568"/>
                    </a:lnTo>
                    <a:lnTo>
                      <a:pt x="2035" y="568"/>
                    </a:lnTo>
                    <a:lnTo>
                      <a:pt x="2032" y="565"/>
                    </a:lnTo>
                    <a:lnTo>
                      <a:pt x="2030" y="563"/>
                    </a:lnTo>
                    <a:lnTo>
                      <a:pt x="2028" y="561"/>
                    </a:lnTo>
                    <a:lnTo>
                      <a:pt x="2025" y="558"/>
                    </a:lnTo>
                    <a:lnTo>
                      <a:pt x="2023" y="554"/>
                    </a:lnTo>
                    <a:lnTo>
                      <a:pt x="2023" y="551"/>
                    </a:lnTo>
                    <a:lnTo>
                      <a:pt x="2018" y="537"/>
                    </a:lnTo>
                    <a:lnTo>
                      <a:pt x="2016" y="532"/>
                    </a:lnTo>
                    <a:lnTo>
                      <a:pt x="2016" y="530"/>
                    </a:lnTo>
                    <a:lnTo>
                      <a:pt x="2018" y="530"/>
                    </a:lnTo>
                    <a:lnTo>
                      <a:pt x="2020" y="530"/>
                    </a:lnTo>
                    <a:lnTo>
                      <a:pt x="2025" y="528"/>
                    </a:lnTo>
                    <a:lnTo>
                      <a:pt x="2025" y="528"/>
                    </a:lnTo>
                    <a:lnTo>
                      <a:pt x="2030" y="530"/>
                    </a:lnTo>
                    <a:lnTo>
                      <a:pt x="2030" y="530"/>
                    </a:lnTo>
                    <a:lnTo>
                      <a:pt x="2032" y="530"/>
                    </a:lnTo>
                    <a:lnTo>
                      <a:pt x="2037" y="532"/>
                    </a:lnTo>
                    <a:lnTo>
                      <a:pt x="2042" y="535"/>
                    </a:lnTo>
                    <a:lnTo>
                      <a:pt x="2044" y="537"/>
                    </a:lnTo>
                    <a:lnTo>
                      <a:pt x="2046" y="539"/>
                    </a:lnTo>
                    <a:lnTo>
                      <a:pt x="2049" y="542"/>
                    </a:lnTo>
                    <a:lnTo>
                      <a:pt x="2051" y="542"/>
                    </a:lnTo>
                    <a:lnTo>
                      <a:pt x="2049" y="539"/>
                    </a:lnTo>
                    <a:lnTo>
                      <a:pt x="2046" y="537"/>
                    </a:lnTo>
                    <a:lnTo>
                      <a:pt x="2044" y="537"/>
                    </a:lnTo>
                    <a:lnTo>
                      <a:pt x="2039" y="535"/>
                    </a:lnTo>
                    <a:lnTo>
                      <a:pt x="2037" y="530"/>
                    </a:lnTo>
                    <a:lnTo>
                      <a:pt x="2035" y="528"/>
                    </a:lnTo>
                    <a:lnTo>
                      <a:pt x="2032" y="525"/>
                    </a:lnTo>
                    <a:lnTo>
                      <a:pt x="2030" y="523"/>
                    </a:lnTo>
                    <a:lnTo>
                      <a:pt x="2025" y="520"/>
                    </a:lnTo>
                    <a:lnTo>
                      <a:pt x="2020" y="516"/>
                    </a:lnTo>
                    <a:lnTo>
                      <a:pt x="2011" y="509"/>
                    </a:lnTo>
                    <a:lnTo>
                      <a:pt x="2006" y="504"/>
                    </a:lnTo>
                    <a:lnTo>
                      <a:pt x="1992" y="490"/>
                    </a:lnTo>
                    <a:lnTo>
                      <a:pt x="1992" y="487"/>
                    </a:lnTo>
                    <a:lnTo>
                      <a:pt x="1990" y="487"/>
                    </a:lnTo>
                    <a:lnTo>
                      <a:pt x="1990" y="485"/>
                    </a:lnTo>
                    <a:lnTo>
                      <a:pt x="1987" y="485"/>
                    </a:lnTo>
                    <a:lnTo>
                      <a:pt x="1985" y="483"/>
                    </a:lnTo>
                    <a:lnTo>
                      <a:pt x="1983" y="483"/>
                    </a:lnTo>
                    <a:lnTo>
                      <a:pt x="1983" y="480"/>
                    </a:lnTo>
                    <a:lnTo>
                      <a:pt x="1980" y="478"/>
                    </a:lnTo>
                    <a:lnTo>
                      <a:pt x="1978" y="475"/>
                    </a:lnTo>
                    <a:lnTo>
                      <a:pt x="1975" y="475"/>
                    </a:lnTo>
                    <a:lnTo>
                      <a:pt x="1973" y="471"/>
                    </a:lnTo>
                    <a:lnTo>
                      <a:pt x="1968" y="466"/>
                    </a:lnTo>
                    <a:lnTo>
                      <a:pt x="1968" y="464"/>
                    </a:lnTo>
                    <a:lnTo>
                      <a:pt x="1968" y="464"/>
                    </a:lnTo>
                    <a:lnTo>
                      <a:pt x="1968" y="464"/>
                    </a:lnTo>
                    <a:lnTo>
                      <a:pt x="1966" y="461"/>
                    </a:lnTo>
                    <a:lnTo>
                      <a:pt x="1966" y="459"/>
                    </a:lnTo>
                    <a:lnTo>
                      <a:pt x="1961" y="454"/>
                    </a:lnTo>
                    <a:lnTo>
                      <a:pt x="1957" y="449"/>
                    </a:lnTo>
                    <a:lnTo>
                      <a:pt x="1957" y="449"/>
                    </a:lnTo>
                    <a:lnTo>
                      <a:pt x="1954" y="447"/>
                    </a:lnTo>
                    <a:lnTo>
                      <a:pt x="1949" y="442"/>
                    </a:lnTo>
                    <a:lnTo>
                      <a:pt x="1940" y="438"/>
                    </a:lnTo>
                    <a:lnTo>
                      <a:pt x="1940" y="438"/>
                    </a:lnTo>
                    <a:lnTo>
                      <a:pt x="1940" y="435"/>
                    </a:lnTo>
                    <a:lnTo>
                      <a:pt x="1938" y="433"/>
                    </a:lnTo>
                    <a:lnTo>
                      <a:pt x="1938" y="433"/>
                    </a:lnTo>
                    <a:lnTo>
                      <a:pt x="1938" y="430"/>
                    </a:lnTo>
                    <a:lnTo>
                      <a:pt x="1935" y="430"/>
                    </a:lnTo>
                    <a:lnTo>
                      <a:pt x="1928" y="426"/>
                    </a:lnTo>
                    <a:lnTo>
                      <a:pt x="1926" y="426"/>
                    </a:lnTo>
                    <a:lnTo>
                      <a:pt x="1928" y="426"/>
                    </a:lnTo>
                    <a:lnTo>
                      <a:pt x="1928" y="428"/>
                    </a:lnTo>
                    <a:lnTo>
                      <a:pt x="1926" y="428"/>
                    </a:lnTo>
                    <a:lnTo>
                      <a:pt x="1923" y="428"/>
                    </a:lnTo>
                    <a:lnTo>
                      <a:pt x="1928" y="430"/>
                    </a:lnTo>
                    <a:lnTo>
                      <a:pt x="1933" y="433"/>
                    </a:lnTo>
                    <a:lnTo>
                      <a:pt x="1935" y="435"/>
                    </a:lnTo>
                    <a:lnTo>
                      <a:pt x="1938" y="438"/>
                    </a:lnTo>
                    <a:lnTo>
                      <a:pt x="1938" y="438"/>
                    </a:lnTo>
                    <a:lnTo>
                      <a:pt x="1938" y="438"/>
                    </a:lnTo>
                    <a:lnTo>
                      <a:pt x="1940" y="440"/>
                    </a:lnTo>
                    <a:lnTo>
                      <a:pt x="1938" y="440"/>
                    </a:lnTo>
                    <a:lnTo>
                      <a:pt x="1938" y="442"/>
                    </a:lnTo>
                    <a:lnTo>
                      <a:pt x="1940" y="442"/>
                    </a:lnTo>
                    <a:lnTo>
                      <a:pt x="1940" y="445"/>
                    </a:lnTo>
                    <a:lnTo>
                      <a:pt x="1940" y="445"/>
                    </a:lnTo>
                    <a:lnTo>
                      <a:pt x="1938" y="445"/>
                    </a:lnTo>
                    <a:lnTo>
                      <a:pt x="1938" y="445"/>
                    </a:lnTo>
                    <a:lnTo>
                      <a:pt x="1935" y="442"/>
                    </a:lnTo>
                    <a:lnTo>
                      <a:pt x="1933" y="442"/>
                    </a:lnTo>
                    <a:lnTo>
                      <a:pt x="1931" y="445"/>
                    </a:lnTo>
                    <a:lnTo>
                      <a:pt x="1931" y="445"/>
                    </a:lnTo>
                    <a:lnTo>
                      <a:pt x="1931" y="447"/>
                    </a:lnTo>
                    <a:lnTo>
                      <a:pt x="1935" y="449"/>
                    </a:lnTo>
                    <a:lnTo>
                      <a:pt x="1938" y="452"/>
                    </a:lnTo>
                    <a:lnTo>
                      <a:pt x="1940" y="457"/>
                    </a:lnTo>
                    <a:lnTo>
                      <a:pt x="1945" y="461"/>
                    </a:lnTo>
                    <a:lnTo>
                      <a:pt x="1945" y="464"/>
                    </a:lnTo>
                    <a:lnTo>
                      <a:pt x="1945" y="466"/>
                    </a:lnTo>
                    <a:lnTo>
                      <a:pt x="1945" y="468"/>
                    </a:lnTo>
                    <a:lnTo>
                      <a:pt x="1952" y="475"/>
                    </a:lnTo>
                    <a:lnTo>
                      <a:pt x="1954" y="475"/>
                    </a:lnTo>
                    <a:lnTo>
                      <a:pt x="1957" y="478"/>
                    </a:lnTo>
                    <a:lnTo>
                      <a:pt x="1957" y="478"/>
                    </a:lnTo>
                    <a:lnTo>
                      <a:pt x="1957" y="478"/>
                    </a:lnTo>
                    <a:lnTo>
                      <a:pt x="1957" y="480"/>
                    </a:lnTo>
                    <a:lnTo>
                      <a:pt x="1959" y="480"/>
                    </a:lnTo>
                    <a:lnTo>
                      <a:pt x="1964" y="483"/>
                    </a:lnTo>
                    <a:lnTo>
                      <a:pt x="1966" y="485"/>
                    </a:lnTo>
                    <a:lnTo>
                      <a:pt x="1971" y="490"/>
                    </a:lnTo>
                    <a:lnTo>
                      <a:pt x="1975" y="494"/>
                    </a:lnTo>
                    <a:lnTo>
                      <a:pt x="1975" y="497"/>
                    </a:lnTo>
                    <a:lnTo>
                      <a:pt x="1975" y="499"/>
                    </a:lnTo>
                    <a:lnTo>
                      <a:pt x="1978" y="502"/>
                    </a:lnTo>
                    <a:lnTo>
                      <a:pt x="1980" y="504"/>
                    </a:lnTo>
                    <a:lnTo>
                      <a:pt x="1985" y="509"/>
                    </a:lnTo>
                    <a:lnTo>
                      <a:pt x="1985" y="509"/>
                    </a:lnTo>
                    <a:lnTo>
                      <a:pt x="1994" y="523"/>
                    </a:lnTo>
                    <a:lnTo>
                      <a:pt x="1997" y="525"/>
                    </a:lnTo>
                    <a:lnTo>
                      <a:pt x="1997" y="528"/>
                    </a:lnTo>
                    <a:lnTo>
                      <a:pt x="2002" y="532"/>
                    </a:lnTo>
                    <a:lnTo>
                      <a:pt x="2002" y="535"/>
                    </a:lnTo>
                    <a:lnTo>
                      <a:pt x="2002" y="539"/>
                    </a:lnTo>
                    <a:lnTo>
                      <a:pt x="2004" y="542"/>
                    </a:lnTo>
                    <a:lnTo>
                      <a:pt x="2004" y="542"/>
                    </a:lnTo>
                    <a:lnTo>
                      <a:pt x="2009" y="546"/>
                    </a:lnTo>
                    <a:lnTo>
                      <a:pt x="2013" y="549"/>
                    </a:lnTo>
                    <a:lnTo>
                      <a:pt x="2018" y="556"/>
                    </a:lnTo>
                    <a:lnTo>
                      <a:pt x="2018" y="558"/>
                    </a:lnTo>
                    <a:lnTo>
                      <a:pt x="2018" y="558"/>
                    </a:lnTo>
                    <a:lnTo>
                      <a:pt x="2020" y="561"/>
                    </a:lnTo>
                    <a:lnTo>
                      <a:pt x="2020" y="563"/>
                    </a:lnTo>
                    <a:lnTo>
                      <a:pt x="2020" y="565"/>
                    </a:lnTo>
                    <a:lnTo>
                      <a:pt x="2025" y="568"/>
                    </a:lnTo>
                    <a:lnTo>
                      <a:pt x="2025" y="570"/>
                    </a:lnTo>
                    <a:lnTo>
                      <a:pt x="2028" y="573"/>
                    </a:lnTo>
                    <a:lnTo>
                      <a:pt x="2030" y="575"/>
                    </a:lnTo>
                    <a:lnTo>
                      <a:pt x="2030" y="582"/>
                    </a:lnTo>
                    <a:lnTo>
                      <a:pt x="2035" y="587"/>
                    </a:lnTo>
                    <a:lnTo>
                      <a:pt x="2039" y="594"/>
                    </a:lnTo>
                    <a:lnTo>
                      <a:pt x="2039" y="594"/>
                    </a:lnTo>
                    <a:lnTo>
                      <a:pt x="2042" y="596"/>
                    </a:lnTo>
                    <a:lnTo>
                      <a:pt x="2044" y="599"/>
                    </a:lnTo>
                    <a:lnTo>
                      <a:pt x="2044" y="599"/>
                    </a:lnTo>
                    <a:lnTo>
                      <a:pt x="2044" y="596"/>
                    </a:lnTo>
                    <a:lnTo>
                      <a:pt x="2044" y="594"/>
                    </a:lnTo>
                    <a:lnTo>
                      <a:pt x="2042" y="589"/>
                    </a:lnTo>
                    <a:lnTo>
                      <a:pt x="2042" y="587"/>
                    </a:lnTo>
                    <a:lnTo>
                      <a:pt x="2042" y="584"/>
                    </a:lnTo>
                    <a:lnTo>
                      <a:pt x="2042" y="584"/>
                    </a:lnTo>
                    <a:lnTo>
                      <a:pt x="2042" y="582"/>
                    </a:lnTo>
                    <a:lnTo>
                      <a:pt x="2044" y="582"/>
                    </a:lnTo>
                    <a:lnTo>
                      <a:pt x="2044" y="582"/>
                    </a:lnTo>
                    <a:lnTo>
                      <a:pt x="2046" y="582"/>
                    </a:lnTo>
                    <a:lnTo>
                      <a:pt x="2046" y="584"/>
                    </a:lnTo>
                    <a:lnTo>
                      <a:pt x="2049" y="584"/>
                    </a:lnTo>
                    <a:lnTo>
                      <a:pt x="2051" y="584"/>
                    </a:lnTo>
                    <a:lnTo>
                      <a:pt x="2056" y="584"/>
                    </a:lnTo>
                    <a:lnTo>
                      <a:pt x="2058" y="587"/>
                    </a:lnTo>
                    <a:lnTo>
                      <a:pt x="2061" y="589"/>
                    </a:lnTo>
                    <a:lnTo>
                      <a:pt x="2063" y="591"/>
                    </a:lnTo>
                    <a:lnTo>
                      <a:pt x="2065" y="596"/>
                    </a:lnTo>
                    <a:lnTo>
                      <a:pt x="2065" y="596"/>
                    </a:lnTo>
                    <a:lnTo>
                      <a:pt x="2065" y="594"/>
                    </a:lnTo>
                    <a:moveTo>
                      <a:pt x="50" y="416"/>
                    </a:moveTo>
                    <a:lnTo>
                      <a:pt x="50" y="416"/>
                    </a:lnTo>
                    <a:lnTo>
                      <a:pt x="48" y="414"/>
                    </a:lnTo>
                    <a:lnTo>
                      <a:pt x="45" y="414"/>
                    </a:lnTo>
                    <a:lnTo>
                      <a:pt x="45" y="412"/>
                    </a:lnTo>
                    <a:lnTo>
                      <a:pt x="40" y="412"/>
                    </a:lnTo>
                    <a:lnTo>
                      <a:pt x="38" y="412"/>
                    </a:lnTo>
                    <a:lnTo>
                      <a:pt x="38" y="412"/>
                    </a:lnTo>
                    <a:lnTo>
                      <a:pt x="33" y="412"/>
                    </a:lnTo>
                    <a:lnTo>
                      <a:pt x="31" y="409"/>
                    </a:lnTo>
                    <a:lnTo>
                      <a:pt x="29" y="409"/>
                    </a:lnTo>
                    <a:lnTo>
                      <a:pt x="26" y="409"/>
                    </a:lnTo>
                    <a:lnTo>
                      <a:pt x="26" y="407"/>
                    </a:lnTo>
                    <a:lnTo>
                      <a:pt x="24" y="407"/>
                    </a:lnTo>
                    <a:lnTo>
                      <a:pt x="24" y="407"/>
                    </a:lnTo>
                    <a:lnTo>
                      <a:pt x="24" y="412"/>
                    </a:lnTo>
                    <a:lnTo>
                      <a:pt x="24" y="414"/>
                    </a:lnTo>
                    <a:lnTo>
                      <a:pt x="22" y="414"/>
                    </a:lnTo>
                    <a:lnTo>
                      <a:pt x="19" y="414"/>
                    </a:lnTo>
                    <a:lnTo>
                      <a:pt x="17" y="414"/>
                    </a:lnTo>
                    <a:lnTo>
                      <a:pt x="14" y="414"/>
                    </a:lnTo>
                    <a:lnTo>
                      <a:pt x="14" y="414"/>
                    </a:lnTo>
                    <a:lnTo>
                      <a:pt x="19" y="409"/>
                    </a:lnTo>
                    <a:lnTo>
                      <a:pt x="19" y="407"/>
                    </a:lnTo>
                    <a:lnTo>
                      <a:pt x="19" y="407"/>
                    </a:lnTo>
                    <a:lnTo>
                      <a:pt x="17" y="409"/>
                    </a:lnTo>
                    <a:lnTo>
                      <a:pt x="14" y="412"/>
                    </a:lnTo>
                    <a:lnTo>
                      <a:pt x="12" y="414"/>
                    </a:lnTo>
                    <a:lnTo>
                      <a:pt x="12" y="414"/>
                    </a:lnTo>
                    <a:lnTo>
                      <a:pt x="7" y="414"/>
                    </a:lnTo>
                    <a:lnTo>
                      <a:pt x="5" y="414"/>
                    </a:lnTo>
                    <a:lnTo>
                      <a:pt x="5" y="416"/>
                    </a:lnTo>
                    <a:lnTo>
                      <a:pt x="5" y="419"/>
                    </a:lnTo>
                    <a:lnTo>
                      <a:pt x="3" y="421"/>
                    </a:lnTo>
                    <a:lnTo>
                      <a:pt x="3" y="421"/>
                    </a:lnTo>
                    <a:lnTo>
                      <a:pt x="0" y="423"/>
                    </a:lnTo>
                    <a:lnTo>
                      <a:pt x="0" y="423"/>
                    </a:lnTo>
                    <a:lnTo>
                      <a:pt x="5" y="423"/>
                    </a:lnTo>
                    <a:lnTo>
                      <a:pt x="10" y="426"/>
                    </a:lnTo>
                    <a:lnTo>
                      <a:pt x="17" y="426"/>
                    </a:lnTo>
                    <a:lnTo>
                      <a:pt x="24" y="426"/>
                    </a:lnTo>
                    <a:lnTo>
                      <a:pt x="31" y="426"/>
                    </a:lnTo>
                    <a:lnTo>
                      <a:pt x="40" y="426"/>
                    </a:lnTo>
                    <a:lnTo>
                      <a:pt x="48" y="426"/>
                    </a:lnTo>
                    <a:lnTo>
                      <a:pt x="50" y="426"/>
                    </a:lnTo>
                    <a:lnTo>
                      <a:pt x="48" y="426"/>
                    </a:lnTo>
                    <a:lnTo>
                      <a:pt x="48" y="423"/>
                    </a:lnTo>
                    <a:lnTo>
                      <a:pt x="48" y="421"/>
                    </a:lnTo>
                    <a:lnTo>
                      <a:pt x="48" y="421"/>
                    </a:lnTo>
                    <a:lnTo>
                      <a:pt x="50" y="416"/>
                    </a:lnTo>
                    <a:moveTo>
                      <a:pt x="1961" y="333"/>
                    </a:moveTo>
                    <a:lnTo>
                      <a:pt x="1964" y="333"/>
                    </a:lnTo>
                    <a:lnTo>
                      <a:pt x="1964" y="333"/>
                    </a:lnTo>
                    <a:lnTo>
                      <a:pt x="1966" y="333"/>
                    </a:lnTo>
                    <a:lnTo>
                      <a:pt x="1964" y="331"/>
                    </a:lnTo>
                    <a:lnTo>
                      <a:pt x="1964" y="331"/>
                    </a:lnTo>
                    <a:lnTo>
                      <a:pt x="1964" y="333"/>
                    </a:lnTo>
                    <a:lnTo>
                      <a:pt x="1961" y="333"/>
                    </a:lnTo>
                    <a:lnTo>
                      <a:pt x="1961" y="333"/>
                    </a:lnTo>
                  </a:path>
                </a:pathLst>
              </a:custGeom>
              <a:noFill/>
              <a:ln w="3175" cap="rnd">
                <a:solidFill>
                  <a:srgbClr val="F9F9F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92" name="Freeform 64"/>
              <p:cNvSpPr>
                <a:spLocks/>
              </p:cNvSpPr>
              <p:nvPr/>
            </p:nvSpPr>
            <p:spPr bwMode="auto">
              <a:xfrm>
                <a:off x="3108" y="1782"/>
                <a:ext cx="159" cy="97"/>
              </a:xfrm>
              <a:custGeom>
                <a:avLst/>
                <a:gdLst>
                  <a:gd name="T0" fmla="*/ 147 w 159"/>
                  <a:gd name="T1" fmla="*/ 61 h 97"/>
                  <a:gd name="T2" fmla="*/ 142 w 159"/>
                  <a:gd name="T3" fmla="*/ 64 h 97"/>
                  <a:gd name="T4" fmla="*/ 135 w 159"/>
                  <a:gd name="T5" fmla="*/ 61 h 97"/>
                  <a:gd name="T6" fmla="*/ 130 w 159"/>
                  <a:gd name="T7" fmla="*/ 57 h 97"/>
                  <a:gd name="T8" fmla="*/ 130 w 159"/>
                  <a:gd name="T9" fmla="*/ 52 h 97"/>
                  <a:gd name="T10" fmla="*/ 133 w 159"/>
                  <a:gd name="T11" fmla="*/ 38 h 97"/>
                  <a:gd name="T12" fmla="*/ 128 w 159"/>
                  <a:gd name="T13" fmla="*/ 28 h 97"/>
                  <a:gd name="T14" fmla="*/ 121 w 159"/>
                  <a:gd name="T15" fmla="*/ 21 h 97"/>
                  <a:gd name="T16" fmla="*/ 114 w 159"/>
                  <a:gd name="T17" fmla="*/ 14 h 97"/>
                  <a:gd name="T18" fmla="*/ 109 w 159"/>
                  <a:gd name="T19" fmla="*/ 5 h 97"/>
                  <a:gd name="T20" fmla="*/ 104 w 159"/>
                  <a:gd name="T21" fmla="*/ 0 h 97"/>
                  <a:gd name="T22" fmla="*/ 97 w 159"/>
                  <a:gd name="T23" fmla="*/ 5 h 97"/>
                  <a:gd name="T24" fmla="*/ 83 w 159"/>
                  <a:gd name="T25" fmla="*/ 9 h 97"/>
                  <a:gd name="T26" fmla="*/ 74 w 159"/>
                  <a:gd name="T27" fmla="*/ 12 h 97"/>
                  <a:gd name="T28" fmla="*/ 64 w 159"/>
                  <a:gd name="T29" fmla="*/ 9 h 97"/>
                  <a:gd name="T30" fmla="*/ 55 w 159"/>
                  <a:gd name="T31" fmla="*/ 7 h 97"/>
                  <a:gd name="T32" fmla="*/ 45 w 159"/>
                  <a:gd name="T33" fmla="*/ 5 h 97"/>
                  <a:gd name="T34" fmla="*/ 40 w 159"/>
                  <a:gd name="T35" fmla="*/ 7 h 97"/>
                  <a:gd name="T36" fmla="*/ 36 w 159"/>
                  <a:gd name="T37" fmla="*/ 12 h 97"/>
                  <a:gd name="T38" fmla="*/ 31 w 159"/>
                  <a:gd name="T39" fmla="*/ 14 h 97"/>
                  <a:gd name="T40" fmla="*/ 26 w 159"/>
                  <a:gd name="T41" fmla="*/ 19 h 97"/>
                  <a:gd name="T42" fmla="*/ 21 w 159"/>
                  <a:gd name="T43" fmla="*/ 26 h 97"/>
                  <a:gd name="T44" fmla="*/ 19 w 159"/>
                  <a:gd name="T45" fmla="*/ 33 h 97"/>
                  <a:gd name="T46" fmla="*/ 17 w 159"/>
                  <a:gd name="T47" fmla="*/ 35 h 97"/>
                  <a:gd name="T48" fmla="*/ 14 w 159"/>
                  <a:gd name="T49" fmla="*/ 40 h 97"/>
                  <a:gd name="T50" fmla="*/ 7 w 159"/>
                  <a:gd name="T51" fmla="*/ 42 h 97"/>
                  <a:gd name="T52" fmla="*/ 5 w 159"/>
                  <a:gd name="T53" fmla="*/ 45 h 97"/>
                  <a:gd name="T54" fmla="*/ 0 w 159"/>
                  <a:gd name="T55" fmla="*/ 47 h 97"/>
                  <a:gd name="T56" fmla="*/ 7 w 159"/>
                  <a:gd name="T57" fmla="*/ 54 h 97"/>
                  <a:gd name="T58" fmla="*/ 10 w 159"/>
                  <a:gd name="T59" fmla="*/ 54 h 97"/>
                  <a:gd name="T60" fmla="*/ 10 w 159"/>
                  <a:gd name="T61" fmla="*/ 59 h 97"/>
                  <a:gd name="T62" fmla="*/ 12 w 159"/>
                  <a:gd name="T63" fmla="*/ 61 h 97"/>
                  <a:gd name="T64" fmla="*/ 19 w 159"/>
                  <a:gd name="T65" fmla="*/ 64 h 97"/>
                  <a:gd name="T66" fmla="*/ 19 w 159"/>
                  <a:gd name="T67" fmla="*/ 66 h 97"/>
                  <a:gd name="T68" fmla="*/ 19 w 159"/>
                  <a:gd name="T69" fmla="*/ 71 h 97"/>
                  <a:gd name="T70" fmla="*/ 21 w 159"/>
                  <a:gd name="T71" fmla="*/ 71 h 97"/>
                  <a:gd name="T72" fmla="*/ 19 w 159"/>
                  <a:gd name="T73" fmla="*/ 73 h 97"/>
                  <a:gd name="T74" fmla="*/ 29 w 159"/>
                  <a:gd name="T75" fmla="*/ 78 h 97"/>
                  <a:gd name="T76" fmla="*/ 38 w 159"/>
                  <a:gd name="T77" fmla="*/ 76 h 97"/>
                  <a:gd name="T78" fmla="*/ 40 w 159"/>
                  <a:gd name="T79" fmla="*/ 78 h 97"/>
                  <a:gd name="T80" fmla="*/ 40 w 159"/>
                  <a:gd name="T81" fmla="*/ 83 h 97"/>
                  <a:gd name="T82" fmla="*/ 43 w 159"/>
                  <a:gd name="T83" fmla="*/ 87 h 97"/>
                  <a:gd name="T84" fmla="*/ 45 w 159"/>
                  <a:gd name="T85" fmla="*/ 90 h 97"/>
                  <a:gd name="T86" fmla="*/ 52 w 159"/>
                  <a:gd name="T87" fmla="*/ 92 h 97"/>
                  <a:gd name="T88" fmla="*/ 78 w 159"/>
                  <a:gd name="T89" fmla="*/ 97 h 97"/>
                  <a:gd name="T90" fmla="*/ 97 w 159"/>
                  <a:gd name="T91" fmla="*/ 92 h 97"/>
                  <a:gd name="T92" fmla="*/ 116 w 159"/>
                  <a:gd name="T93" fmla="*/ 87 h 97"/>
                  <a:gd name="T94" fmla="*/ 128 w 159"/>
                  <a:gd name="T95" fmla="*/ 92 h 97"/>
                  <a:gd name="T96" fmla="*/ 137 w 159"/>
                  <a:gd name="T97" fmla="*/ 95 h 97"/>
                  <a:gd name="T98" fmla="*/ 142 w 159"/>
                  <a:gd name="T99" fmla="*/ 85 h 97"/>
                  <a:gd name="T100" fmla="*/ 144 w 159"/>
                  <a:gd name="T101" fmla="*/ 78 h 97"/>
                  <a:gd name="T102" fmla="*/ 144 w 159"/>
                  <a:gd name="T103" fmla="*/ 71 h 97"/>
                  <a:gd name="T104" fmla="*/ 149 w 159"/>
                  <a:gd name="T105" fmla="*/ 73 h 97"/>
                  <a:gd name="T106" fmla="*/ 156 w 159"/>
                  <a:gd name="T107" fmla="*/ 71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9" h="97">
                    <a:moveTo>
                      <a:pt x="156" y="61"/>
                    </a:moveTo>
                    <a:lnTo>
                      <a:pt x="156" y="61"/>
                    </a:lnTo>
                    <a:lnTo>
                      <a:pt x="154" y="59"/>
                    </a:lnTo>
                    <a:lnTo>
                      <a:pt x="149" y="59"/>
                    </a:lnTo>
                    <a:lnTo>
                      <a:pt x="147" y="61"/>
                    </a:lnTo>
                    <a:lnTo>
                      <a:pt x="144" y="61"/>
                    </a:lnTo>
                    <a:lnTo>
                      <a:pt x="144" y="61"/>
                    </a:lnTo>
                    <a:lnTo>
                      <a:pt x="142" y="61"/>
                    </a:lnTo>
                    <a:lnTo>
                      <a:pt x="142" y="61"/>
                    </a:lnTo>
                    <a:lnTo>
                      <a:pt x="142" y="64"/>
                    </a:lnTo>
                    <a:lnTo>
                      <a:pt x="142" y="64"/>
                    </a:lnTo>
                    <a:lnTo>
                      <a:pt x="142" y="64"/>
                    </a:lnTo>
                    <a:lnTo>
                      <a:pt x="142" y="64"/>
                    </a:lnTo>
                    <a:lnTo>
                      <a:pt x="137" y="61"/>
                    </a:lnTo>
                    <a:lnTo>
                      <a:pt x="135" y="61"/>
                    </a:lnTo>
                    <a:lnTo>
                      <a:pt x="133" y="59"/>
                    </a:lnTo>
                    <a:lnTo>
                      <a:pt x="133" y="57"/>
                    </a:lnTo>
                    <a:lnTo>
                      <a:pt x="130" y="57"/>
                    </a:lnTo>
                    <a:lnTo>
                      <a:pt x="130" y="57"/>
                    </a:lnTo>
                    <a:lnTo>
                      <a:pt x="130" y="57"/>
                    </a:lnTo>
                    <a:lnTo>
                      <a:pt x="130" y="54"/>
                    </a:lnTo>
                    <a:lnTo>
                      <a:pt x="133" y="54"/>
                    </a:lnTo>
                    <a:lnTo>
                      <a:pt x="130" y="54"/>
                    </a:lnTo>
                    <a:lnTo>
                      <a:pt x="130" y="52"/>
                    </a:lnTo>
                    <a:lnTo>
                      <a:pt x="130" y="52"/>
                    </a:lnTo>
                    <a:lnTo>
                      <a:pt x="130" y="50"/>
                    </a:lnTo>
                    <a:lnTo>
                      <a:pt x="130" y="47"/>
                    </a:lnTo>
                    <a:lnTo>
                      <a:pt x="130" y="45"/>
                    </a:lnTo>
                    <a:lnTo>
                      <a:pt x="130" y="40"/>
                    </a:lnTo>
                    <a:lnTo>
                      <a:pt x="133" y="38"/>
                    </a:lnTo>
                    <a:lnTo>
                      <a:pt x="130" y="38"/>
                    </a:lnTo>
                    <a:lnTo>
                      <a:pt x="130" y="35"/>
                    </a:lnTo>
                    <a:lnTo>
                      <a:pt x="130" y="33"/>
                    </a:lnTo>
                    <a:lnTo>
                      <a:pt x="130" y="31"/>
                    </a:lnTo>
                    <a:lnTo>
                      <a:pt x="128" y="28"/>
                    </a:lnTo>
                    <a:lnTo>
                      <a:pt x="126" y="26"/>
                    </a:lnTo>
                    <a:lnTo>
                      <a:pt x="123" y="24"/>
                    </a:lnTo>
                    <a:lnTo>
                      <a:pt x="123" y="24"/>
                    </a:lnTo>
                    <a:lnTo>
                      <a:pt x="123" y="24"/>
                    </a:lnTo>
                    <a:lnTo>
                      <a:pt x="121" y="21"/>
                    </a:lnTo>
                    <a:lnTo>
                      <a:pt x="121" y="21"/>
                    </a:lnTo>
                    <a:lnTo>
                      <a:pt x="118" y="16"/>
                    </a:lnTo>
                    <a:lnTo>
                      <a:pt x="116" y="16"/>
                    </a:lnTo>
                    <a:lnTo>
                      <a:pt x="116" y="16"/>
                    </a:lnTo>
                    <a:lnTo>
                      <a:pt x="114" y="14"/>
                    </a:lnTo>
                    <a:lnTo>
                      <a:pt x="114" y="12"/>
                    </a:lnTo>
                    <a:lnTo>
                      <a:pt x="114" y="12"/>
                    </a:lnTo>
                    <a:lnTo>
                      <a:pt x="111" y="9"/>
                    </a:lnTo>
                    <a:lnTo>
                      <a:pt x="111" y="7"/>
                    </a:lnTo>
                    <a:lnTo>
                      <a:pt x="109" y="5"/>
                    </a:lnTo>
                    <a:lnTo>
                      <a:pt x="109" y="5"/>
                    </a:lnTo>
                    <a:lnTo>
                      <a:pt x="109" y="2"/>
                    </a:lnTo>
                    <a:lnTo>
                      <a:pt x="107" y="2"/>
                    </a:lnTo>
                    <a:lnTo>
                      <a:pt x="104" y="2"/>
                    </a:lnTo>
                    <a:lnTo>
                      <a:pt x="104" y="0"/>
                    </a:lnTo>
                    <a:lnTo>
                      <a:pt x="102" y="0"/>
                    </a:lnTo>
                    <a:lnTo>
                      <a:pt x="102" y="2"/>
                    </a:lnTo>
                    <a:lnTo>
                      <a:pt x="100" y="2"/>
                    </a:lnTo>
                    <a:lnTo>
                      <a:pt x="97" y="2"/>
                    </a:lnTo>
                    <a:lnTo>
                      <a:pt x="97" y="5"/>
                    </a:lnTo>
                    <a:lnTo>
                      <a:pt x="95" y="5"/>
                    </a:lnTo>
                    <a:lnTo>
                      <a:pt x="95" y="7"/>
                    </a:lnTo>
                    <a:lnTo>
                      <a:pt x="90" y="7"/>
                    </a:lnTo>
                    <a:lnTo>
                      <a:pt x="88" y="7"/>
                    </a:lnTo>
                    <a:lnTo>
                      <a:pt x="83" y="9"/>
                    </a:lnTo>
                    <a:lnTo>
                      <a:pt x="78" y="9"/>
                    </a:lnTo>
                    <a:lnTo>
                      <a:pt x="78" y="12"/>
                    </a:lnTo>
                    <a:lnTo>
                      <a:pt x="76" y="12"/>
                    </a:lnTo>
                    <a:lnTo>
                      <a:pt x="74" y="12"/>
                    </a:lnTo>
                    <a:lnTo>
                      <a:pt x="74" y="12"/>
                    </a:lnTo>
                    <a:lnTo>
                      <a:pt x="71" y="9"/>
                    </a:lnTo>
                    <a:lnTo>
                      <a:pt x="69" y="7"/>
                    </a:lnTo>
                    <a:lnTo>
                      <a:pt x="66" y="7"/>
                    </a:lnTo>
                    <a:lnTo>
                      <a:pt x="66" y="7"/>
                    </a:lnTo>
                    <a:lnTo>
                      <a:pt x="64" y="9"/>
                    </a:lnTo>
                    <a:lnTo>
                      <a:pt x="62" y="9"/>
                    </a:lnTo>
                    <a:lnTo>
                      <a:pt x="59" y="7"/>
                    </a:lnTo>
                    <a:lnTo>
                      <a:pt x="59" y="7"/>
                    </a:lnTo>
                    <a:lnTo>
                      <a:pt x="59" y="7"/>
                    </a:lnTo>
                    <a:lnTo>
                      <a:pt x="55" y="7"/>
                    </a:lnTo>
                    <a:lnTo>
                      <a:pt x="55" y="7"/>
                    </a:lnTo>
                    <a:lnTo>
                      <a:pt x="55" y="7"/>
                    </a:lnTo>
                    <a:lnTo>
                      <a:pt x="52" y="7"/>
                    </a:lnTo>
                    <a:lnTo>
                      <a:pt x="50" y="7"/>
                    </a:lnTo>
                    <a:lnTo>
                      <a:pt x="45" y="5"/>
                    </a:lnTo>
                    <a:lnTo>
                      <a:pt x="45" y="5"/>
                    </a:lnTo>
                    <a:lnTo>
                      <a:pt x="45" y="5"/>
                    </a:lnTo>
                    <a:lnTo>
                      <a:pt x="43" y="7"/>
                    </a:lnTo>
                    <a:lnTo>
                      <a:pt x="40" y="7"/>
                    </a:lnTo>
                    <a:lnTo>
                      <a:pt x="40" y="7"/>
                    </a:lnTo>
                    <a:lnTo>
                      <a:pt x="40" y="7"/>
                    </a:lnTo>
                    <a:lnTo>
                      <a:pt x="38" y="12"/>
                    </a:lnTo>
                    <a:lnTo>
                      <a:pt x="36" y="12"/>
                    </a:lnTo>
                    <a:lnTo>
                      <a:pt x="36" y="12"/>
                    </a:lnTo>
                    <a:lnTo>
                      <a:pt x="36" y="12"/>
                    </a:lnTo>
                    <a:lnTo>
                      <a:pt x="33" y="12"/>
                    </a:lnTo>
                    <a:lnTo>
                      <a:pt x="33" y="12"/>
                    </a:lnTo>
                    <a:lnTo>
                      <a:pt x="31" y="12"/>
                    </a:lnTo>
                    <a:lnTo>
                      <a:pt x="31" y="12"/>
                    </a:lnTo>
                    <a:lnTo>
                      <a:pt x="31" y="14"/>
                    </a:lnTo>
                    <a:lnTo>
                      <a:pt x="29" y="14"/>
                    </a:lnTo>
                    <a:lnTo>
                      <a:pt x="29" y="16"/>
                    </a:lnTo>
                    <a:lnTo>
                      <a:pt x="26" y="16"/>
                    </a:lnTo>
                    <a:lnTo>
                      <a:pt x="26" y="19"/>
                    </a:lnTo>
                    <a:lnTo>
                      <a:pt x="26" y="19"/>
                    </a:lnTo>
                    <a:lnTo>
                      <a:pt x="26" y="21"/>
                    </a:lnTo>
                    <a:lnTo>
                      <a:pt x="24" y="21"/>
                    </a:lnTo>
                    <a:lnTo>
                      <a:pt x="24" y="24"/>
                    </a:lnTo>
                    <a:lnTo>
                      <a:pt x="24" y="26"/>
                    </a:lnTo>
                    <a:lnTo>
                      <a:pt x="21" y="26"/>
                    </a:lnTo>
                    <a:lnTo>
                      <a:pt x="21" y="26"/>
                    </a:lnTo>
                    <a:lnTo>
                      <a:pt x="21" y="28"/>
                    </a:lnTo>
                    <a:lnTo>
                      <a:pt x="21" y="31"/>
                    </a:lnTo>
                    <a:lnTo>
                      <a:pt x="19" y="31"/>
                    </a:lnTo>
                    <a:lnTo>
                      <a:pt x="19" y="33"/>
                    </a:lnTo>
                    <a:lnTo>
                      <a:pt x="19" y="33"/>
                    </a:lnTo>
                    <a:lnTo>
                      <a:pt x="19" y="35"/>
                    </a:lnTo>
                    <a:lnTo>
                      <a:pt x="17" y="35"/>
                    </a:lnTo>
                    <a:lnTo>
                      <a:pt x="17" y="35"/>
                    </a:lnTo>
                    <a:lnTo>
                      <a:pt x="17" y="35"/>
                    </a:lnTo>
                    <a:lnTo>
                      <a:pt x="17" y="38"/>
                    </a:lnTo>
                    <a:lnTo>
                      <a:pt x="17" y="38"/>
                    </a:lnTo>
                    <a:lnTo>
                      <a:pt x="17" y="40"/>
                    </a:lnTo>
                    <a:lnTo>
                      <a:pt x="14" y="40"/>
                    </a:lnTo>
                    <a:lnTo>
                      <a:pt x="14" y="40"/>
                    </a:lnTo>
                    <a:lnTo>
                      <a:pt x="14" y="42"/>
                    </a:lnTo>
                    <a:lnTo>
                      <a:pt x="14" y="42"/>
                    </a:lnTo>
                    <a:lnTo>
                      <a:pt x="12" y="42"/>
                    </a:lnTo>
                    <a:lnTo>
                      <a:pt x="10" y="42"/>
                    </a:lnTo>
                    <a:lnTo>
                      <a:pt x="7" y="42"/>
                    </a:lnTo>
                    <a:lnTo>
                      <a:pt x="7" y="42"/>
                    </a:lnTo>
                    <a:lnTo>
                      <a:pt x="7" y="45"/>
                    </a:lnTo>
                    <a:lnTo>
                      <a:pt x="7" y="45"/>
                    </a:lnTo>
                    <a:lnTo>
                      <a:pt x="7" y="45"/>
                    </a:lnTo>
                    <a:lnTo>
                      <a:pt x="5" y="45"/>
                    </a:lnTo>
                    <a:lnTo>
                      <a:pt x="3" y="45"/>
                    </a:lnTo>
                    <a:lnTo>
                      <a:pt x="0" y="45"/>
                    </a:lnTo>
                    <a:lnTo>
                      <a:pt x="0" y="45"/>
                    </a:lnTo>
                    <a:lnTo>
                      <a:pt x="0" y="47"/>
                    </a:lnTo>
                    <a:lnTo>
                      <a:pt x="0" y="47"/>
                    </a:lnTo>
                    <a:lnTo>
                      <a:pt x="3" y="50"/>
                    </a:lnTo>
                    <a:lnTo>
                      <a:pt x="5" y="50"/>
                    </a:lnTo>
                    <a:lnTo>
                      <a:pt x="5" y="50"/>
                    </a:lnTo>
                    <a:lnTo>
                      <a:pt x="7" y="52"/>
                    </a:lnTo>
                    <a:lnTo>
                      <a:pt x="7" y="54"/>
                    </a:lnTo>
                    <a:lnTo>
                      <a:pt x="7" y="54"/>
                    </a:lnTo>
                    <a:lnTo>
                      <a:pt x="7" y="52"/>
                    </a:lnTo>
                    <a:lnTo>
                      <a:pt x="7" y="52"/>
                    </a:lnTo>
                    <a:lnTo>
                      <a:pt x="10" y="52"/>
                    </a:lnTo>
                    <a:lnTo>
                      <a:pt x="10" y="54"/>
                    </a:lnTo>
                    <a:lnTo>
                      <a:pt x="10" y="54"/>
                    </a:lnTo>
                    <a:lnTo>
                      <a:pt x="10" y="57"/>
                    </a:lnTo>
                    <a:lnTo>
                      <a:pt x="10" y="57"/>
                    </a:lnTo>
                    <a:lnTo>
                      <a:pt x="10" y="57"/>
                    </a:lnTo>
                    <a:lnTo>
                      <a:pt x="10" y="59"/>
                    </a:lnTo>
                    <a:lnTo>
                      <a:pt x="10" y="59"/>
                    </a:lnTo>
                    <a:lnTo>
                      <a:pt x="10" y="59"/>
                    </a:lnTo>
                    <a:lnTo>
                      <a:pt x="10" y="59"/>
                    </a:lnTo>
                    <a:lnTo>
                      <a:pt x="12" y="61"/>
                    </a:lnTo>
                    <a:lnTo>
                      <a:pt x="12" y="61"/>
                    </a:lnTo>
                    <a:lnTo>
                      <a:pt x="14" y="61"/>
                    </a:lnTo>
                    <a:lnTo>
                      <a:pt x="14" y="61"/>
                    </a:lnTo>
                    <a:lnTo>
                      <a:pt x="17" y="64"/>
                    </a:lnTo>
                    <a:lnTo>
                      <a:pt x="19" y="64"/>
                    </a:lnTo>
                    <a:lnTo>
                      <a:pt x="19" y="64"/>
                    </a:lnTo>
                    <a:lnTo>
                      <a:pt x="21" y="64"/>
                    </a:lnTo>
                    <a:lnTo>
                      <a:pt x="21" y="66"/>
                    </a:lnTo>
                    <a:lnTo>
                      <a:pt x="21" y="66"/>
                    </a:lnTo>
                    <a:lnTo>
                      <a:pt x="21" y="66"/>
                    </a:lnTo>
                    <a:lnTo>
                      <a:pt x="19" y="66"/>
                    </a:lnTo>
                    <a:lnTo>
                      <a:pt x="19" y="69"/>
                    </a:lnTo>
                    <a:lnTo>
                      <a:pt x="19" y="69"/>
                    </a:lnTo>
                    <a:lnTo>
                      <a:pt x="19" y="69"/>
                    </a:lnTo>
                    <a:lnTo>
                      <a:pt x="19" y="69"/>
                    </a:lnTo>
                    <a:lnTo>
                      <a:pt x="19" y="71"/>
                    </a:lnTo>
                    <a:lnTo>
                      <a:pt x="19" y="71"/>
                    </a:lnTo>
                    <a:lnTo>
                      <a:pt x="19" y="71"/>
                    </a:lnTo>
                    <a:lnTo>
                      <a:pt x="21" y="71"/>
                    </a:lnTo>
                    <a:lnTo>
                      <a:pt x="21" y="71"/>
                    </a:lnTo>
                    <a:lnTo>
                      <a:pt x="21" y="71"/>
                    </a:lnTo>
                    <a:lnTo>
                      <a:pt x="21" y="73"/>
                    </a:lnTo>
                    <a:lnTo>
                      <a:pt x="21" y="73"/>
                    </a:lnTo>
                    <a:lnTo>
                      <a:pt x="19" y="73"/>
                    </a:lnTo>
                    <a:lnTo>
                      <a:pt x="19" y="73"/>
                    </a:lnTo>
                    <a:lnTo>
                      <a:pt x="19" y="73"/>
                    </a:lnTo>
                    <a:lnTo>
                      <a:pt x="21" y="73"/>
                    </a:lnTo>
                    <a:lnTo>
                      <a:pt x="24" y="76"/>
                    </a:lnTo>
                    <a:lnTo>
                      <a:pt x="24" y="76"/>
                    </a:lnTo>
                    <a:lnTo>
                      <a:pt x="26" y="76"/>
                    </a:lnTo>
                    <a:lnTo>
                      <a:pt x="29" y="78"/>
                    </a:lnTo>
                    <a:lnTo>
                      <a:pt x="31" y="78"/>
                    </a:lnTo>
                    <a:lnTo>
                      <a:pt x="31" y="80"/>
                    </a:lnTo>
                    <a:lnTo>
                      <a:pt x="33" y="78"/>
                    </a:lnTo>
                    <a:lnTo>
                      <a:pt x="36" y="76"/>
                    </a:lnTo>
                    <a:lnTo>
                      <a:pt x="38" y="76"/>
                    </a:lnTo>
                    <a:lnTo>
                      <a:pt x="40" y="78"/>
                    </a:lnTo>
                    <a:lnTo>
                      <a:pt x="43" y="78"/>
                    </a:lnTo>
                    <a:lnTo>
                      <a:pt x="43" y="78"/>
                    </a:lnTo>
                    <a:lnTo>
                      <a:pt x="43" y="78"/>
                    </a:lnTo>
                    <a:lnTo>
                      <a:pt x="40" y="78"/>
                    </a:lnTo>
                    <a:lnTo>
                      <a:pt x="40" y="80"/>
                    </a:lnTo>
                    <a:lnTo>
                      <a:pt x="38" y="80"/>
                    </a:lnTo>
                    <a:lnTo>
                      <a:pt x="38" y="83"/>
                    </a:lnTo>
                    <a:lnTo>
                      <a:pt x="40" y="83"/>
                    </a:lnTo>
                    <a:lnTo>
                      <a:pt x="40" y="83"/>
                    </a:lnTo>
                    <a:lnTo>
                      <a:pt x="40" y="85"/>
                    </a:lnTo>
                    <a:lnTo>
                      <a:pt x="43" y="85"/>
                    </a:lnTo>
                    <a:lnTo>
                      <a:pt x="43" y="85"/>
                    </a:lnTo>
                    <a:lnTo>
                      <a:pt x="43" y="85"/>
                    </a:lnTo>
                    <a:lnTo>
                      <a:pt x="43" y="87"/>
                    </a:lnTo>
                    <a:lnTo>
                      <a:pt x="47" y="87"/>
                    </a:lnTo>
                    <a:lnTo>
                      <a:pt x="47" y="90"/>
                    </a:lnTo>
                    <a:lnTo>
                      <a:pt x="47" y="90"/>
                    </a:lnTo>
                    <a:lnTo>
                      <a:pt x="47" y="90"/>
                    </a:lnTo>
                    <a:lnTo>
                      <a:pt x="45" y="90"/>
                    </a:lnTo>
                    <a:lnTo>
                      <a:pt x="45" y="92"/>
                    </a:lnTo>
                    <a:lnTo>
                      <a:pt x="45" y="92"/>
                    </a:lnTo>
                    <a:lnTo>
                      <a:pt x="45" y="92"/>
                    </a:lnTo>
                    <a:lnTo>
                      <a:pt x="47" y="95"/>
                    </a:lnTo>
                    <a:lnTo>
                      <a:pt x="52" y="92"/>
                    </a:lnTo>
                    <a:lnTo>
                      <a:pt x="57" y="95"/>
                    </a:lnTo>
                    <a:lnTo>
                      <a:pt x="64" y="95"/>
                    </a:lnTo>
                    <a:lnTo>
                      <a:pt x="69" y="95"/>
                    </a:lnTo>
                    <a:lnTo>
                      <a:pt x="71" y="95"/>
                    </a:lnTo>
                    <a:lnTo>
                      <a:pt x="78" y="97"/>
                    </a:lnTo>
                    <a:lnTo>
                      <a:pt x="85" y="97"/>
                    </a:lnTo>
                    <a:lnTo>
                      <a:pt x="90" y="97"/>
                    </a:lnTo>
                    <a:lnTo>
                      <a:pt x="92" y="97"/>
                    </a:lnTo>
                    <a:lnTo>
                      <a:pt x="95" y="95"/>
                    </a:lnTo>
                    <a:lnTo>
                      <a:pt x="97" y="92"/>
                    </a:lnTo>
                    <a:lnTo>
                      <a:pt x="102" y="90"/>
                    </a:lnTo>
                    <a:lnTo>
                      <a:pt x="107" y="90"/>
                    </a:lnTo>
                    <a:lnTo>
                      <a:pt x="111" y="87"/>
                    </a:lnTo>
                    <a:lnTo>
                      <a:pt x="116" y="87"/>
                    </a:lnTo>
                    <a:lnTo>
                      <a:pt x="116" y="87"/>
                    </a:lnTo>
                    <a:lnTo>
                      <a:pt x="123" y="90"/>
                    </a:lnTo>
                    <a:lnTo>
                      <a:pt x="123" y="90"/>
                    </a:lnTo>
                    <a:lnTo>
                      <a:pt x="126" y="90"/>
                    </a:lnTo>
                    <a:lnTo>
                      <a:pt x="128" y="92"/>
                    </a:lnTo>
                    <a:lnTo>
                      <a:pt x="128" y="92"/>
                    </a:lnTo>
                    <a:lnTo>
                      <a:pt x="130" y="90"/>
                    </a:lnTo>
                    <a:lnTo>
                      <a:pt x="130" y="92"/>
                    </a:lnTo>
                    <a:lnTo>
                      <a:pt x="133" y="95"/>
                    </a:lnTo>
                    <a:lnTo>
                      <a:pt x="135" y="95"/>
                    </a:lnTo>
                    <a:lnTo>
                      <a:pt x="137" y="95"/>
                    </a:lnTo>
                    <a:lnTo>
                      <a:pt x="140" y="97"/>
                    </a:lnTo>
                    <a:lnTo>
                      <a:pt x="142" y="95"/>
                    </a:lnTo>
                    <a:lnTo>
                      <a:pt x="142" y="95"/>
                    </a:lnTo>
                    <a:lnTo>
                      <a:pt x="142" y="90"/>
                    </a:lnTo>
                    <a:lnTo>
                      <a:pt x="142" y="85"/>
                    </a:lnTo>
                    <a:lnTo>
                      <a:pt x="142" y="83"/>
                    </a:lnTo>
                    <a:lnTo>
                      <a:pt x="144" y="80"/>
                    </a:lnTo>
                    <a:lnTo>
                      <a:pt x="147" y="78"/>
                    </a:lnTo>
                    <a:lnTo>
                      <a:pt x="144" y="78"/>
                    </a:lnTo>
                    <a:lnTo>
                      <a:pt x="144" y="78"/>
                    </a:lnTo>
                    <a:lnTo>
                      <a:pt x="144" y="78"/>
                    </a:lnTo>
                    <a:lnTo>
                      <a:pt x="144" y="76"/>
                    </a:lnTo>
                    <a:lnTo>
                      <a:pt x="144" y="76"/>
                    </a:lnTo>
                    <a:lnTo>
                      <a:pt x="147" y="73"/>
                    </a:lnTo>
                    <a:lnTo>
                      <a:pt x="144" y="71"/>
                    </a:lnTo>
                    <a:lnTo>
                      <a:pt x="147" y="71"/>
                    </a:lnTo>
                    <a:lnTo>
                      <a:pt x="147" y="71"/>
                    </a:lnTo>
                    <a:lnTo>
                      <a:pt x="149" y="71"/>
                    </a:lnTo>
                    <a:lnTo>
                      <a:pt x="147" y="71"/>
                    </a:lnTo>
                    <a:lnTo>
                      <a:pt x="149" y="73"/>
                    </a:lnTo>
                    <a:lnTo>
                      <a:pt x="149" y="73"/>
                    </a:lnTo>
                    <a:lnTo>
                      <a:pt x="149" y="76"/>
                    </a:lnTo>
                    <a:lnTo>
                      <a:pt x="156" y="73"/>
                    </a:lnTo>
                    <a:lnTo>
                      <a:pt x="156" y="71"/>
                    </a:lnTo>
                    <a:lnTo>
                      <a:pt x="156" y="71"/>
                    </a:lnTo>
                    <a:lnTo>
                      <a:pt x="159" y="66"/>
                    </a:lnTo>
                    <a:lnTo>
                      <a:pt x="159" y="64"/>
                    </a:lnTo>
                    <a:lnTo>
                      <a:pt x="159" y="64"/>
                    </a:lnTo>
                    <a:lnTo>
                      <a:pt x="156" y="61"/>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65"/>
              <p:cNvSpPr>
                <a:spLocks/>
              </p:cNvSpPr>
              <p:nvPr/>
            </p:nvSpPr>
            <p:spPr bwMode="auto">
              <a:xfrm>
                <a:off x="3676" y="2248"/>
                <a:ext cx="14" cy="33"/>
              </a:xfrm>
              <a:custGeom>
                <a:avLst/>
                <a:gdLst>
                  <a:gd name="T0" fmla="*/ 14 w 14"/>
                  <a:gd name="T1" fmla="*/ 19 h 33"/>
                  <a:gd name="T2" fmla="*/ 14 w 14"/>
                  <a:gd name="T3" fmla="*/ 17 h 33"/>
                  <a:gd name="T4" fmla="*/ 12 w 14"/>
                  <a:gd name="T5" fmla="*/ 15 h 33"/>
                  <a:gd name="T6" fmla="*/ 12 w 14"/>
                  <a:gd name="T7" fmla="*/ 15 h 33"/>
                  <a:gd name="T8" fmla="*/ 12 w 14"/>
                  <a:gd name="T9" fmla="*/ 12 h 33"/>
                  <a:gd name="T10" fmla="*/ 12 w 14"/>
                  <a:gd name="T11" fmla="*/ 10 h 33"/>
                  <a:gd name="T12" fmla="*/ 14 w 14"/>
                  <a:gd name="T13" fmla="*/ 7 h 33"/>
                  <a:gd name="T14" fmla="*/ 12 w 14"/>
                  <a:gd name="T15" fmla="*/ 5 h 33"/>
                  <a:gd name="T16" fmla="*/ 9 w 14"/>
                  <a:gd name="T17" fmla="*/ 3 h 33"/>
                  <a:gd name="T18" fmla="*/ 7 w 14"/>
                  <a:gd name="T19" fmla="*/ 0 h 33"/>
                  <a:gd name="T20" fmla="*/ 5 w 14"/>
                  <a:gd name="T21" fmla="*/ 0 h 33"/>
                  <a:gd name="T22" fmla="*/ 2 w 14"/>
                  <a:gd name="T23" fmla="*/ 3 h 33"/>
                  <a:gd name="T24" fmla="*/ 2 w 14"/>
                  <a:gd name="T25" fmla="*/ 7 h 33"/>
                  <a:gd name="T26" fmla="*/ 0 w 14"/>
                  <a:gd name="T27" fmla="*/ 10 h 33"/>
                  <a:gd name="T28" fmla="*/ 0 w 14"/>
                  <a:gd name="T29" fmla="*/ 12 h 33"/>
                  <a:gd name="T30" fmla="*/ 0 w 14"/>
                  <a:gd name="T31" fmla="*/ 15 h 33"/>
                  <a:gd name="T32" fmla="*/ 0 w 14"/>
                  <a:gd name="T33" fmla="*/ 15 h 33"/>
                  <a:gd name="T34" fmla="*/ 0 w 14"/>
                  <a:gd name="T35" fmla="*/ 19 h 33"/>
                  <a:gd name="T36" fmla="*/ 2 w 14"/>
                  <a:gd name="T37" fmla="*/ 26 h 33"/>
                  <a:gd name="T38" fmla="*/ 2 w 14"/>
                  <a:gd name="T39" fmla="*/ 26 h 33"/>
                  <a:gd name="T40" fmla="*/ 0 w 14"/>
                  <a:gd name="T41" fmla="*/ 29 h 33"/>
                  <a:gd name="T42" fmla="*/ 2 w 14"/>
                  <a:gd name="T43" fmla="*/ 31 h 33"/>
                  <a:gd name="T44" fmla="*/ 2 w 14"/>
                  <a:gd name="T45" fmla="*/ 31 h 33"/>
                  <a:gd name="T46" fmla="*/ 5 w 14"/>
                  <a:gd name="T47" fmla="*/ 33 h 33"/>
                  <a:gd name="T48" fmla="*/ 5 w 14"/>
                  <a:gd name="T49" fmla="*/ 33 h 33"/>
                  <a:gd name="T50" fmla="*/ 7 w 14"/>
                  <a:gd name="T51" fmla="*/ 33 h 33"/>
                  <a:gd name="T52" fmla="*/ 7 w 14"/>
                  <a:gd name="T53" fmla="*/ 33 h 33"/>
                  <a:gd name="T54" fmla="*/ 9 w 14"/>
                  <a:gd name="T55" fmla="*/ 31 h 33"/>
                  <a:gd name="T56" fmla="*/ 12 w 14"/>
                  <a:gd name="T57" fmla="*/ 31 h 33"/>
                  <a:gd name="T58" fmla="*/ 12 w 14"/>
                  <a:gd name="T59" fmla="*/ 31 h 33"/>
                  <a:gd name="T60" fmla="*/ 14 w 14"/>
                  <a:gd name="T61" fmla="*/ 26 h 33"/>
                  <a:gd name="T62" fmla="*/ 14 w 14"/>
                  <a:gd name="T63" fmla="*/ 24 h 33"/>
                  <a:gd name="T64" fmla="*/ 14 w 14"/>
                  <a:gd name="T65" fmla="*/ 22 h 33"/>
                  <a:gd name="T66" fmla="*/ 14 w 14"/>
                  <a:gd name="T67" fmla="*/ 19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 h="33">
                    <a:moveTo>
                      <a:pt x="14" y="19"/>
                    </a:moveTo>
                    <a:lnTo>
                      <a:pt x="14" y="17"/>
                    </a:lnTo>
                    <a:lnTo>
                      <a:pt x="12" y="15"/>
                    </a:lnTo>
                    <a:lnTo>
                      <a:pt x="12" y="15"/>
                    </a:lnTo>
                    <a:lnTo>
                      <a:pt x="12" y="12"/>
                    </a:lnTo>
                    <a:lnTo>
                      <a:pt x="12" y="10"/>
                    </a:lnTo>
                    <a:lnTo>
                      <a:pt x="14" y="7"/>
                    </a:lnTo>
                    <a:lnTo>
                      <a:pt x="12" y="5"/>
                    </a:lnTo>
                    <a:lnTo>
                      <a:pt x="9" y="3"/>
                    </a:lnTo>
                    <a:lnTo>
                      <a:pt x="7" y="0"/>
                    </a:lnTo>
                    <a:lnTo>
                      <a:pt x="5" y="0"/>
                    </a:lnTo>
                    <a:lnTo>
                      <a:pt x="2" y="3"/>
                    </a:lnTo>
                    <a:lnTo>
                      <a:pt x="2" y="7"/>
                    </a:lnTo>
                    <a:lnTo>
                      <a:pt x="0" y="10"/>
                    </a:lnTo>
                    <a:lnTo>
                      <a:pt x="0" y="12"/>
                    </a:lnTo>
                    <a:lnTo>
                      <a:pt x="0" y="15"/>
                    </a:lnTo>
                    <a:lnTo>
                      <a:pt x="0" y="15"/>
                    </a:lnTo>
                    <a:lnTo>
                      <a:pt x="0" y="19"/>
                    </a:lnTo>
                    <a:lnTo>
                      <a:pt x="2" y="26"/>
                    </a:lnTo>
                    <a:lnTo>
                      <a:pt x="2" y="26"/>
                    </a:lnTo>
                    <a:lnTo>
                      <a:pt x="0" y="29"/>
                    </a:lnTo>
                    <a:lnTo>
                      <a:pt x="2" y="31"/>
                    </a:lnTo>
                    <a:lnTo>
                      <a:pt x="2" y="31"/>
                    </a:lnTo>
                    <a:lnTo>
                      <a:pt x="5" y="33"/>
                    </a:lnTo>
                    <a:lnTo>
                      <a:pt x="5" y="33"/>
                    </a:lnTo>
                    <a:lnTo>
                      <a:pt x="7" y="33"/>
                    </a:lnTo>
                    <a:lnTo>
                      <a:pt x="7" y="33"/>
                    </a:lnTo>
                    <a:lnTo>
                      <a:pt x="9" y="31"/>
                    </a:lnTo>
                    <a:lnTo>
                      <a:pt x="12" y="31"/>
                    </a:lnTo>
                    <a:lnTo>
                      <a:pt x="12" y="31"/>
                    </a:lnTo>
                    <a:lnTo>
                      <a:pt x="14" y="26"/>
                    </a:lnTo>
                    <a:lnTo>
                      <a:pt x="14" y="24"/>
                    </a:lnTo>
                    <a:lnTo>
                      <a:pt x="14" y="22"/>
                    </a:lnTo>
                    <a:lnTo>
                      <a:pt x="14" y="19"/>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66"/>
              <p:cNvSpPr>
                <a:spLocks noEditPoints="1"/>
              </p:cNvSpPr>
              <p:nvPr/>
            </p:nvSpPr>
            <p:spPr bwMode="auto">
              <a:xfrm>
                <a:off x="1502" y="2409"/>
                <a:ext cx="50" cy="12"/>
              </a:xfrm>
              <a:custGeom>
                <a:avLst/>
                <a:gdLst>
                  <a:gd name="T0" fmla="*/ 0 w 50"/>
                  <a:gd name="T1" fmla="*/ 7 h 12"/>
                  <a:gd name="T2" fmla="*/ 0 w 50"/>
                  <a:gd name="T3" fmla="*/ 7 h 12"/>
                  <a:gd name="T4" fmla="*/ 0 w 50"/>
                  <a:gd name="T5" fmla="*/ 10 h 12"/>
                  <a:gd name="T6" fmla="*/ 0 w 50"/>
                  <a:gd name="T7" fmla="*/ 10 h 12"/>
                  <a:gd name="T8" fmla="*/ 2 w 50"/>
                  <a:gd name="T9" fmla="*/ 10 h 12"/>
                  <a:gd name="T10" fmla="*/ 2 w 50"/>
                  <a:gd name="T11" fmla="*/ 10 h 12"/>
                  <a:gd name="T12" fmla="*/ 2 w 50"/>
                  <a:gd name="T13" fmla="*/ 10 h 12"/>
                  <a:gd name="T14" fmla="*/ 2 w 50"/>
                  <a:gd name="T15" fmla="*/ 7 h 12"/>
                  <a:gd name="T16" fmla="*/ 2 w 50"/>
                  <a:gd name="T17" fmla="*/ 7 h 12"/>
                  <a:gd name="T18" fmla="*/ 50 w 50"/>
                  <a:gd name="T19" fmla="*/ 7 h 12"/>
                  <a:gd name="T20" fmla="*/ 45 w 50"/>
                  <a:gd name="T21" fmla="*/ 7 h 12"/>
                  <a:gd name="T22" fmla="*/ 45 w 50"/>
                  <a:gd name="T23" fmla="*/ 7 h 12"/>
                  <a:gd name="T24" fmla="*/ 47 w 50"/>
                  <a:gd name="T25" fmla="*/ 7 h 12"/>
                  <a:gd name="T26" fmla="*/ 50 w 50"/>
                  <a:gd name="T27" fmla="*/ 7 h 12"/>
                  <a:gd name="T28" fmla="*/ 35 w 50"/>
                  <a:gd name="T29" fmla="*/ 0 h 12"/>
                  <a:gd name="T30" fmla="*/ 35 w 50"/>
                  <a:gd name="T31" fmla="*/ 0 h 12"/>
                  <a:gd name="T32" fmla="*/ 35 w 50"/>
                  <a:gd name="T33" fmla="*/ 0 h 12"/>
                  <a:gd name="T34" fmla="*/ 33 w 50"/>
                  <a:gd name="T35" fmla="*/ 0 h 12"/>
                  <a:gd name="T36" fmla="*/ 17 w 50"/>
                  <a:gd name="T37" fmla="*/ 0 h 12"/>
                  <a:gd name="T38" fmla="*/ 17 w 50"/>
                  <a:gd name="T39" fmla="*/ 0 h 12"/>
                  <a:gd name="T40" fmla="*/ 14 w 50"/>
                  <a:gd name="T41" fmla="*/ 3 h 12"/>
                  <a:gd name="T42" fmla="*/ 14 w 50"/>
                  <a:gd name="T43" fmla="*/ 3 h 12"/>
                  <a:gd name="T44" fmla="*/ 14 w 50"/>
                  <a:gd name="T45" fmla="*/ 5 h 12"/>
                  <a:gd name="T46" fmla="*/ 14 w 50"/>
                  <a:gd name="T47" fmla="*/ 10 h 12"/>
                  <a:gd name="T48" fmla="*/ 17 w 50"/>
                  <a:gd name="T49" fmla="*/ 12 h 12"/>
                  <a:gd name="T50" fmla="*/ 19 w 50"/>
                  <a:gd name="T51" fmla="*/ 12 h 12"/>
                  <a:gd name="T52" fmla="*/ 21 w 50"/>
                  <a:gd name="T53" fmla="*/ 10 h 12"/>
                  <a:gd name="T54" fmla="*/ 26 w 50"/>
                  <a:gd name="T55" fmla="*/ 10 h 12"/>
                  <a:gd name="T56" fmla="*/ 31 w 50"/>
                  <a:gd name="T57" fmla="*/ 12 h 12"/>
                  <a:gd name="T58" fmla="*/ 31 w 50"/>
                  <a:gd name="T59" fmla="*/ 12 h 12"/>
                  <a:gd name="T60" fmla="*/ 35 w 50"/>
                  <a:gd name="T61" fmla="*/ 12 h 12"/>
                  <a:gd name="T62" fmla="*/ 40 w 50"/>
                  <a:gd name="T63" fmla="*/ 7 h 12"/>
                  <a:gd name="T64" fmla="*/ 43 w 50"/>
                  <a:gd name="T65" fmla="*/ 5 h 12"/>
                  <a:gd name="T66" fmla="*/ 40 w 50"/>
                  <a:gd name="T67" fmla="*/ 3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0" h="12">
                    <a:moveTo>
                      <a:pt x="2" y="7"/>
                    </a:moveTo>
                    <a:lnTo>
                      <a:pt x="0" y="7"/>
                    </a:lnTo>
                    <a:lnTo>
                      <a:pt x="0" y="7"/>
                    </a:lnTo>
                    <a:lnTo>
                      <a:pt x="0" y="7"/>
                    </a:lnTo>
                    <a:lnTo>
                      <a:pt x="0" y="10"/>
                    </a:lnTo>
                    <a:lnTo>
                      <a:pt x="0" y="10"/>
                    </a:lnTo>
                    <a:lnTo>
                      <a:pt x="0" y="10"/>
                    </a:lnTo>
                    <a:lnTo>
                      <a:pt x="0" y="10"/>
                    </a:lnTo>
                    <a:lnTo>
                      <a:pt x="2" y="10"/>
                    </a:lnTo>
                    <a:lnTo>
                      <a:pt x="2" y="10"/>
                    </a:lnTo>
                    <a:lnTo>
                      <a:pt x="2" y="10"/>
                    </a:lnTo>
                    <a:lnTo>
                      <a:pt x="2" y="10"/>
                    </a:lnTo>
                    <a:lnTo>
                      <a:pt x="2" y="10"/>
                    </a:lnTo>
                    <a:lnTo>
                      <a:pt x="2" y="10"/>
                    </a:lnTo>
                    <a:lnTo>
                      <a:pt x="2" y="7"/>
                    </a:lnTo>
                    <a:lnTo>
                      <a:pt x="2" y="7"/>
                    </a:lnTo>
                    <a:lnTo>
                      <a:pt x="2" y="7"/>
                    </a:lnTo>
                    <a:lnTo>
                      <a:pt x="2" y="7"/>
                    </a:lnTo>
                    <a:lnTo>
                      <a:pt x="2" y="7"/>
                    </a:lnTo>
                    <a:close/>
                    <a:moveTo>
                      <a:pt x="50" y="7"/>
                    </a:moveTo>
                    <a:lnTo>
                      <a:pt x="47" y="7"/>
                    </a:lnTo>
                    <a:lnTo>
                      <a:pt x="45" y="7"/>
                    </a:lnTo>
                    <a:lnTo>
                      <a:pt x="45" y="7"/>
                    </a:lnTo>
                    <a:lnTo>
                      <a:pt x="45" y="7"/>
                    </a:lnTo>
                    <a:lnTo>
                      <a:pt x="45" y="7"/>
                    </a:lnTo>
                    <a:lnTo>
                      <a:pt x="47" y="7"/>
                    </a:lnTo>
                    <a:lnTo>
                      <a:pt x="50" y="7"/>
                    </a:lnTo>
                    <a:lnTo>
                      <a:pt x="50" y="7"/>
                    </a:lnTo>
                    <a:close/>
                    <a:moveTo>
                      <a:pt x="38" y="0"/>
                    </a:moveTo>
                    <a:lnTo>
                      <a:pt x="35" y="0"/>
                    </a:lnTo>
                    <a:lnTo>
                      <a:pt x="35" y="0"/>
                    </a:lnTo>
                    <a:lnTo>
                      <a:pt x="35" y="0"/>
                    </a:lnTo>
                    <a:lnTo>
                      <a:pt x="35" y="3"/>
                    </a:lnTo>
                    <a:lnTo>
                      <a:pt x="35" y="0"/>
                    </a:lnTo>
                    <a:lnTo>
                      <a:pt x="33" y="0"/>
                    </a:lnTo>
                    <a:lnTo>
                      <a:pt x="33" y="0"/>
                    </a:lnTo>
                    <a:lnTo>
                      <a:pt x="21" y="0"/>
                    </a:lnTo>
                    <a:lnTo>
                      <a:pt x="17" y="0"/>
                    </a:lnTo>
                    <a:lnTo>
                      <a:pt x="17" y="0"/>
                    </a:lnTo>
                    <a:lnTo>
                      <a:pt x="17" y="0"/>
                    </a:lnTo>
                    <a:lnTo>
                      <a:pt x="14" y="0"/>
                    </a:lnTo>
                    <a:lnTo>
                      <a:pt x="14" y="3"/>
                    </a:lnTo>
                    <a:lnTo>
                      <a:pt x="14" y="3"/>
                    </a:lnTo>
                    <a:lnTo>
                      <a:pt x="14" y="3"/>
                    </a:lnTo>
                    <a:lnTo>
                      <a:pt x="14" y="5"/>
                    </a:lnTo>
                    <a:lnTo>
                      <a:pt x="14" y="5"/>
                    </a:lnTo>
                    <a:lnTo>
                      <a:pt x="14" y="7"/>
                    </a:lnTo>
                    <a:lnTo>
                      <a:pt x="14" y="10"/>
                    </a:lnTo>
                    <a:lnTo>
                      <a:pt x="14" y="12"/>
                    </a:lnTo>
                    <a:lnTo>
                      <a:pt x="17" y="12"/>
                    </a:lnTo>
                    <a:lnTo>
                      <a:pt x="19" y="12"/>
                    </a:lnTo>
                    <a:lnTo>
                      <a:pt x="19" y="12"/>
                    </a:lnTo>
                    <a:lnTo>
                      <a:pt x="21" y="12"/>
                    </a:lnTo>
                    <a:lnTo>
                      <a:pt x="21" y="10"/>
                    </a:lnTo>
                    <a:lnTo>
                      <a:pt x="24" y="12"/>
                    </a:lnTo>
                    <a:lnTo>
                      <a:pt x="26" y="10"/>
                    </a:lnTo>
                    <a:lnTo>
                      <a:pt x="28" y="12"/>
                    </a:lnTo>
                    <a:lnTo>
                      <a:pt x="31" y="12"/>
                    </a:lnTo>
                    <a:lnTo>
                      <a:pt x="31" y="12"/>
                    </a:lnTo>
                    <a:lnTo>
                      <a:pt x="31" y="12"/>
                    </a:lnTo>
                    <a:lnTo>
                      <a:pt x="33" y="12"/>
                    </a:lnTo>
                    <a:lnTo>
                      <a:pt x="35" y="12"/>
                    </a:lnTo>
                    <a:lnTo>
                      <a:pt x="38" y="10"/>
                    </a:lnTo>
                    <a:lnTo>
                      <a:pt x="40" y="7"/>
                    </a:lnTo>
                    <a:lnTo>
                      <a:pt x="40" y="7"/>
                    </a:lnTo>
                    <a:lnTo>
                      <a:pt x="43" y="5"/>
                    </a:lnTo>
                    <a:lnTo>
                      <a:pt x="43" y="3"/>
                    </a:lnTo>
                    <a:lnTo>
                      <a:pt x="40" y="3"/>
                    </a:lnTo>
                    <a:lnTo>
                      <a:pt x="38" y="0"/>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67"/>
              <p:cNvSpPr>
                <a:spLocks/>
              </p:cNvSpPr>
              <p:nvPr/>
            </p:nvSpPr>
            <p:spPr bwMode="auto">
              <a:xfrm>
                <a:off x="3004" y="1649"/>
                <a:ext cx="161" cy="119"/>
              </a:xfrm>
              <a:custGeom>
                <a:avLst/>
                <a:gdLst>
                  <a:gd name="T0" fmla="*/ 159 w 161"/>
                  <a:gd name="T1" fmla="*/ 81 h 119"/>
                  <a:gd name="T2" fmla="*/ 159 w 161"/>
                  <a:gd name="T3" fmla="*/ 78 h 119"/>
                  <a:gd name="T4" fmla="*/ 154 w 161"/>
                  <a:gd name="T5" fmla="*/ 71 h 119"/>
                  <a:gd name="T6" fmla="*/ 151 w 161"/>
                  <a:gd name="T7" fmla="*/ 64 h 119"/>
                  <a:gd name="T8" fmla="*/ 151 w 161"/>
                  <a:gd name="T9" fmla="*/ 57 h 119"/>
                  <a:gd name="T10" fmla="*/ 147 w 161"/>
                  <a:gd name="T11" fmla="*/ 52 h 119"/>
                  <a:gd name="T12" fmla="*/ 144 w 161"/>
                  <a:gd name="T13" fmla="*/ 48 h 119"/>
                  <a:gd name="T14" fmla="*/ 154 w 161"/>
                  <a:gd name="T15" fmla="*/ 43 h 119"/>
                  <a:gd name="T16" fmla="*/ 151 w 161"/>
                  <a:gd name="T17" fmla="*/ 31 h 119"/>
                  <a:gd name="T18" fmla="*/ 147 w 161"/>
                  <a:gd name="T19" fmla="*/ 14 h 119"/>
                  <a:gd name="T20" fmla="*/ 140 w 161"/>
                  <a:gd name="T21" fmla="*/ 12 h 119"/>
                  <a:gd name="T22" fmla="*/ 135 w 161"/>
                  <a:gd name="T23" fmla="*/ 10 h 119"/>
                  <a:gd name="T24" fmla="*/ 116 w 161"/>
                  <a:gd name="T25" fmla="*/ 10 h 119"/>
                  <a:gd name="T26" fmla="*/ 85 w 161"/>
                  <a:gd name="T27" fmla="*/ 7 h 119"/>
                  <a:gd name="T28" fmla="*/ 73 w 161"/>
                  <a:gd name="T29" fmla="*/ 10 h 119"/>
                  <a:gd name="T30" fmla="*/ 69 w 161"/>
                  <a:gd name="T31" fmla="*/ 3 h 119"/>
                  <a:gd name="T32" fmla="*/ 59 w 161"/>
                  <a:gd name="T33" fmla="*/ 0 h 119"/>
                  <a:gd name="T34" fmla="*/ 36 w 161"/>
                  <a:gd name="T35" fmla="*/ 5 h 119"/>
                  <a:gd name="T36" fmla="*/ 28 w 161"/>
                  <a:gd name="T37" fmla="*/ 12 h 119"/>
                  <a:gd name="T38" fmla="*/ 0 w 161"/>
                  <a:gd name="T39" fmla="*/ 19 h 119"/>
                  <a:gd name="T40" fmla="*/ 5 w 161"/>
                  <a:gd name="T41" fmla="*/ 22 h 119"/>
                  <a:gd name="T42" fmla="*/ 5 w 161"/>
                  <a:gd name="T43" fmla="*/ 24 h 119"/>
                  <a:gd name="T44" fmla="*/ 5 w 161"/>
                  <a:gd name="T45" fmla="*/ 31 h 119"/>
                  <a:gd name="T46" fmla="*/ 0 w 161"/>
                  <a:gd name="T47" fmla="*/ 38 h 119"/>
                  <a:gd name="T48" fmla="*/ 7 w 161"/>
                  <a:gd name="T49" fmla="*/ 48 h 119"/>
                  <a:gd name="T50" fmla="*/ 10 w 161"/>
                  <a:gd name="T51" fmla="*/ 52 h 119"/>
                  <a:gd name="T52" fmla="*/ 10 w 161"/>
                  <a:gd name="T53" fmla="*/ 57 h 119"/>
                  <a:gd name="T54" fmla="*/ 7 w 161"/>
                  <a:gd name="T55" fmla="*/ 62 h 119"/>
                  <a:gd name="T56" fmla="*/ 10 w 161"/>
                  <a:gd name="T57" fmla="*/ 67 h 119"/>
                  <a:gd name="T58" fmla="*/ 14 w 161"/>
                  <a:gd name="T59" fmla="*/ 76 h 119"/>
                  <a:gd name="T60" fmla="*/ 14 w 161"/>
                  <a:gd name="T61" fmla="*/ 81 h 119"/>
                  <a:gd name="T62" fmla="*/ 19 w 161"/>
                  <a:gd name="T63" fmla="*/ 78 h 119"/>
                  <a:gd name="T64" fmla="*/ 21 w 161"/>
                  <a:gd name="T65" fmla="*/ 81 h 119"/>
                  <a:gd name="T66" fmla="*/ 28 w 161"/>
                  <a:gd name="T67" fmla="*/ 86 h 119"/>
                  <a:gd name="T68" fmla="*/ 36 w 161"/>
                  <a:gd name="T69" fmla="*/ 86 h 119"/>
                  <a:gd name="T70" fmla="*/ 36 w 161"/>
                  <a:gd name="T71" fmla="*/ 88 h 119"/>
                  <a:gd name="T72" fmla="*/ 36 w 161"/>
                  <a:gd name="T73" fmla="*/ 90 h 119"/>
                  <a:gd name="T74" fmla="*/ 40 w 161"/>
                  <a:gd name="T75" fmla="*/ 95 h 119"/>
                  <a:gd name="T76" fmla="*/ 45 w 161"/>
                  <a:gd name="T77" fmla="*/ 95 h 119"/>
                  <a:gd name="T78" fmla="*/ 45 w 161"/>
                  <a:gd name="T79" fmla="*/ 90 h 119"/>
                  <a:gd name="T80" fmla="*/ 57 w 161"/>
                  <a:gd name="T81" fmla="*/ 93 h 119"/>
                  <a:gd name="T82" fmla="*/ 59 w 161"/>
                  <a:gd name="T83" fmla="*/ 95 h 119"/>
                  <a:gd name="T84" fmla="*/ 59 w 161"/>
                  <a:gd name="T85" fmla="*/ 97 h 119"/>
                  <a:gd name="T86" fmla="*/ 64 w 161"/>
                  <a:gd name="T87" fmla="*/ 97 h 119"/>
                  <a:gd name="T88" fmla="*/ 66 w 161"/>
                  <a:gd name="T89" fmla="*/ 100 h 119"/>
                  <a:gd name="T90" fmla="*/ 73 w 161"/>
                  <a:gd name="T91" fmla="*/ 100 h 119"/>
                  <a:gd name="T92" fmla="*/ 76 w 161"/>
                  <a:gd name="T93" fmla="*/ 107 h 119"/>
                  <a:gd name="T94" fmla="*/ 83 w 161"/>
                  <a:gd name="T95" fmla="*/ 112 h 119"/>
                  <a:gd name="T96" fmla="*/ 88 w 161"/>
                  <a:gd name="T97" fmla="*/ 107 h 119"/>
                  <a:gd name="T98" fmla="*/ 90 w 161"/>
                  <a:gd name="T99" fmla="*/ 112 h 119"/>
                  <a:gd name="T100" fmla="*/ 92 w 161"/>
                  <a:gd name="T101" fmla="*/ 114 h 119"/>
                  <a:gd name="T102" fmla="*/ 97 w 161"/>
                  <a:gd name="T103" fmla="*/ 114 h 119"/>
                  <a:gd name="T104" fmla="*/ 102 w 161"/>
                  <a:gd name="T105" fmla="*/ 112 h 119"/>
                  <a:gd name="T106" fmla="*/ 107 w 161"/>
                  <a:gd name="T107" fmla="*/ 112 h 119"/>
                  <a:gd name="T108" fmla="*/ 114 w 161"/>
                  <a:gd name="T109" fmla="*/ 112 h 119"/>
                  <a:gd name="T110" fmla="*/ 123 w 161"/>
                  <a:gd name="T111" fmla="*/ 109 h 119"/>
                  <a:gd name="T112" fmla="*/ 130 w 161"/>
                  <a:gd name="T113" fmla="*/ 114 h 119"/>
                  <a:gd name="T114" fmla="*/ 140 w 161"/>
                  <a:gd name="T115" fmla="*/ 119 h 119"/>
                  <a:gd name="T116" fmla="*/ 142 w 161"/>
                  <a:gd name="T117" fmla="*/ 116 h 119"/>
                  <a:gd name="T118" fmla="*/ 140 w 161"/>
                  <a:gd name="T119" fmla="*/ 112 h 119"/>
                  <a:gd name="T120" fmla="*/ 144 w 161"/>
                  <a:gd name="T121" fmla="*/ 102 h 119"/>
                  <a:gd name="T122" fmla="*/ 154 w 161"/>
                  <a:gd name="T123" fmla="*/ 93 h 119"/>
                  <a:gd name="T124" fmla="*/ 161 w 161"/>
                  <a:gd name="T125" fmla="*/ 88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1" h="119">
                    <a:moveTo>
                      <a:pt x="161" y="86"/>
                    </a:moveTo>
                    <a:lnTo>
                      <a:pt x="161" y="83"/>
                    </a:lnTo>
                    <a:lnTo>
                      <a:pt x="159" y="83"/>
                    </a:lnTo>
                    <a:lnTo>
                      <a:pt x="159" y="83"/>
                    </a:lnTo>
                    <a:lnTo>
                      <a:pt x="159" y="81"/>
                    </a:lnTo>
                    <a:lnTo>
                      <a:pt x="159" y="81"/>
                    </a:lnTo>
                    <a:lnTo>
                      <a:pt x="161" y="81"/>
                    </a:lnTo>
                    <a:lnTo>
                      <a:pt x="161" y="81"/>
                    </a:lnTo>
                    <a:lnTo>
                      <a:pt x="161" y="81"/>
                    </a:lnTo>
                    <a:lnTo>
                      <a:pt x="159" y="78"/>
                    </a:lnTo>
                    <a:lnTo>
                      <a:pt x="159" y="78"/>
                    </a:lnTo>
                    <a:lnTo>
                      <a:pt x="156" y="76"/>
                    </a:lnTo>
                    <a:lnTo>
                      <a:pt x="154" y="71"/>
                    </a:lnTo>
                    <a:lnTo>
                      <a:pt x="154" y="71"/>
                    </a:lnTo>
                    <a:lnTo>
                      <a:pt x="154" y="71"/>
                    </a:lnTo>
                    <a:lnTo>
                      <a:pt x="154" y="69"/>
                    </a:lnTo>
                    <a:lnTo>
                      <a:pt x="151" y="69"/>
                    </a:lnTo>
                    <a:lnTo>
                      <a:pt x="151" y="67"/>
                    </a:lnTo>
                    <a:lnTo>
                      <a:pt x="151" y="64"/>
                    </a:lnTo>
                    <a:lnTo>
                      <a:pt x="151" y="64"/>
                    </a:lnTo>
                    <a:lnTo>
                      <a:pt x="151" y="62"/>
                    </a:lnTo>
                    <a:lnTo>
                      <a:pt x="151" y="62"/>
                    </a:lnTo>
                    <a:lnTo>
                      <a:pt x="151" y="59"/>
                    </a:lnTo>
                    <a:lnTo>
                      <a:pt x="151" y="57"/>
                    </a:lnTo>
                    <a:lnTo>
                      <a:pt x="151" y="57"/>
                    </a:lnTo>
                    <a:lnTo>
                      <a:pt x="151" y="57"/>
                    </a:lnTo>
                    <a:lnTo>
                      <a:pt x="151" y="55"/>
                    </a:lnTo>
                    <a:lnTo>
                      <a:pt x="149" y="55"/>
                    </a:lnTo>
                    <a:lnTo>
                      <a:pt x="149" y="55"/>
                    </a:lnTo>
                    <a:lnTo>
                      <a:pt x="147" y="52"/>
                    </a:lnTo>
                    <a:lnTo>
                      <a:pt x="144" y="52"/>
                    </a:lnTo>
                    <a:lnTo>
                      <a:pt x="144" y="52"/>
                    </a:lnTo>
                    <a:lnTo>
                      <a:pt x="144" y="50"/>
                    </a:lnTo>
                    <a:lnTo>
                      <a:pt x="144" y="50"/>
                    </a:lnTo>
                    <a:lnTo>
                      <a:pt x="144" y="48"/>
                    </a:lnTo>
                    <a:lnTo>
                      <a:pt x="147" y="48"/>
                    </a:lnTo>
                    <a:lnTo>
                      <a:pt x="149" y="45"/>
                    </a:lnTo>
                    <a:lnTo>
                      <a:pt x="154" y="43"/>
                    </a:lnTo>
                    <a:lnTo>
                      <a:pt x="154" y="43"/>
                    </a:lnTo>
                    <a:lnTo>
                      <a:pt x="154" y="43"/>
                    </a:lnTo>
                    <a:lnTo>
                      <a:pt x="154" y="41"/>
                    </a:lnTo>
                    <a:lnTo>
                      <a:pt x="154" y="38"/>
                    </a:lnTo>
                    <a:lnTo>
                      <a:pt x="154" y="36"/>
                    </a:lnTo>
                    <a:lnTo>
                      <a:pt x="154" y="36"/>
                    </a:lnTo>
                    <a:lnTo>
                      <a:pt x="151" y="31"/>
                    </a:lnTo>
                    <a:lnTo>
                      <a:pt x="149" y="24"/>
                    </a:lnTo>
                    <a:lnTo>
                      <a:pt x="147" y="19"/>
                    </a:lnTo>
                    <a:lnTo>
                      <a:pt x="147" y="17"/>
                    </a:lnTo>
                    <a:lnTo>
                      <a:pt x="147" y="17"/>
                    </a:lnTo>
                    <a:lnTo>
                      <a:pt x="147" y="14"/>
                    </a:lnTo>
                    <a:lnTo>
                      <a:pt x="144" y="14"/>
                    </a:lnTo>
                    <a:lnTo>
                      <a:pt x="144" y="12"/>
                    </a:lnTo>
                    <a:lnTo>
                      <a:pt x="142" y="12"/>
                    </a:lnTo>
                    <a:lnTo>
                      <a:pt x="140" y="12"/>
                    </a:lnTo>
                    <a:lnTo>
                      <a:pt x="140" y="12"/>
                    </a:lnTo>
                    <a:lnTo>
                      <a:pt x="140" y="12"/>
                    </a:lnTo>
                    <a:lnTo>
                      <a:pt x="137" y="10"/>
                    </a:lnTo>
                    <a:lnTo>
                      <a:pt x="137" y="10"/>
                    </a:lnTo>
                    <a:lnTo>
                      <a:pt x="137" y="10"/>
                    </a:lnTo>
                    <a:lnTo>
                      <a:pt x="135" y="10"/>
                    </a:lnTo>
                    <a:lnTo>
                      <a:pt x="135" y="10"/>
                    </a:lnTo>
                    <a:lnTo>
                      <a:pt x="135" y="10"/>
                    </a:lnTo>
                    <a:lnTo>
                      <a:pt x="133" y="10"/>
                    </a:lnTo>
                    <a:lnTo>
                      <a:pt x="125" y="10"/>
                    </a:lnTo>
                    <a:lnTo>
                      <a:pt x="116" y="10"/>
                    </a:lnTo>
                    <a:lnTo>
                      <a:pt x="109" y="10"/>
                    </a:lnTo>
                    <a:lnTo>
                      <a:pt x="102" y="10"/>
                    </a:lnTo>
                    <a:lnTo>
                      <a:pt x="95" y="10"/>
                    </a:lnTo>
                    <a:lnTo>
                      <a:pt x="90" y="7"/>
                    </a:lnTo>
                    <a:lnTo>
                      <a:pt x="85" y="7"/>
                    </a:lnTo>
                    <a:lnTo>
                      <a:pt x="85" y="7"/>
                    </a:lnTo>
                    <a:lnTo>
                      <a:pt x="83" y="7"/>
                    </a:lnTo>
                    <a:lnTo>
                      <a:pt x="81" y="10"/>
                    </a:lnTo>
                    <a:lnTo>
                      <a:pt x="76" y="10"/>
                    </a:lnTo>
                    <a:lnTo>
                      <a:pt x="73" y="10"/>
                    </a:lnTo>
                    <a:lnTo>
                      <a:pt x="69" y="7"/>
                    </a:lnTo>
                    <a:lnTo>
                      <a:pt x="69" y="7"/>
                    </a:lnTo>
                    <a:lnTo>
                      <a:pt x="66" y="3"/>
                    </a:lnTo>
                    <a:lnTo>
                      <a:pt x="66" y="3"/>
                    </a:lnTo>
                    <a:lnTo>
                      <a:pt x="69" y="3"/>
                    </a:lnTo>
                    <a:lnTo>
                      <a:pt x="71" y="5"/>
                    </a:lnTo>
                    <a:lnTo>
                      <a:pt x="71" y="3"/>
                    </a:lnTo>
                    <a:lnTo>
                      <a:pt x="66" y="3"/>
                    </a:lnTo>
                    <a:lnTo>
                      <a:pt x="64" y="0"/>
                    </a:lnTo>
                    <a:lnTo>
                      <a:pt x="59" y="0"/>
                    </a:lnTo>
                    <a:lnTo>
                      <a:pt x="57" y="0"/>
                    </a:lnTo>
                    <a:lnTo>
                      <a:pt x="47" y="3"/>
                    </a:lnTo>
                    <a:lnTo>
                      <a:pt x="43" y="5"/>
                    </a:lnTo>
                    <a:lnTo>
                      <a:pt x="43" y="5"/>
                    </a:lnTo>
                    <a:lnTo>
                      <a:pt x="36" y="5"/>
                    </a:lnTo>
                    <a:lnTo>
                      <a:pt x="33" y="7"/>
                    </a:lnTo>
                    <a:lnTo>
                      <a:pt x="33" y="10"/>
                    </a:lnTo>
                    <a:lnTo>
                      <a:pt x="31" y="10"/>
                    </a:lnTo>
                    <a:lnTo>
                      <a:pt x="31" y="12"/>
                    </a:lnTo>
                    <a:lnTo>
                      <a:pt x="28" y="12"/>
                    </a:lnTo>
                    <a:lnTo>
                      <a:pt x="26" y="12"/>
                    </a:lnTo>
                    <a:lnTo>
                      <a:pt x="17" y="14"/>
                    </a:lnTo>
                    <a:lnTo>
                      <a:pt x="7" y="17"/>
                    </a:lnTo>
                    <a:lnTo>
                      <a:pt x="2" y="19"/>
                    </a:lnTo>
                    <a:lnTo>
                      <a:pt x="0" y="19"/>
                    </a:lnTo>
                    <a:lnTo>
                      <a:pt x="0" y="19"/>
                    </a:lnTo>
                    <a:lnTo>
                      <a:pt x="0" y="19"/>
                    </a:lnTo>
                    <a:lnTo>
                      <a:pt x="0" y="19"/>
                    </a:lnTo>
                    <a:lnTo>
                      <a:pt x="2" y="19"/>
                    </a:lnTo>
                    <a:lnTo>
                      <a:pt x="5" y="22"/>
                    </a:lnTo>
                    <a:lnTo>
                      <a:pt x="5" y="22"/>
                    </a:lnTo>
                    <a:lnTo>
                      <a:pt x="5" y="24"/>
                    </a:lnTo>
                    <a:lnTo>
                      <a:pt x="7" y="24"/>
                    </a:lnTo>
                    <a:lnTo>
                      <a:pt x="7" y="24"/>
                    </a:lnTo>
                    <a:lnTo>
                      <a:pt x="5" y="24"/>
                    </a:lnTo>
                    <a:lnTo>
                      <a:pt x="0" y="22"/>
                    </a:lnTo>
                    <a:lnTo>
                      <a:pt x="0" y="24"/>
                    </a:lnTo>
                    <a:lnTo>
                      <a:pt x="2" y="24"/>
                    </a:lnTo>
                    <a:lnTo>
                      <a:pt x="2" y="26"/>
                    </a:lnTo>
                    <a:lnTo>
                      <a:pt x="5" y="31"/>
                    </a:lnTo>
                    <a:lnTo>
                      <a:pt x="5" y="33"/>
                    </a:lnTo>
                    <a:lnTo>
                      <a:pt x="5" y="33"/>
                    </a:lnTo>
                    <a:lnTo>
                      <a:pt x="2" y="36"/>
                    </a:lnTo>
                    <a:lnTo>
                      <a:pt x="2" y="36"/>
                    </a:lnTo>
                    <a:lnTo>
                      <a:pt x="0" y="38"/>
                    </a:lnTo>
                    <a:lnTo>
                      <a:pt x="0" y="38"/>
                    </a:lnTo>
                    <a:lnTo>
                      <a:pt x="0" y="41"/>
                    </a:lnTo>
                    <a:lnTo>
                      <a:pt x="2" y="41"/>
                    </a:lnTo>
                    <a:lnTo>
                      <a:pt x="5" y="45"/>
                    </a:lnTo>
                    <a:lnTo>
                      <a:pt x="7" y="48"/>
                    </a:lnTo>
                    <a:lnTo>
                      <a:pt x="7" y="48"/>
                    </a:lnTo>
                    <a:lnTo>
                      <a:pt x="7" y="50"/>
                    </a:lnTo>
                    <a:lnTo>
                      <a:pt x="7" y="50"/>
                    </a:lnTo>
                    <a:lnTo>
                      <a:pt x="7" y="52"/>
                    </a:lnTo>
                    <a:lnTo>
                      <a:pt x="10" y="52"/>
                    </a:lnTo>
                    <a:lnTo>
                      <a:pt x="10" y="52"/>
                    </a:lnTo>
                    <a:lnTo>
                      <a:pt x="10" y="55"/>
                    </a:lnTo>
                    <a:lnTo>
                      <a:pt x="10" y="55"/>
                    </a:lnTo>
                    <a:lnTo>
                      <a:pt x="10" y="55"/>
                    </a:lnTo>
                    <a:lnTo>
                      <a:pt x="10" y="57"/>
                    </a:lnTo>
                    <a:lnTo>
                      <a:pt x="10" y="57"/>
                    </a:lnTo>
                    <a:lnTo>
                      <a:pt x="10" y="57"/>
                    </a:lnTo>
                    <a:lnTo>
                      <a:pt x="10" y="59"/>
                    </a:lnTo>
                    <a:lnTo>
                      <a:pt x="7" y="62"/>
                    </a:lnTo>
                    <a:lnTo>
                      <a:pt x="7" y="62"/>
                    </a:lnTo>
                    <a:lnTo>
                      <a:pt x="10" y="64"/>
                    </a:lnTo>
                    <a:lnTo>
                      <a:pt x="10" y="64"/>
                    </a:lnTo>
                    <a:lnTo>
                      <a:pt x="10" y="64"/>
                    </a:lnTo>
                    <a:lnTo>
                      <a:pt x="10" y="67"/>
                    </a:lnTo>
                    <a:lnTo>
                      <a:pt x="10" y="67"/>
                    </a:lnTo>
                    <a:lnTo>
                      <a:pt x="12" y="69"/>
                    </a:lnTo>
                    <a:lnTo>
                      <a:pt x="12" y="69"/>
                    </a:lnTo>
                    <a:lnTo>
                      <a:pt x="14" y="69"/>
                    </a:lnTo>
                    <a:lnTo>
                      <a:pt x="14" y="74"/>
                    </a:lnTo>
                    <a:lnTo>
                      <a:pt x="14" y="76"/>
                    </a:lnTo>
                    <a:lnTo>
                      <a:pt x="12" y="78"/>
                    </a:lnTo>
                    <a:lnTo>
                      <a:pt x="12" y="81"/>
                    </a:lnTo>
                    <a:lnTo>
                      <a:pt x="12" y="81"/>
                    </a:lnTo>
                    <a:lnTo>
                      <a:pt x="12" y="81"/>
                    </a:lnTo>
                    <a:lnTo>
                      <a:pt x="14" y="81"/>
                    </a:lnTo>
                    <a:lnTo>
                      <a:pt x="14" y="78"/>
                    </a:lnTo>
                    <a:lnTo>
                      <a:pt x="14" y="78"/>
                    </a:lnTo>
                    <a:lnTo>
                      <a:pt x="14" y="78"/>
                    </a:lnTo>
                    <a:lnTo>
                      <a:pt x="17" y="78"/>
                    </a:lnTo>
                    <a:lnTo>
                      <a:pt x="19" y="78"/>
                    </a:lnTo>
                    <a:lnTo>
                      <a:pt x="19" y="81"/>
                    </a:lnTo>
                    <a:lnTo>
                      <a:pt x="19" y="81"/>
                    </a:lnTo>
                    <a:lnTo>
                      <a:pt x="19" y="81"/>
                    </a:lnTo>
                    <a:lnTo>
                      <a:pt x="21" y="81"/>
                    </a:lnTo>
                    <a:lnTo>
                      <a:pt x="21" y="81"/>
                    </a:lnTo>
                    <a:lnTo>
                      <a:pt x="24" y="83"/>
                    </a:lnTo>
                    <a:lnTo>
                      <a:pt x="26" y="83"/>
                    </a:lnTo>
                    <a:lnTo>
                      <a:pt x="28" y="83"/>
                    </a:lnTo>
                    <a:lnTo>
                      <a:pt x="28" y="83"/>
                    </a:lnTo>
                    <a:lnTo>
                      <a:pt x="28" y="86"/>
                    </a:lnTo>
                    <a:lnTo>
                      <a:pt x="31" y="86"/>
                    </a:lnTo>
                    <a:lnTo>
                      <a:pt x="31" y="86"/>
                    </a:lnTo>
                    <a:lnTo>
                      <a:pt x="31" y="86"/>
                    </a:lnTo>
                    <a:lnTo>
                      <a:pt x="36" y="86"/>
                    </a:lnTo>
                    <a:lnTo>
                      <a:pt x="36" y="86"/>
                    </a:lnTo>
                    <a:lnTo>
                      <a:pt x="38" y="86"/>
                    </a:lnTo>
                    <a:lnTo>
                      <a:pt x="38" y="86"/>
                    </a:lnTo>
                    <a:lnTo>
                      <a:pt x="36" y="88"/>
                    </a:lnTo>
                    <a:lnTo>
                      <a:pt x="36" y="88"/>
                    </a:lnTo>
                    <a:lnTo>
                      <a:pt x="36" y="88"/>
                    </a:lnTo>
                    <a:lnTo>
                      <a:pt x="36" y="88"/>
                    </a:lnTo>
                    <a:lnTo>
                      <a:pt x="33" y="88"/>
                    </a:lnTo>
                    <a:lnTo>
                      <a:pt x="33" y="90"/>
                    </a:lnTo>
                    <a:lnTo>
                      <a:pt x="33" y="90"/>
                    </a:lnTo>
                    <a:lnTo>
                      <a:pt x="36" y="90"/>
                    </a:lnTo>
                    <a:lnTo>
                      <a:pt x="36" y="90"/>
                    </a:lnTo>
                    <a:lnTo>
                      <a:pt x="36" y="90"/>
                    </a:lnTo>
                    <a:lnTo>
                      <a:pt x="38" y="93"/>
                    </a:lnTo>
                    <a:lnTo>
                      <a:pt x="40" y="95"/>
                    </a:lnTo>
                    <a:lnTo>
                      <a:pt x="40" y="95"/>
                    </a:lnTo>
                    <a:lnTo>
                      <a:pt x="43" y="95"/>
                    </a:lnTo>
                    <a:lnTo>
                      <a:pt x="43" y="95"/>
                    </a:lnTo>
                    <a:lnTo>
                      <a:pt x="43" y="95"/>
                    </a:lnTo>
                    <a:lnTo>
                      <a:pt x="45" y="95"/>
                    </a:lnTo>
                    <a:lnTo>
                      <a:pt x="45" y="95"/>
                    </a:lnTo>
                    <a:lnTo>
                      <a:pt x="47" y="93"/>
                    </a:lnTo>
                    <a:lnTo>
                      <a:pt x="47" y="93"/>
                    </a:lnTo>
                    <a:lnTo>
                      <a:pt x="45" y="90"/>
                    </a:lnTo>
                    <a:lnTo>
                      <a:pt x="45" y="90"/>
                    </a:lnTo>
                    <a:lnTo>
                      <a:pt x="45" y="90"/>
                    </a:lnTo>
                    <a:lnTo>
                      <a:pt x="47" y="90"/>
                    </a:lnTo>
                    <a:lnTo>
                      <a:pt x="50" y="90"/>
                    </a:lnTo>
                    <a:lnTo>
                      <a:pt x="55" y="93"/>
                    </a:lnTo>
                    <a:lnTo>
                      <a:pt x="55" y="93"/>
                    </a:lnTo>
                    <a:lnTo>
                      <a:pt x="57" y="93"/>
                    </a:lnTo>
                    <a:lnTo>
                      <a:pt x="57" y="93"/>
                    </a:lnTo>
                    <a:lnTo>
                      <a:pt x="59" y="93"/>
                    </a:lnTo>
                    <a:lnTo>
                      <a:pt x="59" y="93"/>
                    </a:lnTo>
                    <a:lnTo>
                      <a:pt x="59" y="93"/>
                    </a:lnTo>
                    <a:lnTo>
                      <a:pt x="59" y="95"/>
                    </a:lnTo>
                    <a:lnTo>
                      <a:pt x="57" y="95"/>
                    </a:lnTo>
                    <a:lnTo>
                      <a:pt x="57" y="95"/>
                    </a:lnTo>
                    <a:lnTo>
                      <a:pt x="57" y="95"/>
                    </a:lnTo>
                    <a:lnTo>
                      <a:pt x="57" y="95"/>
                    </a:lnTo>
                    <a:lnTo>
                      <a:pt x="59" y="97"/>
                    </a:lnTo>
                    <a:lnTo>
                      <a:pt x="59" y="97"/>
                    </a:lnTo>
                    <a:lnTo>
                      <a:pt x="59" y="97"/>
                    </a:lnTo>
                    <a:lnTo>
                      <a:pt x="62" y="100"/>
                    </a:lnTo>
                    <a:lnTo>
                      <a:pt x="64" y="97"/>
                    </a:lnTo>
                    <a:lnTo>
                      <a:pt x="64" y="97"/>
                    </a:lnTo>
                    <a:lnTo>
                      <a:pt x="64" y="97"/>
                    </a:lnTo>
                    <a:lnTo>
                      <a:pt x="64" y="97"/>
                    </a:lnTo>
                    <a:lnTo>
                      <a:pt x="64" y="97"/>
                    </a:lnTo>
                    <a:lnTo>
                      <a:pt x="64" y="97"/>
                    </a:lnTo>
                    <a:lnTo>
                      <a:pt x="66" y="100"/>
                    </a:lnTo>
                    <a:lnTo>
                      <a:pt x="66" y="100"/>
                    </a:lnTo>
                    <a:lnTo>
                      <a:pt x="69" y="100"/>
                    </a:lnTo>
                    <a:lnTo>
                      <a:pt x="69" y="100"/>
                    </a:lnTo>
                    <a:lnTo>
                      <a:pt x="71" y="100"/>
                    </a:lnTo>
                    <a:lnTo>
                      <a:pt x="73" y="100"/>
                    </a:lnTo>
                    <a:lnTo>
                      <a:pt x="73" y="102"/>
                    </a:lnTo>
                    <a:lnTo>
                      <a:pt x="73" y="102"/>
                    </a:lnTo>
                    <a:lnTo>
                      <a:pt x="73" y="102"/>
                    </a:lnTo>
                    <a:lnTo>
                      <a:pt x="76" y="107"/>
                    </a:lnTo>
                    <a:lnTo>
                      <a:pt x="76" y="107"/>
                    </a:lnTo>
                    <a:lnTo>
                      <a:pt x="78" y="109"/>
                    </a:lnTo>
                    <a:lnTo>
                      <a:pt x="78" y="109"/>
                    </a:lnTo>
                    <a:lnTo>
                      <a:pt x="78" y="109"/>
                    </a:lnTo>
                    <a:lnTo>
                      <a:pt x="81" y="112"/>
                    </a:lnTo>
                    <a:lnTo>
                      <a:pt x="83" y="112"/>
                    </a:lnTo>
                    <a:lnTo>
                      <a:pt x="83" y="109"/>
                    </a:lnTo>
                    <a:lnTo>
                      <a:pt x="85" y="107"/>
                    </a:lnTo>
                    <a:lnTo>
                      <a:pt x="85" y="107"/>
                    </a:lnTo>
                    <a:lnTo>
                      <a:pt x="88" y="107"/>
                    </a:lnTo>
                    <a:lnTo>
                      <a:pt x="88" y="107"/>
                    </a:lnTo>
                    <a:lnTo>
                      <a:pt x="88" y="109"/>
                    </a:lnTo>
                    <a:lnTo>
                      <a:pt x="90" y="109"/>
                    </a:lnTo>
                    <a:lnTo>
                      <a:pt x="90" y="109"/>
                    </a:lnTo>
                    <a:lnTo>
                      <a:pt x="90" y="109"/>
                    </a:lnTo>
                    <a:lnTo>
                      <a:pt x="90" y="112"/>
                    </a:lnTo>
                    <a:lnTo>
                      <a:pt x="92" y="112"/>
                    </a:lnTo>
                    <a:lnTo>
                      <a:pt x="92" y="112"/>
                    </a:lnTo>
                    <a:lnTo>
                      <a:pt x="92" y="112"/>
                    </a:lnTo>
                    <a:lnTo>
                      <a:pt x="92" y="114"/>
                    </a:lnTo>
                    <a:lnTo>
                      <a:pt x="92" y="114"/>
                    </a:lnTo>
                    <a:lnTo>
                      <a:pt x="92" y="114"/>
                    </a:lnTo>
                    <a:lnTo>
                      <a:pt x="92" y="114"/>
                    </a:lnTo>
                    <a:lnTo>
                      <a:pt x="95" y="114"/>
                    </a:lnTo>
                    <a:lnTo>
                      <a:pt x="95" y="114"/>
                    </a:lnTo>
                    <a:lnTo>
                      <a:pt x="97" y="114"/>
                    </a:lnTo>
                    <a:lnTo>
                      <a:pt x="97" y="114"/>
                    </a:lnTo>
                    <a:lnTo>
                      <a:pt x="99" y="112"/>
                    </a:lnTo>
                    <a:lnTo>
                      <a:pt x="99" y="112"/>
                    </a:lnTo>
                    <a:lnTo>
                      <a:pt x="102" y="112"/>
                    </a:lnTo>
                    <a:lnTo>
                      <a:pt x="102" y="112"/>
                    </a:lnTo>
                    <a:lnTo>
                      <a:pt x="102" y="112"/>
                    </a:lnTo>
                    <a:lnTo>
                      <a:pt x="104" y="112"/>
                    </a:lnTo>
                    <a:lnTo>
                      <a:pt x="104" y="112"/>
                    </a:lnTo>
                    <a:lnTo>
                      <a:pt x="104" y="112"/>
                    </a:lnTo>
                    <a:lnTo>
                      <a:pt x="107" y="112"/>
                    </a:lnTo>
                    <a:lnTo>
                      <a:pt x="109" y="112"/>
                    </a:lnTo>
                    <a:lnTo>
                      <a:pt x="109" y="112"/>
                    </a:lnTo>
                    <a:lnTo>
                      <a:pt x="111" y="112"/>
                    </a:lnTo>
                    <a:lnTo>
                      <a:pt x="111" y="112"/>
                    </a:lnTo>
                    <a:lnTo>
                      <a:pt x="114" y="112"/>
                    </a:lnTo>
                    <a:lnTo>
                      <a:pt x="114" y="109"/>
                    </a:lnTo>
                    <a:lnTo>
                      <a:pt x="114" y="109"/>
                    </a:lnTo>
                    <a:lnTo>
                      <a:pt x="116" y="109"/>
                    </a:lnTo>
                    <a:lnTo>
                      <a:pt x="118" y="109"/>
                    </a:lnTo>
                    <a:lnTo>
                      <a:pt x="123" y="109"/>
                    </a:lnTo>
                    <a:lnTo>
                      <a:pt x="123" y="112"/>
                    </a:lnTo>
                    <a:lnTo>
                      <a:pt x="128" y="112"/>
                    </a:lnTo>
                    <a:lnTo>
                      <a:pt x="128" y="112"/>
                    </a:lnTo>
                    <a:lnTo>
                      <a:pt x="128" y="114"/>
                    </a:lnTo>
                    <a:lnTo>
                      <a:pt x="130" y="114"/>
                    </a:lnTo>
                    <a:lnTo>
                      <a:pt x="133" y="116"/>
                    </a:lnTo>
                    <a:lnTo>
                      <a:pt x="137" y="116"/>
                    </a:lnTo>
                    <a:lnTo>
                      <a:pt x="137" y="116"/>
                    </a:lnTo>
                    <a:lnTo>
                      <a:pt x="140" y="116"/>
                    </a:lnTo>
                    <a:lnTo>
                      <a:pt x="140" y="119"/>
                    </a:lnTo>
                    <a:lnTo>
                      <a:pt x="142" y="119"/>
                    </a:lnTo>
                    <a:lnTo>
                      <a:pt x="142" y="119"/>
                    </a:lnTo>
                    <a:lnTo>
                      <a:pt x="142" y="116"/>
                    </a:lnTo>
                    <a:lnTo>
                      <a:pt x="142" y="116"/>
                    </a:lnTo>
                    <a:lnTo>
                      <a:pt x="142" y="116"/>
                    </a:lnTo>
                    <a:lnTo>
                      <a:pt x="140" y="116"/>
                    </a:lnTo>
                    <a:lnTo>
                      <a:pt x="140" y="114"/>
                    </a:lnTo>
                    <a:lnTo>
                      <a:pt x="140" y="114"/>
                    </a:lnTo>
                    <a:lnTo>
                      <a:pt x="140" y="112"/>
                    </a:lnTo>
                    <a:lnTo>
                      <a:pt x="140" y="112"/>
                    </a:lnTo>
                    <a:lnTo>
                      <a:pt x="140" y="109"/>
                    </a:lnTo>
                    <a:lnTo>
                      <a:pt x="140" y="107"/>
                    </a:lnTo>
                    <a:lnTo>
                      <a:pt x="140" y="107"/>
                    </a:lnTo>
                    <a:lnTo>
                      <a:pt x="142" y="102"/>
                    </a:lnTo>
                    <a:lnTo>
                      <a:pt x="144" y="102"/>
                    </a:lnTo>
                    <a:lnTo>
                      <a:pt x="144" y="100"/>
                    </a:lnTo>
                    <a:lnTo>
                      <a:pt x="149" y="97"/>
                    </a:lnTo>
                    <a:lnTo>
                      <a:pt x="151" y="95"/>
                    </a:lnTo>
                    <a:lnTo>
                      <a:pt x="151" y="93"/>
                    </a:lnTo>
                    <a:lnTo>
                      <a:pt x="154" y="93"/>
                    </a:lnTo>
                    <a:lnTo>
                      <a:pt x="156" y="90"/>
                    </a:lnTo>
                    <a:lnTo>
                      <a:pt x="159" y="90"/>
                    </a:lnTo>
                    <a:lnTo>
                      <a:pt x="159" y="88"/>
                    </a:lnTo>
                    <a:lnTo>
                      <a:pt x="161" y="88"/>
                    </a:lnTo>
                    <a:lnTo>
                      <a:pt x="161" y="88"/>
                    </a:lnTo>
                    <a:lnTo>
                      <a:pt x="161" y="86"/>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68"/>
              <p:cNvSpPr>
                <a:spLocks noEditPoints="1"/>
              </p:cNvSpPr>
              <p:nvPr/>
            </p:nvSpPr>
            <p:spPr bwMode="auto">
              <a:xfrm>
                <a:off x="4925" y="2360"/>
                <a:ext cx="180" cy="333"/>
              </a:xfrm>
              <a:custGeom>
                <a:avLst/>
                <a:gdLst>
                  <a:gd name="T0" fmla="*/ 80 w 180"/>
                  <a:gd name="T1" fmla="*/ 312 h 333"/>
                  <a:gd name="T2" fmla="*/ 95 w 180"/>
                  <a:gd name="T3" fmla="*/ 305 h 333"/>
                  <a:gd name="T4" fmla="*/ 111 w 180"/>
                  <a:gd name="T5" fmla="*/ 284 h 333"/>
                  <a:gd name="T6" fmla="*/ 142 w 180"/>
                  <a:gd name="T7" fmla="*/ 246 h 333"/>
                  <a:gd name="T8" fmla="*/ 166 w 180"/>
                  <a:gd name="T9" fmla="*/ 234 h 333"/>
                  <a:gd name="T10" fmla="*/ 173 w 180"/>
                  <a:gd name="T11" fmla="*/ 253 h 333"/>
                  <a:gd name="T12" fmla="*/ 151 w 180"/>
                  <a:gd name="T13" fmla="*/ 253 h 333"/>
                  <a:gd name="T14" fmla="*/ 125 w 180"/>
                  <a:gd name="T15" fmla="*/ 270 h 333"/>
                  <a:gd name="T16" fmla="*/ 111 w 180"/>
                  <a:gd name="T17" fmla="*/ 267 h 333"/>
                  <a:gd name="T18" fmla="*/ 102 w 180"/>
                  <a:gd name="T19" fmla="*/ 284 h 333"/>
                  <a:gd name="T20" fmla="*/ 121 w 180"/>
                  <a:gd name="T21" fmla="*/ 277 h 333"/>
                  <a:gd name="T22" fmla="*/ 135 w 180"/>
                  <a:gd name="T23" fmla="*/ 300 h 333"/>
                  <a:gd name="T24" fmla="*/ 163 w 180"/>
                  <a:gd name="T25" fmla="*/ 317 h 333"/>
                  <a:gd name="T26" fmla="*/ 170 w 180"/>
                  <a:gd name="T27" fmla="*/ 296 h 333"/>
                  <a:gd name="T28" fmla="*/ 168 w 180"/>
                  <a:gd name="T29" fmla="*/ 232 h 333"/>
                  <a:gd name="T30" fmla="*/ 128 w 180"/>
                  <a:gd name="T31" fmla="*/ 236 h 333"/>
                  <a:gd name="T32" fmla="*/ 156 w 180"/>
                  <a:gd name="T33" fmla="*/ 220 h 333"/>
                  <a:gd name="T34" fmla="*/ 52 w 180"/>
                  <a:gd name="T35" fmla="*/ 217 h 333"/>
                  <a:gd name="T36" fmla="*/ 102 w 180"/>
                  <a:gd name="T37" fmla="*/ 215 h 333"/>
                  <a:gd name="T38" fmla="*/ 116 w 180"/>
                  <a:gd name="T39" fmla="*/ 243 h 333"/>
                  <a:gd name="T40" fmla="*/ 106 w 180"/>
                  <a:gd name="T41" fmla="*/ 210 h 333"/>
                  <a:gd name="T42" fmla="*/ 128 w 180"/>
                  <a:gd name="T43" fmla="*/ 203 h 333"/>
                  <a:gd name="T44" fmla="*/ 121 w 180"/>
                  <a:gd name="T45" fmla="*/ 229 h 333"/>
                  <a:gd name="T46" fmla="*/ 42 w 180"/>
                  <a:gd name="T47" fmla="*/ 201 h 333"/>
                  <a:gd name="T48" fmla="*/ 19 w 180"/>
                  <a:gd name="T49" fmla="*/ 243 h 333"/>
                  <a:gd name="T50" fmla="*/ 14 w 180"/>
                  <a:gd name="T51" fmla="*/ 255 h 333"/>
                  <a:gd name="T52" fmla="*/ 42 w 180"/>
                  <a:gd name="T53" fmla="*/ 222 h 333"/>
                  <a:gd name="T54" fmla="*/ 151 w 180"/>
                  <a:gd name="T55" fmla="*/ 222 h 333"/>
                  <a:gd name="T56" fmla="*/ 135 w 180"/>
                  <a:gd name="T57" fmla="*/ 199 h 333"/>
                  <a:gd name="T58" fmla="*/ 142 w 180"/>
                  <a:gd name="T59" fmla="*/ 227 h 333"/>
                  <a:gd name="T60" fmla="*/ 139 w 180"/>
                  <a:gd name="T61" fmla="*/ 194 h 333"/>
                  <a:gd name="T62" fmla="*/ 109 w 180"/>
                  <a:gd name="T63" fmla="*/ 196 h 333"/>
                  <a:gd name="T64" fmla="*/ 90 w 180"/>
                  <a:gd name="T65" fmla="*/ 206 h 333"/>
                  <a:gd name="T66" fmla="*/ 50 w 180"/>
                  <a:gd name="T67" fmla="*/ 191 h 333"/>
                  <a:gd name="T68" fmla="*/ 47 w 180"/>
                  <a:gd name="T69" fmla="*/ 182 h 333"/>
                  <a:gd name="T70" fmla="*/ 95 w 180"/>
                  <a:gd name="T71" fmla="*/ 175 h 333"/>
                  <a:gd name="T72" fmla="*/ 149 w 180"/>
                  <a:gd name="T73" fmla="*/ 206 h 333"/>
                  <a:gd name="T74" fmla="*/ 151 w 180"/>
                  <a:gd name="T75" fmla="*/ 182 h 333"/>
                  <a:gd name="T76" fmla="*/ 116 w 180"/>
                  <a:gd name="T77" fmla="*/ 182 h 333"/>
                  <a:gd name="T78" fmla="*/ 109 w 180"/>
                  <a:gd name="T79" fmla="*/ 177 h 333"/>
                  <a:gd name="T80" fmla="*/ 85 w 180"/>
                  <a:gd name="T81" fmla="*/ 180 h 333"/>
                  <a:gd name="T82" fmla="*/ 104 w 180"/>
                  <a:gd name="T83" fmla="*/ 165 h 333"/>
                  <a:gd name="T84" fmla="*/ 64 w 180"/>
                  <a:gd name="T85" fmla="*/ 156 h 333"/>
                  <a:gd name="T86" fmla="*/ 64 w 180"/>
                  <a:gd name="T87" fmla="*/ 170 h 333"/>
                  <a:gd name="T88" fmla="*/ 83 w 180"/>
                  <a:gd name="T89" fmla="*/ 154 h 333"/>
                  <a:gd name="T90" fmla="*/ 47 w 180"/>
                  <a:gd name="T91" fmla="*/ 146 h 333"/>
                  <a:gd name="T92" fmla="*/ 80 w 180"/>
                  <a:gd name="T93" fmla="*/ 139 h 333"/>
                  <a:gd name="T94" fmla="*/ 78 w 180"/>
                  <a:gd name="T95" fmla="*/ 127 h 333"/>
                  <a:gd name="T96" fmla="*/ 52 w 180"/>
                  <a:gd name="T97" fmla="*/ 135 h 333"/>
                  <a:gd name="T98" fmla="*/ 59 w 180"/>
                  <a:gd name="T99" fmla="*/ 146 h 333"/>
                  <a:gd name="T100" fmla="*/ 95 w 180"/>
                  <a:gd name="T101" fmla="*/ 161 h 333"/>
                  <a:gd name="T102" fmla="*/ 109 w 180"/>
                  <a:gd name="T103" fmla="*/ 161 h 333"/>
                  <a:gd name="T104" fmla="*/ 118 w 180"/>
                  <a:gd name="T105" fmla="*/ 163 h 333"/>
                  <a:gd name="T106" fmla="*/ 106 w 180"/>
                  <a:gd name="T107" fmla="*/ 146 h 333"/>
                  <a:gd name="T108" fmla="*/ 87 w 180"/>
                  <a:gd name="T109" fmla="*/ 144 h 333"/>
                  <a:gd name="T110" fmla="*/ 69 w 180"/>
                  <a:gd name="T111" fmla="*/ 113 h 333"/>
                  <a:gd name="T112" fmla="*/ 80 w 180"/>
                  <a:gd name="T113" fmla="*/ 75 h 333"/>
                  <a:gd name="T114" fmla="*/ 64 w 180"/>
                  <a:gd name="T115" fmla="*/ 52 h 333"/>
                  <a:gd name="T116" fmla="*/ 42 w 180"/>
                  <a:gd name="T117" fmla="*/ 85 h 333"/>
                  <a:gd name="T118" fmla="*/ 64 w 180"/>
                  <a:gd name="T119" fmla="*/ 42 h 333"/>
                  <a:gd name="T120" fmla="*/ 57 w 180"/>
                  <a:gd name="T121" fmla="*/ 30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0" h="333">
                    <a:moveTo>
                      <a:pt x="64" y="326"/>
                    </a:moveTo>
                    <a:lnTo>
                      <a:pt x="64" y="326"/>
                    </a:lnTo>
                    <a:lnTo>
                      <a:pt x="61" y="329"/>
                    </a:lnTo>
                    <a:lnTo>
                      <a:pt x="59" y="329"/>
                    </a:lnTo>
                    <a:lnTo>
                      <a:pt x="57" y="331"/>
                    </a:lnTo>
                    <a:lnTo>
                      <a:pt x="57" y="333"/>
                    </a:lnTo>
                    <a:lnTo>
                      <a:pt x="57" y="333"/>
                    </a:lnTo>
                    <a:lnTo>
                      <a:pt x="59" y="333"/>
                    </a:lnTo>
                    <a:lnTo>
                      <a:pt x="59" y="331"/>
                    </a:lnTo>
                    <a:lnTo>
                      <a:pt x="61" y="331"/>
                    </a:lnTo>
                    <a:lnTo>
                      <a:pt x="61" y="329"/>
                    </a:lnTo>
                    <a:lnTo>
                      <a:pt x="64" y="331"/>
                    </a:lnTo>
                    <a:lnTo>
                      <a:pt x="64" y="331"/>
                    </a:lnTo>
                    <a:lnTo>
                      <a:pt x="64" y="331"/>
                    </a:lnTo>
                    <a:lnTo>
                      <a:pt x="64" y="329"/>
                    </a:lnTo>
                    <a:lnTo>
                      <a:pt x="64" y="329"/>
                    </a:lnTo>
                    <a:lnTo>
                      <a:pt x="64" y="326"/>
                    </a:lnTo>
                    <a:close/>
                    <a:moveTo>
                      <a:pt x="83" y="312"/>
                    </a:moveTo>
                    <a:lnTo>
                      <a:pt x="83" y="312"/>
                    </a:lnTo>
                    <a:lnTo>
                      <a:pt x="80" y="312"/>
                    </a:lnTo>
                    <a:lnTo>
                      <a:pt x="78" y="312"/>
                    </a:lnTo>
                    <a:lnTo>
                      <a:pt x="76" y="312"/>
                    </a:lnTo>
                    <a:lnTo>
                      <a:pt x="76" y="315"/>
                    </a:lnTo>
                    <a:lnTo>
                      <a:pt x="76" y="315"/>
                    </a:lnTo>
                    <a:lnTo>
                      <a:pt x="78" y="315"/>
                    </a:lnTo>
                    <a:lnTo>
                      <a:pt x="80" y="315"/>
                    </a:lnTo>
                    <a:lnTo>
                      <a:pt x="83" y="315"/>
                    </a:lnTo>
                    <a:lnTo>
                      <a:pt x="83" y="317"/>
                    </a:lnTo>
                    <a:lnTo>
                      <a:pt x="85" y="315"/>
                    </a:lnTo>
                    <a:lnTo>
                      <a:pt x="85" y="315"/>
                    </a:lnTo>
                    <a:lnTo>
                      <a:pt x="85" y="312"/>
                    </a:lnTo>
                    <a:lnTo>
                      <a:pt x="83" y="312"/>
                    </a:lnTo>
                    <a:close/>
                    <a:moveTo>
                      <a:pt x="97" y="298"/>
                    </a:moveTo>
                    <a:lnTo>
                      <a:pt x="95" y="298"/>
                    </a:lnTo>
                    <a:lnTo>
                      <a:pt x="92" y="300"/>
                    </a:lnTo>
                    <a:lnTo>
                      <a:pt x="92" y="300"/>
                    </a:lnTo>
                    <a:lnTo>
                      <a:pt x="92" y="300"/>
                    </a:lnTo>
                    <a:lnTo>
                      <a:pt x="95" y="303"/>
                    </a:lnTo>
                    <a:lnTo>
                      <a:pt x="95" y="305"/>
                    </a:lnTo>
                    <a:lnTo>
                      <a:pt x="95" y="305"/>
                    </a:lnTo>
                    <a:lnTo>
                      <a:pt x="97" y="305"/>
                    </a:lnTo>
                    <a:lnTo>
                      <a:pt x="99" y="303"/>
                    </a:lnTo>
                    <a:lnTo>
                      <a:pt x="99" y="300"/>
                    </a:lnTo>
                    <a:lnTo>
                      <a:pt x="102" y="300"/>
                    </a:lnTo>
                    <a:lnTo>
                      <a:pt x="102" y="300"/>
                    </a:lnTo>
                    <a:lnTo>
                      <a:pt x="97" y="298"/>
                    </a:lnTo>
                    <a:close/>
                    <a:moveTo>
                      <a:pt x="163" y="288"/>
                    </a:moveTo>
                    <a:lnTo>
                      <a:pt x="163" y="291"/>
                    </a:lnTo>
                    <a:lnTo>
                      <a:pt x="163" y="291"/>
                    </a:lnTo>
                    <a:lnTo>
                      <a:pt x="166" y="293"/>
                    </a:lnTo>
                    <a:lnTo>
                      <a:pt x="166" y="293"/>
                    </a:lnTo>
                    <a:lnTo>
                      <a:pt x="166" y="288"/>
                    </a:lnTo>
                    <a:lnTo>
                      <a:pt x="163" y="288"/>
                    </a:lnTo>
                    <a:close/>
                    <a:moveTo>
                      <a:pt x="111" y="284"/>
                    </a:moveTo>
                    <a:lnTo>
                      <a:pt x="111" y="284"/>
                    </a:lnTo>
                    <a:lnTo>
                      <a:pt x="109" y="284"/>
                    </a:lnTo>
                    <a:lnTo>
                      <a:pt x="109" y="284"/>
                    </a:lnTo>
                    <a:lnTo>
                      <a:pt x="109" y="286"/>
                    </a:lnTo>
                    <a:lnTo>
                      <a:pt x="111" y="286"/>
                    </a:lnTo>
                    <a:lnTo>
                      <a:pt x="111" y="284"/>
                    </a:lnTo>
                    <a:lnTo>
                      <a:pt x="111" y="284"/>
                    </a:lnTo>
                    <a:lnTo>
                      <a:pt x="111" y="284"/>
                    </a:lnTo>
                    <a:lnTo>
                      <a:pt x="111" y="284"/>
                    </a:lnTo>
                    <a:close/>
                    <a:moveTo>
                      <a:pt x="0" y="270"/>
                    </a:moveTo>
                    <a:lnTo>
                      <a:pt x="0" y="270"/>
                    </a:lnTo>
                    <a:lnTo>
                      <a:pt x="0" y="274"/>
                    </a:lnTo>
                    <a:lnTo>
                      <a:pt x="2" y="274"/>
                    </a:lnTo>
                    <a:lnTo>
                      <a:pt x="2" y="274"/>
                    </a:lnTo>
                    <a:lnTo>
                      <a:pt x="2" y="270"/>
                    </a:lnTo>
                    <a:lnTo>
                      <a:pt x="0" y="270"/>
                    </a:lnTo>
                    <a:close/>
                    <a:moveTo>
                      <a:pt x="7" y="265"/>
                    </a:moveTo>
                    <a:lnTo>
                      <a:pt x="5" y="265"/>
                    </a:lnTo>
                    <a:lnTo>
                      <a:pt x="5" y="265"/>
                    </a:lnTo>
                    <a:lnTo>
                      <a:pt x="7" y="267"/>
                    </a:lnTo>
                    <a:lnTo>
                      <a:pt x="7" y="267"/>
                    </a:lnTo>
                    <a:lnTo>
                      <a:pt x="7" y="265"/>
                    </a:lnTo>
                    <a:lnTo>
                      <a:pt x="7" y="265"/>
                    </a:lnTo>
                    <a:close/>
                    <a:moveTo>
                      <a:pt x="142" y="246"/>
                    </a:moveTo>
                    <a:lnTo>
                      <a:pt x="142" y="246"/>
                    </a:lnTo>
                    <a:lnTo>
                      <a:pt x="142" y="246"/>
                    </a:lnTo>
                    <a:lnTo>
                      <a:pt x="142" y="246"/>
                    </a:lnTo>
                    <a:lnTo>
                      <a:pt x="144" y="248"/>
                    </a:lnTo>
                    <a:lnTo>
                      <a:pt x="144" y="246"/>
                    </a:lnTo>
                    <a:lnTo>
                      <a:pt x="144" y="246"/>
                    </a:lnTo>
                    <a:lnTo>
                      <a:pt x="142" y="246"/>
                    </a:lnTo>
                    <a:lnTo>
                      <a:pt x="142" y="246"/>
                    </a:lnTo>
                    <a:close/>
                    <a:moveTo>
                      <a:pt x="123" y="243"/>
                    </a:moveTo>
                    <a:lnTo>
                      <a:pt x="123" y="243"/>
                    </a:lnTo>
                    <a:lnTo>
                      <a:pt x="121" y="246"/>
                    </a:lnTo>
                    <a:lnTo>
                      <a:pt x="121" y="246"/>
                    </a:lnTo>
                    <a:lnTo>
                      <a:pt x="121" y="246"/>
                    </a:lnTo>
                    <a:lnTo>
                      <a:pt x="121" y="248"/>
                    </a:lnTo>
                    <a:lnTo>
                      <a:pt x="123" y="248"/>
                    </a:lnTo>
                    <a:lnTo>
                      <a:pt x="123" y="246"/>
                    </a:lnTo>
                    <a:lnTo>
                      <a:pt x="123" y="246"/>
                    </a:lnTo>
                    <a:lnTo>
                      <a:pt x="123" y="243"/>
                    </a:lnTo>
                    <a:close/>
                    <a:moveTo>
                      <a:pt x="166" y="236"/>
                    </a:moveTo>
                    <a:lnTo>
                      <a:pt x="166" y="236"/>
                    </a:lnTo>
                    <a:lnTo>
                      <a:pt x="166" y="234"/>
                    </a:lnTo>
                    <a:lnTo>
                      <a:pt x="166" y="234"/>
                    </a:lnTo>
                    <a:lnTo>
                      <a:pt x="163" y="236"/>
                    </a:lnTo>
                    <a:lnTo>
                      <a:pt x="166" y="239"/>
                    </a:lnTo>
                    <a:lnTo>
                      <a:pt x="166" y="236"/>
                    </a:lnTo>
                    <a:close/>
                    <a:moveTo>
                      <a:pt x="180" y="281"/>
                    </a:moveTo>
                    <a:lnTo>
                      <a:pt x="180" y="277"/>
                    </a:lnTo>
                    <a:lnTo>
                      <a:pt x="180" y="277"/>
                    </a:lnTo>
                    <a:lnTo>
                      <a:pt x="177" y="277"/>
                    </a:lnTo>
                    <a:lnTo>
                      <a:pt x="177" y="274"/>
                    </a:lnTo>
                    <a:lnTo>
                      <a:pt x="177" y="272"/>
                    </a:lnTo>
                    <a:lnTo>
                      <a:pt x="177" y="267"/>
                    </a:lnTo>
                    <a:lnTo>
                      <a:pt x="177" y="267"/>
                    </a:lnTo>
                    <a:lnTo>
                      <a:pt x="175" y="265"/>
                    </a:lnTo>
                    <a:lnTo>
                      <a:pt x="175" y="260"/>
                    </a:lnTo>
                    <a:lnTo>
                      <a:pt x="173" y="260"/>
                    </a:lnTo>
                    <a:lnTo>
                      <a:pt x="170" y="260"/>
                    </a:lnTo>
                    <a:lnTo>
                      <a:pt x="170" y="258"/>
                    </a:lnTo>
                    <a:lnTo>
                      <a:pt x="170" y="258"/>
                    </a:lnTo>
                    <a:lnTo>
                      <a:pt x="170" y="255"/>
                    </a:lnTo>
                    <a:lnTo>
                      <a:pt x="173" y="255"/>
                    </a:lnTo>
                    <a:lnTo>
                      <a:pt x="173" y="253"/>
                    </a:lnTo>
                    <a:lnTo>
                      <a:pt x="173" y="251"/>
                    </a:lnTo>
                    <a:lnTo>
                      <a:pt x="170" y="248"/>
                    </a:lnTo>
                    <a:lnTo>
                      <a:pt x="170" y="248"/>
                    </a:lnTo>
                    <a:lnTo>
                      <a:pt x="170" y="243"/>
                    </a:lnTo>
                    <a:lnTo>
                      <a:pt x="168" y="243"/>
                    </a:lnTo>
                    <a:lnTo>
                      <a:pt x="166" y="243"/>
                    </a:lnTo>
                    <a:lnTo>
                      <a:pt x="166" y="241"/>
                    </a:lnTo>
                    <a:lnTo>
                      <a:pt x="163" y="239"/>
                    </a:lnTo>
                    <a:lnTo>
                      <a:pt x="158" y="236"/>
                    </a:lnTo>
                    <a:lnTo>
                      <a:pt x="156" y="234"/>
                    </a:lnTo>
                    <a:lnTo>
                      <a:pt x="156" y="234"/>
                    </a:lnTo>
                    <a:lnTo>
                      <a:pt x="154" y="236"/>
                    </a:lnTo>
                    <a:lnTo>
                      <a:pt x="156" y="243"/>
                    </a:lnTo>
                    <a:lnTo>
                      <a:pt x="158" y="246"/>
                    </a:lnTo>
                    <a:lnTo>
                      <a:pt x="158" y="251"/>
                    </a:lnTo>
                    <a:lnTo>
                      <a:pt x="156" y="251"/>
                    </a:lnTo>
                    <a:lnTo>
                      <a:pt x="154" y="248"/>
                    </a:lnTo>
                    <a:lnTo>
                      <a:pt x="151" y="248"/>
                    </a:lnTo>
                    <a:lnTo>
                      <a:pt x="151" y="251"/>
                    </a:lnTo>
                    <a:lnTo>
                      <a:pt x="151" y="253"/>
                    </a:lnTo>
                    <a:lnTo>
                      <a:pt x="149" y="253"/>
                    </a:lnTo>
                    <a:lnTo>
                      <a:pt x="147" y="251"/>
                    </a:lnTo>
                    <a:lnTo>
                      <a:pt x="147" y="251"/>
                    </a:lnTo>
                    <a:lnTo>
                      <a:pt x="144" y="251"/>
                    </a:lnTo>
                    <a:lnTo>
                      <a:pt x="144" y="253"/>
                    </a:lnTo>
                    <a:lnTo>
                      <a:pt x="144" y="255"/>
                    </a:lnTo>
                    <a:lnTo>
                      <a:pt x="144" y="260"/>
                    </a:lnTo>
                    <a:lnTo>
                      <a:pt x="142" y="260"/>
                    </a:lnTo>
                    <a:lnTo>
                      <a:pt x="139" y="258"/>
                    </a:lnTo>
                    <a:lnTo>
                      <a:pt x="137" y="258"/>
                    </a:lnTo>
                    <a:lnTo>
                      <a:pt x="137" y="260"/>
                    </a:lnTo>
                    <a:lnTo>
                      <a:pt x="137" y="260"/>
                    </a:lnTo>
                    <a:lnTo>
                      <a:pt x="135" y="262"/>
                    </a:lnTo>
                    <a:lnTo>
                      <a:pt x="135" y="265"/>
                    </a:lnTo>
                    <a:lnTo>
                      <a:pt x="135" y="267"/>
                    </a:lnTo>
                    <a:lnTo>
                      <a:pt x="135" y="267"/>
                    </a:lnTo>
                    <a:lnTo>
                      <a:pt x="130" y="267"/>
                    </a:lnTo>
                    <a:lnTo>
                      <a:pt x="130" y="267"/>
                    </a:lnTo>
                    <a:lnTo>
                      <a:pt x="128" y="270"/>
                    </a:lnTo>
                    <a:lnTo>
                      <a:pt x="125" y="270"/>
                    </a:lnTo>
                    <a:lnTo>
                      <a:pt x="128" y="267"/>
                    </a:lnTo>
                    <a:lnTo>
                      <a:pt x="128" y="267"/>
                    </a:lnTo>
                    <a:lnTo>
                      <a:pt x="128" y="262"/>
                    </a:lnTo>
                    <a:lnTo>
                      <a:pt x="128" y="262"/>
                    </a:lnTo>
                    <a:lnTo>
                      <a:pt x="125" y="260"/>
                    </a:lnTo>
                    <a:lnTo>
                      <a:pt x="125" y="258"/>
                    </a:lnTo>
                    <a:lnTo>
                      <a:pt x="123" y="258"/>
                    </a:lnTo>
                    <a:lnTo>
                      <a:pt x="121" y="258"/>
                    </a:lnTo>
                    <a:lnTo>
                      <a:pt x="121" y="255"/>
                    </a:lnTo>
                    <a:lnTo>
                      <a:pt x="118" y="258"/>
                    </a:lnTo>
                    <a:lnTo>
                      <a:pt x="118" y="260"/>
                    </a:lnTo>
                    <a:lnTo>
                      <a:pt x="118" y="260"/>
                    </a:lnTo>
                    <a:lnTo>
                      <a:pt x="113" y="260"/>
                    </a:lnTo>
                    <a:lnTo>
                      <a:pt x="113" y="260"/>
                    </a:lnTo>
                    <a:lnTo>
                      <a:pt x="113" y="262"/>
                    </a:lnTo>
                    <a:lnTo>
                      <a:pt x="111" y="262"/>
                    </a:lnTo>
                    <a:lnTo>
                      <a:pt x="111" y="262"/>
                    </a:lnTo>
                    <a:lnTo>
                      <a:pt x="111" y="265"/>
                    </a:lnTo>
                    <a:lnTo>
                      <a:pt x="111" y="267"/>
                    </a:lnTo>
                    <a:lnTo>
                      <a:pt x="111" y="267"/>
                    </a:lnTo>
                    <a:lnTo>
                      <a:pt x="109" y="267"/>
                    </a:lnTo>
                    <a:lnTo>
                      <a:pt x="106" y="267"/>
                    </a:lnTo>
                    <a:lnTo>
                      <a:pt x="104" y="270"/>
                    </a:lnTo>
                    <a:lnTo>
                      <a:pt x="102" y="270"/>
                    </a:lnTo>
                    <a:lnTo>
                      <a:pt x="99" y="270"/>
                    </a:lnTo>
                    <a:lnTo>
                      <a:pt x="99" y="272"/>
                    </a:lnTo>
                    <a:lnTo>
                      <a:pt x="97" y="274"/>
                    </a:lnTo>
                    <a:lnTo>
                      <a:pt x="97" y="277"/>
                    </a:lnTo>
                    <a:lnTo>
                      <a:pt x="97" y="279"/>
                    </a:lnTo>
                    <a:lnTo>
                      <a:pt x="95" y="284"/>
                    </a:lnTo>
                    <a:lnTo>
                      <a:pt x="95" y="286"/>
                    </a:lnTo>
                    <a:lnTo>
                      <a:pt x="95" y="288"/>
                    </a:lnTo>
                    <a:lnTo>
                      <a:pt x="92" y="291"/>
                    </a:lnTo>
                    <a:lnTo>
                      <a:pt x="95" y="293"/>
                    </a:lnTo>
                    <a:lnTo>
                      <a:pt x="95" y="293"/>
                    </a:lnTo>
                    <a:lnTo>
                      <a:pt x="97" y="293"/>
                    </a:lnTo>
                    <a:lnTo>
                      <a:pt x="97" y="293"/>
                    </a:lnTo>
                    <a:lnTo>
                      <a:pt x="99" y="291"/>
                    </a:lnTo>
                    <a:lnTo>
                      <a:pt x="99" y="288"/>
                    </a:lnTo>
                    <a:lnTo>
                      <a:pt x="102" y="284"/>
                    </a:lnTo>
                    <a:lnTo>
                      <a:pt x="102" y="281"/>
                    </a:lnTo>
                    <a:lnTo>
                      <a:pt x="104" y="279"/>
                    </a:lnTo>
                    <a:lnTo>
                      <a:pt x="104" y="279"/>
                    </a:lnTo>
                    <a:lnTo>
                      <a:pt x="106" y="277"/>
                    </a:lnTo>
                    <a:lnTo>
                      <a:pt x="106" y="277"/>
                    </a:lnTo>
                    <a:lnTo>
                      <a:pt x="109" y="277"/>
                    </a:lnTo>
                    <a:lnTo>
                      <a:pt x="109" y="281"/>
                    </a:lnTo>
                    <a:lnTo>
                      <a:pt x="111" y="281"/>
                    </a:lnTo>
                    <a:lnTo>
                      <a:pt x="111" y="281"/>
                    </a:lnTo>
                    <a:lnTo>
                      <a:pt x="113" y="281"/>
                    </a:lnTo>
                    <a:lnTo>
                      <a:pt x="113" y="279"/>
                    </a:lnTo>
                    <a:lnTo>
                      <a:pt x="113" y="277"/>
                    </a:lnTo>
                    <a:lnTo>
                      <a:pt x="116" y="279"/>
                    </a:lnTo>
                    <a:lnTo>
                      <a:pt x="116" y="279"/>
                    </a:lnTo>
                    <a:lnTo>
                      <a:pt x="116" y="279"/>
                    </a:lnTo>
                    <a:lnTo>
                      <a:pt x="116" y="281"/>
                    </a:lnTo>
                    <a:lnTo>
                      <a:pt x="118" y="281"/>
                    </a:lnTo>
                    <a:lnTo>
                      <a:pt x="121" y="284"/>
                    </a:lnTo>
                    <a:lnTo>
                      <a:pt x="121" y="279"/>
                    </a:lnTo>
                    <a:lnTo>
                      <a:pt x="121" y="277"/>
                    </a:lnTo>
                    <a:lnTo>
                      <a:pt x="121" y="277"/>
                    </a:lnTo>
                    <a:lnTo>
                      <a:pt x="123" y="274"/>
                    </a:lnTo>
                    <a:lnTo>
                      <a:pt x="123" y="274"/>
                    </a:lnTo>
                    <a:lnTo>
                      <a:pt x="123" y="274"/>
                    </a:lnTo>
                    <a:lnTo>
                      <a:pt x="125" y="274"/>
                    </a:lnTo>
                    <a:lnTo>
                      <a:pt x="125" y="277"/>
                    </a:lnTo>
                    <a:lnTo>
                      <a:pt x="128" y="277"/>
                    </a:lnTo>
                    <a:lnTo>
                      <a:pt x="130" y="279"/>
                    </a:lnTo>
                    <a:lnTo>
                      <a:pt x="132" y="279"/>
                    </a:lnTo>
                    <a:lnTo>
                      <a:pt x="135" y="284"/>
                    </a:lnTo>
                    <a:lnTo>
                      <a:pt x="135" y="284"/>
                    </a:lnTo>
                    <a:lnTo>
                      <a:pt x="135" y="286"/>
                    </a:lnTo>
                    <a:lnTo>
                      <a:pt x="135" y="286"/>
                    </a:lnTo>
                    <a:lnTo>
                      <a:pt x="135" y="288"/>
                    </a:lnTo>
                    <a:lnTo>
                      <a:pt x="135" y="288"/>
                    </a:lnTo>
                    <a:lnTo>
                      <a:pt x="132" y="291"/>
                    </a:lnTo>
                    <a:lnTo>
                      <a:pt x="132" y="293"/>
                    </a:lnTo>
                    <a:lnTo>
                      <a:pt x="132" y="293"/>
                    </a:lnTo>
                    <a:lnTo>
                      <a:pt x="132" y="296"/>
                    </a:lnTo>
                    <a:lnTo>
                      <a:pt x="135" y="300"/>
                    </a:lnTo>
                    <a:lnTo>
                      <a:pt x="135" y="303"/>
                    </a:lnTo>
                    <a:lnTo>
                      <a:pt x="135" y="305"/>
                    </a:lnTo>
                    <a:lnTo>
                      <a:pt x="137" y="307"/>
                    </a:lnTo>
                    <a:lnTo>
                      <a:pt x="142" y="310"/>
                    </a:lnTo>
                    <a:lnTo>
                      <a:pt x="144" y="312"/>
                    </a:lnTo>
                    <a:lnTo>
                      <a:pt x="151" y="317"/>
                    </a:lnTo>
                    <a:lnTo>
                      <a:pt x="151" y="317"/>
                    </a:lnTo>
                    <a:lnTo>
                      <a:pt x="154" y="317"/>
                    </a:lnTo>
                    <a:lnTo>
                      <a:pt x="154" y="315"/>
                    </a:lnTo>
                    <a:lnTo>
                      <a:pt x="156" y="312"/>
                    </a:lnTo>
                    <a:lnTo>
                      <a:pt x="156" y="312"/>
                    </a:lnTo>
                    <a:lnTo>
                      <a:pt x="156" y="312"/>
                    </a:lnTo>
                    <a:lnTo>
                      <a:pt x="156" y="312"/>
                    </a:lnTo>
                    <a:lnTo>
                      <a:pt x="156" y="315"/>
                    </a:lnTo>
                    <a:lnTo>
                      <a:pt x="156" y="317"/>
                    </a:lnTo>
                    <a:lnTo>
                      <a:pt x="156" y="319"/>
                    </a:lnTo>
                    <a:lnTo>
                      <a:pt x="158" y="322"/>
                    </a:lnTo>
                    <a:lnTo>
                      <a:pt x="158" y="322"/>
                    </a:lnTo>
                    <a:lnTo>
                      <a:pt x="161" y="319"/>
                    </a:lnTo>
                    <a:lnTo>
                      <a:pt x="163" y="317"/>
                    </a:lnTo>
                    <a:lnTo>
                      <a:pt x="166" y="315"/>
                    </a:lnTo>
                    <a:lnTo>
                      <a:pt x="166" y="307"/>
                    </a:lnTo>
                    <a:lnTo>
                      <a:pt x="163" y="303"/>
                    </a:lnTo>
                    <a:lnTo>
                      <a:pt x="163" y="303"/>
                    </a:lnTo>
                    <a:lnTo>
                      <a:pt x="161" y="300"/>
                    </a:lnTo>
                    <a:lnTo>
                      <a:pt x="158" y="300"/>
                    </a:lnTo>
                    <a:lnTo>
                      <a:pt x="158" y="298"/>
                    </a:lnTo>
                    <a:lnTo>
                      <a:pt x="158" y="296"/>
                    </a:lnTo>
                    <a:lnTo>
                      <a:pt x="161" y="293"/>
                    </a:lnTo>
                    <a:lnTo>
                      <a:pt x="161" y="291"/>
                    </a:lnTo>
                    <a:lnTo>
                      <a:pt x="163" y="291"/>
                    </a:lnTo>
                    <a:lnTo>
                      <a:pt x="163" y="288"/>
                    </a:lnTo>
                    <a:lnTo>
                      <a:pt x="163" y="288"/>
                    </a:lnTo>
                    <a:lnTo>
                      <a:pt x="163" y="286"/>
                    </a:lnTo>
                    <a:lnTo>
                      <a:pt x="166" y="286"/>
                    </a:lnTo>
                    <a:lnTo>
                      <a:pt x="166" y="286"/>
                    </a:lnTo>
                    <a:lnTo>
                      <a:pt x="168" y="288"/>
                    </a:lnTo>
                    <a:lnTo>
                      <a:pt x="168" y="291"/>
                    </a:lnTo>
                    <a:lnTo>
                      <a:pt x="170" y="293"/>
                    </a:lnTo>
                    <a:lnTo>
                      <a:pt x="170" y="296"/>
                    </a:lnTo>
                    <a:lnTo>
                      <a:pt x="170" y="298"/>
                    </a:lnTo>
                    <a:lnTo>
                      <a:pt x="173" y="303"/>
                    </a:lnTo>
                    <a:lnTo>
                      <a:pt x="173" y="305"/>
                    </a:lnTo>
                    <a:lnTo>
                      <a:pt x="175" y="307"/>
                    </a:lnTo>
                    <a:lnTo>
                      <a:pt x="175" y="303"/>
                    </a:lnTo>
                    <a:lnTo>
                      <a:pt x="175" y="298"/>
                    </a:lnTo>
                    <a:lnTo>
                      <a:pt x="173" y="296"/>
                    </a:lnTo>
                    <a:lnTo>
                      <a:pt x="173" y="296"/>
                    </a:lnTo>
                    <a:lnTo>
                      <a:pt x="175" y="296"/>
                    </a:lnTo>
                    <a:lnTo>
                      <a:pt x="177" y="291"/>
                    </a:lnTo>
                    <a:lnTo>
                      <a:pt x="180" y="288"/>
                    </a:lnTo>
                    <a:lnTo>
                      <a:pt x="180" y="286"/>
                    </a:lnTo>
                    <a:lnTo>
                      <a:pt x="180" y="286"/>
                    </a:lnTo>
                    <a:lnTo>
                      <a:pt x="180" y="281"/>
                    </a:lnTo>
                    <a:close/>
                    <a:moveTo>
                      <a:pt x="166" y="234"/>
                    </a:moveTo>
                    <a:lnTo>
                      <a:pt x="166" y="234"/>
                    </a:lnTo>
                    <a:lnTo>
                      <a:pt x="168" y="234"/>
                    </a:lnTo>
                    <a:lnTo>
                      <a:pt x="168" y="234"/>
                    </a:lnTo>
                    <a:lnTo>
                      <a:pt x="168" y="232"/>
                    </a:lnTo>
                    <a:lnTo>
                      <a:pt x="168" y="232"/>
                    </a:lnTo>
                    <a:lnTo>
                      <a:pt x="168" y="229"/>
                    </a:lnTo>
                    <a:lnTo>
                      <a:pt x="166" y="227"/>
                    </a:lnTo>
                    <a:lnTo>
                      <a:pt x="166" y="229"/>
                    </a:lnTo>
                    <a:lnTo>
                      <a:pt x="166" y="232"/>
                    </a:lnTo>
                    <a:lnTo>
                      <a:pt x="166" y="234"/>
                    </a:lnTo>
                    <a:close/>
                    <a:moveTo>
                      <a:pt x="151" y="229"/>
                    </a:moveTo>
                    <a:lnTo>
                      <a:pt x="151" y="229"/>
                    </a:lnTo>
                    <a:lnTo>
                      <a:pt x="151" y="227"/>
                    </a:lnTo>
                    <a:lnTo>
                      <a:pt x="149" y="225"/>
                    </a:lnTo>
                    <a:lnTo>
                      <a:pt x="149" y="225"/>
                    </a:lnTo>
                    <a:lnTo>
                      <a:pt x="149" y="227"/>
                    </a:lnTo>
                    <a:lnTo>
                      <a:pt x="151" y="229"/>
                    </a:lnTo>
                    <a:close/>
                    <a:moveTo>
                      <a:pt x="130" y="227"/>
                    </a:moveTo>
                    <a:lnTo>
                      <a:pt x="130" y="229"/>
                    </a:lnTo>
                    <a:lnTo>
                      <a:pt x="125" y="229"/>
                    </a:lnTo>
                    <a:lnTo>
                      <a:pt x="125" y="232"/>
                    </a:lnTo>
                    <a:lnTo>
                      <a:pt x="125" y="232"/>
                    </a:lnTo>
                    <a:lnTo>
                      <a:pt x="125" y="234"/>
                    </a:lnTo>
                    <a:lnTo>
                      <a:pt x="125" y="236"/>
                    </a:lnTo>
                    <a:lnTo>
                      <a:pt x="128" y="236"/>
                    </a:lnTo>
                    <a:lnTo>
                      <a:pt x="130" y="236"/>
                    </a:lnTo>
                    <a:lnTo>
                      <a:pt x="135" y="236"/>
                    </a:lnTo>
                    <a:lnTo>
                      <a:pt x="135" y="236"/>
                    </a:lnTo>
                    <a:lnTo>
                      <a:pt x="137" y="234"/>
                    </a:lnTo>
                    <a:lnTo>
                      <a:pt x="137" y="234"/>
                    </a:lnTo>
                    <a:lnTo>
                      <a:pt x="139" y="234"/>
                    </a:lnTo>
                    <a:lnTo>
                      <a:pt x="139" y="234"/>
                    </a:lnTo>
                    <a:lnTo>
                      <a:pt x="139" y="232"/>
                    </a:lnTo>
                    <a:lnTo>
                      <a:pt x="139" y="232"/>
                    </a:lnTo>
                    <a:lnTo>
                      <a:pt x="139" y="229"/>
                    </a:lnTo>
                    <a:lnTo>
                      <a:pt x="137" y="227"/>
                    </a:lnTo>
                    <a:lnTo>
                      <a:pt x="135" y="227"/>
                    </a:lnTo>
                    <a:lnTo>
                      <a:pt x="135" y="227"/>
                    </a:lnTo>
                    <a:lnTo>
                      <a:pt x="135" y="225"/>
                    </a:lnTo>
                    <a:lnTo>
                      <a:pt x="135" y="225"/>
                    </a:lnTo>
                    <a:lnTo>
                      <a:pt x="130" y="227"/>
                    </a:lnTo>
                    <a:lnTo>
                      <a:pt x="130" y="227"/>
                    </a:lnTo>
                    <a:close/>
                    <a:moveTo>
                      <a:pt x="158" y="220"/>
                    </a:moveTo>
                    <a:lnTo>
                      <a:pt x="158" y="220"/>
                    </a:lnTo>
                    <a:lnTo>
                      <a:pt x="156" y="220"/>
                    </a:lnTo>
                    <a:lnTo>
                      <a:pt x="156" y="220"/>
                    </a:lnTo>
                    <a:lnTo>
                      <a:pt x="156" y="222"/>
                    </a:lnTo>
                    <a:lnTo>
                      <a:pt x="156" y="225"/>
                    </a:lnTo>
                    <a:lnTo>
                      <a:pt x="156" y="227"/>
                    </a:lnTo>
                    <a:lnTo>
                      <a:pt x="156" y="227"/>
                    </a:lnTo>
                    <a:lnTo>
                      <a:pt x="158" y="229"/>
                    </a:lnTo>
                    <a:lnTo>
                      <a:pt x="158" y="229"/>
                    </a:lnTo>
                    <a:lnTo>
                      <a:pt x="158" y="232"/>
                    </a:lnTo>
                    <a:lnTo>
                      <a:pt x="158" y="232"/>
                    </a:lnTo>
                    <a:lnTo>
                      <a:pt x="158" y="229"/>
                    </a:lnTo>
                    <a:lnTo>
                      <a:pt x="158" y="229"/>
                    </a:lnTo>
                    <a:lnTo>
                      <a:pt x="158" y="227"/>
                    </a:lnTo>
                    <a:lnTo>
                      <a:pt x="158" y="225"/>
                    </a:lnTo>
                    <a:lnTo>
                      <a:pt x="158" y="220"/>
                    </a:lnTo>
                    <a:lnTo>
                      <a:pt x="158" y="220"/>
                    </a:lnTo>
                    <a:close/>
                    <a:moveTo>
                      <a:pt x="50" y="215"/>
                    </a:moveTo>
                    <a:lnTo>
                      <a:pt x="47" y="217"/>
                    </a:lnTo>
                    <a:lnTo>
                      <a:pt x="50" y="220"/>
                    </a:lnTo>
                    <a:lnTo>
                      <a:pt x="52" y="217"/>
                    </a:lnTo>
                    <a:lnTo>
                      <a:pt x="52" y="217"/>
                    </a:lnTo>
                    <a:lnTo>
                      <a:pt x="52" y="217"/>
                    </a:lnTo>
                    <a:lnTo>
                      <a:pt x="52" y="215"/>
                    </a:lnTo>
                    <a:lnTo>
                      <a:pt x="50" y="215"/>
                    </a:lnTo>
                    <a:close/>
                    <a:moveTo>
                      <a:pt x="135" y="215"/>
                    </a:moveTo>
                    <a:lnTo>
                      <a:pt x="132" y="215"/>
                    </a:lnTo>
                    <a:lnTo>
                      <a:pt x="132" y="213"/>
                    </a:lnTo>
                    <a:lnTo>
                      <a:pt x="132" y="215"/>
                    </a:lnTo>
                    <a:lnTo>
                      <a:pt x="132" y="215"/>
                    </a:lnTo>
                    <a:lnTo>
                      <a:pt x="135" y="215"/>
                    </a:lnTo>
                    <a:lnTo>
                      <a:pt x="135" y="215"/>
                    </a:lnTo>
                    <a:close/>
                    <a:moveTo>
                      <a:pt x="102" y="220"/>
                    </a:moveTo>
                    <a:lnTo>
                      <a:pt x="102" y="220"/>
                    </a:lnTo>
                    <a:lnTo>
                      <a:pt x="102" y="220"/>
                    </a:lnTo>
                    <a:lnTo>
                      <a:pt x="102" y="217"/>
                    </a:lnTo>
                    <a:lnTo>
                      <a:pt x="104" y="215"/>
                    </a:lnTo>
                    <a:lnTo>
                      <a:pt x="104" y="213"/>
                    </a:lnTo>
                    <a:lnTo>
                      <a:pt x="102" y="213"/>
                    </a:lnTo>
                    <a:lnTo>
                      <a:pt x="102" y="213"/>
                    </a:lnTo>
                    <a:lnTo>
                      <a:pt x="102" y="213"/>
                    </a:lnTo>
                    <a:lnTo>
                      <a:pt x="102" y="215"/>
                    </a:lnTo>
                    <a:lnTo>
                      <a:pt x="99" y="215"/>
                    </a:lnTo>
                    <a:lnTo>
                      <a:pt x="99" y="217"/>
                    </a:lnTo>
                    <a:lnTo>
                      <a:pt x="99" y="220"/>
                    </a:lnTo>
                    <a:lnTo>
                      <a:pt x="102" y="220"/>
                    </a:lnTo>
                    <a:close/>
                    <a:moveTo>
                      <a:pt x="99" y="232"/>
                    </a:moveTo>
                    <a:lnTo>
                      <a:pt x="99" y="234"/>
                    </a:lnTo>
                    <a:lnTo>
                      <a:pt x="102" y="239"/>
                    </a:lnTo>
                    <a:lnTo>
                      <a:pt x="104" y="241"/>
                    </a:lnTo>
                    <a:lnTo>
                      <a:pt x="104" y="241"/>
                    </a:lnTo>
                    <a:lnTo>
                      <a:pt x="106" y="241"/>
                    </a:lnTo>
                    <a:lnTo>
                      <a:pt x="109" y="243"/>
                    </a:lnTo>
                    <a:lnTo>
                      <a:pt x="109" y="248"/>
                    </a:lnTo>
                    <a:lnTo>
                      <a:pt x="111" y="248"/>
                    </a:lnTo>
                    <a:lnTo>
                      <a:pt x="111" y="248"/>
                    </a:lnTo>
                    <a:lnTo>
                      <a:pt x="113" y="248"/>
                    </a:lnTo>
                    <a:lnTo>
                      <a:pt x="113" y="248"/>
                    </a:lnTo>
                    <a:lnTo>
                      <a:pt x="116" y="248"/>
                    </a:lnTo>
                    <a:lnTo>
                      <a:pt x="116" y="246"/>
                    </a:lnTo>
                    <a:lnTo>
                      <a:pt x="116" y="243"/>
                    </a:lnTo>
                    <a:lnTo>
                      <a:pt x="116" y="243"/>
                    </a:lnTo>
                    <a:lnTo>
                      <a:pt x="116" y="241"/>
                    </a:lnTo>
                    <a:lnTo>
                      <a:pt x="113" y="236"/>
                    </a:lnTo>
                    <a:lnTo>
                      <a:pt x="113" y="236"/>
                    </a:lnTo>
                    <a:lnTo>
                      <a:pt x="113" y="234"/>
                    </a:lnTo>
                    <a:lnTo>
                      <a:pt x="113" y="232"/>
                    </a:lnTo>
                    <a:lnTo>
                      <a:pt x="113" y="229"/>
                    </a:lnTo>
                    <a:lnTo>
                      <a:pt x="113" y="227"/>
                    </a:lnTo>
                    <a:lnTo>
                      <a:pt x="113" y="227"/>
                    </a:lnTo>
                    <a:lnTo>
                      <a:pt x="116" y="222"/>
                    </a:lnTo>
                    <a:lnTo>
                      <a:pt x="116" y="220"/>
                    </a:lnTo>
                    <a:lnTo>
                      <a:pt x="118" y="217"/>
                    </a:lnTo>
                    <a:lnTo>
                      <a:pt x="118" y="215"/>
                    </a:lnTo>
                    <a:lnTo>
                      <a:pt x="118" y="213"/>
                    </a:lnTo>
                    <a:lnTo>
                      <a:pt x="118" y="210"/>
                    </a:lnTo>
                    <a:lnTo>
                      <a:pt x="118" y="210"/>
                    </a:lnTo>
                    <a:lnTo>
                      <a:pt x="111" y="208"/>
                    </a:lnTo>
                    <a:lnTo>
                      <a:pt x="111" y="208"/>
                    </a:lnTo>
                    <a:lnTo>
                      <a:pt x="109" y="210"/>
                    </a:lnTo>
                    <a:lnTo>
                      <a:pt x="106" y="210"/>
                    </a:lnTo>
                    <a:lnTo>
                      <a:pt x="106" y="210"/>
                    </a:lnTo>
                    <a:lnTo>
                      <a:pt x="106" y="213"/>
                    </a:lnTo>
                    <a:lnTo>
                      <a:pt x="106" y="215"/>
                    </a:lnTo>
                    <a:lnTo>
                      <a:pt x="106" y="215"/>
                    </a:lnTo>
                    <a:lnTo>
                      <a:pt x="106" y="217"/>
                    </a:lnTo>
                    <a:lnTo>
                      <a:pt x="104" y="217"/>
                    </a:lnTo>
                    <a:lnTo>
                      <a:pt x="106" y="220"/>
                    </a:lnTo>
                    <a:lnTo>
                      <a:pt x="106" y="222"/>
                    </a:lnTo>
                    <a:lnTo>
                      <a:pt x="106" y="227"/>
                    </a:lnTo>
                    <a:lnTo>
                      <a:pt x="106" y="227"/>
                    </a:lnTo>
                    <a:lnTo>
                      <a:pt x="104" y="229"/>
                    </a:lnTo>
                    <a:lnTo>
                      <a:pt x="102" y="229"/>
                    </a:lnTo>
                    <a:lnTo>
                      <a:pt x="99" y="229"/>
                    </a:lnTo>
                    <a:lnTo>
                      <a:pt x="99" y="229"/>
                    </a:lnTo>
                    <a:lnTo>
                      <a:pt x="99" y="232"/>
                    </a:lnTo>
                    <a:lnTo>
                      <a:pt x="99" y="232"/>
                    </a:lnTo>
                    <a:close/>
                    <a:moveTo>
                      <a:pt x="128" y="208"/>
                    </a:moveTo>
                    <a:lnTo>
                      <a:pt x="128" y="208"/>
                    </a:lnTo>
                    <a:lnTo>
                      <a:pt x="128" y="206"/>
                    </a:lnTo>
                    <a:lnTo>
                      <a:pt x="125" y="206"/>
                    </a:lnTo>
                    <a:lnTo>
                      <a:pt x="128" y="203"/>
                    </a:lnTo>
                    <a:lnTo>
                      <a:pt x="125" y="201"/>
                    </a:lnTo>
                    <a:lnTo>
                      <a:pt x="125" y="203"/>
                    </a:lnTo>
                    <a:lnTo>
                      <a:pt x="125" y="206"/>
                    </a:lnTo>
                    <a:lnTo>
                      <a:pt x="125" y="206"/>
                    </a:lnTo>
                    <a:lnTo>
                      <a:pt x="125" y="206"/>
                    </a:lnTo>
                    <a:lnTo>
                      <a:pt x="125" y="208"/>
                    </a:lnTo>
                    <a:lnTo>
                      <a:pt x="123" y="213"/>
                    </a:lnTo>
                    <a:lnTo>
                      <a:pt x="121" y="217"/>
                    </a:lnTo>
                    <a:lnTo>
                      <a:pt x="121" y="220"/>
                    </a:lnTo>
                    <a:lnTo>
                      <a:pt x="121" y="222"/>
                    </a:lnTo>
                    <a:lnTo>
                      <a:pt x="118" y="225"/>
                    </a:lnTo>
                    <a:lnTo>
                      <a:pt x="116" y="229"/>
                    </a:lnTo>
                    <a:lnTo>
                      <a:pt x="116" y="232"/>
                    </a:lnTo>
                    <a:lnTo>
                      <a:pt x="116" y="239"/>
                    </a:lnTo>
                    <a:lnTo>
                      <a:pt x="116" y="239"/>
                    </a:lnTo>
                    <a:lnTo>
                      <a:pt x="116" y="241"/>
                    </a:lnTo>
                    <a:lnTo>
                      <a:pt x="118" y="241"/>
                    </a:lnTo>
                    <a:lnTo>
                      <a:pt x="118" y="236"/>
                    </a:lnTo>
                    <a:lnTo>
                      <a:pt x="121" y="229"/>
                    </a:lnTo>
                    <a:lnTo>
                      <a:pt x="121" y="229"/>
                    </a:lnTo>
                    <a:lnTo>
                      <a:pt x="123" y="227"/>
                    </a:lnTo>
                    <a:lnTo>
                      <a:pt x="123" y="225"/>
                    </a:lnTo>
                    <a:lnTo>
                      <a:pt x="125" y="222"/>
                    </a:lnTo>
                    <a:lnTo>
                      <a:pt x="125" y="222"/>
                    </a:lnTo>
                    <a:lnTo>
                      <a:pt x="128" y="220"/>
                    </a:lnTo>
                    <a:lnTo>
                      <a:pt x="128" y="217"/>
                    </a:lnTo>
                    <a:lnTo>
                      <a:pt x="128" y="213"/>
                    </a:lnTo>
                    <a:lnTo>
                      <a:pt x="128" y="208"/>
                    </a:lnTo>
                    <a:close/>
                    <a:moveTo>
                      <a:pt x="121" y="201"/>
                    </a:moveTo>
                    <a:lnTo>
                      <a:pt x="121" y="203"/>
                    </a:lnTo>
                    <a:lnTo>
                      <a:pt x="121" y="203"/>
                    </a:lnTo>
                    <a:lnTo>
                      <a:pt x="123" y="203"/>
                    </a:lnTo>
                    <a:lnTo>
                      <a:pt x="121" y="201"/>
                    </a:lnTo>
                    <a:lnTo>
                      <a:pt x="121" y="201"/>
                    </a:lnTo>
                    <a:close/>
                    <a:moveTo>
                      <a:pt x="45" y="213"/>
                    </a:moveTo>
                    <a:lnTo>
                      <a:pt x="42" y="208"/>
                    </a:lnTo>
                    <a:lnTo>
                      <a:pt x="42" y="206"/>
                    </a:lnTo>
                    <a:lnTo>
                      <a:pt x="42" y="206"/>
                    </a:lnTo>
                    <a:lnTo>
                      <a:pt x="42" y="203"/>
                    </a:lnTo>
                    <a:lnTo>
                      <a:pt x="42" y="201"/>
                    </a:lnTo>
                    <a:lnTo>
                      <a:pt x="42" y="201"/>
                    </a:lnTo>
                    <a:lnTo>
                      <a:pt x="42" y="201"/>
                    </a:lnTo>
                    <a:lnTo>
                      <a:pt x="40" y="201"/>
                    </a:lnTo>
                    <a:lnTo>
                      <a:pt x="40" y="208"/>
                    </a:lnTo>
                    <a:lnTo>
                      <a:pt x="38" y="208"/>
                    </a:lnTo>
                    <a:lnTo>
                      <a:pt x="38" y="210"/>
                    </a:lnTo>
                    <a:lnTo>
                      <a:pt x="40" y="213"/>
                    </a:lnTo>
                    <a:lnTo>
                      <a:pt x="40" y="215"/>
                    </a:lnTo>
                    <a:lnTo>
                      <a:pt x="40" y="217"/>
                    </a:lnTo>
                    <a:lnTo>
                      <a:pt x="38" y="217"/>
                    </a:lnTo>
                    <a:lnTo>
                      <a:pt x="38" y="220"/>
                    </a:lnTo>
                    <a:lnTo>
                      <a:pt x="38" y="220"/>
                    </a:lnTo>
                    <a:lnTo>
                      <a:pt x="35" y="220"/>
                    </a:lnTo>
                    <a:lnTo>
                      <a:pt x="35" y="222"/>
                    </a:lnTo>
                    <a:lnTo>
                      <a:pt x="31" y="227"/>
                    </a:lnTo>
                    <a:lnTo>
                      <a:pt x="31" y="227"/>
                    </a:lnTo>
                    <a:lnTo>
                      <a:pt x="31" y="227"/>
                    </a:lnTo>
                    <a:lnTo>
                      <a:pt x="26" y="234"/>
                    </a:lnTo>
                    <a:lnTo>
                      <a:pt x="24" y="236"/>
                    </a:lnTo>
                    <a:lnTo>
                      <a:pt x="19" y="243"/>
                    </a:lnTo>
                    <a:lnTo>
                      <a:pt x="19" y="243"/>
                    </a:lnTo>
                    <a:lnTo>
                      <a:pt x="16" y="243"/>
                    </a:lnTo>
                    <a:lnTo>
                      <a:pt x="16" y="243"/>
                    </a:lnTo>
                    <a:lnTo>
                      <a:pt x="16" y="246"/>
                    </a:lnTo>
                    <a:lnTo>
                      <a:pt x="14" y="248"/>
                    </a:lnTo>
                    <a:lnTo>
                      <a:pt x="9" y="251"/>
                    </a:lnTo>
                    <a:lnTo>
                      <a:pt x="9" y="253"/>
                    </a:lnTo>
                    <a:lnTo>
                      <a:pt x="7" y="255"/>
                    </a:lnTo>
                    <a:lnTo>
                      <a:pt x="7" y="255"/>
                    </a:lnTo>
                    <a:lnTo>
                      <a:pt x="5" y="260"/>
                    </a:lnTo>
                    <a:lnTo>
                      <a:pt x="5" y="262"/>
                    </a:lnTo>
                    <a:lnTo>
                      <a:pt x="5" y="262"/>
                    </a:lnTo>
                    <a:lnTo>
                      <a:pt x="7" y="262"/>
                    </a:lnTo>
                    <a:lnTo>
                      <a:pt x="7" y="260"/>
                    </a:lnTo>
                    <a:lnTo>
                      <a:pt x="9" y="260"/>
                    </a:lnTo>
                    <a:lnTo>
                      <a:pt x="9" y="260"/>
                    </a:lnTo>
                    <a:lnTo>
                      <a:pt x="9" y="258"/>
                    </a:lnTo>
                    <a:lnTo>
                      <a:pt x="9" y="258"/>
                    </a:lnTo>
                    <a:lnTo>
                      <a:pt x="12" y="258"/>
                    </a:lnTo>
                    <a:lnTo>
                      <a:pt x="14" y="255"/>
                    </a:lnTo>
                    <a:lnTo>
                      <a:pt x="16" y="253"/>
                    </a:lnTo>
                    <a:lnTo>
                      <a:pt x="19" y="253"/>
                    </a:lnTo>
                    <a:lnTo>
                      <a:pt x="19" y="251"/>
                    </a:lnTo>
                    <a:lnTo>
                      <a:pt x="21" y="248"/>
                    </a:lnTo>
                    <a:lnTo>
                      <a:pt x="21" y="246"/>
                    </a:lnTo>
                    <a:lnTo>
                      <a:pt x="24" y="246"/>
                    </a:lnTo>
                    <a:lnTo>
                      <a:pt x="26" y="243"/>
                    </a:lnTo>
                    <a:lnTo>
                      <a:pt x="26" y="243"/>
                    </a:lnTo>
                    <a:lnTo>
                      <a:pt x="28" y="241"/>
                    </a:lnTo>
                    <a:lnTo>
                      <a:pt x="31" y="234"/>
                    </a:lnTo>
                    <a:lnTo>
                      <a:pt x="31" y="232"/>
                    </a:lnTo>
                    <a:lnTo>
                      <a:pt x="31" y="229"/>
                    </a:lnTo>
                    <a:lnTo>
                      <a:pt x="33" y="229"/>
                    </a:lnTo>
                    <a:lnTo>
                      <a:pt x="33" y="229"/>
                    </a:lnTo>
                    <a:lnTo>
                      <a:pt x="38" y="227"/>
                    </a:lnTo>
                    <a:lnTo>
                      <a:pt x="38" y="227"/>
                    </a:lnTo>
                    <a:lnTo>
                      <a:pt x="40" y="225"/>
                    </a:lnTo>
                    <a:lnTo>
                      <a:pt x="40" y="222"/>
                    </a:lnTo>
                    <a:lnTo>
                      <a:pt x="40" y="222"/>
                    </a:lnTo>
                    <a:lnTo>
                      <a:pt x="42" y="222"/>
                    </a:lnTo>
                    <a:lnTo>
                      <a:pt x="45" y="220"/>
                    </a:lnTo>
                    <a:lnTo>
                      <a:pt x="45" y="220"/>
                    </a:lnTo>
                    <a:lnTo>
                      <a:pt x="47" y="217"/>
                    </a:lnTo>
                    <a:lnTo>
                      <a:pt x="47" y="217"/>
                    </a:lnTo>
                    <a:lnTo>
                      <a:pt x="45" y="213"/>
                    </a:lnTo>
                    <a:close/>
                    <a:moveTo>
                      <a:pt x="50" y="199"/>
                    </a:moveTo>
                    <a:lnTo>
                      <a:pt x="47" y="196"/>
                    </a:lnTo>
                    <a:lnTo>
                      <a:pt x="47" y="196"/>
                    </a:lnTo>
                    <a:lnTo>
                      <a:pt x="47" y="199"/>
                    </a:lnTo>
                    <a:lnTo>
                      <a:pt x="45" y="199"/>
                    </a:lnTo>
                    <a:lnTo>
                      <a:pt x="45" y="199"/>
                    </a:lnTo>
                    <a:lnTo>
                      <a:pt x="47" y="199"/>
                    </a:lnTo>
                    <a:lnTo>
                      <a:pt x="47" y="199"/>
                    </a:lnTo>
                    <a:lnTo>
                      <a:pt x="47" y="199"/>
                    </a:lnTo>
                    <a:lnTo>
                      <a:pt x="50" y="199"/>
                    </a:lnTo>
                    <a:close/>
                    <a:moveTo>
                      <a:pt x="149" y="225"/>
                    </a:moveTo>
                    <a:lnTo>
                      <a:pt x="149" y="225"/>
                    </a:lnTo>
                    <a:lnTo>
                      <a:pt x="149" y="225"/>
                    </a:lnTo>
                    <a:lnTo>
                      <a:pt x="149" y="222"/>
                    </a:lnTo>
                    <a:lnTo>
                      <a:pt x="151" y="222"/>
                    </a:lnTo>
                    <a:lnTo>
                      <a:pt x="151" y="222"/>
                    </a:lnTo>
                    <a:lnTo>
                      <a:pt x="151" y="222"/>
                    </a:lnTo>
                    <a:lnTo>
                      <a:pt x="149" y="220"/>
                    </a:lnTo>
                    <a:lnTo>
                      <a:pt x="149" y="217"/>
                    </a:lnTo>
                    <a:lnTo>
                      <a:pt x="149" y="215"/>
                    </a:lnTo>
                    <a:lnTo>
                      <a:pt x="147" y="215"/>
                    </a:lnTo>
                    <a:lnTo>
                      <a:pt x="147" y="213"/>
                    </a:lnTo>
                    <a:lnTo>
                      <a:pt x="147" y="213"/>
                    </a:lnTo>
                    <a:lnTo>
                      <a:pt x="144" y="213"/>
                    </a:lnTo>
                    <a:lnTo>
                      <a:pt x="144" y="208"/>
                    </a:lnTo>
                    <a:lnTo>
                      <a:pt x="144" y="206"/>
                    </a:lnTo>
                    <a:lnTo>
                      <a:pt x="144" y="203"/>
                    </a:lnTo>
                    <a:lnTo>
                      <a:pt x="144" y="203"/>
                    </a:lnTo>
                    <a:lnTo>
                      <a:pt x="142" y="199"/>
                    </a:lnTo>
                    <a:lnTo>
                      <a:pt x="139" y="199"/>
                    </a:lnTo>
                    <a:lnTo>
                      <a:pt x="139" y="201"/>
                    </a:lnTo>
                    <a:lnTo>
                      <a:pt x="137" y="201"/>
                    </a:lnTo>
                    <a:lnTo>
                      <a:pt x="137" y="201"/>
                    </a:lnTo>
                    <a:lnTo>
                      <a:pt x="135" y="199"/>
                    </a:lnTo>
                    <a:lnTo>
                      <a:pt x="135" y="199"/>
                    </a:lnTo>
                    <a:lnTo>
                      <a:pt x="132" y="199"/>
                    </a:lnTo>
                    <a:lnTo>
                      <a:pt x="132" y="196"/>
                    </a:lnTo>
                    <a:lnTo>
                      <a:pt x="130" y="196"/>
                    </a:lnTo>
                    <a:lnTo>
                      <a:pt x="130" y="196"/>
                    </a:lnTo>
                    <a:lnTo>
                      <a:pt x="132" y="199"/>
                    </a:lnTo>
                    <a:lnTo>
                      <a:pt x="132" y="201"/>
                    </a:lnTo>
                    <a:lnTo>
                      <a:pt x="132" y="203"/>
                    </a:lnTo>
                    <a:lnTo>
                      <a:pt x="135" y="210"/>
                    </a:lnTo>
                    <a:lnTo>
                      <a:pt x="135" y="210"/>
                    </a:lnTo>
                    <a:lnTo>
                      <a:pt x="137" y="208"/>
                    </a:lnTo>
                    <a:lnTo>
                      <a:pt x="139" y="208"/>
                    </a:lnTo>
                    <a:lnTo>
                      <a:pt x="139" y="210"/>
                    </a:lnTo>
                    <a:lnTo>
                      <a:pt x="142" y="213"/>
                    </a:lnTo>
                    <a:lnTo>
                      <a:pt x="142" y="213"/>
                    </a:lnTo>
                    <a:lnTo>
                      <a:pt x="142" y="215"/>
                    </a:lnTo>
                    <a:lnTo>
                      <a:pt x="142" y="220"/>
                    </a:lnTo>
                    <a:lnTo>
                      <a:pt x="142" y="222"/>
                    </a:lnTo>
                    <a:lnTo>
                      <a:pt x="142" y="222"/>
                    </a:lnTo>
                    <a:lnTo>
                      <a:pt x="142" y="225"/>
                    </a:lnTo>
                    <a:lnTo>
                      <a:pt x="142" y="227"/>
                    </a:lnTo>
                    <a:lnTo>
                      <a:pt x="144" y="227"/>
                    </a:lnTo>
                    <a:lnTo>
                      <a:pt x="147" y="227"/>
                    </a:lnTo>
                    <a:lnTo>
                      <a:pt x="147" y="227"/>
                    </a:lnTo>
                    <a:lnTo>
                      <a:pt x="147" y="225"/>
                    </a:lnTo>
                    <a:lnTo>
                      <a:pt x="147" y="220"/>
                    </a:lnTo>
                    <a:lnTo>
                      <a:pt x="147" y="222"/>
                    </a:lnTo>
                    <a:lnTo>
                      <a:pt x="149" y="225"/>
                    </a:lnTo>
                    <a:close/>
                    <a:moveTo>
                      <a:pt x="135" y="196"/>
                    </a:moveTo>
                    <a:lnTo>
                      <a:pt x="137" y="196"/>
                    </a:lnTo>
                    <a:lnTo>
                      <a:pt x="137" y="196"/>
                    </a:lnTo>
                    <a:lnTo>
                      <a:pt x="135" y="194"/>
                    </a:lnTo>
                    <a:lnTo>
                      <a:pt x="135" y="194"/>
                    </a:lnTo>
                    <a:lnTo>
                      <a:pt x="132" y="194"/>
                    </a:lnTo>
                    <a:lnTo>
                      <a:pt x="132" y="194"/>
                    </a:lnTo>
                    <a:lnTo>
                      <a:pt x="132" y="196"/>
                    </a:lnTo>
                    <a:lnTo>
                      <a:pt x="135" y="196"/>
                    </a:lnTo>
                    <a:close/>
                    <a:moveTo>
                      <a:pt x="139" y="196"/>
                    </a:moveTo>
                    <a:lnTo>
                      <a:pt x="139" y="196"/>
                    </a:lnTo>
                    <a:lnTo>
                      <a:pt x="139" y="196"/>
                    </a:lnTo>
                    <a:lnTo>
                      <a:pt x="139" y="194"/>
                    </a:lnTo>
                    <a:lnTo>
                      <a:pt x="139" y="194"/>
                    </a:lnTo>
                    <a:lnTo>
                      <a:pt x="137" y="191"/>
                    </a:lnTo>
                    <a:lnTo>
                      <a:pt x="139" y="194"/>
                    </a:lnTo>
                    <a:lnTo>
                      <a:pt x="139" y="196"/>
                    </a:lnTo>
                    <a:lnTo>
                      <a:pt x="139" y="196"/>
                    </a:lnTo>
                    <a:close/>
                    <a:moveTo>
                      <a:pt x="99" y="215"/>
                    </a:moveTo>
                    <a:lnTo>
                      <a:pt x="102" y="213"/>
                    </a:lnTo>
                    <a:lnTo>
                      <a:pt x="104" y="210"/>
                    </a:lnTo>
                    <a:lnTo>
                      <a:pt x="104" y="210"/>
                    </a:lnTo>
                    <a:lnTo>
                      <a:pt x="104" y="208"/>
                    </a:lnTo>
                    <a:lnTo>
                      <a:pt x="104" y="208"/>
                    </a:lnTo>
                    <a:lnTo>
                      <a:pt x="104" y="208"/>
                    </a:lnTo>
                    <a:lnTo>
                      <a:pt x="106" y="206"/>
                    </a:lnTo>
                    <a:lnTo>
                      <a:pt x="106" y="206"/>
                    </a:lnTo>
                    <a:lnTo>
                      <a:pt x="109" y="203"/>
                    </a:lnTo>
                    <a:lnTo>
                      <a:pt x="109" y="201"/>
                    </a:lnTo>
                    <a:lnTo>
                      <a:pt x="109" y="201"/>
                    </a:lnTo>
                    <a:lnTo>
                      <a:pt x="109" y="199"/>
                    </a:lnTo>
                    <a:lnTo>
                      <a:pt x="109" y="196"/>
                    </a:lnTo>
                    <a:lnTo>
                      <a:pt x="109" y="196"/>
                    </a:lnTo>
                    <a:lnTo>
                      <a:pt x="104" y="199"/>
                    </a:lnTo>
                    <a:lnTo>
                      <a:pt x="104" y="196"/>
                    </a:lnTo>
                    <a:lnTo>
                      <a:pt x="104" y="196"/>
                    </a:lnTo>
                    <a:lnTo>
                      <a:pt x="104" y="194"/>
                    </a:lnTo>
                    <a:lnTo>
                      <a:pt x="102" y="194"/>
                    </a:lnTo>
                    <a:lnTo>
                      <a:pt x="99" y="196"/>
                    </a:lnTo>
                    <a:lnTo>
                      <a:pt x="97" y="194"/>
                    </a:lnTo>
                    <a:lnTo>
                      <a:pt x="95" y="194"/>
                    </a:lnTo>
                    <a:lnTo>
                      <a:pt x="92" y="191"/>
                    </a:lnTo>
                    <a:lnTo>
                      <a:pt x="90" y="189"/>
                    </a:lnTo>
                    <a:lnTo>
                      <a:pt x="87" y="189"/>
                    </a:lnTo>
                    <a:lnTo>
                      <a:pt x="87" y="189"/>
                    </a:lnTo>
                    <a:lnTo>
                      <a:pt x="85" y="189"/>
                    </a:lnTo>
                    <a:lnTo>
                      <a:pt x="85" y="191"/>
                    </a:lnTo>
                    <a:lnTo>
                      <a:pt x="85" y="191"/>
                    </a:lnTo>
                    <a:lnTo>
                      <a:pt x="90" y="191"/>
                    </a:lnTo>
                    <a:lnTo>
                      <a:pt x="90" y="194"/>
                    </a:lnTo>
                    <a:lnTo>
                      <a:pt x="90" y="194"/>
                    </a:lnTo>
                    <a:lnTo>
                      <a:pt x="90" y="201"/>
                    </a:lnTo>
                    <a:lnTo>
                      <a:pt x="90" y="206"/>
                    </a:lnTo>
                    <a:lnTo>
                      <a:pt x="90" y="208"/>
                    </a:lnTo>
                    <a:lnTo>
                      <a:pt x="87" y="210"/>
                    </a:lnTo>
                    <a:lnTo>
                      <a:pt x="87" y="213"/>
                    </a:lnTo>
                    <a:lnTo>
                      <a:pt x="90" y="215"/>
                    </a:lnTo>
                    <a:lnTo>
                      <a:pt x="90" y="215"/>
                    </a:lnTo>
                    <a:lnTo>
                      <a:pt x="87" y="217"/>
                    </a:lnTo>
                    <a:lnTo>
                      <a:pt x="90" y="220"/>
                    </a:lnTo>
                    <a:lnTo>
                      <a:pt x="90" y="220"/>
                    </a:lnTo>
                    <a:lnTo>
                      <a:pt x="90" y="220"/>
                    </a:lnTo>
                    <a:lnTo>
                      <a:pt x="90" y="217"/>
                    </a:lnTo>
                    <a:lnTo>
                      <a:pt x="92" y="217"/>
                    </a:lnTo>
                    <a:lnTo>
                      <a:pt x="92" y="215"/>
                    </a:lnTo>
                    <a:lnTo>
                      <a:pt x="99" y="215"/>
                    </a:lnTo>
                    <a:close/>
                    <a:moveTo>
                      <a:pt x="50" y="189"/>
                    </a:moveTo>
                    <a:lnTo>
                      <a:pt x="50" y="187"/>
                    </a:lnTo>
                    <a:lnTo>
                      <a:pt x="50" y="187"/>
                    </a:lnTo>
                    <a:lnTo>
                      <a:pt x="47" y="187"/>
                    </a:lnTo>
                    <a:lnTo>
                      <a:pt x="47" y="187"/>
                    </a:lnTo>
                    <a:lnTo>
                      <a:pt x="50" y="191"/>
                    </a:lnTo>
                    <a:lnTo>
                      <a:pt x="50" y="191"/>
                    </a:lnTo>
                    <a:lnTo>
                      <a:pt x="50" y="194"/>
                    </a:lnTo>
                    <a:lnTo>
                      <a:pt x="50" y="194"/>
                    </a:lnTo>
                    <a:lnTo>
                      <a:pt x="52" y="194"/>
                    </a:lnTo>
                    <a:lnTo>
                      <a:pt x="52" y="191"/>
                    </a:lnTo>
                    <a:lnTo>
                      <a:pt x="52" y="189"/>
                    </a:lnTo>
                    <a:lnTo>
                      <a:pt x="52" y="189"/>
                    </a:lnTo>
                    <a:lnTo>
                      <a:pt x="50" y="189"/>
                    </a:lnTo>
                    <a:close/>
                    <a:moveTo>
                      <a:pt x="54" y="182"/>
                    </a:moveTo>
                    <a:lnTo>
                      <a:pt x="52" y="182"/>
                    </a:lnTo>
                    <a:lnTo>
                      <a:pt x="52" y="184"/>
                    </a:lnTo>
                    <a:lnTo>
                      <a:pt x="52" y="182"/>
                    </a:lnTo>
                    <a:lnTo>
                      <a:pt x="52" y="182"/>
                    </a:lnTo>
                    <a:lnTo>
                      <a:pt x="50" y="180"/>
                    </a:lnTo>
                    <a:lnTo>
                      <a:pt x="47" y="180"/>
                    </a:lnTo>
                    <a:lnTo>
                      <a:pt x="47" y="180"/>
                    </a:lnTo>
                    <a:lnTo>
                      <a:pt x="47" y="180"/>
                    </a:lnTo>
                    <a:lnTo>
                      <a:pt x="47" y="180"/>
                    </a:lnTo>
                    <a:lnTo>
                      <a:pt x="47" y="180"/>
                    </a:lnTo>
                    <a:lnTo>
                      <a:pt x="47" y="182"/>
                    </a:lnTo>
                    <a:lnTo>
                      <a:pt x="47" y="182"/>
                    </a:lnTo>
                    <a:lnTo>
                      <a:pt x="47" y="182"/>
                    </a:lnTo>
                    <a:lnTo>
                      <a:pt x="50" y="184"/>
                    </a:lnTo>
                    <a:lnTo>
                      <a:pt x="50" y="187"/>
                    </a:lnTo>
                    <a:lnTo>
                      <a:pt x="52" y="187"/>
                    </a:lnTo>
                    <a:lnTo>
                      <a:pt x="52" y="187"/>
                    </a:lnTo>
                    <a:lnTo>
                      <a:pt x="54" y="187"/>
                    </a:lnTo>
                    <a:lnTo>
                      <a:pt x="57" y="187"/>
                    </a:lnTo>
                    <a:lnTo>
                      <a:pt x="57" y="184"/>
                    </a:lnTo>
                    <a:lnTo>
                      <a:pt x="54" y="184"/>
                    </a:lnTo>
                    <a:lnTo>
                      <a:pt x="54" y="182"/>
                    </a:lnTo>
                    <a:close/>
                    <a:moveTo>
                      <a:pt x="95" y="175"/>
                    </a:moveTo>
                    <a:lnTo>
                      <a:pt x="95" y="177"/>
                    </a:lnTo>
                    <a:lnTo>
                      <a:pt x="95" y="177"/>
                    </a:lnTo>
                    <a:lnTo>
                      <a:pt x="95" y="177"/>
                    </a:lnTo>
                    <a:lnTo>
                      <a:pt x="97" y="180"/>
                    </a:lnTo>
                    <a:lnTo>
                      <a:pt x="99" y="180"/>
                    </a:lnTo>
                    <a:lnTo>
                      <a:pt x="99" y="177"/>
                    </a:lnTo>
                    <a:lnTo>
                      <a:pt x="99" y="177"/>
                    </a:lnTo>
                    <a:lnTo>
                      <a:pt x="97" y="177"/>
                    </a:lnTo>
                    <a:lnTo>
                      <a:pt x="95" y="175"/>
                    </a:lnTo>
                    <a:close/>
                    <a:moveTo>
                      <a:pt x="130" y="182"/>
                    </a:moveTo>
                    <a:lnTo>
                      <a:pt x="132" y="184"/>
                    </a:lnTo>
                    <a:lnTo>
                      <a:pt x="132" y="184"/>
                    </a:lnTo>
                    <a:lnTo>
                      <a:pt x="135" y="184"/>
                    </a:lnTo>
                    <a:lnTo>
                      <a:pt x="137" y="187"/>
                    </a:lnTo>
                    <a:lnTo>
                      <a:pt x="137" y="187"/>
                    </a:lnTo>
                    <a:lnTo>
                      <a:pt x="139" y="189"/>
                    </a:lnTo>
                    <a:lnTo>
                      <a:pt x="139" y="189"/>
                    </a:lnTo>
                    <a:lnTo>
                      <a:pt x="142" y="191"/>
                    </a:lnTo>
                    <a:lnTo>
                      <a:pt x="142" y="191"/>
                    </a:lnTo>
                    <a:lnTo>
                      <a:pt x="142" y="191"/>
                    </a:lnTo>
                    <a:lnTo>
                      <a:pt x="144" y="194"/>
                    </a:lnTo>
                    <a:lnTo>
                      <a:pt x="142" y="194"/>
                    </a:lnTo>
                    <a:lnTo>
                      <a:pt x="142" y="196"/>
                    </a:lnTo>
                    <a:lnTo>
                      <a:pt x="142" y="199"/>
                    </a:lnTo>
                    <a:lnTo>
                      <a:pt x="144" y="201"/>
                    </a:lnTo>
                    <a:lnTo>
                      <a:pt x="147" y="201"/>
                    </a:lnTo>
                    <a:lnTo>
                      <a:pt x="147" y="201"/>
                    </a:lnTo>
                    <a:lnTo>
                      <a:pt x="149" y="206"/>
                    </a:lnTo>
                    <a:lnTo>
                      <a:pt x="149" y="206"/>
                    </a:lnTo>
                    <a:lnTo>
                      <a:pt x="151" y="206"/>
                    </a:lnTo>
                    <a:lnTo>
                      <a:pt x="156" y="206"/>
                    </a:lnTo>
                    <a:lnTo>
                      <a:pt x="156" y="206"/>
                    </a:lnTo>
                    <a:lnTo>
                      <a:pt x="158" y="206"/>
                    </a:lnTo>
                    <a:lnTo>
                      <a:pt x="158" y="206"/>
                    </a:lnTo>
                    <a:lnTo>
                      <a:pt x="158" y="203"/>
                    </a:lnTo>
                    <a:lnTo>
                      <a:pt x="156" y="203"/>
                    </a:lnTo>
                    <a:lnTo>
                      <a:pt x="154" y="203"/>
                    </a:lnTo>
                    <a:lnTo>
                      <a:pt x="154" y="201"/>
                    </a:lnTo>
                    <a:lnTo>
                      <a:pt x="156" y="201"/>
                    </a:lnTo>
                    <a:lnTo>
                      <a:pt x="154" y="199"/>
                    </a:lnTo>
                    <a:lnTo>
                      <a:pt x="154" y="196"/>
                    </a:lnTo>
                    <a:lnTo>
                      <a:pt x="151" y="196"/>
                    </a:lnTo>
                    <a:lnTo>
                      <a:pt x="151" y="194"/>
                    </a:lnTo>
                    <a:lnTo>
                      <a:pt x="151" y="191"/>
                    </a:lnTo>
                    <a:lnTo>
                      <a:pt x="151" y="191"/>
                    </a:lnTo>
                    <a:lnTo>
                      <a:pt x="151" y="187"/>
                    </a:lnTo>
                    <a:lnTo>
                      <a:pt x="151" y="184"/>
                    </a:lnTo>
                    <a:lnTo>
                      <a:pt x="151" y="184"/>
                    </a:lnTo>
                    <a:lnTo>
                      <a:pt x="151" y="182"/>
                    </a:lnTo>
                    <a:lnTo>
                      <a:pt x="151" y="182"/>
                    </a:lnTo>
                    <a:lnTo>
                      <a:pt x="149" y="180"/>
                    </a:lnTo>
                    <a:lnTo>
                      <a:pt x="149" y="180"/>
                    </a:lnTo>
                    <a:lnTo>
                      <a:pt x="147" y="180"/>
                    </a:lnTo>
                    <a:lnTo>
                      <a:pt x="147" y="177"/>
                    </a:lnTo>
                    <a:lnTo>
                      <a:pt x="147" y="177"/>
                    </a:lnTo>
                    <a:lnTo>
                      <a:pt x="147" y="175"/>
                    </a:lnTo>
                    <a:lnTo>
                      <a:pt x="144" y="175"/>
                    </a:lnTo>
                    <a:lnTo>
                      <a:pt x="139" y="175"/>
                    </a:lnTo>
                    <a:lnTo>
                      <a:pt x="132" y="175"/>
                    </a:lnTo>
                    <a:lnTo>
                      <a:pt x="128" y="175"/>
                    </a:lnTo>
                    <a:lnTo>
                      <a:pt x="130" y="177"/>
                    </a:lnTo>
                    <a:lnTo>
                      <a:pt x="130" y="182"/>
                    </a:lnTo>
                    <a:close/>
                    <a:moveTo>
                      <a:pt x="109" y="184"/>
                    </a:moveTo>
                    <a:lnTo>
                      <a:pt x="109" y="187"/>
                    </a:lnTo>
                    <a:lnTo>
                      <a:pt x="109" y="189"/>
                    </a:lnTo>
                    <a:lnTo>
                      <a:pt x="111" y="187"/>
                    </a:lnTo>
                    <a:lnTo>
                      <a:pt x="113" y="182"/>
                    </a:lnTo>
                    <a:lnTo>
                      <a:pt x="113" y="182"/>
                    </a:lnTo>
                    <a:lnTo>
                      <a:pt x="116" y="182"/>
                    </a:lnTo>
                    <a:lnTo>
                      <a:pt x="116" y="184"/>
                    </a:lnTo>
                    <a:lnTo>
                      <a:pt x="118" y="184"/>
                    </a:lnTo>
                    <a:lnTo>
                      <a:pt x="118" y="184"/>
                    </a:lnTo>
                    <a:lnTo>
                      <a:pt x="118" y="187"/>
                    </a:lnTo>
                    <a:lnTo>
                      <a:pt x="118" y="187"/>
                    </a:lnTo>
                    <a:lnTo>
                      <a:pt x="121" y="187"/>
                    </a:lnTo>
                    <a:lnTo>
                      <a:pt x="121" y="189"/>
                    </a:lnTo>
                    <a:lnTo>
                      <a:pt x="123" y="191"/>
                    </a:lnTo>
                    <a:lnTo>
                      <a:pt x="125" y="191"/>
                    </a:lnTo>
                    <a:lnTo>
                      <a:pt x="125" y="191"/>
                    </a:lnTo>
                    <a:lnTo>
                      <a:pt x="125" y="187"/>
                    </a:lnTo>
                    <a:lnTo>
                      <a:pt x="123" y="182"/>
                    </a:lnTo>
                    <a:lnTo>
                      <a:pt x="118" y="180"/>
                    </a:lnTo>
                    <a:lnTo>
                      <a:pt x="116" y="177"/>
                    </a:lnTo>
                    <a:lnTo>
                      <a:pt x="116" y="177"/>
                    </a:lnTo>
                    <a:lnTo>
                      <a:pt x="113" y="175"/>
                    </a:lnTo>
                    <a:lnTo>
                      <a:pt x="111" y="175"/>
                    </a:lnTo>
                    <a:lnTo>
                      <a:pt x="109" y="175"/>
                    </a:lnTo>
                    <a:lnTo>
                      <a:pt x="109" y="175"/>
                    </a:lnTo>
                    <a:lnTo>
                      <a:pt x="109" y="177"/>
                    </a:lnTo>
                    <a:lnTo>
                      <a:pt x="109" y="180"/>
                    </a:lnTo>
                    <a:lnTo>
                      <a:pt x="109" y="184"/>
                    </a:lnTo>
                    <a:close/>
                    <a:moveTo>
                      <a:pt x="90" y="175"/>
                    </a:moveTo>
                    <a:lnTo>
                      <a:pt x="90" y="175"/>
                    </a:lnTo>
                    <a:lnTo>
                      <a:pt x="90" y="175"/>
                    </a:lnTo>
                    <a:lnTo>
                      <a:pt x="90" y="175"/>
                    </a:lnTo>
                    <a:lnTo>
                      <a:pt x="92" y="175"/>
                    </a:lnTo>
                    <a:lnTo>
                      <a:pt x="90" y="175"/>
                    </a:lnTo>
                    <a:lnTo>
                      <a:pt x="90" y="175"/>
                    </a:lnTo>
                    <a:close/>
                    <a:moveTo>
                      <a:pt x="87" y="184"/>
                    </a:moveTo>
                    <a:lnTo>
                      <a:pt x="87" y="180"/>
                    </a:lnTo>
                    <a:lnTo>
                      <a:pt x="87" y="175"/>
                    </a:lnTo>
                    <a:lnTo>
                      <a:pt x="87" y="172"/>
                    </a:lnTo>
                    <a:lnTo>
                      <a:pt x="87" y="172"/>
                    </a:lnTo>
                    <a:lnTo>
                      <a:pt x="87" y="172"/>
                    </a:lnTo>
                    <a:lnTo>
                      <a:pt x="85" y="175"/>
                    </a:lnTo>
                    <a:lnTo>
                      <a:pt x="85" y="177"/>
                    </a:lnTo>
                    <a:lnTo>
                      <a:pt x="85" y="177"/>
                    </a:lnTo>
                    <a:lnTo>
                      <a:pt x="85" y="180"/>
                    </a:lnTo>
                    <a:lnTo>
                      <a:pt x="85" y="180"/>
                    </a:lnTo>
                    <a:lnTo>
                      <a:pt x="85" y="182"/>
                    </a:lnTo>
                    <a:lnTo>
                      <a:pt x="85" y="182"/>
                    </a:lnTo>
                    <a:lnTo>
                      <a:pt x="87" y="184"/>
                    </a:lnTo>
                    <a:close/>
                    <a:moveTo>
                      <a:pt x="118" y="177"/>
                    </a:moveTo>
                    <a:lnTo>
                      <a:pt x="118" y="180"/>
                    </a:lnTo>
                    <a:lnTo>
                      <a:pt x="118" y="177"/>
                    </a:lnTo>
                    <a:lnTo>
                      <a:pt x="118" y="172"/>
                    </a:lnTo>
                    <a:lnTo>
                      <a:pt x="116" y="172"/>
                    </a:lnTo>
                    <a:lnTo>
                      <a:pt x="116" y="172"/>
                    </a:lnTo>
                    <a:lnTo>
                      <a:pt x="116" y="175"/>
                    </a:lnTo>
                    <a:lnTo>
                      <a:pt x="118" y="177"/>
                    </a:lnTo>
                    <a:close/>
                    <a:moveTo>
                      <a:pt x="111" y="172"/>
                    </a:moveTo>
                    <a:lnTo>
                      <a:pt x="109" y="168"/>
                    </a:lnTo>
                    <a:lnTo>
                      <a:pt x="106" y="168"/>
                    </a:lnTo>
                    <a:lnTo>
                      <a:pt x="104" y="163"/>
                    </a:lnTo>
                    <a:lnTo>
                      <a:pt x="104" y="163"/>
                    </a:lnTo>
                    <a:lnTo>
                      <a:pt x="102" y="163"/>
                    </a:lnTo>
                    <a:lnTo>
                      <a:pt x="102" y="163"/>
                    </a:lnTo>
                    <a:lnTo>
                      <a:pt x="102" y="165"/>
                    </a:lnTo>
                    <a:lnTo>
                      <a:pt x="104" y="165"/>
                    </a:lnTo>
                    <a:lnTo>
                      <a:pt x="106" y="168"/>
                    </a:lnTo>
                    <a:lnTo>
                      <a:pt x="109" y="170"/>
                    </a:lnTo>
                    <a:lnTo>
                      <a:pt x="111" y="172"/>
                    </a:lnTo>
                    <a:close/>
                    <a:moveTo>
                      <a:pt x="76" y="177"/>
                    </a:moveTo>
                    <a:lnTo>
                      <a:pt x="76" y="175"/>
                    </a:lnTo>
                    <a:lnTo>
                      <a:pt x="76" y="175"/>
                    </a:lnTo>
                    <a:lnTo>
                      <a:pt x="78" y="172"/>
                    </a:lnTo>
                    <a:lnTo>
                      <a:pt x="76" y="168"/>
                    </a:lnTo>
                    <a:lnTo>
                      <a:pt x="76" y="168"/>
                    </a:lnTo>
                    <a:lnTo>
                      <a:pt x="76" y="165"/>
                    </a:lnTo>
                    <a:lnTo>
                      <a:pt x="76" y="163"/>
                    </a:lnTo>
                    <a:lnTo>
                      <a:pt x="76" y="163"/>
                    </a:lnTo>
                    <a:lnTo>
                      <a:pt x="73" y="161"/>
                    </a:lnTo>
                    <a:lnTo>
                      <a:pt x="73" y="161"/>
                    </a:lnTo>
                    <a:lnTo>
                      <a:pt x="71" y="158"/>
                    </a:lnTo>
                    <a:lnTo>
                      <a:pt x="69" y="156"/>
                    </a:lnTo>
                    <a:lnTo>
                      <a:pt x="69" y="158"/>
                    </a:lnTo>
                    <a:lnTo>
                      <a:pt x="66" y="156"/>
                    </a:lnTo>
                    <a:lnTo>
                      <a:pt x="66" y="156"/>
                    </a:lnTo>
                    <a:lnTo>
                      <a:pt x="64" y="156"/>
                    </a:lnTo>
                    <a:lnTo>
                      <a:pt x="64" y="154"/>
                    </a:lnTo>
                    <a:lnTo>
                      <a:pt x="61" y="156"/>
                    </a:lnTo>
                    <a:lnTo>
                      <a:pt x="59" y="156"/>
                    </a:lnTo>
                    <a:lnTo>
                      <a:pt x="59" y="156"/>
                    </a:lnTo>
                    <a:lnTo>
                      <a:pt x="54" y="154"/>
                    </a:lnTo>
                    <a:lnTo>
                      <a:pt x="54" y="154"/>
                    </a:lnTo>
                    <a:lnTo>
                      <a:pt x="52" y="156"/>
                    </a:lnTo>
                    <a:lnTo>
                      <a:pt x="52" y="156"/>
                    </a:lnTo>
                    <a:lnTo>
                      <a:pt x="54" y="156"/>
                    </a:lnTo>
                    <a:lnTo>
                      <a:pt x="54" y="156"/>
                    </a:lnTo>
                    <a:lnTo>
                      <a:pt x="54" y="156"/>
                    </a:lnTo>
                    <a:lnTo>
                      <a:pt x="57" y="158"/>
                    </a:lnTo>
                    <a:lnTo>
                      <a:pt x="57" y="161"/>
                    </a:lnTo>
                    <a:lnTo>
                      <a:pt x="57" y="161"/>
                    </a:lnTo>
                    <a:lnTo>
                      <a:pt x="59" y="161"/>
                    </a:lnTo>
                    <a:lnTo>
                      <a:pt x="59" y="163"/>
                    </a:lnTo>
                    <a:lnTo>
                      <a:pt x="61" y="165"/>
                    </a:lnTo>
                    <a:lnTo>
                      <a:pt x="61" y="168"/>
                    </a:lnTo>
                    <a:lnTo>
                      <a:pt x="61" y="170"/>
                    </a:lnTo>
                    <a:lnTo>
                      <a:pt x="64" y="170"/>
                    </a:lnTo>
                    <a:lnTo>
                      <a:pt x="64" y="172"/>
                    </a:lnTo>
                    <a:lnTo>
                      <a:pt x="66" y="172"/>
                    </a:lnTo>
                    <a:lnTo>
                      <a:pt x="66" y="175"/>
                    </a:lnTo>
                    <a:lnTo>
                      <a:pt x="66" y="175"/>
                    </a:lnTo>
                    <a:lnTo>
                      <a:pt x="66" y="177"/>
                    </a:lnTo>
                    <a:lnTo>
                      <a:pt x="69" y="180"/>
                    </a:lnTo>
                    <a:lnTo>
                      <a:pt x="69" y="180"/>
                    </a:lnTo>
                    <a:lnTo>
                      <a:pt x="69" y="180"/>
                    </a:lnTo>
                    <a:lnTo>
                      <a:pt x="71" y="182"/>
                    </a:lnTo>
                    <a:lnTo>
                      <a:pt x="71" y="182"/>
                    </a:lnTo>
                    <a:lnTo>
                      <a:pt x="73" y="182"/>
                    </a:lnTo>
                    <a:lnTo>
                      <a:pt x="73" y="180"/>
                    </a:lnTo>
                    <a:lnTo>
                      <a:pt x="73" y="180"/>
                    </a:lnTo>
                    <a:lnTo>
                      <a:pt x="73" y="180"/>
                    </a:lnTo>
                    <a:lnTo>
                      <a:pt x="76" y="180"/>
                    </a:lnTo>
                    <a:lnTo>
                      <a:pt x="76" y="180"/>
                    </a:lnTo>
                    <a:lnTo>
                      <a:pt x="76" y="177"/>
                    </a:lnTo>
                    <a:lnTo>
                      <a:pt x="76" y="177"/>
                    </a:lnTo>
                    <a:close/>
                    <a:moveTo>
                      <a:pt x="83" y="154"/>
                    </a:moveTo>
                    <a:lnTo>
                      <a:pt x="83" y="154"/>
                    </a:lnTo>
                    <a:lnTo>
                      <a:pt x="83" y="154"/>
                    </a:lnTo>
                    <a:lnTo>
                      <a:pt x="80" y="154"/>
                    </a:lnTo>
                    <a:lnTo>
                      <a:pt x="80" y="156"/>
                    </a:lnTo>
                    <a:lnTo>
                      <a:pt x="80" y="158"/>
                    </a:lnTo>
                    <a:lnTo>
                      <a:pt x="83" y="158"/>
                    </a:lnTo>
                    <a:lnTo>
                      <a:pt x="85" y="161"/>
                    </a:lnTo>
                    <a:lnTo>
                      <a:pt x="85" y="161"/>
                    </a:lnTo>
                    <a:lnTo>
                      <a:pt x="85" y="161"/>
                    </a:lnTo>
                    <a:lnTo>
                      <a:pt x="85" y="158"/>
                    </a:lnTo>
                    <a:lnTo>
                      <a:pt x="85" y="156"/>
                    </a:lnTo>
                    <a:lnTo>
                      <a:pt x="85" y="156"/>
                    </a:lnTo>
                    <a:lnTo>
                      <a:pt x="83" y="154"/>
                    </a:lnTo>
                    <a:close/>
                    <a:moveTo>
                      <a:pt x="47" y="146"/>
                    </a:moveTo>
                    <a:lnTo>
                      <a:pt x="47" y="146"/>
                    </a:lnTo>
                    <a:lnTo>
                      <a:pt x="47" y="149"/>
                    </a:lnTo>
                    <a:lnTo>
                      <a:pt x="47" y="149"/>
                    </a:lnTo>
                    <a:lnTo>
                      <a:pt x="52" y="151"/>
                    </a:lnTo>
                    <a:lnTo>
                      <a:pt x="52" y="149"/>
                    </a:lnTo>
                    <a:lnTo>
                      <a:pt x="50" y="149"/>
                    </a:lnTo>
                    <a:lnTo>
                      <a:pt x="47" y="146"/>
                    </a:lnTo>
                    <a:close/>
                    <a:moveTo>
                      <a:pt x="121" y="154"/>
                    </a:moveTo>
                    <a:lnTo>
                      <a:pt x="123" y="154"/>
                    </a:lnTo>
                    <a:lnTo>
                      <a:pt x="125" y="154"/>
                    </a:lnTo>
                    <a:lnTo>
                      <a:pt x="125" y="154"/>
                    </a:lnTo>
                    <a:lnTo>
                      <a:pt x="125" y="154"/>
                    </a:lnTo>
                    <a:lnTo>
                      <a:pt x="128" y="151"/>
                    </a:lnTo>
                    <a:lnTo>
                      <a:pt x="128" y="151"/>
                    </a:lnTo>
                    <a:lnTo>
                      <a:pt x="128" y="149"/>
                    </a:lnTo>
                    <a:lnTo>
                      <a:pt x="128" y="146"/>
                    </a:lnTo>
                    <a:lnTo>
                      <a:pt x="125" y="146"/>
                    </a:lnTo>
                    <a:lnTo>
                      <a:pt x="125" y="146"/>
                    </a:lnTo>
                    <a:lnTo>
                      <a:pt x="123" y="142"/>
                    </a:lnTo>
                    <a:lnTo>
                      <a:pt x="123" y="144"/>
                    </a:lnTo>
                    <a:lnTo>
                      <a:pt x="123" y="144"/>
                    </a:lnTo>
                    <a:lnTo>
                      <a:pt x="121" y="144"/>
                    </a:lnTo>
                    <a:lnTo>
                      <a:pt x="123" y="149"/>
                    </a:lnTo>
                    <a:lnTo>
                      <a:pt x="121" y="151"/>
                    </a:lnTo>
                    <a:lnTo>
                      <a:pt x="121" y="154"/>
                    </a:lnTo>
                    <a:close/>
                    <a:moveTo>
                      <a:pt x="80" y="139"/>
                    </a:moveTo>
                    <a:lnTo>
                      <a:pt x="80" y="139"/>
                    </a:lnTo>
                    <a:lnTo>
                      <a:pt x="80" y="142"/>
                    </a:lnTo>
                    <a:lnTo>
                      <a:pt x="85" y="144"/>
                    </a:lnTo>
                    <a:lnTo>
                      <a:pt x="85" y="144"/>
                    </a:lnTo>
                    <a:lnTo>
                      <a:pt x="80" y="139"/>
                    </a:lnTo>
                    <a:lnTo>
                      <a:pt x="80" y="139"/>
                    </a:lnTo>
                    <a:close/>
                    <a:moveTo>
                      <a:pt x="78" y="130"/>
                    </a:moveTo>
                    <a:lnTo>
                      <a:pt x="80" y="130"/>
                    </a:lnTo>
                    <a:lnTo>
                      <a:pt x="80" y="130"/>
                    </a:lnTo>
                    <a:lnTo>
                      <a:pt x="80" y="127"/>
                    </a:lnTo>
                    <a:lnTo>
                      <a:pt x="80" y="125"/>
                    </a:lnTo>
                    <a:lnTo>
                      <a:pt x="80" y="123"/>
                    </a:lnTo>
                    <a:lnTo>
                      <a:pt x="80" y="123"/>
                    </a:lnTo>
                    <a:lnTo>
                      <a:pt x="80" y="123"/>
                    </a:lnTo>
                    <a:lnTo>
                      <a:pt x="80" y="123"/>
                    </a:lnTo>
                    <a:lnTo>
                      <a:pt x="78" y="123"/>
                    </a:lnTo>
                    <a:lnTo>
                      <a:pt x="76" y="123"/>
                    </a:lnTo>
                    <a:lnTo>
                      <a:pt x="76" y="123"/>
                    </a:lnTo>
                    <a:lnTo>
                      <a:pt x="78" y="125"/>
                    </a:lnTo>
                    <a:lnTo>
                      <a:pt x="78" y="127"/>
                    </a:lnTo>
                    <a:lnTo>
                      <a:pt x="78" y="127"/>
                    </a:lnTo>
                    <a:lnTo>
                      <a:pt x="78" y="127"/>
                    </a:lnTo>
                    <a:lnTo>
                      <a:pt x="78" y="130"/>
                    </a:lnTo>
                    <a:lnTo>
                      <a:pt x="78" y="130"/>
                    </a:lnTo>
                    <a:close/>
                    <a:moveTo>
                      <a:pt x="35" y="101"/>
                    </a:moveTo>
                    <a:lnTo>
                      <a:pt x="35" y="104"/>
                    </a:lnTo>
                    <a:lnTo>
                      <a:pt x="38" y="104"/>
                    </a:lnTo>
                    <a:lnTo>
                      <a:pt x="38" y="104"/>
                    </a:lnTo>
                    <a:lnTo>
                      <a:pt x="38" y="106"/>
                    </a:lnTo>
                    <a:lnTo>
                      <a:pt x="40" y="113"/>
                    </a:lnTo>
                    <a:lnTo>
                      <a:pt x="40" y="116"/>
                    </a:lnTo>
                    <a:lnTo>
                      <a:pt x="42" y="118"/>
                    </a:lnTo>
                    <a:lnTo>
                      <a:pt x="42" y="120"/>
                    </a:lnTo>
                    <a:lnTo>
                      <a:pt x="42" y="123"/>
                    </a:lnTo>
                    <a:lnTo>
                      <a:pt x="45" y="125"/>
                    </a:lnTo>
                    <a:lnTo>
                      <a:pt x="45" y="127"/>
                    </a:lnTo>
                    <a:lnTo>
                      <a:pt x="47" y="127"/>
                    </a:lnTo>
                    <a:lnTo>
                      <a:pt x="47" y="127"/>
                    </a:lnTo>
                    <a:lnTo>
                      <a:pt x="50" y="130"/>
                    </a:lnTo>
                    <a:lnTo>
                      <a:pt x="50" y="132"/>
                    </a:lnTo>
                    <a:lnTo>
                      <a:pt x="52" y="135"/>
                    </a:lnTo>
                    <a:lnTo>
                      <a:pt x="52" y="135"/>
                    </a:lnTo>
                    <a:lnTo>
                      <a:pt x="54" y="135"/>
                    </a:lnTo>
                    <a:lnTo>
                      <a:pt x="54" y="135"/>
                    </a:lnTo>
                    <a:lnTo>
                      <a:pt x="54" y="135"/>
                    </a:lnTo>
                    <a:lnTo>
                      <a:pt x="54" y="132"/>
                    </a:lnTo>
                    <a:lnTo>
                      <a:pt x="54" y="127"/>
                    </a:lnTo>
                    <a:lnTo>
                      <a:pt x="54" y="125"/>
                    </a:lnTo>
                    <a:lnTo>
                      <a:pt x="54" y="127"/>
                    </a:lnTo>
                    <a:lnTo>
                      <a:pt x="57" y="127"/>
                    </a:lnTo>
                    <a:lnTo>
                      <a:pt x="59" y="127"/>
                    </a:lnTo>
                    <a:lnTo>
                      <a:pt x="59" y="130"/>
                    </a:lnTo>
                    <a:lnTo>
                      <a:pt x="61" y="130"/>
                    </a:lnTo>
                    <a:lnTo>
                      <a:pt x="61" y="132"/>
                    </a:lnTo>
                    <a:lnTo>
                      <a:pt x="61" y="135"/>
                    </a:lnTo>
                    <a:lnTo>
                      <a:pt x="57" y="137"/>
                    </a:lnTo>
                    <a:lnTo>
                      <a:pt x="57" y="139"/>
                    </a:lnTo>
                    <a:lnTo>
                      <a:pt x="57" y="139"/>
                    </a:lnTo>
                    <a:lnTo>
                      <a:pt x="57" y="144"/>
                    </a:lnTo>
                    <a:lnTo>
                      <a:pt x="57" y="149"/>
                    </a:lnTo>
                    <a:lnTo>
                      <a:pt x="59" y="146"/>
                    </a:lnTo>
                    <a:lnTo>
                      <a:pt x="61" y="146"/>
                    </a:lnTo>
                    <a:lnTo>
                      <a:pt x="64" y="149"/>
                    </a:lnTo>
                    <a:lnTo>
                      <a:pt x="64" y="149"/>
                    </a:lnTo>
                    <a:lnTo>
                      <a:pt x="66" y="151"/>
                    </a:lnTo>
                    <a:lnTo>
                      <a:pt x="69" y="151"/>
                    </a:lnTo>
                    <a:lnTo>
                      <a:pt x="71" y="151"/>
                    </a:lnTo>
                    <a:lnTo>
                      <a:pt x="73" y="151"/>
                    </a:lnTo>
                    <a:lnTo>
                      <a:pt x="73" y="149"/>
                    </a:lnTo>
                    <a:lnTo>
                      <a:pt x="73" y="146"/>
                    </a:lnTo>
                    <a:lnTo>
                      <a:pt x="76" y="146"/>
                    </a:lnTo>
                    <a:lnTo>
                      <a:pt x="76" y="146"/>
                    </a:lnTo>
                    <a:lnTo>
                      <a:pt x="78" y="146"/>
                    </a:lnTo>
                    <a:lnTo>
                      <a:pt x="78" y="146"/>
                    </a:lnTo>
                    <a:lnTo>
                      <a:pt x="85" y="149"/>
                    </a:lnTo>
                    <a:lnTo>
                      <a:pt x="87" y="151"/>
                    </a:lnTo>
                    <a:lnTo>
                      <a:pt x="90" y="154"/>
                    </a:lnTo>
                    <a:lnTo>
                      <a:pt x="90" y="156"/>
                    </a:lnTo>
                    <a:lnTo>
                      <a:pt x="92" y="158"/>
                    </a:lnTo>
                    <a:lnTo>
                      <a:pt x="95" y="158"/>
                    </a:lnTo>
                    <a:lnTo>
                      <a:pt x="95" y="161"/>
                    </a:lnTo>
                    <a:lnTo>
                      <a:pt x="95" y="161"/>
                    </a:lnTo>
                    <a:lnTo>
                      <a:pt x="97" y="161"/>
                    </a:lnTo>
                    <a:lnTo>
                      <a:pt x="97" y="156"/>
                    </a:lnTo>
                    <a:lnTo>
                      <a:pt x="95" y="154"/>
                    </a:lnTo>
                    <a:lnTo>
                      <a:pt x="95" y="154"/>
                    </a:lnTo>
                    <a:lnTo>
                      <a:pt x="92" y="151"/>
                    </a:lnTo>
                    <a:lnTo>
                      <a:pt x="92" y="151"/>
                    </a:lnTo>
                    <a:lnTo>
                      <a:pt x="92" y="149"/>
                    </a:lnTo>
                    <a:lnTo>
                      <a:pt x="92" y="149"/>
                    </a:lnTo>
                    <a:lnTo>
                      <a:pt x="92" y="146"/>
                    </a:lnTo>
                    <a:lnTo>
                      <a:pt x="92" y="146"/>
                    </a:lnTo>
                    <a:lnTo>
                      <a:pt x="92" y="146"/>
                    </a:lnTo>
                    <a:lnTo>
                      <a:pt x="95" y="146"/>
                    </a:lnTo>
                    <a:lnTo>
                      <a:pt x="97" y="149"/>
                    </a:lnTo>
                    <a:lnTo>
                      <a:pt x="99" y="151"/>
                    </a:lnTo>
                    <a:lnTo>
                      <a:pt x="99" y="154"/>
                    </a:lnTo>
                    <a:lnTo>
                      <a:pt x="104" y="156"/>
                    </a:lnTo>
                    <a:lnTo>
                      <a:pt x="106" y="156"/>
                    </a:lnTo>
                    <a:lnTo>
                      <a:pt x="106" y="158"/>
                    </a:lnTo>
                    <a:lnTo>
                      <a:pt x="109" y="161"/>
                    </a:lnTo>
                    <a:lnTo>
                      <a:pt x="109" y="163"/>
                    </a:lnTo>
                    <a:lnTo>
                      <a:pt x="109" y="165"/>
                    </a:lnTo>
                    <a:lnTo>
                      <a:pt x="111" y="165"/>
                    </a:lnTo>
                    <a:lnTo>
                      <a:pt x="116" y="168"/>
                    </a:lnTo>
                    <a:lnTo>
                      <a:pt x="118" y="168"/>
                    </a:lnTo>
                    <a:lnTo>
                      <a:pt x="118" y="168"/>
                    </a:lnTo>
                    <a:lnTo>
                      <a:pt x="118" y="168"/>
                    </a:lnTo>
                    <a:lnTo>
                      <a:pt x="121" y="165"/>
                    </a:lnTo>
                    <a:lnTo>
                      <a:pt x="121" y="168"/>
                    </a:lnTo>
                    <a:lnTo>
                      <a:pt x="121" y="170"/>
                    </a:lnTo>
                    <a:lnTo>
                      <a:pt x="121" y="172"/>
                    </a:lnTo>
                    <a:lnTo>
                      <a:pt x="123" y="175"/>
                    </a:lnTo>
                    <a:lnTo>
                      <a:pt x="123" y="175"/>
                    </a:lnTo>
                    <a:lnTo>
                      <a:pt x="125" y="170"/>
                    </a:lnTo>
                    <a:lnTo>
                      <a:pt x="125" y="165"/>
                    </a:lnTo>
                    <a:lnTo>
                      <a:pt x="123" y="165"/>
                    </a:lnTo>
                    <a:lnTo>
                      <a:pt x="123" y="165"/>
                    </a:lnTo>
                    <a:lnTo>
                      <a:pt x="121" y="163"/>
                    </a:lnTo>
                    <a:lnTo>
                      <a:pt x="118" y="163"/>
                    </a:lnTo>
                    <a:lnTo>
                      <a:pt x="118" y="163"/>
                    </a:lnTo>
                    <a:lnTo>
                      <a:pt x="118" y="161"/>
                    </a:lnTo>
                    <a:lnTo>
                      <a:pt x="118" y="161"/>
                    </a:lnTo>
                    <a:lnTo>
                      <a:pt x="116" y="158"/>
                    </a:lnTo>
                    <a:lnTo>
                      <a:pt x="116" y="156"/>
                    </a:lnTo>
                    <a:lnTo>
                      <a:pt x="113" y="154"/>
                    </a:lnTo>
                    <a:lnTo>
                      <a:pt x="111" y="151"/>
                    </a:lnTo>
                    <a:lnTo>
                      <a:pt x="113" y="151"/>
                    </a:lnTo>
                    <a:lnTo>
                      <a:pt x="116" y="151"/>
                    </a:lnTo>
                    <a:lnTo>
                      <a:pt x="118" y="149"/>
                    </a:lnTo>
                    <a:lnTo>
                      <a:pt x="116" y="146"/>
                    </a:lnTo>
                    <a:lnTo>
                      <a:pt x="113" y="146"/>
                    </a:lnTo>
                    <a:lnTo>
                      <a:pt x="113" y="146"/>
                    </a:lnTo>
                    <a:lnTo>
                      <a:pt x="113" y="146"/>
                    </a:lnTo>
                    <a:lnTo>
                      <a:pt x="109" y="144"/>
                    </a:lnTo>
                    <a:lnTo>
                      <a:pt x="109" y="144"/>
                    </a:lnTo>
                    <a:lnTo>
                      <a:pt x="106" y="142"/>
                    </a:lnTo>
                    <a:lnTo>
                      <a:pt x="106" y="144"/>
                    </a:lnTo>
                    <a:lnTo>
                      <a:pt x="106" y="144"/>
                    </a:lnTo>
                    <a:lnTo>
                      <a:pt x="106" y="146"/>
                    </a:lnTo>
                    <a:lnTo>
                      <a:pt x="106" y="146"/>
                    </a:lnTo>
                    <a:lnTo>
                      <a:pt x="106" y="149"/>
                    </a:lnTo>
                    <a:lnTo>
                      <a:pt x="104" y="149"/>
                    </a:lnTo>
                    <a:lnTo>
                      <a:pt x="102" y="149"/>
                    </a:lnTo>
                    <a:lnTo>
                      <a:pt x="102" y="146"/>
                    </a:lnTo>
                    <a:lnTo>
                      <a:pt x="102" y="146"/>
                    </a:lnTo>
                    <a:lnTo>
                      <a:pt x="102" y="144"/>
                    </a:lnTo>
                    <a:lnTo>
                      <a:pt x="102" y="142"/>
                    </a:lnTo>
                    <a:lnTo>
                      <a:pt x="99" y="139"/>
                    </a:lnTo>
                    <a:lnTo>
                      <a:pt x="97" y="139"/>
                    </a:lnTo>
                    <a:lnTo>
                      <a:pt x="95" y="137"/>
                    </a:lnTo>
                    <a:lnTo>
                      <a:pt x="92" y="137"/>
                    </a:lnTo>
                    <a:lnTo>
                      <a:pt x="90" y="137"/>
                    </a:lnTo>
                    <a:lnTo>
                      <a:pt x="87" y="139"/>
                    </a:lnTo>
                    <a:lnTo>
                      <a:pt x="87" y="139"/>
                    </a:lnTo>
                    <a:lnTo>
                      <a:pt x="85" y="139"/>
                    </a:lnTo>
                    <a:lnTo>
                      <a:pt x="85" y="142"/>
                    </a:lnTo>
                    <a:lnTo>
                      <a:pt x="85" y="142"/>
                    </a:lnTo>
                    <a:lnTo>
                      <a:pt x="87" y="144"/>
                    </a:lnTo>
                    <a:lnTo>
                      <a:pt x="87" y="144"/>
                    </a:lnTo>
                    <a:lnTo>
                      <a:pt x="87" y="144"/>
                    </a:lnTo>
                    <a:lnTo>
                      <a:pt x="87" y="146"/>
                    </a:lnTo>
                    <a:lnTo>
                      <a:pt x="85" y="146"/>
                    </a:lnTo>
                    <a:lnTo>
                      <a:pt x="83" y="146"/>
                    </a:lnTo>
                    <a:lnTo>
                      <a:pt x="80" y="144"/>
                    </a:lnTo>
                    <a:lnTo>
                      <a:pt x="80" y="142"/>
                    </a:lnTo>
                    <a:lnTo>
                      <a:pt x="78" y="142"/>
                    </a:lnTo>
                    <a:lnTo>
                      <a:pt x="78" y="142"/>
                    </a:lnTo>
                    <a:lnTo>
                      <a:pt x="78" y="139"/>
                    </a:lnTo>
                    <a:lnTo>
                      <a:pt x="73" y="135"/>
                    </a:lnTo>
                    <a:lnTo>
                      <a:pt x="73" y="132"/>
                    </a:lnTo>
                    <a:lnTo>
                      <a:pt x="73" y="130"/>
                    </a:lnTo>
                    <a:lnTo>
                      <a:pt x="76" y="127"/>
                    </a:lnTo>
                    <a:lnTo>
                      <a:pt x="73" y="127"/>
                    </a:lnTo>
                    <a:lnTo>
                      <a:pt x="73" y="127"/>
                    </a:lnTo>
                    <a:lnTo>
                      <a:pt x="71" y="123"/>
                    </a:lnTo>
                    <a:lnTo>
                      <a:pt x="69" y="118"/>
                    </a:lnTo>
                    <a:lnTo>
                      <a:pt x="69" y="118"/>
                    </a:lnTo>
                    <a:lnTo>
                      <a:pt x="69" y="116"/>
                    </a:lnTo>
                    <a:lnTo>
                      <a:pt x="69" y="116"/>
                    </a:lnTo>
                    <a:lnTo>
                      <a:pt x="69" y="113"/>
                    </a:lnTo>
                    <a:lnTo>
                      <a:pt x="69" y="113"/>
                    </a:lnTo>
                    <a:lnTo>
                      <a:pt x="71" y="111"/>
                    </a:lnTo>
                    <a:lnTo>
                      <a:pt x="71" y="109"/>
                    </a:lnTo>
                    <a:lnTo>
                      <a:pt x="71" y="109"/>
                    </a:lnTo>
                    <a:lnTo>
                      <a:pt x="69" y="106"/>
                    </a:lnTo>
                    <a:lnTo>
                      <a:pt x="69" y="106"/>
                    </a:lnTo>
                    <a:lnTo>
                      <a:pt x="69" y="104"/>
                    </a:lnTo>
                    <a:lnTo>
                      <a:pt x="71" y="101"/>
                    </a:lnTo>
                    <a:lnTo>
                      <a:pt x="73" y="99"/>
                    </a:lnTo>
                    <a:lnTo>
                      <a:pt x="76" y="99"/>
                    </a:lnTo>
                    <a:lnTo>
                      <a:pt x="78" y="99"/>
                    </a:lnTo>
                    <a:lnTo>
                      <a:pt x="80" y="94"/>
                    </a:lnTo>
                    <a:lnTo>
                      <a:pt x="80" y="92"/>
                    </a:lnTo>
                    <a:lnTo>
                      <a:pt x="83" y="85"/>
                    </a:lnTo>
                    <a:lnTo>
                      <a:pt x="83" y="80"/>
                    </a:lnTo>
                    <a:lnTo>
                      <a:pt x="83" y="80"/>
                    </a:lnTo>
                    <a:lnTo>
                      <a:pt x="83" y="78"/>
                    </a:lnTo>
                    <a:lnTo>
                      <a:pt x="83" y="78"/>
                    </a:lnTo>
                    <a:lnTo>
                      <a:pt x="80" y="78"/>
                    </a:lnTo>
                    <a:lnTo>
                      <a:pt x="80" y="75"/>
                    </a:lnTo>
                    <a:lnTo>
                      <a:pt x="80" y="75"/>
                    </a:lnTo>
                    <a:lnTo>
                      <a:pt x="78" y="73"/>
                    </a:lnTo>
                    <a:lnTo>
                      <a:pt x="78" y="73"/>
                    </a:lnTo>
                    <a:lnTo>
                      <a:pt x="76" y="71"/>
                    </a:lnTo>
                    <a:lnTo>
                      <a:pt x="76" y="68"/>
                    </a:lnTo>
                    <a:lnTo>
                      <a:pt x="73" y="66"/>
                    </a:lnTo>
                    <a:lnTo>
                      <a:pt x="73" y="64"/>
                    </a:lnTo>
                    <a:lnTo>
                      <a:pt x="73" y="59"/>
                    </a:lnTo>
                    <a:lnTo>
                      <a:pt x="73" y="56"/>
                    </a:lnTo>
                    <a:lnTo>
                      <a:pt x="76" y="54"/>
                    </a:lnTo>
                    <a:lnTo>
                      <a:pt x="76" y="52"/>
                    </a:lnTo>
                    <a:lnTo>
                      <a:pt x="73" y="52"/>
                    </a:lnTo>
                    <a:lnTo>
                      <a:pt x="73" y="49"/>
                    </a:lnTo>
                    <a:lnTo>
                      <a:pt x="73" y="49"/>
                    </a:lnTo>
                    <a:lnTo>
                      <a:pt x="71" y="49"/>
                    </a:lnTo>
                    <a:lnTo>
                      <a:pt x="71" y="52"/>
                    </a:lnTo>
                    <a:lnTo>
                      <a:pt x="71" y="52"/>
                    </a:lnTo>
                    <a:lnTo>
                      <a:pt x="69" y="54"/>
                    </a:lnTo>
                    <a:lnTo>
                      <a:pt x="66" y="54"/>
                    </a:lnTo>
                    <a:lnTo>
                      <a:pt x="64" y="52"/>
                    </a:lnTo>
                    <a:lnTo>
                      <a:pt x="61" y="52"/>
                    </a:lnTo>
                    <a:lnTo>
                      <a:pt x="54" y="47"/>
                    </a:lnTo>
                    <a:lnTo>
                      <a:pt x="52" y="47"/>
                    </a:lnTo>
                    <a:lnTo>
                      <a:pt x="50" y="47"/>
                    </a:lnTo>
                    <a:lnTo>
                      <a:pt x="50" y="47"/>
                    </a:lnTo>
                    <a:lnTo>
                      <a:pt x="47" y="47"/>
                    </a:lnTo>
                    <a:lnTo>
                      <a:pt x="47" y="47"/>
                    </a:lnTo>
                    <a:lnTo>
                      <a:pt x="45" y="47"/>
                    </a:lnTo>
                    <a:lnTo>
                      <a:pt x="42" y="49"/>
                    </a:lnTo>
                    <a:lnTo>
                      <a:pt x="42" y="52"/>
                    </a:lnTo>
                    <a:lnTo>
                      <a:pt x="42" y="54"/>
                    </a:lnTo>
                    <a:lnTo>
                      <a:pt x="42" y="56"/>
                    </a:lnTo>
                    <a:lnTo>
                      <a:pt x="40" y="68"/>
                    </a:lnTo>
                    <a:lnTo>
                      <a:pt x="42" y="68"/>
                    </a:lnTo>
                    <a:lnTo>
                      <a:pt x="42" y="71"/>
                    </a:lnTo>
                    <a:lnTo>
                      <a:pt x="42" y="73"/>
                    </a:lnTo>
                    <a:lnTo>
                      <a:pt x="42" y="75"/>
                    </a:lnTo>
                    <a:lnTo>
                      <a:pt x="45" y="78"/>
                    </a:lnTo>
                    <a:lnTo>
                      <a:pt x="45" y="82"/>
                    </a:lnTo>
                    <a:lnTo>
                      <a:pt x="42" y="85"/>
                    </a:lnTo>
                    <a:lnTo>
                      <a:pt x="42" y="87"/>
                    </a:lnTo>
                    <a:lnTo>
                      <a:pt x="45" y="90"/>
                    </a:lnTo>
                    <a:lnTo>
                      <a:pt x="45" y="94"/>
                    </a:lnTo>
                    <a:lnTo>
                      <a:pt x="47" y="97"/>
                    </a:lnTo>
                    <a:lnTo>
                      <a:pt x="47" y="99"/>
                    </a:lnTo>
                    <a:lnTo>
                      <a:pt x="47" y="99"/>
                    </a:lnTo>
                    <a:lnTo>
                      <a:pt x="45" y="101"/>
                    </a:lnTo>
                    <a:lnTo>
                      <a:pt x="45" y="101"/>
                    </a:lnTo>
                    <a:lnTo>
                      <a:pt x="42" y="101"/>
                    </a:lnTo>
                    <a:lnTo>
                      <a:pt x="42" y="101"/>
                    </a:lnTo>
                    <a:lnTo>
                      <a:pt x="40" y="99"/>
                    </a:lnTo>
                    <a:lnTo>
                      <a:pt x="38" y="97"/>
                    </a:lnTo>
                    <a:lnTo>
                      <a:pt x="38" y="97"/>
                    </a:lnTo>
                    <a:lnTo>
                      <a:pt x="38" y="97"/>
                    </a:lnTo>
                    <a:lnTo>
                      <a:pt x="35" y="94"/>
                    </a:lnTo>
                    <a:lnTo>
                      <a:pt x="35" y="94"/>
                    </a:lnTo>
                    <a:lnTo>
                      <a:pt x="35" y="97"/>
                    </a:lnTo>
                    <a:lnTo>
                      <a:pt x="35" y="101"/>
                    </a:lnTo>
                    <a:lnTo>
                      <a:pt x="35" y="101"/>
                    </a:lnTo>
                    <a:close/>
                    <a:moveTo>
                      <a:pt x="64" y="42"/>
                    </a:moveTo>
                    <a:lnTo>
                      <a:pt x="66" y="40"/>
                    </a:lnTo>
                    <a:lnTo>
                      <a:pt x="66" y="40"/>
                    </a:lnTo>
                    <a:lnTo>
                      <a:pt x="66" y="37"/>
                    </a:lnTo>
                    <a:lnTo>
                      <a:pt x="64" y="37"/>
                    </a:lnTo>
                    <a:lnTo>
                      <a:pt x="64" y="40"/>
                    </a:lnTo>
                    <a:lnTo>
                      <a:pt x="64" y="40"/>
                    </a:lnTo>
                    <a:lnTo>
                      <a:pt x="64" y="42"/>
                    </a:lnTo>
                    <a:lnTo>
                      <a:pt x="64" y="42"/>
                    </a:lnTo>
                    <a:close/>
                    <a:moveTo>
                      <a:pt x="52" y="37"/>
                    </a:moveTo>
                    <a:lnTo>
                      <a:pt x="52" y="37"/>
                    </a:lnTo>
                    <a:lnTo>
                      <a:pt x="52" y="37"/>
                    </a:lnTo>
                    <a:lnTo>
                      <a:pt x="52" y="35"/>
                    </a:lnTo>
                    <a:lnTo>
                      <a:pt x="52" y="35"/>
                    </a:lnTo>
                    <a:lnTo>
                      <a:pt x="52" y="35"/>
                    </a:lnTo>
                    <a:lnTo>
                      <a:pt x="52" y="35"/>
                    </a:lnTo>
                    <a:lnTo>
                      <a:pt x="52" y="37"/>
                    </a:lnTo>
                    <a:close/>
                    <a:moveTo>
                      <a:pt x="54" y="30"/>
                    </a:moveTo>
                    <a:lnTo>
                      <a:pt x="57" y="33"/>
                    </a:lnTo>
                    <a:lnTo>
                      <a:pt x="57" y="33"/>
                    </a:lnTo>
                    <a:lnTo>
                      <a:pt x="57" y="30"/>
                    </a:lnTo>
                    <a:lnTo>
                      <a:pt x="54" y="30"/>
                    </a:lnTo>
                    <a:lnTo>
                      <a:pt x="54" y="30"/>
                    </a:lnTo>
                    <a:lnTo>
                      <a:pt x="54" y="30"/>
                    </a:lnTo>
                    <a:lnTo>
                      <a:pt x="54" y="30"/>
                    </a:lnTo>
                    <a:close/>
                    <a:moveTo>
                      <a:pt x="61" y="9"/>
                    </a:moveTo>
                    <a:lnTo>
                      <a:pt x="61" y="7"/>
                    </a:lnTo>
                    <a:lnTo>
                      <a:pt x="61" y="7"/>
                    </a:lnTo>
                    <a:lnTo>
                      <a:pt x="61" y="7"/>
                    </a:lnTo>
                    <a:lnTo>
                      <a:pt x="61" y="9"/>
                    </a:lnTo>
                    <a:lnTo>
                      <a:pt x="61" y="9"/>
                    </a:lnTo>
                    <a:lnTo>
                      <a:pt x="61" y="9"/>
                    </a:lnTo>
                    <a:close/>
                    <a:moveTo>
                      <a:pt x="57" y="2"/>
                    </a:moveTo>
                    <a:lnTo>
                      <a:pt x="59" y="0"/>
                    </a:lnTo>
                    <a:lnTo>
                      <a:pt x="59" y="0"/>
                    </a:lnTo>
                    <a:lnTo>
                      <a:pt x="57" y="0"/>
                    </a:lnTo>
                    <a:lnTo>
                      <a:pt x="57" y="2"/>
                    </a:lnTo>
                    <a:lnTo>
                      <a:pt x="57" y="2"/>
                    </a:lnTo>
                    <a:lnTo>
                      <a:pt x="57" y="2"/>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69"/>
              <p:cNvSpPr>
                <a:spLocks/>
              </p:cNvSpPr>
              <p:nvPr/>
            </p:nvSpPr>
            <p:spPr bwMode="auto">
              <a:xfrm>
                <a:off x="1232" y="2800"/>
                <a:ext cx="249" cy="388"/>
              </a:xfrm>
              <a:custGeom>
                <a:avLst/>
                <a:gdLst>
                  <a:gd name="T0" fmla="*/ 239 w 249"/>
                  <a:gd name="T1" fmla="*/ 327 h 388"/>
                  <a:gd name="T2" fmla="*/ 239 w 249"/>
                  <a:gd name="T3" fmla="*/ 308 h 388"/>
                  <a:gd name="T4" fmla="*/ 244 w 249"/>
                  <a:gd name="T5" fmla="*/ 298 h 388"/>
                  <a:gd name="T6" fmla="*/ 239 w 249"/>
                  <a:gd name="T7" fmla="*/ 272 h 388"/>
                  <a:gd name="T8" fmla="*/ 237 w 249"/>
                  <a:gd name="T9" fmla="*/ 251 h 388"/>
                  <a:gd name="T10" fmla="*/ 216 w 249"/>
                  <a:gd name="T11" fmla="*/ 234 h 388"/>
                  <a:gd name="T12" fmla="*/ 206 w 249"/>
                  <a:gd name="T13" fmla="*/ 220 h 388"/>
                  <a:gd name="T14" fmla="*/ 206 w 249"/>
                  <a:gd name="T15" fmla="*/ 201 h 388"/>
                  <a:gd name="T16" fmla="*/ 192 w 249"/>
                  <a:gd name="T17" fmla="*/ 211 h 388"/>
                  <a:gd name="T18" fmla="*/ 173 w 249"/>
                  <a:gd name="T19" fmla="*/ 201 h 388"/>
                  <a:gd name="T20" fmla="*/ 159 w 249"/>
                  <a:gd name="T21" fmla="*/ 187 h 388"/>
                  <a:gd name="T22" fmla="*/ 149 w 249"/>
                  <a:gd name="T23" fmla="*/ 178 h 388"/>
                  <a:gd name="T24" fmla="*/ 145 w 249"/>
                  <a:gd name="T25" fmla="*/ 166 h 388"/>
                  <a:gd name="T26" fmla="*/ 140 w 249"/>
                  <a:gd name="T27" fmla="*/ 159 h 388"/>
                  <a:gd name="T28" fmla="*/ 145 w 249"/>
                  <a:gd name="T29" fmla="*/ 154 h 388"/>
                  <a:gd name="T30" fmla="*/ 154 w 249"/>
                  <a:gd name="T31" fmla="*/ 137 h 388"/>
                  <a:gd name="T32" fmla="*/ 156 w 249"/>
                  <a:gd name="T33" fmla="*/ 118 h 388"/>
                  <a:gd name="T34" fmla="*/ 166 w 249"/>
                  <a:gd name="T35" fmla="*/ 104 h 388"/>
                  <a:gd name="T36" fmla="*/ 187 w 249"/>
                  <a:gd name="T37" fmla="*/ 95 h 388"/>
                  <a:gd name="T38" fmla="*/ 204 w 249"/>
                  <a:gd name="T39" fmla="*/ 88 h 388"/>
                  <a:gd name="T40" fmla="*/ 211 w 249"/>
                  <a:gd name="T41" fmla="*/ 88 h 388"/>
                  <a:gd name="T42" fmla="*/ 201 w 249"/>
                  <a:gd name="T43" fmla="*/ 83 h 388"/>
                  <a:gd name="T44" fmla="*/ 208 w 249"/>
                  <a:gd name="T45" fmla="*/ 57 h 388"/>
                  <a:gd name="T46" fmla="*/ 194 w 249"/>
                  <a:gd name="T47" fmla="*/ 47 h 388"/>
                  <a:gd name="T48" fmla="*/ 180 w 249"/>
                  <a:gd name="T49" fmla="*/ 47 h 388"/>
                  <a:gd name="T50" fmla="*/ 166 w 249"/>
                  <a:gd name="T51" fmla="*/ 52 h 388"/>
                  <a:gd name="T52" fmla="*/ 154 w 249"/>
                  <a:gd name="T53" fmla="*/ 50 h 388"/>
                  <a:gd name="T54" fmla="*/ 147 w 249"/>
                  <a:gd name="T55" fmla="*/ 38 h 388"/>
                  <a:gd name="T56" fmla="*/ 140 w 249"/>
                  <a:gd name="T57" fmla="*/ 26 h 388"/>
                  <a:gd name="T58" fmla="*/ 128 w 249"/>
                  <a:gd name="T59" fmla="*/ 17 h 388"/>
                  <a:gd name="T60" fmla="*/ 121 w 249"/>
                  <a:gd name="T61" fmla="*/ 5 h 388"/>
                  <a:gd name="T62" fmla="*/ 111 w 249"/>
                  <a:gd name="T63" fmla="*/ 2 h 388"/>
                  <a:gd name="T64" fmla="*/ 111 w 249"/>
                  <a:gd name="T65" fmla="*/ 12 h 388"/>
                  <a:gd name="T66" fmla="*/ 109 w 249"/>
                  <a:gd name="T67" fmla="*/ 19 h 388"/>
                  <a:gd name="T68" fmla="*/ 93 w 249"/>
                  <a:gd name="T69" fmla="*/ 50 h 388"/>
                  <a:gd name="T70" fmla="*/ 62 w 249"/>
                  <a:gd name="T71" fmla="*/ 69 h 388"/>
                  <a:gd name="T72" fmla="*/ 57 w 249"/>
                  <a:gd name="T73" fmla="*/ 73 h 388"/>
                  <a:gd name="T74" fmla="*/ 52 w 249"/>
                  <a:gd name="T75" fmla="*/ 83 h 388"/>
                  <a:gd name="T76" fmla="*/ 50 w 249"/>
                  <a:gd name="T77" fmla="*/ 95 h 388"/>
                  <a:gd name="T78" fmla="*/ 43 w 249"/>
                  <a:gd name="T79" fmla="*/ 104 h 388"/>
                  <a:gd name="T80" fmla="*/ 31 w 249"/>
                  <a:gd name="T81" fmla="*/ 95 h 388"/>
                  <a:gd name="T82" fmla="*/ 19 w 249"/>
                  <a:gd name="T83" fmla="*/ 95 h 388"/>
                  <a:gd name="T84" fmla="*/ 17 w 249"/>
                  <a:gd name="T85" fmla="*/ 85 h 388"/>
                  <a:gd name="T86" fmla="*/ 22 w 249"/>
                  <a:gd name="T87" fmla="*/ 78 h 388"/>
                  <a:gd name="T88" fmla="*/ 15 w 249"/>
                  <a:gd name="T89" fmla="*/ 73 h 388"/>
                  <a:gd name="T90" fmla="*/ 5 w 249"/>
                  <a:gd name="T91" fmla="*/ 109 h 388"/>
                  <a:gd name="T92" fmla="*/ 5 w 249"/>
                  <a:gd name="T93" fmla="*/ 128 h 388"/>
                  <a:gd name="T94" fmla="*/ 41 w 249"/>
                  <a:gd name="T95" fmla="*/ 168 h 388"/>
                  <a:gd name="T96" fmla="*/ 64 w 249"/>
                  <a:gd name="T97" fmla="*/ 208 h 388"/>
                  <a:gd name="T98" fmla="*/ 88 w 249"/>
                  <a:gd name="T99" fmla="*/ 256 h 388"/>
                  <a:gd name="T100" fmla="*/ 107 w 249"/>
                  <a:gd name="T101" fmla="*/ 282 h 388"/>
                  <a:gd name="T102" fmla="*/ 114 w 249"/>
                  <a:gd name="T103" fmla="*/ 310 h 388"/>
                  <a:gd name="T104" fmla="*/ 156 w 249"/>
                  <a:gd name="T105" fmla="*/ 341 h 388"/>
                  <a:gd name="T106" fmla="*/ 194 w 249"/>
                  <a:gd name="T107" fmla="*/ 360 h 388"/>
                  <a:gd name="T108" fmla="*/ 218 w 249"/>
                  <a:gd name="T109" fmla="*/ 381 h 388"/>
                  <a:gd name="T110" fmla="*/ 235 w 249"/>
                  <a:gd name="T111" fmla="*/ 379 h 388"/>
                  <a:gd name="T112" fmla="*/ 239 w 249"/>
                  <a:gd name="T113" fmla="*/ 367 h 388"/>
                  <a:gd name="T114" fmla="*/ 244 w 249"/>
                  <a:gd name="T115" fmla="*/ 353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9" h="388">
                    <a:moveTo>
                      <a:pt x="249" y="346"/>
                    </a:moveTo>
                    <a:lnTo>
                      <a:pt x="249" y="343"/>
                    </a:lnTo>
                    <a:lnTo>
                      <a:pt x="246" y="343"/>
                    </a:lnTo>
                    <a:lnTo>
                      <a:pt x="244" y="343"/>
                    </a:lnTo>
                    <a:lnTo>
                      <a:pt x="244" y="343"/>
                    </a:lnTo>
                    <a:lnTo>
                      <a:pt x="242" y="341"/>
                    </a:lnTo>
                    <a:lnTo>
                      <a:pt x="239" y="334"/>
                    </a:lnTo>
                    <a:lnTo>
                      <a:pt x="237" y="332"/>
                    </a:lnTo>
                    <a:lnTo>
                      <a:pt x="237" y="329"/>
                    </a:lnTo>
                    <a:lnTo>
                      <a:pt x="239" y="327"/>
                    </a:lnTo>
                    <a:lnTo>
                      <a:pt x="239" y="324"/>
                    </a:lnTo>
                    <a:lnTo>
                      <a:pt x="242" y="322"/>
                    </a:lnTo>
                    <a:lnTo>
                      <a:pt x="242" y="322"/>
                    </a:lnTo>
                    <a:lnTo>
                      <a:pt x="237" y="317"/>
                    </a:lnTo>
                    <a:lnTo>
                      <a:pt x="237" y="317"/>
                    </a:lnTo>
                    <a:lnTo>
                      <a:pt x="237" y="315"/>
                    </a:lnTo>
                    <a:lnTo>
                      <a:pt x="237" y="313"/>
                    </a:lnTo>
                    <a:lnTo>
                      <a:pt x="239" y="313"/>
                    </a:lnTo>
                    <a:lnTo>
                      <a:pt x="239" y="310"/>
                    </a:lnTo>
                    <a:lnTo>
                      <a:pt x="239" y="308"/>
                    </a:lnTo>
                    <a:lnTo>
                      <a:pt x="239" y="308"/>
                    </a:lnTo>
                    <a:lnTo>
                      <a:pt x="239" y="308"/>
                    </a:lnTo>
                    <a:lnTo>
                      <a:pt x="242" y="305"/>
                    </a:lnTo>
                    <a:lnTo>
                      <a:pt x="242" y="305"/>
                    </a:lnTo>
                    <a:lnTo>
                      <a:pt x="242" y="303"/>
                    </a:lnTo>
                    <a:lnTo>
                      <a:pt x="242" y="301"/>
                    </a:lnTo>
                    <a:lnTo>
                      <a:pt x="244" y="301"/>
                    </a:lnTo>
                    <a:lnTo>
                      <a:pt x="244" y="301"/>
                    </a:lnTo>
                    <a:lnTo>
                      <a:pt x="244" y="301"/>
                    </a:lnTo>
                    <a:lnTo>
                      <a:pt x="244" y="298"/>
                    </a:lnTo>
                    <a:lnTo>
                      <a:pt x="244" y="296"/>
                    </a:lnTo>
                    <a:lnTo>
                      <a:pt x="242" y="296"/>
                    </a:lnTo>
                    <a:lnTo>
                      <a:pt x="242" y="291"/>
                    </a:lnTo>
                    <a:lnTo>
                      <a:pt x="239" y="289"/>
                    </a:lnTo>
                    <a:lnTo>
                      <a:pt x="239" y="289"/>
                    </a:lnTo>
                    <a:lnTo>
                      <a:pt x="242" y="287"/>
                    </a:lnTo>
                    <a:lnTo>
                      <a:pt x="242" y="287"/>
                    </a:lnTo>
                    <a:lnTo>
                      <a:pt x="242" y="284"/>
                    </a:lnTo>
                    <a:lnTo>
                      <a:pt x="239" y="275"/>
                    </a:lnTo>
                    <a:lnTo>
                      <a:pt x="239" y="272"/>
                    </a:lnTo>
                    <a:lnTo>
                      <a:pt x="242" y="272"/>
                    </a:lnTo>
                    <a:lnTo>
                      <a:pt x="242" y="270"/>
                    </a:lnTo>
                    <a:lnTo>
                      <a:pt x="244" y="270"/>
                    </a:lnTo>
                    <a:lnTo>
                      <a:pt x="244" y="268"/>
                    </a:lnTo>
                    <a:lnTo>
                      <a:pt x="244" y="268"/>
                    </a:lnTo>
                    <a:lnTo>
                      <a:pt x="244" y="265"/>
                    </a:lnTo>
                    <a:lnTo>
                      <a:pt x="244" y="265"/>
                    </a:lnTo>
                    <a:lnTo>
                      <a:pt x="242" y="260"/>
                    </a:lnTo>
                    <a:lnTo>
                      <a:pt x="239" y="256"/>
                    </a:lnTo>
                    <a:lnTo>
                      <a:pt x="237" y="251"/>
                    </a:lnTo>
                    <a:lnTo>
                      <a:pt x="235" y="246"/>
                    </a:lnTo>
                    <a:lnTo>
                      <a:pt x="232" y="244"/>
                    </a:lnTo>
                    <a:lnTo>
                      <a:pt x="230" y="239"/>
                    </a:lnTo>
                    <a:lnTo>
                      <a:pt x="230" y="237"/>
                    </a:lnTo>
                    <a:lnTo>
                      <a:pt x="225" y="232"/>
                    </a:lnTo>
                    <a:lnTo>
                      <a:pt x="225" y="232"/>
                    </a:lnTo>
                    <a:lnTo>
                      <a:pt x="220" y="232"/>
                    </a:lnTo>
                    <a:lnTo>
                      <a:pt x="218" y="232"/>
                    </a:lnTo>
                    <a:lnTo>
                      <a:pt x="218" y="232"/>
                    </a:lnTo>
                    <a:lnTo>
                      <a:pt x="216" y="234"/>
                    </a:lnTo>
                    <a:lnTo>
                      <a:pt x="213" y="234"/>
                    </a:lnTo>
                    <a:lnTo>
                      <a:pt x="213" y="234"/>
                    </a:lnTo>
                    <a:lnTo>
                      <a:pt x="211" y="234"/>
                    </a:lnTo>
                    <a:lnTo>
                      <a:pt x="211" y="232"/>
                    </a:lnTo>
                    <a:lnTo>
                      <a:pt x="208" y="232"/>
                    </a:lnTo>
                    <a:lnTo>
                      <a:pt x="208" y="232"/>
                    </a:lnTo>
                    <a:lnTo>
                      <a:pt x="206" y="232"/>
                    </a:lnTo>
                    <a:lnTo>
                      <a:pt x="206" y="230"/>
                    </a:lnTo>
                    <a:lnTo>
                      <a:pt x="206" y="225"/>
                    </a:lnTo>
                    <a:lnTo>
                      <a:pt x="206" y="220"/>
                    </a:lnTo>
                    <a:lnTo>
                      <a:pt x="206" y="215"/>
                    </a:lnTo>
                    <a:lnTo>
                      <a:pt x="206" y="211"/>
                    </a:lnTo>
                    <a:lnTo>
                      <a:pt x="206" y="208"/>
                    </a:lnTo>
                    <a:lnTo>
                      <a:pt x="206" y="206"/>
                    </a:lnTo>
                    <a:lnTo>
                      <a:pt x="206" y="206"/>
                    </a:lnTo>
                    <a:lnTo>
                      <a:pt x="206" y="204"/>
                    </a:lnTo>
                    <a:lnTo>
                      <a:pt x="206" y="201"/>
                    </a:lnTo>
                    <a:lnTo>
                      <a:pt x="206" y="201"/>
                    </a:lnTo>
                    <a:lnTo>
                      <a:pt x="206" y="199"/>
                    </a:lnTo>
                    <a:lnTo>
                      <a:pt x="206" y="201"/>
                    </a:lnTo>
                    <a:lnTo>
                      <a:pt x="204" y="201"/>
                    </a:lnTo>
                    <a:lnTo>
                      <a:pt x="204" y="201"/>
                    </a:lnTo>
                    <a:lnTo>
                      <a:pt x="201" y="201"/>
                    </a:lnTo>
                    <a:lnTo>
                      <a:pt x="201" y="204"/>
                    </a:lnTo>
                    <a:lnTo>
                      <a:pt x="201" y="204"/>
                    </a:lnTo>
                    <a:lnTo>
                      <a:pt x="199" y="206"/>
                    </a:lnTo>
                    <a:lnTo>
                      <a:pt x="197" y="208"/>
                    </a:lnTo>
                    <a:lnTo>
                      <a:pt x="197" y="208"/>
                    </a:lnTo>
                    <a:lnTo>
                      <a:pt x="194" y="211"/>
                    </a:lnTo>
                    <a:lnTo>
                      <a:pt x="192" y="211"/>
                    </a:lnTo>
                    <a:lnTo>
                      <a:pt x="187" y="211"/>
                    </a:lnTo>
                    <a:lnTo>
                      <a:pt x="182" y="211"/>
                    </a:lnTo>
                    <a:lnTo>
                      <a:pt x="178" y="211"/>
                    </a:lnTo>
                    <a:lnTo>
                      <a:pt x="178" y="211"/>
                    </a:lnTo>
                    <a:lnTo>
                      <a:pt x="175" y="211"/>
                    </a:lnTo>
                    <a:lnTo>
                      <a:pt x="178" y="208"/>
                    </a:lnTo>
                    <a:lnTo>
                      <a:pt x="175" y="206"/>
                    </a:lnTo>
                    <a:lnTo>
                      <a:pt x="175" y="206"/>
                    </a:lnTo>
                    <a:lnTo>
                      <a:pt x="173" y="204"/>
                    </a:lnTo>
                    <a:lnTo>
                      <a:pt x="173" y="201"/>
                    </a:lnTo>
                    <a:lnTo>
                      <a:pt x="173" y="201"/>
                    </a:lnTo>
                    <a:lnTo>
                      <a:pt x="171" y="201"/>
                    </a:lnTo>
                    <a:lnTo>
                      <a:pt x="168" y="199"/>
                    </a:lnTo>
                    <a:lnTo>
                      <a:pt x="164" y="199"/>
                    </a:lnTo>
                    <a:lnTo>
                      <a:pt x="161" y="199"/>
                    </a:lnTo>
                    <a:lnTo>
                      <a:pt x="156" y="199"/>
                    </a:lnTo>
                    <a:lnTo>
                      <a:pt x="159" y="197"/>
                    </a:lnTo>
                    <a:lnTo>
                      <a:pt x="161" y="192"/>
                    </a:lnTo>
                    <a:lnTo>
                      <a:pt x="161" y="189"/>
                    </a:lnTo>
                    <a:lnTo>
                      <a:pt x="159" y="187"/>
                    </a:lnTo>
                    <a:lnTo>
                      <a:pt x="159" y="187"/>
                    </a:lnTo>
                    <a:lnTo>
                      <a:pt x="156" y="185"/>
                    </a:lnTo>
                    <a:lnTo>
                      <a:pt x="154" y="182"/>
                    </a:lnTo>
                    <a:lnTo>
                      <a:pt x="154" y="182"/>
                    </a:lnTo>
                    <a:lnTo>
                      <a:pt x="154" y="180"/>
                    </a:lnTo>
                    <a:lnTo>
                      <a:pt x="152" y="180"/>
                    </a:lnTo>
                    <a:lnTo>
                      <a:pt x="152" y="180"/>
                    </a:lnTo>
                    <a:lnTo>
                      <a:pt x="152" y="178"/>
                    </a:lnTo>
                    <a:lnTo>
                      <a:pt x="149" y="178"/>
                    </a:lnTo>
                    <a:lnTo>
                      <a:pt x="149" y="178"/>
                    </a:lnTo>
                    <a:lnTo>
                      <a:pt x="149" y="175"/>
                    </a:lnTo>
                    <a:lnTo>
                      <a:pt x="149" y="175"/>
                    </a:lnTo>
                    <a:lnTo>
                      <a:pt x="147" y="173"/>
                    </a:lnTo>
                    <a:lnTo>
                      <a:pt x="147" y="173"/>
                    </a:lnTo>
                    <a:lnTo>
                      <a:pt x="147" y="170"/>
                    </a:lnTo>
                    <a:lnTo>
                      <a:pt x="147" y="170"/>
                    </a:lnTo>
                    <a:lnTo>
                      <a:pt x="145" y="168"/>
                    </a:lnTo>
                    <a:lnTo>
                      <a:pt x="145" y="168"/>
                    </a:lnTo>
                    <a:lnTo>
                      <a:pt x="145" y="168"/>
                    </a:lnTo>
                    <a:lnTo>
                      <a:pt x="145" y="166"/>
                    </a:lnTo>
                    <a:lnTo>
                      <a:pt x="145" y="166"/>
                    </a:lnTo>
                    <a:lnTo>
                      <a:pt x="145" y="166"/>
                    </a:lnTo>
                    <a:lnTo>
                      <a:pt x="145" y="163"/>
                    </a:lnTo>
                    <a:lnTo>
                      <a:pt x="145" y="163"/>
                    </a:lnTo>
                    <a:lnTo>
                      <a:pt x="142" y="161"/>
                    </a:lnTo>
                    <a:lnTo>
                      <a:pt x="140" y="161"/>
                    </a:lnTo>
                    <a:lnTo>
                      <a:pt x="140" y="161"/>
                    </a:lnTo>
                    <a:lnTo>
                      <a:pt x="140" y="159"/>
                    </a:lnTo>
                    <a:lnTo>
                      <a:pt x="140" y="159"/>
                    </a:lnTo>
                    <a:lnTo>
                      <a:pt x="140" y="159"/>
                    </a:lnTo>
                    <a:lnTo>
                      <a:pt x="140" y="159"/>
                    </a:lnTo>
                    <a:lnTo>
                      <a:pt x="140" y="156"/>
                    </a:lnTo>
                    <a:lnTo>
                      <a:pt x="140" y="156"/>
                    </a:lnTo>
                    <a:lnTo>
                      <a:pt x="142" y="156"/>
                    </a:lnTo>
                    <a:lnTo>
                      <a:pt x="142" y="156"/>
                    </a:lnTo>
                    <a:lnTo>
                      <a:pt x="142" y="156"/>
                    </a:lnTo>
                    <a:lnTo>
                      <a:pt x="142" y="156"/>
                    </a:lnTo>
                    <a:lnTo>
                      <a:pt x="145" y="156"/>
                    </a:lnTo>
                    <a:lnTo>
                      <a:pt x="145" y="154"/>
                    </a:lnTo>
                    <a:lnTo>
                      <a:pt x="145" y="154"/>
                    </a:lnTo>
                    <a:lnTo>
                      <a:pt x="145" y="152"/>
                    </a:lnTo>
                    <a:lnTo>
                      <a:pt x="145" y="152"/>
                    </a:lnTo>
                    <a:lnTo>
                      <a:pt x="142" y="149"/>
                    </a:lnTo>
                    <a:lnTo>
                      <a:pt x="145" y="147"/>
                    </a:lnTo>
                    <a:lnTo>
                      <a:pt x="145" y="147"/>
                    </a:lnTo>
                    <a:lnTo>
                      <a:pt x="145" y="144"/>
                    </a:lnTo>
                    <a:lnTo>
                      <a:pt x="149" y="142"/>
                    </a:lnTo>
                    <a:lnTo>
                      <a:pt x="152" y="140"/>
                    </a:lnTo>
                    <a:lnTo>
                      <a:pt x="154" y="140"/>
                    </a:lnTo>
                    <a:lnTo>
                      <a:pt x="154" y="137"/>
                    </a:lnTo>
                    <a:lnTo>
                      <a:pt x="154" y="137"/>
                    </a:lnTo>
                    <a:lnTo>
                      <a:pt x="154" y="135"/>
                    </a:lnTo>
                    <a:lnTo>
                      <a:pt x="154" y="135"/>
                    </a:lnTo>
                    <a:lnTo>
                      <a:pt x="154" y="133"/>
                    </a:lnTo>
                    <a:lnTo>
                      <a:pt x="154" y="130"/>
                    </a:lnTo>
                    <a:lnTo>
                      <a:pt x="152" y="128"/>
                    </a:lnTo>
                    <a:lnTo>
                      <a:pt x="154" y="128"/>
                    </a:lnTo>
                    <a:lnTo>
                      <a:pt x="154" y="126"/>
                    </a:lnTo>
                    <a:lnTo>
                      <a:pt x="156" y="123"/>
                    </a:lnTo>
                    <a:lnTo>
                      <a:pt x="156" y="118"/>
                    </a:lnTo>
                    <a:lnTo>
                      <a:pt x="156" y="118"/>
                    </a:lnTo>
                    <a:lnTo>
                      <a:pt x="156" y="116"/>
                    </a:lnTo>
                    <a:lnTo>
                      <a:pt x="159" y="111"/>
                    </a:lnTo>
                    <a:lnTo>
                      <a:pt x="159" y="109"/>
                    </a:lnTo>
                    <a:lnTo>
                      <a:pt x="159" y="109"/>
                    </a:lnTo>
                    <a:lnTo>
                      <a:pt x="159" y="109"/>
                    </a:lnTo>
                    <a:lnTo>
                      <a:pt x="159" y="109"/>
                    </a:lnTo>
                    <a:lnTo>
                      <a:pt x="161" y="107"/>
                    </a:lnTo>
                    <a:lnTo>
                      <a:pt x="164" y="107"/>
                    </a:lnTo>
                    <a:lnTo>
                      <a:pt x="166" y="104"/>
                    </a:lnTo>
                    <a:lnTo>
                      <a:pt x="168" y="102"/>
                    </a:lnTo>
                    <a:lnTo>
                      <a:pt x="171" y="99"/>
                    </a:lnTo>
                    <a:lnTo>
                      <a:pt x="173" y="97"/>
                    </a:lnTo>
                    <a:lnTo>
                      <a:pt x="175" y="97"/>
                    </a:lnTo>
                    <a:lnTo>
                      <a:pt x="175" y="97"/>
                    </a:lnTo>
                    <a:lnTo>
                      <a:pt x="178" y="95"/>
                    </a:lnTo>
                    <a:lnTo>
                      <a:pt x="180" y="95"/>
                    </a:lnTo>
                    <a:lnTo>
                      <a:pt x="182" y="95"/>
                    </a:lnTo>
                    <a:lnTo>
                      <a:pt x="185" y="95"/>
                    </a:lnTo>
                    <a:lnTo>
                      <a:pt x="187" y="95"/>
                    </a:lnTo>
                    <a:lnTo>
                      <a:pt x="190" y="92"/>
                    </a:lnTo>
                    <a:lnTo>
                      <a:pt x="190" y="92"/>
                    </a:lnTo>
                    <a:lnTo>
                      <a:pt x="194" y="92"/>
                    </a:lnTo>
                    <a:lnTo>
                      <a:pt x="194" y="90"/>
                    </a:lnTo>
                    <a:lnTo>
                      <a:pt x="197" y="90"/>
                    </a:lnTo>
                    <a:lnTo>
                      <a:pt x="197" y="88"/>
                    </a:lnTo>
                    <a:lnTo>
                      <a:pt x="199" y="88"/>
                    </a:lnTo>
                    <a:lnTo>
                      <a:pt x="199" y="88"/>
                    </a:lnTo>
                    <a:lnTo>
                      <a:pt x="201" y="88"/>
                    </a:lnTo>
                    <a:lnTo>
                      <a:pt x="204" y="88"/>
                    </a:lnTo>
                    <a:lnTo>
                      <a:pt x="206" y="88"/>
                    </a:lnTo>
                    <a:lnTo>
                      <a:pt x="206" y="90"/>
                    </a:lnTo>
                    <a:lnTo>
                      <a:pt x="208" y="90"/>
                    </a:lnTo>
                    <a:lnTo>
                      <a:pt x="208" y="90"/>
                    </a:lnTo>
                    <a:lnTo>
                      <a:pt x="208" y="90"/>
                    </a:lnTo>
                    <a:lnTo>
                      <a:pt x="211" y="92"/>
                    </a:lnTo>
                    <a:lnTo>
                      <a:pt x="211" y="92"/>
                    </a:lnTo>
                    <a:lnTo>
                      <a:pt x="213" y="90"/>
                    </a:lnTo>
                    <a:lnTo>
                      <a:pt x="213" y="90"/>
                    </a:lnTo>
                    <a:lnTo>
                      <a:pt x="211" y="88"/>
                    </a:lnTo>
                    <a:lnTo>
                      <a:pt x="211" y="88"/>
                    </a:lnTo>
                    <a:lnTo>
                      <a:pt x="208" y="85"/>
                    </a:lnTo>
                    <a:lnTo>
                      <a:pt x="208" y="85"/>
                    </a:lnTo>
                    <a:lnTo>
                      <a:pt x="206" y="83"/>
                    </a:lnTo>
                    <a:lnTo>
                      <a:pt x="206" y="81"/>
                    </a:lnTo>
                    <a:lnTo>
                      <a:pt x="206" y="81"/>
                    </a:lnTo>
                    <a:lnTo>
                      <a:pt x="204" y="81"/>
                    </a:lnTo>
                    <a:lnTo>
                      <a:pt x="204" y="81"/>
                    </a:lnTo>
                    <a:lnTo>
                      <a:pt x="201" y="83"/>
                    </a:lnTo>
                    <a:lnTo>
                      <a:pt x="201" y="83"/>
                    </a:lnTo>
                    <a:lnTo>
                      <a:pt x="199" y="81"/>
                    </a:lnTo>
                    <a:lnTo>
                      <a:pt x="197" y="81"/>
                    </a:lnTo>
                    <a:lnTo>
                      <a:pt x="199" y="76"/>
                    </a:lnTo>
                    <a:lnTo>
                      <a:pt x="204" y="69"/>
                    </a:lnTo>
                    <a:lnTo>
                      <a:pt x="206" y="66"/>
                    </a:lnTo>
                    <a:lnTo>
                      <a:pt x="208" y="62"/>
                    </a:lnTo>
                    <a:lnTo>
                      <a:pt x="208" y="59"/>
                    </a:lnTo>
                    <a:lnTo>
                      <a:pt x="211" y="57"/>
                    </a:lnTo>
                    <a:lnTo>
                      <a:pt x="208" y="57"/>
                    </a:lnTo>
                    <a:lnTo>
                      <a:pt x="208" y="57"/>
                    </a:lnTo>
                    <a:lnTo>
                      <a:pt x="208" y="57"/>
                    </a:lnTo>
                    <a:lnTo>
                      <a:pt x="206" y="54"/>
                    </a:lnTo>
                    <a:lnTo>
                      <a:pt x="206" y="54"/>
                    </a:lnTo>
                    <a:lnTo>
                      <a:pt x="204" y="54"/>
                    </a:lnTo>
                    <a:lnTo>
                      <a:pt x="204" y="52"/>
                    </a:lnTo>
                    <a:lnTo>
                      <a:pt x="201" y="52"/>
                    </a:lnTo>
                    <a:lnTo>
                      <a:pt x="199" y="52"/>
                    </a:lnTo>
                    <a:lnTo>
                      <a:pt x="199" y="52"/>
                    </a:lnTo>
                    <a:lnTo>
                      <a:pt x="197" y="50"/>
                    </a:lnTo>
                    <a:lnTo>
                      <a:pt x="194" y="47"/>
                    </a:lnTo>
                    <a:lnTo>
                      <a:pt x="192" y="47"/>
                    </a:lnTo>
                    <a:lnTo>
                      <a:pt x="192" y="47"/>
                    </a:lnTo>
                    <a:lnTo>
                      <a:pt x="190" y="47"/>
                    </a:lnTo>
                    <a:lnTo>
                      <a:pt x="187" y="50"/>
                    </a:lnTo>
                    <a:lnTo>
                      <a:pt x="187" y="50"/>
                    </a:lnTo>
                    <a:lnTo>
                      <a:pt x="185" y="50"/>
                    </a:lnTo>
                    <a:lnTo>
                      <a:pt x="185" y="50"/>
                    </a:lnTo>
                    <a:lnTo>
                      <a:pt x="182" y="47"/>
                    </a:lnTo>
                    <a:lnTo>
                      <a:pt x="182" y="47"/>
                    </a:lnTo>
                    <a:lnTo>
                      <a:pt x="180" y="47"/>
                    </a:lnTo>
                    <a:lnTo>
                      <a:pt x="178" y="45"/>
                    </a:lnTo>
                    <a:lnTo>
                      <a:pt x="178" y="45"/>
                    </a:lnTo>
                    <a:lnTo>
                      <a:pt x="175" y="47"/>
                    </a:lnTo>
                    <a:lnTo>
                      <a:pt x="175" y="47"/>
                    </a:lnTo>
                    <a:lnTo>
                      <a:pt x="173" y="50"/>
                    </a:lnTo>
                    <a:lnTo>
                      <a:pt x="173" y="50"/>
                    </a:lnTo>
                    <a:lnTo>
                      <a:pt x="171" y="50"/>
                    </a:lnTo>
                    <a:lnTo>
                      <a:pt x="168" y="50"/>
                    </a:lnTo>
                    <a:lnTo>
                      <a:pt x="168" y="52"/>
                    </a:lnTo>
                    <a:lnTo>
                      <a:pt x="166" y="52"/>
                    </a:lnTo>
                    <a:lnTo>
                      <a:pt x="164" y="50"/>
                    </a:lnTo>
                    <a:lnTo>
                      <a:pt x="164" y="50"/>
                    </a:lnTo>
                    <a:lnTo>
                      <a:pt x="161" y="50"/>
                    </a:lnTo>
                    <a:lnTo>
                      <a:pt x="161" y="50"/>
                    </a:lnTo>
                    <a:lnTo>
                      <a:pt x="161" y="50"/>
                    </a:lnTo>
                    <a:lnTo>
                      <a:pt x="159" y="52"/>
                    </a:lnTo>
                    <a:lnTo>
                      <a:pt x="156" y="52"/>
                    </a:lnTo>
                    <a:lnTo>
                      <a:pt x="156" y="50"/>
                    </a:lnTo>
                    <a:lnTo>
                      <a:pt x="154" y="50"/>
                    </a:lnTo>
                    <a:lnTo>
                      <a:pt x="154" y="50"/>
                    </a:lnTo>
                    <a:lnTo>
                      <a:pt x="152" y="47"/>
                    </a:lnTo>
                    <a:lnTo>
                      <a:pt x="152" y="47"/>
                    </a:lnTo>
                    <a:lnTo>
                      <a:pt x="152" y="45"/>
                    </a:lnTo>
                    <a:lnTo>
                      <a:pt x="152" y="45"/>
                    </a:lnTo>
                    <a:lnTo>
                      <a:pt x="152" y="43"/>
                    </a:lnTo>
                    <a:lnTo>
                      <a:pt x="152" y="40"/>
                    </a:lnTo>
                    <a:lnTo>
                      <a:pt x="152" y="38"/>
                    </a:lnTo>
                    <a:lnTo>
                      <a:pt x="149" y="38"/>
                    </a:lnTo>
                    <a:lnTo>
                      <a:pt x="149" y="38"/>
                    </a:lnTo>
                    <a:lnTo>
                      <a:pt x="147" y="38"/>
                    </a:lnTo>
                    <a:lnTo>
                      <a:pt x="147" y="38"/>
                    </a:lnTo>
                    <a:lnTo>
                      <a:pt x="145" y="36"/>
                    </a:lnTo>
                    <a:lnTo>
                      <a:pt x="145" y="36"/>
                    </a:lnTo>
                    <a:lnTo>
                      <a:pt x="145" y="33"/>
                    </a:lnTo>
                    <a:lnTo>
                      <a:pt x="145" y="31"/>
                    </a:lnTo>
                    <a:lnTo>
                      <a:pt x="145" y="31"/>
                    </a:lnTo>
                    <a:lnTo>
                      <a:pt x="142" y="28"/>
                    </a:lnTo>
                    <a:lnTo>
                      <a:pt x="142" y="26"/>
                    </a:lnTo>
                    <a:lnTo>
                      <a:pt x="140" y="26"/>
                    </a:lnTo>
                    <a:lnTo>
                      <a:pt x="140" y="26"/>
                    </a:lnTo>
                    <a:lnTo>
                      <a:pt x="138" y="26"/>
                    </a:lnTo>
                    <a:lnTo>
                      <a:pt x="138" y="24"/>
                    </a:lnTo>
                    <a:lnTo>
                      <a:pt x="135" y="24"/>
                    </a:lnTo>
                    <a:lnTo>
                      <a:pt x="135" y="21"/>
                    </a:lnTo>
                    <a:lnTo>
                      <a:pt x="133" y="21"/>
                    </a:lnTo>
                    <a:lnTo>
                      <a:pt x="130" y="21"/>
                    </a:lnTo>
                    <a:lnTo>
                      <a:pt x="130" y="19"/>
                    </a:lnTo>
                    <a:lnTo>
                      <a:pt x="130" y="19"/>
                    </a:lnTo>
                    <a:lnTo>
                      <a:pt x="130" y="17"/>
                    </a:lnTo>
                    <a:lnTo>
                      <a:pt x="128" y="17"/>
                    </a:lnTo>
                    <a:lnTo>
                      <a:pt x="128" y="14"/>
                    </a:lnTo>
                    <a:lnTo>
                      <a:pt x="128" y="12"/>
                    </a:lnTo>
                    <a:lnTo>
                      <a:pt x="128" y="12"/>
                    </a:lnTo>
                    <a:lnTo>
                      <a:pt x="126" y="9"/>
                    </a:lnTo>
                    <a:lnTo>
                      <a:pt x="126" y="9"/>
                    </a:lnTo>
                    <a:lnTo>
                      <a:pt x="123" y="7"/>
                    </a:lnTo>
                    <a:lnTo>
                      <a:pt x="123" y="7"/>
                    </a:lnTo>
                    <a:lnTo>
                      <a:pt x="121" y="7"/>
                    </a:lnTo>
                    <a:lnTo>
                      <a:pt x="121" y="5"/>
                    </a:lnTo>
                    <a:lnTo>
                      <a:pt x="121" y="5"/>
                    </a:lnTo>
                    <a:lnTo>
                      <a:pt x="121" y="5"/>
                    </a:lnTo>
                    <a:lnTo>
                      <a:pt x="119" y="5"/>
                    </a:lnTo>
                    <a:lnTo>
                      <a:pt x="119" y="5"/>
                    </a:lnTo>
                    <a:lnTo>
                      <a:pt x="116" y="2"/>
                    </a:lnTo>
                    <a:lnTo>
                      <a:pt x="116" y="2"/>
                    </a:lnTo>
                    <a:lnTo>
                      <a:pt x="114" y="0"/>
                    </a:lnTo>
                    <a:lnTo>
                      <a:pt x="114" y="0"/>
                    </a:lnTo>
                    <a:lnTo>
                      <a:pt x="111" y="0"/>
                    </a:lnTo>
                    <a:lnTo>
                      <a:pt x="111" y="2"/>
                    </a:lnTo>
                    <a:lnTo>
                      <a:pt x="111" y="2"/>
                    </a:lnTo>
                    <a:lnTo>
                      <a:pt x="109" y="2"/>
                    </a:lnTo>
                    <a:lnTo>
                      <a:pt x="109" y="2"/>
                    </a:lnTo>
                    <a:lnTo>
                      <a:pt x="107" y="2"/>
                    </a:lnTo>
                    <a:lnTo>
                      <a:pt x="104" y="2"/>
                    </a:lnTo>
                    <a:lnTo>
                      <a:pt x="104" y="2"/>
                    </a:lnTo>
                    <a:lnTo>
                      <a:pt x="107" y="5"/>
                    </a:lnTo>
                    <a:lnTo>
                      <a:pt x="107" y="5"/>
                    </a:lnTo>
                    <a:lnTo>
                      <a:pt x="109" y="7"/>
                    </a:lnTo>
                    <a:lnTo>
                      <a:pt x="109" y="9"/>
                    </a:lnTo>
                    <a:lnTo>
                      <a:pt x="111" y="12"/>
                    </a:lnTo>
                    <a:lnTo>
                      <a:pt x="111" y="12"/>
                    </a:lnTo>
                    <a:lnTo>
                      <a:pt x="111" y="12"/>
                    </a:lnTo>
                    <a:lnTo>
                      <a:pt x="111" y="14"/>
                    </a:lnTo>
                    <a:lnTo>
                      <a:pt x="111" y="14"/>
                    </a:lnTo>
                    <a:lnTo>
                      <a:pt x="111" y="21"/>
                    </a:lnTo>
                    <a:lnTo>
                      <a:pt x="111" y="21"/>
                    </a:lnTo>
                    <a:lnTo>
                      <a:pt x="111" y="21"/>
                    </a:lnTo>
                    <a:lnTo>
                      <a:pt x="111" y="21"/>
                    </a:lnTo>
                    <a:lnTo>
                      <a:pt x="109" y="19"/>
                    </a:lnTo>
                    <a:lnTo>
                      <a:pt x="109" y="19"/>
                    </a:lnTo>
                    <a:lnTo>
                      <a:pt x="109" y="21"/>
                    </a:lnTo>
                    <a:lnTo>
                      <a:pt x="109" y="24"/>
                    </a:lnTo>
                    <a:lnTo>
                      <a:pt x="107" y="28"/>
                    </a:lnTo>
                    <a:lnTo>
                      <a:pt x="107" y="33"/>
                    </a:lnTo>
                    <a:lnTo>
                      <a:pt x="104" y="33"/>
                    </a:lnTo>
                    <a:lnTo>
                      <a:pt x="104" y="36"/>
                    </a:lnTo>
                    <a:lnTo>
                      <a:pt x="100" y="40"/>
                    </a:lnTo>
                    <a:lnTo>
                      <a:pt x="97" y="45"/>
                    </a:lnTo>
                    <a:lnTo>
                      <a:pt x="95" y="47"/>
                    </a:lnTo>
                    <a:lnTo>
                      <a:pt x="93" y="50"/>
                    </a:lnTo>
                    <a:lnTo>
                      <a:pt x="90" y="52"/>
                    </a:lnTo>
                    <a:lnTo>
                      <a:pt x="85" y="54"/>
                    </a:lnTo>
                    <a:lnTo>
                      <a:pt x="83" y="57"/>
                    </a:lnTo>
                    <a:lnTo>
                      <a:pt x="78" y="57"/>
                    </a:lnTo>
                    <a:lnTo>
                      <a:pt x="74" y="59"/>
                    </a:lnTo>
                    <a:lnTo>
                      <a:pt x="71" y="62"/>
                    </a:lnTo>
                    <a:lnTo>
                      <a:pt x="69" y="62"/>
                    </a:lnTo>
                    <a:lnTo>
                      <a:pt x="64" y="64"/>
                    </a:lnTo>
                    <a:lnTo>
                      <a:pt x="62" y="64"/>
                    </a:lnTo>
                    <a:lnTo>
                      <a:pt x="62" y="69"/>
                    </a:lnTo>
                    <a:lnTo>
                      <a:pt x="59" y="69"/>
                    </a:lnTo>
                    <a:lnTo>
                      <a:pt x="59" y="71"/>
                    </a:lnTo>
                    <a:lnTo>
                      <a:pt x="59" y="71"/>
                    </a:lnTo>
                    <a:lnTo>
                      <a:pt x="59" y="71"/>
                    </a:lnTo>
                    <a:lnTo>
                      <a:pt x="59" y="73"/>
                    </a:lnTo>
                    <a:lnTo>
                      <a:pt x="59" y="73"/>
                    </a:lnTo>
                    <a:lnTo>
                      <a:pt x="59" y="73"/>
                    </a:lnTo>
                    <a:lnTo>
                      <a:pt x="57" y="73"/>
                    </a:lnTo>
                    <a:lnTo>
                      <a:pt x="57" y="73"/>
                    </a:lnTo>
                    <a:lnTo>
                      <a:pt x="57" y="73"/>
                    </a:lnTo>
                    <a:lnTo>
                      <a:pt x="57" y="71"/>
                    </a:lnTo>
                    <a:lnTo>
                      <a:pt x="57" y="71"/>
                    </a:lnTo>
                    <a:lnTo>
                      <a:pt x="55" y="71"/>
                    </a:lnTo>
                    <a:lnTo>
                      <a:pt x="55" y="73"/>
                    </a:lnTo>
                    <a:lnTo>
                      <a:pt x="55" y="76"/>
                    </a:lnTo>
                    <a:lnTo>
                      <a:pt x="55" y="78"/>
                    </a:lnTo>
                    <a:lnTo>
                      <a:pt x="55" y="78"/>
                    </a:lnTo>
                    <a:lnTo>
                      <a:pt x="55" y="81"/>
                    </a:lnTo>
                    <a:lnTo>
                      <a:pt x="55" y="81"/>
                    </a:lnTo>
                    <a:lnTo>
                      <a:pt x="52" y="83"/>
                    </a:lnTo>
                    <a:lnTo>
                      <a:pt x="52" y="83"/>
                    </a:lnTo>
                    <a:lnTo>
                      <a:pt x="52" y="85"/>
                    </a:lnTo>
                    <a:lnTo>
                      <a:pt x="52" y="85"/>
                    </a:lnTo>
                    <a:lnTo>
                      <a:pt x="52" y="88"/>
                    </a:lnTo>
                    <a:lnTo>
                      <a:pt x="50" y="90"/>
                    </a:lnTo>
                    <a:lnTo>
                      <a:pt x="50" y="92"/>
                    </a:lnTo>
                    <a:lnTo>
                      <a:pt x="50" y="92"/>
                    </a:lnTo>
                    <a:lnTo>
                      <a:pt x="50" y="95"/>
                    </a:lnTo>
                    <a:lnTo>
                      <a:pt x="50" y="95"/>
                    </a:lnTo>
                    <a:lnTo>
                      <a:pt x="50" y="95"/>
                    </a:lnTo>
                    <a:lnTo>
                      <a:pt x="50" y="97"/>
                    </a:lnTo>
                    <a:lnTo>
                      <a:pt x="50" y="97"/>
                    </a:lnTo>
                    <a:lnTo>
                      <a:pt x="48" y="99"/>
                    </a:lnTo>
                    <a:lnTo>
                      <a:pt x="45" y="99"/>
                    </a:lnTo>
                    <a:lnTo>
                      <a:pt x="45" y="102"/>
                    </a:lnTo>
                    <a:lnTo>
                      <a:pt x="45" y="102"/>
                    </a:lnTo>
                    <a:lnTo>
                      <a:pt x="45" y="102"/>
                    </a:lnTo>
                    <a:lnTo>
                      <a:pt x="45" y="104"/>
                    </a:lnTo>
                    <a:lnTo>
                      <a:pt x="45" y="104"/>
                    </a:lnTo>
                    <a:lnTo>
                      <a:pt x="43" y="104"/>
                    </a:lnTo>
                    <a:lnTo>
                      <a:pt x="43" y="107"/>
                    </a:lnTo>
                    <a:lnTo>
                      <a:pt x="41" y="104"/>
                    </a:lnTo>
                    <a:lnTo>
                      <a:pt x="41" y="104"/>
                    </a:lnTo>
                    <a:lnTo>
                      <a:pt x="38" y="104"/>
                    </a:lnTo>
                    <a:lnTo>
                      <a:pt x="38" y="102"/>
                    </a:lnTo>
                    <a:lnTo>
                      <a:pt x="36" y="102"/>
                    </a:lnTo>
                    <a:lnTo>
                      <a:pt x="36" y="99"/>
                    </a:lnTo>
                    <a:lnTo>
                      <a:pt x="33" y="97"/>
                    </a:lnTo>
                    <a:lnTo>
                      <a:pt x="33" y="95"/>
                    </a:lnTo>
                    <a:lnTo>
                      <a:pt x="31" y="95"/>
                    </a:lnTo>
                    <a:lnTo>
                      <a:pt x="31" y="95"/>
                    </a:lnTo>
                    <a:lnTo>
                      <a:pt x="29" y="95"/>
                    </a:lnTo>
                    <a:lnTo>
                      <a:pt x="29" y="95"/>
                    </a:lnTo>
                    <a:lnTo>
                      <a:pt x="26" y="92"/>
                    </a:lnTo>
                    <a:lnTo>
                      <a:pt x="24" y="92"/>
                    </a:lnTo>
                    <a:lnTo>
                      <a:pt x="22" y="90"/>
                    </a:lnTo>
                    <a:lnTo>
                      <a:pt x="22" y="92"/>
                    </a:lnTo>
                    <a:lnTo>
                      <a:pt x="22" y="92"/>
                    </a:lnTo>
                    <a:lnTo>
                      <a:pt x="19" y="92"/>
                    </a:lnTo>
                    <a:lnTo>
                      <a:pt x="19" y="95"/>
                    </a:lnTo>
                    <a:lnTo>
                      <a:pt x="17" y="95"/>
                    </a:lnTo>
                    <a:lnTo>
                      <a:pt x="17" y="95"/>
                    </a:lnTo>
                    <a:lnTo>
                      <a:pt x="17" y="92"/>
                    </a:lnTo>
                    <a:lnTo>
                      <a:pt x="17" y="92"/>
                    </a:lnTo>
                    <a:lnTo>
                      <a:pt x="19" y="90"/>
                    </a:lnTo>
                    <a:lnTo>
                      <a:pt x="17" y="90"/>
                    </a:lnTo>
                    <a:lnTo>
                      <a:pt x="17" y="88"/>
                    </a:lnTo>
                    <a:lnTo>
                      <a:pt x="17" y="88"/>
                    </a:lnTo>
                    <a:lnTo>
                      <a:pt x="17" y="85"/>
                    </a:lnTo>
                    <a:lnTo>
                      <a:pt x="17" y="85"/>
                    </a:lnTo>
                    <a:lnTo>
                      <a:pt x="17" y="85"/>
                    </a:lnTo>
                    <a:lnTo>
                      <a:pt x="19" y="85"/>
                    </a:lnTo>
                    <a:lnTo>
                      <a:pt x="19" y="85"/>
                    </a:lnTo>
                    <a:lnTo>
                      <a:pt x="19" y="83"/>
                    </a:lnTo>
                    <a:lnTo>
                      <a:pt x="22" y="83"/>
                    </a:lnTo>
                    <a:lnTo>
                      <a:pt x="22" y="83"/>
                    </a:lnTo>
                    <a:lnTo>
                      <a:pt x="22" y="83"/>
                    </a:lnTo>
                    <a:lnTo>
                      <a:pt x="22" y="81"/>
                    </a:lnTo>
                    <a:lnTo>
                      <a:pt x="22" y="78"/>
                    </a:lnTo>
                    <a:lnTo>
                      <a:pt x="22" y="78"/>
                    </a:lnTo>
                    <a:lnTo>
                      <a:pt x="22" y="78"/>
                    </a:lnTo>
                    <a:lnTo>
                      <a:pt x="22" y="76"/>
                    </a:lnTo>
                    <a:lnTo>
                      <a:pt x="19" y="76"/>
                    </a:lnTo>
                    <a:lnTo>
                      <a:pt x="19" y="73"/>
                    </a:lnTo>
                    <a:lnTo>
                      <a:pt x="19" y="73"/>
                    </a:lnTo>
                    <a:lnTo>
                      <a:pt x="19" y="73"/>
                    </a:lnTo>
                    <a:lnTo>
                      <a:pt x="19" y="73"/>
                    </a:lnTo>
                    <a:lnTo>
                      <a:pt x="19" y="71"/>
                    </a:lnTo>
                    <a:lnTo>
                      <a:pt x="19" y="71"/>
                    </a:lnTo>
                    <a:lnTo>
                      <a:pt x="15" y="73"/>
                    </a:lnTo>
                    <a:lnTo>
                      <a:pt x="12" y="78"/>
                    </a:lnTo>
                    <a:lnTo>
                      <a:pt x="10" y="78"/>
                    </a:lnTo>
                    <a:lnTo>
                      <a:pt x="7" y="83"/>
                    </a:lnTo>
                    <a:lnTo>
                      <a:pt x="3" y="90"/>
                    </a:lnTo>
                    <a:lnTo>
                      <a:pt x="0" y="92"/>
                    </a:lnTo>
                    <a:lnTo>
                      <a:pt x="0" y="99"/>
                    </a:lnTo>
                    <a:lnTo>
                      <a:pt x="3" y="102"/>
                    </a:lnTo>
                    <a:lnTo>
                      <a:pt x="3" y="104"/>
                    </a:lnTo>
                    <a:lnTo>
                      <a:pt x="5" y="107"/>
                    </a:lnTo>
                    <a:lnTo>
                      <a:pt x="5" y="109"/>
                    </a:lnTo>
                    <a:lnTo>
                      <a:pt x="5" y="109"/>
                    </a:lnTo>
                    <a:lnTo>
                      <a:pt x="10" y="116"/>
                    </a:lnTo>
                    <a:lnTo>
                      <a:pt x="10" y="118"/>
                    </a:lnTo>
                    <a:lnTo>
                      <a:pt x="10" y="121"/>
                    </a:lnTo>
                    <a:lnTo>
                      <a:pt x="10" y="123"/>
                    </a:lnTo>
                    <a:lnTo>
                      <a:pt x="7" y="123"/>
                    </a:lnTo>
                    <a:lnTo>
                      <a:pt x="7" y="123"/>
                    </a:lnTo>
                    <a:lnTo>
                      <a:pt x="5" y="123"/>
                    </a:lnTo>
                    <a:lnTo>
                      <a:pt x="5" y="126"/>
                    </a:lnTo>
                    <a:lnTo>
                      <a:pt x="5" y="128"/>
                    </a:lnTo>
                    <a:lnTo>
                      <a:pt x="7" y="130"/>
                    </a:lnTo>
                    <a:lnTo>
                      <a:pt x="12" y="133"/>
                    </a:lnTo>
                    <a:lnTo>
                      <a:pt x="26" y="140"/>
                    </a:lnTo>
                    <a:lnTo>
                      <a:pt x="29" y="142"/>
                    </a:lnTo>
                    <a:lnTo>
                      <a:pt x="29" y="147"/>
                    </a:lnTo>
                    <a:lnTo>
                      <a:pt x="33" y="149"/>
                    </a:lnTo>
                    <a:lnTo>
                      <a:pt x="36" y="154"/>
                    </a:lnTo>
                    <a:lnTo>
                      <a:pt x="36" y="156"/>
                    </a:lnTo>
                    <a:lnTo>
                      <a:pt x="41" y="166"/>
                    </a:lnTo>
                    <a:lnTo>
                      <a:pt x="41" y="168"/>
                    </a:lnTo>
                    <a:lnTo>
                      <a:pt x="45" y="170"/>
                    </a:lnTo>
                    <a:lnTo>
                      <a:pt x="48" y="173"/>
                    </a:lnTo>
                    <a:lnTo>
                      <a:pt x="50" y="178"/>
                    </a:lnTo>
                    <a:lnTo>
                      <a:pt x="52" y="182"/>
                    </a:lnTo>
                    <a:lnTo>
                      <a:pt x="52" y="185"/>
                    </a:lnTo>
                    <a:lnTo>
                      <a:pt x="55" y="189"/>
                    </a:lnTo>
                    <a:lnTo>
                      <a:pt x="57" y="194"/>
                    </a:lnTo>
                    <a:lnTo>
                      <a:pt x="59" y="199"/>
                    </a:lnTo>
                    <a:lnTo>
                      <a:pt x="62" y="204"/>
                    </a:lnTo>
                    <a:lnTo>
                      <a:pt x="64" y="208"/>
                    </a:lnTo>
                    <a:lnTo>
                      <a:pt x="64" y="213"/>
                    </a:lnTo>
                    <a:lnTo>
                      <a:pt x="67" y="218"/>
                    </a:lnTo>
                    <a:lnTo>
                      <a:pt x="74" y="230"/>
                    </a:lnTo>
                    <a:lnTo>
                      <a:pt x="76" y="232"/>
                    </a:lnTo>
                    <a:lnTo>
                      <a:pt x="76" y="237"/>
                    </a:lnTo>
                    <a:lnTo>
                      <a:pt x="78" y="239"/>
                    </a:lnTo>
                    <a:lnTo>
                      <a:pt x="83" y="244"/>
                    </a:lnTo>
                    <a:lnTo>
                      <a:pt x="85" y="246"/>
                    </a:lnTo>
                    <a:lnTo>
                      <a:pt x="88" y="251"/>
                    </a:lnTo>
                    <a:lnTo>
                      <a:pt x="88" y="256"/>
                    </a:lnTo>
                    <a:lnTo>
                      <a:pt x="90" y="256"/>
                    </a:lnTo>
                    <a:lnTo>
                      <a:pt x="90" y="258"/>
                    </a:lnTo>
                    <a:lnTo>
                      <a:pt x="90" y="258"/>
                    </a:lnTo>
                    <a:lnTo>
                      <a:pt x="95" y="260"/>
                    </a:lnTo>
                    <a:lnTo>
                      <a:pt x="95" y="265"/>
                    </a:lnTo>
                    <a:lnTo>
                      <a:pt x="97" y="270"/>
                    </a:lnTo>
                    <a:lnTo>
                      <a:pt x="100" y="272"/>
                    </a:lnTo>
                    <a:lnTo>
                      <a:pt x="102" y="275"/>
                    </a:lnTo>
                    <a:lnTo>
                      <a:pt x="102" y="277"/>
                    </a:lnTo>
                    <a:lnTo>
                      <a:pt x="107" y="282"/>
                    </a:lnTo>
                    <a:lnTo>
                      <a:pt x="109" y="287"/>
                    </a:lnTo>
                    <a:lnTo>
                      <a:pt x="107" y="291"/>
                    </a:lnTo>
                    <a:lnTo>
                      <a:pt x="107" y="291"/>
                    </a:lnTo>
                    <a:lnTo>
                      <a:pt x="104" y="294"/>
                    </a:lnTo>
                    <a:lnTo>
                      <a:pt x="107" y="296"/>
                    </a:lnTo>
                    <a:lnTo>
                      <a:pt x="107" y="298"/>
                    </a:lnTo>
                    <a:lnTo>
                      <a:pt x="109" y="301"/>
                    </a:lnTo>
                    <a:lnTo>
                      <a:pt x="111" y="303"/>
                    </a:lnTo>
                    <a:lnTo>
                      <a:pt x="114" y="305"/>
                    </a:lnTo>
                    <a:lnTo>
                      <a:pt x="114" y="310"/>
                    </a:lnTo>
                    <a:lnTo>
                      <a:pt x="119" y="313"/>
                    </a:lnTo>
                    <a:lnTo>
                      <a:pt x="123" y="315"/>
                    </a:lnTo>
                    <a:lnTo>
                      <a:pt x="126" y="320"/>
                    </a:lnTo>
                    <a:lnTo>
                      <a:pt x="128" y="322"/>
                    </a:lnTo>
                    <a:lnTo>
                      <a:pt x="130" y="324"/>
                    </a:lnTo>
                    <a:lnTo>
                      <a:pt x="133" y="327"/>
                    </a:lnTo>
                    <a:lnTo>
                      <a:pt x="142" y="332"/>
                    </a:lnTo>
                    <a:lnTo>
                      <a:pt x="147" y="334"/>
                    </a:lnTo>
                    <a:lnTo>
                      <a:pt x="152" y="336"/>
                    </a:lnTo>
                    <a:lnTo>
                      <a:pt x="156" y="341"/>
                    </a:lnTo>
                    <a:lnTo>
                      <a:pt x="159" y="343"/>
                    </a:lnTo>
                    <a:lnTo>
                      <a:pt x="166" y="346"/>
                    </a:lnTo>
                    <a:lnTo>
                      <a:pt x="168" y="346"/>
                    </a:lnTo>
                    <a:lnTo>
                      <a:pt x="173" y="350"/>
                    </a:lnTo>
                    <a:lnTo>
                      <a:pt x="178" y="350"/>
                    </a:lnTo>
                    <a:lnTo>
                      <a:pt x="182" y="353"/>
                    </a:lnTo>
                    <a:lnTo>
                      <a:pt x="185" y="355"/>
                    </a:lnTo>
                    <a:lnTo>
                      <a:pt x="187" y="358"/>
                    </a:lnTo>
                    <a:lnTo>
                      <a:pt x="192" y="360"/>
                    </a:lnTo>
                    <a:lnTo>
                      <a:pt x="194" y="360"/>
                    </a:lnTo>
                    <a:lnTo>
                      <a:pt x="197" y="362"/>
                    </a:lnTo>
                    <a:lnTo>
                      <a:pt x="197" y="365"/>
                    </a:lnTo>
                    <a:lnTo>
                      <a:pt x="201" y="365"/>
                    </a:lnTo>
                    <a:lnTo>
                      <a:pt x="204" y="367"/>
                    </a:lnTo>
                    <a:lnTo>
                      <a:pt x="204" y="369"/>
                    </a:lnTo>
                    <a:lnTo>
                      <a:pt x="206" y="372"/>
                    </a:lnTo>
                    <a:lnTo>
                      <a:pt x="206" y="374"/>
                    </a:lnTo>
                    <a:lnTo>
                      <a:pt x="213" y="379"/>
                    </a:lnTo>
                    <a:lnTo>
                      <a:pt x="216" y="379"/>
                    </a:lnTo>
                    <a:lnTo>
                      <a:pt x="218" y="381"/>
                    </a:lnTo>
                    <a:lnTo>
                      <a:pt x="223" y="386"/>
                    </a:lnTo>
                    <a:lnTo>
                      <a:pt x="225" y="388"/>
                    </a:lnTo>
                    <a:lnTo>
                      <a:pt x="225" y="388"/>
                    </a:lnTo>
                    <a:lnTo>
                      <a:pt x="227" y="388"/>
                    </a:lnTo>
                    <a:lnTo>
                      <a:pt x="230" y="388"/>
                    </a:lnTo>
                    <a:lnTo>
                      <a:pt x="232" y="386"/>
                    </a:lnTo>
                    <a:lnTo>
                      <a:pt x="235" y="386"/>
                    </a:lnTo>
                    <a:lnTo>
                      <a:pt x="235" y="384"/>
                    </a:lnTo>
                    <a:lnTo>
                      <a:pt x="237" y="381"/>
                    </a:lnTo>
                    <a:lnTo>
                      <a:pt x="235" y="379"/>
                    </a:lnTo>
                    <a:lnTo>
                      <a:pt x="235" y="376"/>
                    </a:lnTo>
                    <a:lnTo>
                      <a:pt x="235" y="374"/>
                    </a:lnTo>
                    <a:lnTo>
                      <a:pt x="235" y="374"/>
                    </a:lnTo>
                    <a:lnTo>
                      <a:pt x="237" y="374"/>
                    </a:lnTo>
                    <a:lnTo>
                      <a:pt x="239" y="372"/>
                    </a:lnTo>
                    <a:lnTo>
                      <a:pt x="239" y="369"/>
                    </a:lnTo>
                    <a:lnTo>
                      <a:pt x="239" y="369"/>
                    </a:lnTo>
                    <a:lnTo>
                      <a:pt x="239" y="369"/>
                    </a:lnTo>
                    <a:lnTo>
                      <a:pt x="239" y="367"/>
                    </a:lnTo>
                    <a:lnTo>
                      <a:pt x="239" y="367"/>
                    </a:lnTo>
                    <a:lnTo>
                      <a:pt x="237" y="365"/>
                    </a:lnTo>
                    <a:lnTo>
                      <a:pt x="237" y="365"/>
                    </a:lnTo>
                    <a:lnTo>
                      <a:pt x="237" y="365"/>
                    </a:lnTo>
                    <a:lnTo>
                      <a:pt x="239" y="362"/>
                    </a:lnTo>
                    <a:lnTo>
                      <a:pt x="239" y="362"/>
                    </a:lnTo>
                    <a:lnTo>
                      <a:pt x="242" y="360"/>
                    </a:lnTo>
                    <a:lnTo>
                      <a:pt x="242" y="360"/>
                    </a:lnTo>
                    <a:lnTo>
                      <a:pt x="244" y="358"/>
                    </a:lnTo>
                    <a:lnTo>
                      <a:pt x="244" y="355"/>
                    </a:lnTo>
                    <a:lnTo>
                      <a:pt x="244" y="353"/>
                    </a:lnTo>
                    <a:lnTo>
                      <a:pt x="246" y="353"/>
                    </a:lnTo>
                    <a:lnTo>
                      <a:pt x="246" y="353"/>
                    </a:lnTo>
                    <a:lnTo>
                      <a:pt x="246" y="350"/>
                    </a:lnTo>
                    <a:lnTo>
                      <a:pt x="246" y="348"/>
                    </a:lnTo>
                    <a:lnTo>
                      <a:pt x="246" y="348"/>
                    </a:lnTo>
                    <a:lnTo>
                      <a:pt x="249" y="346"/>
                    </a:lnTo>
                    <a:lnTo>
                      <a:pt x="249" y="346"/>
                    </a:lnTo>
                    <a:lnTo>
                      <a:pt x="249" y="346"/>
                    </a:lnTo>
                    <a:lnTo>
                      <a:pt x="249" y="346"/>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70"/>
              <p:cNvSpPr>
                <a:spLocks/>
              </p:cNvSpPr>
              <p:nvPr/>
            </p:nvSpPr>
            <p:spPr bwMode="auto">
              <a:xfrm>
                <a:off x="1608" y="3207"/>
                <a:ext cx="159" cy="175"/>
              </a:xfrm>
              <a:custGeom>
                <a:avLst/>
                <a:gdLst>
                  <a:gd name="T0" fmla="*/ 154 w 159"/>
                  <a:gd name="T1" fmla="*/ 97 h 175"/>
                  <a:gd name="T2" fmla="*/ 147 w 159"/>
                  <a:gd name="T3" fmla="*/ 97 h 175"/>
                  <a:gd name="T4" fmla="*/ 140 w 159"/>
                  <a:gd name="T5" fmla="*/ 100 h 175"/>
                  <a:gd name="T6" fmla="*/ 135 w 159"/>
                  <a:gd name="T7" fmla="*/ 95 h 175"/>
                  <a:gd name="T8" fmla="*/ 133 w 159"/>
                  <a:gd name="T9" fmla="*/ 88 h 175"/>
                  <a:gd name="T10" fmla="*/ 131 w 159"/>
                  <a:gd name="T11" fmla="*/ 81 h 175"/>
                  <a:gd name="T12" fmla="*/ 131 w 159"/>
                  <a:gd name="T13" fmla="*/ 74 h 175"/>
                  <a:gd name="T14" fmla="*/ 128 w 159"/>
                  <a:gd name="T15" fmla="*/ 67 h 175"/>
                  <a:gd name="T16" fmla="*/ 121 w 159"/>
                  <a:gd name="T17" fmla="*/ 64 h 175"/>
                  <a:gd name="T18" fmla="*/ 114 w 159"/>
                  <a:gd name="T19" fmla="*/ 59 h 175"/>
                  <a:gd name="T20" fmla="*/ 112 w 159"/>
                  <a:gd name="T21" fmla="*/ 64 h 175"/>
                  <a:gd name="T22" fmla="*/ 105 w 159"/>
                  <a:gd name="T23" fmla="*/ 64 h 175"/>
                  <a:gd name="T24" fmla="*/ 95 w 159"/>
                  <a:gd name="T25" fmla="*/ 62 h 175"/>
                  <a:gd name="T26" fmla="*/ 88 w 159"/>
                  <a:gd name="T27" fmla="*/ 62 h 175"/>
                  <a:gd name="T28" fmla="*/ 86 w 159"/>
                  <a:gd name="T29" fmla="*/ 57 h 175"/>
                  <a:gd name="T30" fmla="*/ 86 w 159"/>
                  <a:gd name="T31" fmla="*/ 52 h 175"/>
                  <a:gd name="T32" fmla="*/ 86 w 159"/>
                  <a:gd name="T33" fmla="*/ 45 h 175"/>
                  <a:gd name="T34" fmla="*/ 86 w 159"/>
                  <a:gd name="T35" fmla="*/ 41 h 175"/>
                  <a:gd name="T36" fmla="*/ 86 w 159"/>
                  <a:gd name="T37" fmla="*/ 33 h 175"/>
                  <a:gd name="T38" fmla="*/ 83 w 159"/>
                  <a:gd name="T39" fmla="*/ 31 h 175"/>
                  <a:gd name="T40" fmla="*/ 81 w 159"/>
                  <a:gd name="T41" fmla="*/ 24 h 175"/>
                  <a:gd name="T42" fmla="*/ 78 w 159"/>
                  <a:gd name="T43" fmla="*/ 19 h 175"/>
                  <a:gd name="T44" fmla="*/ 67 w 159"/>
                  <a:gd name="T45" fmla="*/ 5 h 175"/>
                  <a:gd name="T46" fmla="*/ 26 w 159"/>
                  <a:gd name="T47" fmla="*/ 5 h 175"/>
                  <a:gd name="T48" fmla="*/ 10 w 159"/>
                  <a:gd name="T49" fmla="*/ 17 h 175"/>
                  <a:gd name="T50" fmla="*/ 5 w 159"/>
                  <a:gd name="T51" fmla="*/ 38 h 175"/>
                  <a:gd name="T52" fmla="*/ 0 w 159"/>
                  <a:gd name="T53" fmla="*/ 64 h 175"/>
                  <a:gd name="T54" fmla="*/ 10 w 159"/>
                  <a:gd name="T55" fmla="*/ 71 h 175"/>
                  <a:gd name="T56" fmla="*/ 24 w 159"/>
                  <a:gd name="T57" fmla="*/ 86 h 175"/>
                  <a:gd name="T58" fmla="*/ 34 w 159"/>
                  <a:gd name="T59" fmla="*/ 93 h 175"/>
                  <a:gd name="T60" fmla="*/ 52 w 159"/>
                  <a:gd name="T61" fmla="*/ 100 h 175"/>
                  <a:gd name="T62" fmla="*/ 69 w 159"/>
                  <a:gd name="T63" fmla="*/ 112 h 175"/>
                  <a:gd name="T64" fmla="*/ 88 w 159"/>
                  <a:gd name="T65" fmla="*/ 121 h 175"/>
                  <a:gd name="T66" fmla="*/ 100 w 159"/>
                  <a:gd name="T67" fmla="*/ 128 h 175"/>
                  <a:gd name="T68" fmla="*/ 100 w 159"/>
                  <a:gd name="T69" fmla="*/ 135 h 175"/>
                  <a:gd name="T70" fmla="*/ 97 w 159"/>
                  <a:gd name="T71" fmla="*/ 142 h 175"/>
                  <a:gd name="T72" fmla="*/ 95 w 159"/>
                  <a:gd name="T73" fmla="*/ 147 h 175"/>
                  <a:gd name="T74" fmla="*/ 93 w 159"/>
                  <a:gd name="T75" fmla="*/ 152 h 175"/>
                  <a:gd name="T76" fmla="*/ 93 w 159"/>
                  <a:gd name="T77" fmla="*/ 159 h 175"/>
                  <a:gd name="T78" fmla="*/ 93 w 159"/>
                  <a:gd name="T79" fmla="*/ 161 h 175"/>
                  <a:gd name="T80" fmla="*/ 88 w 159"/>
                  <a:gd name="T81" fmla="*/ 166 h 175"/>
                  <a:gd name="T82" fmla="*/ 112 w 159"/>
                  <a:gd name="T83" fmla="*/ 173 h 175"/>
                  <a:gd name="T84" fmla="*/ 123 w 159"/>
                  <a:gd name="T85" fmla="*/ 175 h 175"/>
                  <a:gd name="T86" fmla="*/ 131 w 159"/>
                  <a:gd name="T87" fmla="*/ 173 h 175"/>
                  <a:gd name="T88" fmla="*/ 138 w 159"/>
                  <a:gd name="T89" fmla="*/ 171 h 175"/>
                  <a:gd name="T90" fmla="*/ 142 w 159"/>
                  <a:gd name="T91" fmla="*/ 168 h 175"/>
                  <a:gd name="T92" fmla="*/ 147 w 159"/>
                  <a:gd name="T93" fmla="*/ 164 h 175"/>
                  <a:gd name="T94" fmla="*/ 152 w 159"/>
                  <a:gd name="T95" fmla="*/ 159 h 175"/>
                  <a:gd name="T96" fmla="*/ 157 w 159"/>
                  <a:gd name="T97" fmla="*/ 154 h 175"/>
                  <a:gd name="T98" fmla="*/ 157 w 159"/>
                  <a:gd name="T99" fmla="*/ 126 h 175"/>
                  <a:gd name="T100" fmla="*/ 159 w 159"/>
                  <a:gd name="T101" fmla="*/ 107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9" h="175">
                    <a:moveTo>
                      <a:pt x="157" y="102"/>
                    </a:moveTo>
                    <a:lnTo>
                      <a:pt x="159" y="102"/>
                    </a:lnTo>
                    <a:lnTo>
                      <a:pt x="159" y="102"/>
                    </a:lnTo>
                    <a:lnTo>
                      <a:pt x="157" y="100"/>
                    </a:lnTo>
                    <a:lnTo>
                      <a:pt x="154" y="97"/>
                    </a:lnTo>
                    <a:lnTo>
                      <a:pt x="152" y="97"/>
                    </a:lnTo>
                    <a:lnTo>
                      <a:pt x="152" y="97"/>
                    </a:lnTo>
                    <a:lnTo>
                      <a:pt x="149" y="97"/>
                    </a:lnTo>
                    <a:lnTo>
                      <a:pt x="149" y="97"/>
                    </a:lnTo>
                    <a:lnTo>
                      <a:pt x="147" y="97"/>
                    </a:lnTo>
                    <a:lnTo>
                      <a:pt x="147" y="100"/>
                    </a:lnTo>
                    <a:lnTo>
                      <a:pt x="145" y="100"/>
                    </a:lnTo>
                    <a:lnTo>
                      <a:pt x="142" y="100"/>
                    </a:lnTo>
                    <a:lnTo>
                      <a:pt x="142" y="100"/>
                    </a:lnTo>
                    <a:lnTo>
                      <a:pt x="140" y="100"/>
                    </a:lnTo>
                    <a:lnTo>
                      <a:pt x="138" y="100"/>
                    </a:lnTo>
                    <a:lnTo>
                      <a:pt x="138" y="100"/>
                    </a:lnTo>
                    <a:lnTo>
                      <a:pt x="135" y="97"/>
                    </a:lnTo>
                    <a:lnTo>
                      <a:pt x="135" y="95"/>
                    </a:lnTo>
                    <a:lnTo>
                      <a:pt x="135" y="95"/>
                    </a:lnTo>
                    <a:lnTo>
                      <a:pt x="135" y="93"/>
                    </a:lnTo>
                    <a:lnTo>
                      <a:pt x="133" y="93"/>
                    </a:lnTo>
                    <a:lnTo>
                      <a:pt x="133" y="90"/>
                    </a:lnTo>
                    <a:lnTo>
                      <a:pt x="133" y="88"/>
                    </a:lnTo>
                    <a:lnTo>
                      <a:pt x="133" y="88"/>
                    </a:lnTo>
                    <a:lnTo>
                      <a:pt x="133" y="88"/>
                    </a:lnTo>
                    <a:lnTo>
                      <a:pt x="133" y="86"/>
                    </a:lnTo>
                    <a:lnTo>
                      <a:pt x="133" y="86"/>
                    </a:lnTo>
                    <a:lnTo>
                      <a:pt x="133" y="83"/>
                    </a:lnTo>
                    <a:lnTo>
                      <a:pt x="131" y="81"/>
                    </a:lnTo>
                    <a:lnTo>
                      <a:pt x="131" y="81"/>
                    </a:lnTo>
                    <a:lnTo>
                      <a:pt x="131" y="78"/>
                    </a:lnTo>
                    <a:lnTo>
                      <a:pt x="131" y="76"/>
                    </a:lnTo>
                    <a:lnTo>
                      <a:pt x="131" y="76"/>
                    </a:lnTo>
                    <a:lnTo>
                      <a:pt x="131" y="74"/>
                    </a:lnTo>
                    <a:lnTo>
                      <a:pt x="131" y="71"/>
                    </a:lnTo>
                    <a:lnTo>
                      <a:pt x="131" y="71"/>
                    </a:lnTo>
                    <a:lnTo>
                      <a:pt x="128" y="71"/>
                    </a:lnTo>
                    <a:lnTo>
                      <a:pt x="128" y="69"/>
                    </a:lnTo>
                    <a:lnTo>
                      <a:pt x="128" y="67"/>
                    </a:lnTo>
                    <a:lnTo>
                      <a:pt x="126" y="67"/>
                    </a:lnTo>
                    <a:lnTo>
                      <a:pt x="126" y="64"/>
                    </a:lnTo>
                    <a:lnTo>
                      <a:pt x="123" y="64"/>
                    </a:lnTo>
                    <a:lnTo>
                      <a:pt x="123" y="64"/>
                    </a:lnTo>
                    <a:lnTo>
                      <a:pt x="121" y="64"/>
                    </a:lnTo>
                    <a:lnTo>
                      <a:pt x="119" y="64"/>
                    </a:lnTo>
                    <a:lnTo>
                      <a:pt x="119" y="64"/>
                    </a:lnTo>
                    <a:lnTo>
                      <a:pt x="116" y="62"/>
                    </a:lnTo>
                    <a:lnTo>
                      <a:pt x="116" y="62"/>
                    </a:lnTo>
                    <a:lnTo>
                      <a:pt x="114" y="59"/>
                    </a:lnTo>
                    <a:lnTo>
                      <a:pt x="114" y="59"/>
                    </a:lnTo>
                    <a:lnTo>
                      <a:pt x="112" y="59"/>
                    </a:lnTo>
                    <a:lnTo>
                      <a:pt x="112" y="62"/>
                    </a:lnTo>
                    <a:lnTo>
                      <a:pt x="112" y="62"/>
                    </a:lnTo>
                    <a:lnTo>
                      <a:pt x="112" y="64"/>
                    </a:lnTo>
                    <a:lnTo>
                      <a:pt x="109" y="64"/>
                    </a:lnTo>
                    <a:lnTo>
                      <a:pt x="109" y="64"/>
                    </a:lnTo>
                    <a:lnTo>
                      <a:pt x="107" y="64"/>
                    </a:lnTo>
                    <a:lnTo>
                      <a:pt x="105" y="64"/>
                    </a:lnTo>
                    <a:lnTo>
                      <a:pt x="105" y="64"/>
                    </a:lnTo>
                    <a:lnTo>
                      <a:pt x="102" y="62"/>
                    </a:lnTo>
                    <a:lnTo>
                      <a:pt x="100" y="62"/>
                    </a:lnTo>
                    <a:lnTo>
                      <a:pt x="97" y="62"/>
                    </a:lnTo>
                    <a:lnTo>
                      <a:pt x="97" y="62"/>
                    </a:lnTo>
                    <a:lnTo>
                      <a:pt x="95" y="62"/>
                    </a:lnTo>
                    <a:lnTo>
                      <a:pt x="93" y="62"/>
                    </a:lnTo>
                    <a:lnTo>
                      <a:pt x="93" y="62"/>
                    </a:lnTo>
                    <a:lnTo>
                      <a:pt x="90" y="59"/>
                    </a:lnTo>
                    <a:lnTo>
                      <a:pt x="90" y="59"/>
                    </a:lnTo>
                    <a:lnTo>
                      <a:pt x="88" y="62"/>
                    </a:lnTo>
                    <a:lnTo>
                      <a:pt x="88" y="62"/>
                    </a:lnTo>
                    <a:lnTo>
                      <a:pt x="86" y="59"/>
                    </a:lnTo>
                    <a:lnTo>
                      <a:pt x="86" y="59"/>
                    </a:lnTo>
                    <a:lnTo>
                      <a:pt x="86" y="59"/>
                    </a:lnTo>
                    <a:lnTo>
                      <a:pt x="86" y="57"/>
                    </a:lnTo>
                    <a:lnTo>
                      <a:pt x="86" y="57"/>
                    </a:lnTo>
                    <a:lnTo>
                      <a:pt x="86" y="55"/>
                    </a:lnTo>
                    <a:lnTo>
                      <a:pt x="86" y="55"/>
                    </a:lnTo>
                    <a:lnTo>
                      <a:pt x="86" y="52"/>
                    </a:lnTo>
                    <a:lnTo>
                      <a:pt x="86" y="52"/>
                    </a:lnTo>
                    <a:lnTo>
                      <a:pt x="86" y="50"/>
                    </a:lnTo>
                    <a:lnTo>
                      <a:pt x="86" y="50"/>
                    </a:lnTo>
                    <a:lnTo>
                      <a:pt x="86" y="48"/>
                    </a:lnTo>
                    <a:lnTo>
                      <a:pt x="86" y="48"/>
                    </a:lnTo>
                    <a:lnTo>
                      <a:pt x="86" y="45"/>
                    </a:lnTo>
                    <a:lnTo>
                      <a:pt x="86" y="45"/>
                    </a:lnTo>
                    <a:lnTo>
                      <a:pt x="86" y="43"/>
                    </a:lnTo>
                    <a:lnTo>
                      <a:pt x="86" y="43"/>
                    </a:lnTo>
                    <a:lnTo>
                      <a:pt x="86" y="41"/>
                    </a:lnTo>
                    <a:lnTo>
                      <a:pt x="86" y="41"/>
                    </a:lnTo>
                    <a:lnTo>
                      <a:pt x="86" y="38"/>
                    </a:lnTo>
                    <a:lnTo>
                      <a:pt x="86" y="36"/>
                    </a:lnTo>
                    <a:lnTo>
                      <a:pt x="86" y="36"/>
                    </a:lnTo>
                    <a:lnTo>
                      <a:pt x="86" y="33"/>
                    </a:lnTo>
                    <a:lnTo>
                      <a:pt x="86" y="33"/>
                    </a:lnTo>
                    <a:lnTo>
                      <a:pt x="86" y="33"/>
                    </a:lnTo>
                    <a:lnTo>
                      <a:pt x="83" y="33"/>
                    </a:lnTo>
                    <a:lnTo>
                      <a:pt x="86" y="31"/>
                    </a:lnTo>
                    <a:lnTo>
                      <a:pt x="83" y="31"/>
                    </a:lnTo>
                    <a:lnTo>
                      <a:pt x="83" y="31"/>
                    </a:lnTo>
                    <a:lnTo>
                      <a:pt x="83" y="29"/>
                    </a:lnTo>
                    <a:lnTo>
                      <a:pt x="83" y="29"/>
                    </a:lnTo>
                    <a:lnTo>
                      <a:pt x="81" y="26"/>
                    </a:lnTo>
                    <a:lnTo>
                      <a:pt x="81" y="26"/>
                    </a:lnTo>
                    <a:lnTo>
                      <a:pt x="81" y="24"/>
                    </a:lnTo>
                    <a:lnTo>
                      <a:pt x="81" y="24"/>
                    </a:lnTo>
                    <a:lnTo>
                      <a:pt x="81" y="24"/>
                    </a:lnTo>
                    <a:lnTo>
                      <a:pt x="78" y="22"/>
                    </a:lnTo>
                    <a:lnTo>
                      <a:pt x="78" y="22"/>
                    </a:lnTo>
                    <a:lnTo>
                      <a:pt x="78" y="19"/>
                    </a:lnTo>
                    <a:lnTo>
                      <a:pt x="78" y="17"/>
                    </a:lnTo>
                    <a:lnTo>
                      <a:pt x="78" y="12"/>
                    </a:lnTo>
                    <a:lnTo>
                      <a:pt x="78" y="12"/>
                    </a:lnTo>
                    <a:lnTo>
                      <a:pt x="71" y="7"/>
                    </a:lnTo>
                    <a:lnTo>
                      <a:pt x="67" y="5"/>
                    </a:lnTo>
                    <a:lnTo>
                      <a:pt x="60" y="0"/>
                    </a:lnTo>
                    <a:lnTo>
                      <a:pt x="50" y="0"/>
                    </a:lnTo>
                    <a:lnTo>
                      <a:pt x="43" y="0"/>
                    </a:lnTo>
                    <a:lnTo>
                      <a:pt x="34" y="3"/>
                    </a:lnTo>
                    <a:lnTo>
                      <a:pt x="26" y="5"/>
                    </a:lnTo>
                    <a:lnTo>
                      <a:pt x="24" y="5"/>
                    </a:lnTo>
                    <a:lnTo>
                      <a:pt x="15" y="7"/>
                    </a:lnTo>
                    <a:lnTo>
                      <a:pt x="12" y="7"/>
                    </a:lnTo>
                    <a:lnTo>
                      <a:pt x="10" y="12"/>
                    </a:lnTo>
                    <a:lnTo>
                      <a:pt x="10" y="17"/>
                    </a:lnTo>
                    <a:lnTo>
                      <a:pt x="8" y="19"/>
                    </a:lnTo>
                    <a:lnTo>
                      <a:pt x="5" y="24"/>
                    </a:lnTo>
                    <a:lnTo>
                      <a:pt x="3" y="29"/>
                    </a:lnTo>
                    <a:lnTo>
                      <a:pt x="5" y="33"/>
                    </a:lnTo>
                    <a:lnTo>
                      <a:pt x="5" y="38"/>
                    </a:lnTo>
                    <a:lnTo>
                      <a:pt x="3" y="45"/>
                    </a:lnTo>
                    <a:lnTo>
                      <a:pt x="3" y="52"/>
                    </a:lnTo>
                    <a:lnTo>
                      <a:pt x="3" y="57"/>
                    </a:lnTo>
                    <a:lnTo>
                      <a:pt x="0" y="62"/>
                    </a:lnTo>
                    <a:lnTo>
                      <a:pt x="0" y="64"/>
                    </a:lnTo>
                    <a:lnTo>
                      <a:pt x="0" y="64"/>
                    </a:lnTo>
                    <a:lnTo>
                      <a:pt x="3" y="64"/>
                    </a:lnTo>
                    <a:lnTo>
                      <a:pt x="3" y="67"/>
                    </a:lnTo>
                    <a:lnTo>
                      <a:pt x="8" y="67"/>
                    </a:lnTo>
                    <a:lnTo>
                      <a:pt x="10" y="71"/>
                    </a:lnTo>
                    <a:lnTo>
                      <a:pt x="12" y="76"/>
                    </a:lnTo>
                    <a:lnTo>
                      <a:pt x="17" y="81"/>
                    </a:lnTo>
                    <a:lnTo>
                      <a:pt x="19" y="83"/>
                    </a:lnTo>
                    <a:lnTo>
                      <a:pt x="22" y="86"/>
                    </a:lnTo>
                    <a:lnTo>
                      <a:pt x="24" y="86"/>
                    </a:lnTo>
                    <a:lnTo>
                      <a:pt x="24" y="88"/>
                    </a:lnTo>
                    <a:lnTo>
                      <a:pt x="24" y="88"/>
                    </a:lnTo>
                    <a:lnTo>
                      <a:pt x="26" y="88"/>
                    </a:lnTo>
                    <a:lnTo>
                      <a:pt x="31" y="90"/>
                    </a:lnTo>
                    <a:lnTo>
                      <a:pt x="34" y="93"/>
                    </a:lnTo>
                    <a:lnTo>
                      <a:pt x="34" y="95"/>
                    </a:lnTo>
                    <a:lnTo>
                      <a:pt x="38" y="97"/>
                    </a:lnTo>
                    <a:lnTo>
                      <a:pt x="45" y="100"/>
                    </a:lnTo>
                    <a:lnTo>
                      <a:pt x="50" y="100"/>
                    </a:lnTo>
                    <a:lnTo>
                      <a:pt x="52" y="100"/>
                    </a:lnTo>
                    <a:lnTo>
                      <a:pt x="57" y="102"/>
                    </a:lnTo>
                    <a:lnTo>
                      <a:pt x="62" y="107"/>
                    </a:lnTo>
                    <a:lnTo>
                      <a:pt x="64" y="109"/>
                    </a:lnTo>
                    <a:lnTo>
                      <a:pt x="67" y="109"/>
                    </a:lnTo>
                    <a:lnTo>
                      <a:pt x="69" y="112"/>
                    </a:lnTo>
                    <a:lnTo>
                      <a:pt x="78" y="116"/>
                    </a:lnTo>
                    <a:lnTo>
                      <a:pt x="83" y="119"/>
                    </a:lnTo>
                    <a:lnTo>
                      <a:pt x="86" y="119"/>
                    </a:lnTo>
                    <a:lnTo>
                      <a:pt x="86" y="121"/>
                    </a:lnTo>
                    <a:lnTo>
                      <a:pt x="88" y="121"/>
                    </a:lnTo>
                    <a:lnTo>
                      <a:pt x="88" y="121"/>
                    </a:lnTo>
                    <a:lnTo>
                      <a:pt x="90" y="121"/>
                    </a:lnTo>
                    <a:lnTo>
                      <a:pt x="93" y="123"/>
                    </a:lnTo>
                    <a:lnTo>
                      <a:pt x="97" y="123"/>
                    </a:lnTo>
                    <a:lnTo>
                      <a:pt x="100" y="128"/>
                    </a:lnTo>
                    <a:lnTo>
                      <a:pt x="102" y="131"/>
                    </a:lnTo>
                    <a:lnTo>
                      <a:pt x="102" y="131"/>
                    </a:lnTo>
                    <a:lnTo>
                      <a:pt x="102" y="133"/>
                    </a:lnTo>
                    <a:lnTo>
                      <a:pt x="102" y="135"/>
                    </a:lnTo>
                    <a:lnTo>
                      <a:pt x="100" y="135"/>
                    </a:lnTo>
                    <a:lnTo>
                      <a:pt x="100" y="135"/>
                    </a:lnTo>
                    <a:lnTo>
                      <a:pt x="100" y="138"/>
                    </a:lnTo>
                    <a:lnTo>
                      <a:pt x="100" y="138"/>
                    </a:lnTo>
                    <a:lnTo>
                      <a:pt x="97" y="140"/>
                    </a:lnTo>
                    <a:lnTo>
                      <a:pt x="97" y="142"/>
                    </a:lnTo>
                    <a:lnTo>
                      <a:pt x="97" y="142"/>
                    </a:lnTo>
                    <a:lnTo>
                      <a:pt x="97" y="145"/>
                    </a:lnTo>
                    <a:lnTo>
                      <a:pt x="95" y="145"/>
                    </a:lnTo>
                    <a:lnTo>
                      <a:pt x="95" y="147"/>
                    </a:lnTo>
                    <a:lnTo>
                      <a:pt x="95" y="147"/>
                    </a:lnTo>
                    <a:lnTo>
                      <a:pt x="95" y="147"/>
                    </a:lnTo>
                    <a:lnTo>
                      <a:pt x="93" y="149"/>
                    </a:lnTo>
                    <a:lnTo>
                      <a:pt x="93" y="149"/>
                    </a:lnTo>
                    <a:lnTo>
                      <a:pt x="93" y="152"/>
                    </a:lnTo>
                    <a:lnTo>
                      <a:pt x="93" y="152"/>
                    </a:lnTo>
                    <a:lnTo>
                      <a:pt x="95" y="154"/>
                    </a:lnTo>
                    <a:lnTo>
                      <a:pt x="95" y="157"/>
                    </a:lnTo>
                    <a:lnTo>
                      <a:pt x="93" y="157"/>
                    </a:lnTo>
                    <a:lnTo>
                      <a:pt x="93" y="157"/>
                    </a:lnTo>
                    <a:lnTo>
                      <a:pt x="93" y="159"/>
                    </a:lnTo>
                    <a:lnTo>
                      <a:pt x="93" y="159"/>
                    </a:lnTo>
                    <a:lnTo>
                      <a:pt x="93" y="159"/>
                    </a:lnTo>
                    <a:lnTo>
                      <a:pt x="93" y="161"/>
                    </a:lnTo>
                    <a:lnTo>
                      <a:pt x="93" y="161"/>
                    </a:lnTo>
                    <a:lnTo>
                      <a:pt x="93" y="161"/>
                    </a:lnTo>
                    <a:lnTo>
                      <a:pt x="90" y="161"/>
                    </a:lnTo>
                    <a:lnTo>
                      <a:pt x="90" y="164"/>
                    </a:lnTo>
                    <a:lnTo>
                      <a:pt x="90" y="164"/>
                    </a:lnTo>
                    <a:lnTo>
                      <a:pt x="90" y="166"/>
                    </a:lnTo>
                    <a:lnTo>
                      <a:pt x="88" y="166"/>
                    </a:lnTo>
                    <a:lnTo>
                      <a:pt x="88" y="168"/>
                    </a:lnTo>
                    <a:lnTo>
                      <a:pt x="88" y="171"/>
                    </a:lnTo>
                    <a:lnTo>
                      <a:pt x="97" y="171"/>
                    </a:lnTo>
                    <a:lnTo>
                      <a:pt x="102" y="171"/>
                    </a:lnTo>
                    <a:lnTo>
                      <a:pt x="112" y="173"/>
                    </a:lnTo>
                    <a:lnTo>
                      <a:pt x="116" y="173"/>
                    </a:lnTo>
                    <a:lnTo>
                      <a:pt x="119" y="173"/>
                    </a:lnTo>
                    <a:lnTo>
                      <a:pt x="121" y="173"/>
                    </a:lnTo>
                    <a:lnTo>
                      <a:pt x="121" y="173"/>
                    </a:lnTo>
                    <a:lnTo>
                      <a:pt x="123" y="175"/>
                    </a:lnTo>
                    <a:lnTo>
                      <a:pt x="126" y="173"/>
                    </a:lnTo>
                    <a:lnTo>
                      <a:pt x="128" y="173"/>
                    </a:lnTo>
                    <a:lnTo>
                      <a:pt x="128" y="175"/>
                    </a:lnTo>
                    <a:lnTo>
                      <a:pt x="131" y="175"/>
                    </a:lnTo>
                    <a:lnTo>
                      <a:pt x="131" y="173"/>
                    </a:lnTo>
                    <a:lnTo>
                      <a:pt x="133" y="171"/>
                    </a:lnTo>
                    <a:lnTo>
                      <a:pt x="133" y="171"/>
                    </a:lnTo>
                    <a:lnTo>
                      <a:pt x="135" y="171"/>
                    </a:lnTo>
                    <a:lnTo>
                      <a:pt x="138" y="171"/>
                    </a:lnTo>
                    <a:lnTo>
                      <a:pt x="138" y="171"/>
                    </a:lnTo>
                    <a:lnTo>
                      <a:pt x="140" y="173"/>
                    </a:lnTo>
                    <a:lnTo>
                      <a:pt x="142" y="173"/>
                    </a:lnTo>
                    <a:lnTo>
                      <a:pt x="142" y="171"/>
                    </a:lnTo>
                    <a:lnTo>
                      <a:pt x="142" y="171"/>
                    </a:lnTo>
                    <a:lnTo>
                      <a:pt x="142" y="168"/>
                    </a:lnTo>
                    <a:lnTo>
                      <a:pt x="142" y="166"/>
                    </a:lnTo>
                    <a:lnTo>
                      <a:pt x="145" y="166"/>
                    </a:lnTo>
                    <a:lnTo>
                      <a:pt x="145" y="166"/>
                    </a:lnTo>
                    <a:lnTo>
                      <a:pt x="145" y="164"/>
                    </a:lnTo>
                    <a:lnTo>
                      <a:pt x="147" y="164"/>
                    </a:lnTo>
                    <a:lnTo>
                      <a:pt x="149" y="164"/>
                    </a:lnTo>
                    <a:lnTo>
                      <a:pt x="149" y="161"/>
                    </a:lnTo>
                    <a:lnTo>
                      <a:pt x="149" y="161"/>
                    </a:lnTo>
                    <a:lnTo>
                      <a:pt x="152" y="161"/>
                    </a:lnTo>
                    <a:lnTo>
                      <a:pt x="152" y="159"/>
                    </a:lnTo>
                    <a:lnTo>
                      <a:pt x="154" y="159"/>
                    </a:lnTo>
                    <a:lnTo>
                      <a:pt x="154" y="157"/>
                    </a:lnTo>
                    <a:lnTo>
                      <a:pt x="154" y="157"/>
                    </a:lnTo>
                    <a:lnTo>
                      <a:pt x="154" y="157"/>
                    </a:lnTo>
                    <a:lnTo>
                      <a:pt x="157" y="154"/>
                    </a:lnTo>
                    <a:lnTo>
                      <a:pt x="157" y="149"/>
                    </a:lnTo>
                    <a:lnTo>
                      <a:pt x="157" y="142"/>
                    </a:lnTo>
                    <a:lnTo>
                      <a:pt x="157" y="133"/>
                    </a:lnTo>
                    <a:lnTo>
                      <a:pt x="157" y="131"/>
                    </a:lnTo>
                    <a:lnTo>
                      <a:pt x="157" y="126"/>
                    </a:lnTo>
                    <a:lnTo>
                      <a:pt x="159" y="123"/>
                    </a:lnTo>
                    <a:lnTo>
                      <a:pt x="157" y="123"/>
                    </a:lnTo>
                    <a:lnTo>
                      <a:pt x="157" y="119"/>
                    </a:lnTo>
                    <a:lnTo>
                      <a:pt x="159" y="112"/>
                    </a:lnTo>
                    <a:lnTo>
                      <a:pt x="159" y="107"/>
                    </a:lnTo>
                    <a:lnTo>
                      <a:pt x="157" y="104"/>
                    </a:lnTo>
                    <a:lnTo>
                      <a:pt x="157" y="102"/>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71"/>
              <p:cNvSpPr>
                <a:spLocks noEditPoints="1"/>
              </p:cNvSpPr>
              <p:nvPr/>
            </p:nvSpPr>
            <p:spPr bwMode="auto">
              <a:xfrm>
                <a:off x="5370" y="2854"/>
                <a:ext cx="187" cy="171"/>
              </a:xfrm>
              <a:custGeom>
                <a:avLst/>
                <a:gdLst>
                  <a:gd name="T0" fmla="*/ 179 w 187"/>
                  <a:gd name="T1" fmla="*/ 169 h 171"/>
                  <a:gd name="T2" fmla="*/ 182 w 187"/>
                  <a:gd name="T3" fmla="*/ 152 h 171"/>
                  <a:gd name="T4" fmla="*/ 187 w 187"/>
                  <a:gd name="T5" fmla="*/ 157 h 171"/>
                  <a:gd name="T6" fmla="*/ 184 w 187"/>
                  <a:gd name="T7" fmla="*/ 150 h 171"/>
                  <a:gd name="T8" fmla="*/ 177 w 187"/>
                  <a:gd name="T9" fmla="*/ 143 h 171"/>
                  <a:gd name="T10" fmla="*/ 175 w 187"/>
                  <a:gd name="T11" fmla="*/ 150 h 171"/>
                  <a:gd name="T12" fmla="*/ 170 w 187"/>
                  <a:gd name="T13" fmla="*/ 143 h 171"/>
                  <a:gd name="T14" fmla="*/ 42 w 187"/>
                  <a:gd name="T15" fmla="*/ 126 h 171"/>
                  <a:gd name="T16" fmla="*/ 45 w 187"/>
                  <a:gd name="T17" fmla="*/ 124 h 171"/>
                  <a:gd name="T18" fmla="*/ 134 w 187"/>
                  <a:gd name="T19" fmla="*/ 69 h 171"/>
                  <a:gd name="T20" fmla="*/ 132 w 187"/>
                  <a:gd name="T21" fmla="*/ 62 h 171"/>
                  <a:gd name="T22" fmla="*/ 118 w 187"/>
                  <a:gd name="T23" fmla="*/ 60 h 171"/>
                  <a:gd name="T24" fmla="*/ 99 w 187"/>
                  <a:gd name="T25" fmla="*/ 45 h 171"/>
                  <a:gd name="T26" fmla="*/ 97 w 187"/>
                  <a:gd name="T27" fmla="*/ 45 h 171"/>
                  <a:gd name="T28" fmla="*/ 175 w 187"/>
                  <a:gd name="T29" fmla="*/ 161 h 171"/>
                  <a:gd name="T30" fmla="*/ 163 w 187"/>
                  <a:gd name="T31" fmla="*/ 157 h 171"/>
                  <a:gd name="T32" fmla="*/ 168 w 187"/>
                  <a:gd name="T33" fmla="*/ 152 h 171"/>
                  <a:gd name="T34" fmla="*/ 153 w 187"/>
                  <a:gd name="T35" fmla="*/ 145 h 171"/>
                  <a:gd name="T36" fmla="*/ 146 w 187"/>
                  <a:gd name="T37" fmla="*/ 138 h 171"/>
                  <a:gd name="T38" fmla="*/ 137 w 187"/>
                  <a:gd name="T39" fmla="*/ 126 h 171"/>
                  <a:gd name="T40" fmla="*/ 127 w 187"/>
                  <a:gd name="T41" fmla="*/ 112 h 171"/>
                  <a:gd name="T42" fmla="*/ 116 w 187"/>
                  <a:gd name="T43" fmla="*/ 93 h 171"/>
                  <a:gd name="T44" fmla="*/ 132 w 187"/>
                  <a:gd name="T45" fmla="*/ 88 h 171"/>
                  <a:gd name="T46" fmla="*/ 127 w 187"/>
                  <a:gd name="T47" fmla="*/ 74 h 171"/>
                  <a:gd name="T48" fmla="*/ 106 w 187"/>
                  <a:gd name="T49" fmla="*/ 64 h 171"/>
                  <a:gd name="T50" fmla="*/ 94 w 187"/>
                  <a:gd name="T51" fmla="*/ 48 h 171"/>
                  <a:gd name="T52" fmla="*/ 78 w 187"/>
                  <a:gd name="T53" fmla="*/ 31 h 171"/>
                  <a:gd name="T54" fmla="*/ 68 w 187"/>
                  <a:gd name="T55" fmla="*/ 27 h 171"/>
                  <a:gd name="T56" fmla="*/ 54 w 187"/>
                  <a:gd name="T57" fmla="*/ 19 h 171"/>
                  <a:gd name="T58" fmla="*/ 26 w 187"/>
                  <a:gd name="T59" fmla="*/ 8 h 171"/>
                  <a:gd name="T60" fmla="*/ 9 w 187"/>
                  <a:gd name="T61" fmla="*/ 0 h 171"/>
                  <a:gd name="T62" fmla="*/ 7 w 187"/>
                  <a:gd name="T63" fmla="*/ 19 h 171"/>
                  <a:gd name="T64" fmla="*/ 7 w 187"/>
                  <a:gd name="T65" fmla="*/ 48 h 171"/>
                  <a:gd name="T66" fmla="*/ 4 w 187"/>
                  <a:gd name="T67" fmla="*/ 79 h 171"/>
                  <a:gd name="T68" fmla="*/ 4 w 187"/>
                  <a:gd name="T69" fmla="*/ 95 h 171"/>
                  <a:gd name="T70" fmla="*/ 2 w 187"/>
                  <a:gd name="T71" fmla="*/ 126 h 171"/>
                  <a:gd name="T72" fmla="*/ 7 w 187"/>
                  <a:gd name="T73" fmla="*/ 140 h 171"/>
                  <a:gd name="T74" fmla="*/ 23 w 187"/>
                  <a:gd name="T75" fmla="*/ 140 h 171"/>
                  <a:gd name="T76" fmla="*/ 42 w 187"/>
                  <a:gd name="T77" fmla="*/ 138 h 171"/>
                  <a:gd name="T78" fmla="*/ 40 w 187"/>
                  <a:gd name="T79" fmla="*/ 126 h 171"/>
                  <a:gd name="T80" fmla="*/ 28 w 187"/>
                  <a:gd name="T81" fmla="*/ 121 h 171"/>
                  <a:gd name="T82" fmla="*/ 28 w 187"/>
                  <a:gd name="T83" fmla="*/ 121 h 171"/>
                  <a:gd name="T84" fmla="*/ 45 w 187"/>
                  <a:gd name="T85" fmla="*/ 121 h 171"/>
                  <a:gd name="T86" fmla="*/ 52 w 187"/>
                  <a:gd name="T87" fmla="*/ 114 h 171"/>
                  <a:gd name="T88" fmla="*/ 54 w 187"/>
                  <a:gd name="T89" fmla="*/ 105 h 171"/>
                  <a:gd name="T90" fmla="*/ 61 w 187"/>
                  <a:gd name="T91" fmla="*/ 109 h 171"/>
                  <a:gd name="T92" fmla="*/ 68 w 187"/>
                  <a:gd name="T93" fmla="*/ 107 h 171"/>
                  <a:gd name="T94" fmla="*/ 75 w 187"/>
                  <a:gd name="T95" fmla="*/ 109 h 171"/>
                  <a:gd name="T96" fmla="*/ 90 w 187"/>
                  <a:gd name="T97" fmla="*/ 114 h 171"/>
                  <a:gd name="T98" fmla="*/ 99 w 187"/>
                  <a:gd name="T99" fmla="*/ 121 h 171"/>
                  <a:gd name="T100" fmla="*/ 108 w 187"/>
                  <a:gd name="T101" fmla="*/ 138 h 171"/>
                  <a:gd name="T102" fmla="*/ 116 w 187"/>
                  <a:gd name="T103" fmla="*/ 150 h 171"/>
                  <a:gd name="T104" fmla="*/ 127 w 187"/>
                  <a:gd name="T105" fmla="*/ 159 h 171"/>
                  <a:gd name="T106" fmla="*/ 139 w 187"/>
                  <a:gd name="T107" fmla="*/ 161 h 171"/>
                  <a:gd name="T108" fmla="*/ 158 w 187"/>
                  <a:gd name="T109" fmla="*/ 164 h 171"/>
                  <a:gd name="T110" fmla="*/ 170 w 187"/>
                  <a:gd name="T111" fmla="*/ 171 h 171"/>
                  <a:gd name="T112" fmla="*/ 172 w 187"/>
                  <a:gd name="T113" fmla="*/ 164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87" h="171">
                    <a:moveTo>
                      <a:pt x="179" y="169"/>
                    </a:moveTo>
                    <a:lnTo>
                      <a:pt x="179" y="171"/>
                    </a:lnTo>
                    <a:lnTo>
                      <a:pt x="179" y="171"/>
                    </a:lnTo>
                    <a:lnTo>
                      <a:pt x="182" y="171"/>
                    </a:lnTo>
                    <a:lnTo>
                      <a:pt x="182" y="169"/>
                    </a:lnTo>
                    <a:lnTo>
                      <a:pt x="182" y="169"/>
                    </a:lnTo>
                    <a:lnTo>
                      <a:pt x="179" y="169"/>
                    </a:lnTo>
                    <a:close/>
                    <a:moveTo>
                      <a:pt x="187" y="157"/>
                    </a:moveTo>
                    <a:lnTo>
                      <a:pt x="187" y="157"/>
                    </a:lnTo>
                    <a:lnTo>
                      <a:pt x="184" y="157"/>
                    </a:lnTo>
                    <a:lnTo>
                      <a:pt x="187" y="157"/>
                    </a:lnTo>
                    <a:lnTo>
                      <a:pt x="182" y="154"/>
                    </a:lnTo>
                    <a:lnTo>
                      <a:pt x="182" y="152"/>
                    </a:lnTo>
                    <a:lnTo>
                      <a:pt x="182" y="152"/>
                    </a:lnTo>
                    <a:lnTo>
                      <a:pt x="182" y="152"/>
                    </a:lnTo>
                    <a:lnTo>
                      <a:pt x="182" y="154"/>
                    </a:lnTo>
                    <a:lnTo>
                      <a:pt x="182" y="157"/>
                    </a:lnTo>
                    <a:lnTo>
                      <a:pt x="184" y="157"/>
                    </a:lnTo>
                    <a:lnTo>
                      <a:pt x="184" y="159"/>
                    </a:lnTo>
                    <a:lnTo>
                      <a:pt x="187" y="161"/>
                    </a:lnTo>
                    <a:lnTo>
                      <a:pt x="187" y="157"/>
                    </a:lnTo>
                    <a:close/>
                    <a:moveTo>
                      <a:pt x="175" y="150"/>
                    </a:moveTo>
                    <a:lnTo>
                      <a:pt x="177" y="150"/>
                    </a:lnTo>
                    <a:lnTo>
                      <a:pt x="179" y="150"/>
                    </a:lnTo>
                    <a:lnTo>
                      <a:pt x="182" y="150"/>
                    </a:lnTo>
                    <a:lnTo>
                      <a:pt x="182" y="150"/>
                    </a:lnTo>
                    <a:lnTo>
                      <a:pt x="182" y="152"/>
                    </a:lnTo>
                    <a:lnTo>
                      <a:pt x="184" y="150"/>
                    </a:lnTo>
                    <a:lnTo>
                      <a:pt x="184" y="150"/>
                    </a:lnTo>
                    <a:lnTo>
                      <a:pt x="184" y="150"/>
                    </a:lnTo>
                    <a:lnTo>
                      <a:pt x="184" y="147"/>
                    </a:lnTo>
                    <a:lnTo>
                      <a:pt x="182" y="145"/>
                    </a:lnTo>
                    <a:lnTo>
                      <a:pt x="182" y="145"/>
                    </a:lnTo>
                    <a:lnTo>
                      <a:pt x="179" y="145"/>
                    </a:lnTo>
                    <a:lnTo>
                      <a:pt x="177" y="143"/>
                    </a:lnTo>
                    <a:lnTo>
                      <a:pt x="177" y="143"/>
                    </a:lnTo>
                    <a:lnTo>
                      <a:pt x="175" y="145"/>
                    </a:lnTo>
                    <a:lnTo>
                      <a:pt x="175" y="145"/>
                    </a:lnTo>
                    <a:lnTo>
                      <a:pt x="175" y="145"/>
                    </a:lnTo>
                    <a:lnTo>
                      <a:pt x="177" y="147"/>
                    </a:lnTo>
                    <a:lnTo>
                      <a:pt x="177" y="147"/>
                    </a:lnTo>
                    <a:lnTo>
                      <a:pt x="175" y="150"/>
                    </a:lnTo>
                    <a:close/>
                    <a:moveTo>
                      <a:pt x="172" y="147"/>
                    </a:moveTo>
                    <a:lnTo>
                      <a:pt x="172" y="147"/>
                    </a:lnTo>
                    <a:lnTo>
                      <a:pt x="175" y="145"/>
                    </a:lnTo>
                    <a:lnTo>
                      <a:pt x="175" y="143"/>
                    </a:lnTo>
                    <a:lnTo>
                      <a:pt x="172" y="143"/>
                    </a:lnTo>
                    <a:lnTo>
                      <a:pt x="172" y="140"/>
                    </a:lnTo>
                    <a:lnTo>
                      <a:pt x="170" y="143"/>
                    </a:lnTo>
                    <a:lnTo>
                      <a:pt x="170" y="145"/>
                    </a:lnTo>
                    <a:lnTo>
                      <a:pt x="172" y="147"/>
                    </a:lnTo>
                    <a:lnTo>
                      <a:pt x="172" y="147"/>
                    </a:lnTo>
                    <a:close/>
                    <a:moveTo>
                      <a:pt x="47" y="126"/>
                    </a:moveTo>
                    <a:lnTo>
                      <a:pt x="45" y="126"/>
                    </a:lnTo>
                    <a:lnTo>
                      <a:pt x="42" y="124"/>
                    </a:lnTo>
                    <a:lnTo>
                      <a:pt x="42" y="126"/>
                    </a:lnTo>
                    <a:lnTo>
                      <a:pt x="45" y="126"/>
                    </a:lnTo>
                    <a:lnTo>
                      <a:pt x="47" y="128"/>
                    </a:lnTo>
                    <a:lnTo>
                      <a:pt x="49" y="131"/>
                    </a:lnTo>
                    <a:lnTo>
                      <a:pt x="49" y="128"/>
                    </a:lnTo>
                    <a:lnTo>
                      <a:pt x="47" y="126"/>
                    </a:lnTo>
                    <a:close/>
                    <a:moveTo>
                      <a:pt x="49" y="124"/>
                    </a:moveTo>
                    <a:lnTo>
                      <a:pt x="45" y="124"/>
                    </a:lnTo>
                    <a:lnTo>
                      <a:pt x="45" y="124"/>
                    </a:lnTo>
                    <a:lnTo>
                      <a:pt x="49" y="126"/>
                    </a:lnTo>
                    <a:lnTo>
                      <a:pt x="49" y="126"/>
                    </a:lnTo>
                    <a:lnTo>
                      <a:pt x="49" y="126"/>
                    </a:lnTo>
                    <a:lnTo>
                      <a:pt x="49" y="124"/>
                    </a:lnTo>
                    <a:lnTo>
                      <a:pt x="49" y="124"/>
                    </a:lnTo>
                    <a:close/>
                    <a:moveTo>
                      <a:pt x="134" y="69"/>
                    </a:moveTo>
                    <a:lnTo>
                      <a:pt x="134" y="69"/>
                    </a:lnTo>
                    <a:lnTo>
                      <a:pt x="137" y="69"/>
                    </a:lnTo>
                    <a:lnTo>
                      <a:pt x="137" y="67"/>
                    </a:lnTo>
                    <a:lnTo>
                      <a:pt x="137" y="64"/>
                    </a:lnTo>
                    <a:lnTo>
                      <a:pt x="137" y="64"/>
                    </a:lnTo>
                    <a:lnTo>
                      <a:pt x="134" y="62"/>
                    </a:lnTo>
                    <a:lnTo>
                      <a:pt x="132" y="62"/>
                    </a:lnTo>
                    <a:lnTo>
                      <a:pt x="132" y="62"/>
                    </a:lnTo>
                    <a:lnTo>
                      <a:pt x="132" y="64"/>
                    </a:lnTo>
                    <a:lnTo>
                      <a:pt x="134" y="67"/>
                    </a:lnTo>
                    <a:lnTo>
                      <a:pt x="134" y="69"/>
                    </a:lnTo>
                    <a:close/>
                    <a:moveTo>
                      <a:pt x="118" y="57"/>
                    </a:moveTo>
                    <a:lnTo>
                      <a:pt x="118" y="57"/>
                    </a:lnTo>
                    <a:lnTo>
                      <a:pt x="118" y="60"/>
                    </a:lnTo>
                    <a:lnTo>
                      <a:pt x="120" y="62"/>
                    </a:lnTo>
                    <a:lnTo>
                      <a:pt x="120" y="62"/>
                    </a:lnTo>
                    <a:lnTo>
                      <a:pt x="123" y="60"/>
                    </a:lnTo>
                    <a:lnTo>
                      <a:pt x="123" y="57"/>
                    </a:lnTo>
                    <a:lnTo>
                      <a:pt x="120" y="55"/>
                    </a:lnTo>
                    <a:lnTo>
                      <a:pt x="118" y="57"/>
                    </a:lnTo>
                    <a:close/>
                    <a:moveTo>
                      <a:pt x="99" y="45"/>
                    </a:moveTo>
                    <a:lnTo>
                      <a:pt x="101" y="45"/>
                    </a:lnTo>
                    <a:lnTo>
                      <a:pt x="101" y="43"/>
                    </a:lnTo>
                    <a:lnTo>
                      <a:pt x="101" y="43"/>
                    </a:lnTo>
                    <a:lnTo>
                      <a:pt x="99" y="43"/>
                    </a:lnTo>
                    <a:lnTo>
                      <a:pt x="99" y="43"/>
                    </a:lnTo>
                    <a:lnTo>
                      <a:pt x="99" y="43"/>
                    </a:lnTo>
                    <a:lnTo>
                      <a:pt x="97" y="45"/>
                    </a:lnTo>
                    <a:lnTo>
                      <a:pt x="99" y="45"/>
                    </a:lnTo>
                    <a:lnTo>
                      <a:pt x="99" y="45"/>
                    </a:lnTo>
                    <a:close/>
                    <a:moveTo>
                      <a:pt x="142" y="64"/>
                    </a:moveTo>
                    <a:lnTo>
                      <a:pt x="142" y="67"/>
                    </a:lnTo>
                    <a:lnTo>
                      <a:pt x="142" y="64"/>
                    </a:lnTo>
                    <a:close/>
                    <a:moveTo>
                      <a:pt x="177" y="164"/>
                    </a:moveTo>
                    <a:lnTo>
                      <a:pt x="175" y="161"/>
                    </a:lnTo>
                    <a:lnTo>
                      <a:pt x="172" y="161"/>
                    </a:lnTo>
                    <a:lnTo>
                      <a:pt x="170" y="161"/>
                    </a:lnTo>
                    <a:lnTo>
                      <a:pt x="170" y="159"/>
                    </a:lnTo>
                    <a:lnTo>
                      <a:pt x="168" y="159"/>
                    </a:lnTo>
                    <a:lnTo>
                      <a:pt x="165" y="159"/>
                    </a:lnTo>
                    <a:lnTo>
                      <a:pt x="165" y="159"/>
                    </a:lnTo>
                    <a:lnTo>
                      <a:pt x="163" y="157"/>
                    </a:lnTo>
                    <a:lnTo>
                      <a:pt x="163" y="157"/>
                    </a:lnTo>
                    <a:lnTo>
                      <a:pt x="160" y="154"/>
                    </a:lnTo>
                    <a:lnTo>
                      <a:pt x="163" y="154"/>
                    </a:lnTo>
                    <a:lnTo>
                      <a:pt x="163" y="152"/>
                    </a:lnTo>
                    <a:lnTo>
                      <a:pt x="165" y="152"/>
                    </a:lnTo>
                    <a:lnTo>
                      <a:pt x="165" y="152"/>
                    </a:lnTo>
                    <a:lnTo>
                      <a:pt x="168" y="152"/>
                    </a:lnTo>
                    <a:lnTo>
                      <a:pt x="165" y="150"/>
                    </a:lnTo>
                    <a:lnTo>
                      <a:pt x="165" y="150"/>
                    </a:lnTo>
                    <a:lnTo>
                      <a:pt x="163" y="150"/>
                    </a:lnTo>
                    <a:lnTo>
                      <a:pt x="156" y="150"/>
                    </a:lnTo>
                    <a:lnTo>
                      <a:pt x="156" y="147"/>
                    </a:lnTo>
                    <a:lnTo>
                      <a:pt x="153" y="147"/>
                    </a:lnTo>
                    <a:lnTo>
                      <a:pt x="153" y="145"/>
                    </a:lnTo>
                    <a:lnTo>
                      <a:pt x="153" y="143"/>
                    </a:lnTo>
                    <a:lnTo>
                      <a:pt x="153" y="140"/>
                    </a:lnTo>
                    <a:lnTo>
                      <a:pt x="153" y="138"/>
                    </a:lnTo>
                    <a:lnTo>
                      <a:pt x="153" y="138"/>
                    </a:lnTo>
                    <a:lnTo>
                      <a:pt x="151" y="138"/>
                    </a:lnTo>
                    <a:lnTo>
                      <a:pt x="151" y="138"/>
                    </a:lnTo>
                    <a:lnTo>
                      <a:pt x="146" y="138"/>
                    </a:lnTo>
                    <a:lnTo>
                      <a:pt x="144" y="138"/>
                    </a:lnTo>
                    <a:lnTo>
                      <a:pt x="142" y="138"/>
                    </a:lnTo>
                    <a:lnTo>
                      <a:pt x="142" y="135"/>
                    </a:lnTo>
                    <a:lnTo>
                      <a:pt x="139" y="131"/>
                    </a:lnTo>
                    <a:lnTo>
                      <a:pt x="139" y="128"/>
                    </a:lnTo>
                    <a:lnTo>
                      <a:pt x="137" y="126"/>
                    </a:lnTo>
                    <a:lnTo>
                      <a:pt x="137" y="126"/>
                    </a:lnTo>
                    <a:lnTo>
                      <a:pt x="137" y="126"/>
                    </a:lnTo>
                    <a:lnTo>
                      <a:pt x="137" y="121"/>
                    </a:lnTo>
                    <a:lnTo>
                      <a:pt x="134" y="119"/>
                    </a:lnTo>
                    <a:lnTo>
                      <a:pt x="134" y="116"/>
                    </a:lnTo>
                    <a:lnTo>
                      <a:pt x="132" y="114"/>
                    </a:lnTo>
                    <a:lnTo>
                      <a:pt x="130" y="114"/>
                    </a:lnTo>
                    <a:lnTo>
                      <a:pt x="127" y="112"/>
                    </a:lnTo>
                    <a:lnTo>
                      <a:pt x="125" y="109"/>
                    </a:lnTo>
                    <a:lnTo>
                      <a:pt x="123" y="107"/>
                    </a:lnTo>
                    <a:lnTo>
                      <a:pt x="120" y="105"/>
                    </a:lnTo>
                    <a:lnTo>
                      <a:pt x="120" y="105"/>
                    </a:lnTo>
                    <a:lnTo>
                      <a:pt x="118" y="102"/>
                    </a:lnTo>
                    <a:lnTo>
                      <a:pt x="118" y="98"/>
                    </a:lnTo>
                    <a:lnTo>
                      <a:pt x="116" y="93"/>
                    </a:lnTo>
                    <a:lnTo>
                      <a:pt x="116" y="90"/>
                    </a:lnTo>
                    <a:lnTo>
                      <a:pt x="116" y="90"/>
                    </a:lnTo>
                    <a:lnTo>
                      <a:pt x="118" y="88"/>
                    </a:lnTo>
                    <a:lnTo>
                      <a:pt x="123" y="88"/>
                    </a:lnTo>
                    <a:lnTo>
                      <a:pt x="130" y="88"/>
                    </a:lnTo>
                    <a:lnTo>
                      <a:pt x="132" y="88"/>
                    </a:lnTo>
                    <a:lnTo>
                      <a:pt x="132" y="88"/>
                    </a:lnTo>
                    <a:lnTo>
                      <a:pt x="132" y="86"/>
                    </a:lnTo>
                    <a:lnTo>
                      <a:pt x="132" y="81"/>
                    </a:lnTo>
                    <a:lnTo>
                      <a:pt x="132" y="79"/>
                    </a:lnTo>
                    <a:lnTo>
                      <a:pt x="130" y="79"/>
                    </a:lnTo>
                    <a:lnTo>
                      <a:pt x="130" y="79"/>
                    </a:lnTo>
                    <a:lnTo>
                      <a:pt x="130" y="76"/>
                    </a:lnTo>
                    <a:lnTo>
                      <a:pt x="127" y="74"/>
                    </a:lnTo>
                    <a:lnTo>
                      <a:pt x="127" y="74"/>
                    </a:lnTo>
                    <a:lnTo>
                      <a:pt x="125" y="72"/>
                    </a:lnTo>
                    <a:lnTo>
                      <a:pt x="125" y="72"/>
                    </a:lnTo>
                    <a:lnTo>
                      <a:pt x="123" y="72"/>
                    </a:lnTo>
                    <a:lnTo>
                      <a:pt x="120" y="72"/>
                    </a:lnTo>
                    <a:lnTo>
                      <a:pt x="118" y="72"/>
                    </a:lnTo>
                    <a:lnTo>
                      <a:pt x="106" y="64"/>
                    </a:lnTo>
                    <a:lnTo>
                      <a:pt x="104" y="64"/>
                    </a:lnTo>
                    <a:lnTo>
                      <a:pt x="99" y="62"/>
                    </a:lnTo>
                    <a:lnTo>
                      <a:pt x="97" y="62"/>
                    </a:lnTo>
                    <a:lnTo>
                      <a:pt x="94" y="60"/>
                    </a:lnTo>
                    <a:lnTo>
                      <a:pt x="97" y="55"/>
                    </a:lnTo>
                    <a:lnTo>
                      <a:pt x="97" y="50"/>
                    </a:lnTo>
                    <a:lnTo>
                      <a:pt x="94" y="48"/>
                    </a:lnTo>
                    <a:lnTo>
                      <a:pt x="87" y="38"/>
                    </a:lnTo>
                    <a:lnTo>
                      <a:pt x="85" y="38"/>
                    </a:lnTo>
                    <a:lnTo>
                      <a:pt x="82" y="38"/>
                    </a:lnTo>
                    <a:lnTo>
                      <a:pt x="82" y="36"/>
                    </a:lnTo>
                    <a:lnTo>
                      <a:pt x="80" y="34"/>
                    </a:lnTo>
                    <a:lnTo>
                      <a:pt x="80" y="34"/>
                    </a:lnTo>
                    <a:lnTo>
                      <a:pt x="78" y="31"/>
                    </a:lnTo>
                    <a:lnTo>
                      <a:pt x="75" y="31"/>
                    </a:lnTo>
                    <a:lnTo>
                      <a:pt x="73" y="29"/>
                    </a:lnTo>
                    <a:lnTo>
                      <a:pt x="73" y="27"/>
                    </a:lnTo>
                    <a:lnTo>
                      <a:pt x="73" y="27"/>
                    </a:lnTo>
                    <a:lnTo>
                      <a:pt x="71" y="27"/>
                    </a:lnTo>
                    <a:lnTo>
                      <a:pt x="71" y="27"/>
                    </a:lnTo>
                    <a:lnTo>
                      <a:pt x="68" y="27"/>
                    </a:lnTo>
                    <a:lnTo>
                      <a:pt x="66" y="27"/>
                    </a:lnTo>
                    <a:lnTo>
                      <a:pt x="66" y="27"/>
                    </a:lnTo>
                    <a:lnTo>
                      <a:pt x="64" y="27"/>
                    </a:lnTo>
                    <a:lnTo>
                      <a:pt x="61" y="24"/>
                    </a:lnTo>
                    <a:lnTo>
                      <a:pt x="61" y="22"/>
                    </a:lnTo>
                    <a:lnTo>
                      <a:pt x="59" y="22"/>
                    </a:lnTo>
                    <a:lnTo>
                      <a:pt x="54" y="19"/>
                    </a:lnTo>
                    <a:lnTo>
                      <a:pt x="52" y="17"/>
                    </a:lnTo>
                    <a:lnTo>
                      <a:pt x="47" y="17"/>
                    </a:lnTo>
                    <a:lnTo>
                      <a:pt x="45" y="17"/>
                    </a:lnTo>
                    <a:lnTo>
                      <a:pt x="45" y="17"/>
                    </a:lnTo>
                    <a:lnTo>
                      <a:pt x="37" y="15"/>
                    </a:lnTo>
                    <a:lnTo>
                      <a:pt x="30" y="12"/>
                    </a:lnTo>
                    <a:lnTo>
                      <a:pt x="26" y="8"/>
                    </a:lnTo>
                    <a:lnTo>
                      <a:pt x="26" y="8"/>
                    </a:lnTo>
                    <a:lnTo>
                      <a:pt x="26" y="8"/>
                    </a:lnTo>
                    <a:lnTo>
                      <a:pt x="23" y="8"/>
                    </a:lnTo>
                    <a:lnTo>
                      <a:pt x="21" y="5"/>
                    </a:lnTo>
                    <a:lnTo>
                      <a:pt x="11" y="0"/>
                    </a:lnTo>
                    <a:lnTo>
                      <a:pt x="11" y="0"/>
                    </a:lnTo>
                    <a:lnTo>
                      <a:pt x="9" y="0"/>
                    </a:lnTo>
                    <a:lnTo>
                      <a:pt x="9" y="0"/>
                    </a:lnTo>
                    <a:lnTo>
                      <a:pt x="9" y="0"/>
                    </a:lnTo>
                    <a:lnTo>
                      <a:pt x="9" y="3"/>
                    </a:lnTo>
                    <a:lnTo>
                      <a:pt x="9" y="5"/>
                    </a:lnTo>
                    <a:lnTo>
                      <a:pt x="9" y="10"/>
                    </a:lnTo>
                    <a:lnTo>
                      <a:pt x="7" y="15"/>
                    </a:lnTo>
                    <a:lnTo>
                      <a:pt x="7" y="19"/>
                    </a:lnTo>
                    <a:lnTo>
                      <a:pt x="7" y="22"/>
                    </a:lnTo>
                    <a:lnTo>
                      <a:pt x="7" y="27"/>
                    </a:lnTo>
                    <a:lnTo>
                      <a:pt x="7" y="31"/>
                    </a:lnTo>
                    <a:lnTo>
                      <a:pt x="7" y="36"/>
                    </a:lnTo>
                    <a:lnTo>
                      <a:pt x="7" y="41"/>
                    </a:lnTo>
                    <a:lnTo>
                      <a:pt x="7" y="43"/>
                    </a:lnTo>
                    <a:lnTo>
                      <a:pt x="7" y="48"/>
                    </a:lnTo>
                    <a:lnTo>
                      <a:pt x="7" y="53"/>
                    </a:lnTo>
                    <a:lnTo>
                      <a:pt x="7" y="57"/>
                    </a:lnTo>
                    <a:lnTo>
                      <a:pt x="4" y="62"/>
                    </a:lnTo>
                    <a:lnTo>
                      <a:pt x="4" y="64"/>
                    </a:lnTo>
                    <a:lnTo>
                      <a:pt x="4" y="69"/>
                    </a:lnTo>
                    <a:lnTo>
                      <a:pt x="4" y="74"/>
                    </a:lnTo>
                    <a:lnTo>
                      <a:pt x="4" y="79"/>
                    </a:lnTo>
                    <a:lnTo>
                      <a:pt x="4" y="81"/>
                    </a:lnTo>
                    <a:lnTo>
                      <a:pt x="4" y="83"/>
                    </a:lnTo>
                    <a:lnTo>
                      <a:pt x="2" y="86"/>
                    </a:lnTo>
                    <a:lnTo>
                      <a:pt x="2" y="88"/>
                    </a:lnTo>
                    <a:lnTo>
                      <a:pt x="2" y="90"/>
                    </a:lnTo>
                    <a:lnTo>
                      <a:pt x="4" y="93"/>
                    </a:lnTo>
                    <a:lnTo>
                      <a:pt x="4" y="95"/>
                    </a:lnTo>
                    <a:lnTo>
                      <a:pt x="2" y="100"/>
                    </a:lnTo>
                    <a:lnTo>
                      <a:pt x="2" y="105"/>
                    </a:lnTo>
                    <a:lnTo>
                      <a:pt x="2" y="109"/>
                    </a:lnTo>
                    <a:lnTo>
                      <a:pt x="2" y="112"/>
                    </a:lnTo>
                    <a:lnTo>
                      <a:pt x="2" y="116"/>
                    </a:lnTo>
                    <a:lnTo>
                      <a:pt x="2" y="121"/>
                    </a:lnTo>
                    <a:lnTo>
                      <a:pt x="2" y="126"/>
                    </a:lnTo>
                    <a:lnTo>
                      <a:pt x="0" y="131"/>
                    </a:lnTo>
                    <a:lnTo>
                      <a:pt x="0" y="135"/>
                    </a:lnTo>
                    <a:lnTo>
                      <a:pt x="0" y="138"/>
                    </a:lnTo>
                    <a:lnTo>
                      <a:pt x="0" y="138"/>
                    </a:lnTo>
                    <a:lnTo>
                      <a:pt x="2" y="140"/>
                    </a:lnTo>
                    <a:lnTo>
                      <a:pt x="4" y="140"/>
                    </a:lnTo>
                    <a:lnTo>
                      <a:pt x="7" y="140"/>
                    </a:lnTo>
                    <a:lnTo>
                      <a:pt x="7" y="140"/>
                    </a:lnTo>
                    <a:lnTo>
                      <a:pt x="9" y="140"/>
                    </a:lnTo>
                    <a:lnTo>
                      <a:pt x="11" y="140"/>
                    </a:lnTo>
                    <a:lnTo>
                      <a:pt x="14" y="140"/>
                    </a:lnTo>
                    <a:lnTo>
                      <a:pt x="19" y="140"/>
                    </a:lnTo>
                    <a:lnTo>
                      <a:pt x="23" y="140"/>
                    </a:lnTo>
                    <a:lnTo>
                      <a:pt x="23" y="140"/>
                    </a:lnTo>
                    <a:lnTo>
                      <a:pt x="26" y="140"/>
                    </a:lnTo>
                    <a:lnTo>
                      <a:pt x="26" y="140"/>
                    </a:lnTo>
                    <a:lnTo>
                      <a:pt x="28" y="143"/>
                    </a:lnTo>
                    <a:lnTo>
                      <a:pt x="30" y="143"/>
                    </a:lnTo>
                    <a:lnTo>
                      <a:pt x="35" y="140"/>
                    </a:lnTo>
                    <a:lnTo>
                      <a:pt x="40" y="138"/>
                    </a:lnTo>
                    <a:lnTo>
                      <a:pt x="42" y="138"/>
                    </a:lnTo>
                    <a:lnTo>
                      <a:pt x="45" y="135"/>
                    </a:lnTo>
                    <a:lnTo>
                      <a:pt x="45" y="135"/>
                    </a:lnTo>
                    <a:lnTo>
                      <a:pt x="45" y="133"/>
                    </a:lnTo>
                    <a:lnTo>
                      <a:pt x="45" y="131"/>
                    </a:lnTo>
                    <a:lnTo>
                      <a:pt x="45" y="128"/>
                    </a:lnTo>
                    <a:lnTo>
                      <a:pt x="42" y="128"/>
                    </a:lnTo>
                    <a:lnTo>
                      <a:pt x="40" y="126"/>
                    </a:lnTo>
                    <a:lnTo>
                      <a:pt x="40" y="126"/>
                    </a:lnTo>
                    <a:lnTo>
                      <a:pt x="40" y="124"/>
                    </a:lnTo>
                    <a:lnTo>
                      <a:pt x="35" y="124"/>
                    </a:lnTo>
                    <a:lnTo>
                      <a:pt x="30" y="121"/>
                    </a:lnTo>
                    <a:lnTo>
                      <a:pt x="28" y="124"/>
                    </a:lnTo>
                    <a:lnTo>
                      <a:pt x="28" y="121"/>
                    </a:lnTo>
                    <a:lnTo>
                      <a:pt x="28" y="121"/>
                    </a:lnTo>
                    <a:lnTo>
                      <a:pt x="26" y="119"/>
                    </a:lnTo>
                    <a:lnTo>
                      <a:pt x="23" y="119"/>
                    </a:lnTo>
                    <a:lnTo>
                      <a:pt x="26" y="119"/>
                    </a:lnTo>
                    <a:lnTo>
                      <a:pt x="28" y="119"/>
                    </a:lnTo>
                    <a:lnTo>
                      <a:pt x="28" y="119"/>
                    </a:lnTo>
                    <a:lnTo>
                      <a:pt x="28" y="121"/>
                    </a:lnTo>
                    <a:lnTo>
                      <a:pt x="28" y="121"/>
                    </a:lnTo>
                    <a:lnTo>
                      <a:pt x="30" y="121"/>
                    </a:lnTo>
                    <a:lnTo>
                      <a:pt x="33" y="121"/>
                    </a:lnTo>
                    <a:lnTo>
                      <a:pt x="33" y="121"/>
                    </a:lnTo>
                    <a:lnTo>
                      <a:pt x="35" y="121"/>
                    </a:lnTo>
                    <a:lnTo>
                      <a:pt x="37" y="121"/>
                    </a:lnTo>
                    <a:lnTo>
                      <a:pt x="40" y="121"/>
                    </a:lnTo>
                    <a:lnTo>
                      <a:pt x="45" y="121"/>
                    </a:lnTo>
                    <a:lnTo>
                      <a:pt x="47" y="121"/>
                    </a:lnTo>
                    <a:lnTo>
                      <a:pt x="52" y="119"/>
                    </a:lnTo>
                    <a:lnTo>
                      <a:pt x="49" y="116"/>
                    </a:lnTo>
                    <a:lnTo>
                      <a:pt x="49" y="116"/>
                    </a:lnTo>
                    <a:lnTo>
                      <a:pt x="49" y="114"/>
                    </a:lnTo>
                    <a:lnTo>
                      <a:pt x="49" y="114"/>
                    </a:lnTo>
                    <a:lnTo>
                      <a:pt x="52" y="114"/>
                    </a:lnTo>
                    <a:lnTo>
                      <a:pt x="54" y="116"/>
                    </a:lnTo>
                    <a:lnTo>
                      <a:pt x="54" y="116"/>
                    </a:lnTo>
                    <a:lnTo>
                      <a:pt x="56" y="116"/>
                    </a:lnTo>
                    <a:lnTo>
                      <a:pt x="54" y="114"/>
                    </a:lnTo>
                    <a:lnTo>
                      <a:pt x="56" y="114"/>
                    </a:lnTo>
                    <a:lnTo>
                      <a:pt x="56" y="114"/>
                    </a:lnTo>
                    <a:lnTo>
                      <a:pt x="54" y="105"/>
                    </a:lnTo>
                    <a:lnTo>
                      <a:pt x="52" y="105"/>
                    </a:lnTo>
                    <a:lnTo>
                      <a:pt x="54" y="105"/>
                    </a:lnTo>
                    <a:lnTo>
                      <a:pt x="54" y="105"/>
                    </a:lnTo>
                    <a:lnTo>
                      <a:pt x="56" y="107"/>
                    </a:lnTo>
                    <a:lnTo>
                      <a:pt x="56" y="109"/>
                    </a:lnTo>
                    <a:lnTo>
                      <a:pt x="59" y="109"/>
                    </a:lnTo>
                    <a:lnTo>
                      <a:pt x="61" y="109"/>
                    </a:lnTo>
                    <a:lnTo>
                      <a:pt x="64" y="109"/>
                    </a:lnTo>
                    <a:lnTo>
                      <a:pt x="64" y="109"/>
                    </a:lnTo>
                    <a:lnTo>
                      <a:pt x="64" y="109"/>
                    </a:lnTo>
                    <a:lnTo>
                      <a:pt x="66" y="107"/>
                    </a:lnTo>
                    <a:lnTo>
                      <a:pt x="66" y="109"/>
                    </a:lnTo>
                    <a:lnTo>
                      <a:pt x="66" y="109"/>
                    </a:lnTo>
                    <a:lnTo>
                      <a:pt x="68" y="107"/>
                    </a:lnTo>
                    <a:lnTo>
                      <a:pt x="68" y="107"/>
                    </a:lnTo>
                    <a:lnTo>
                      <a:pt x="71" y="107"/>
                    </a:lnTo>
                    <a:lnTo>
                      <a:pt x="71" y="107"/>
                    </a:lnTo>
                    <a:lnTo>
                      <a:pt x="73" y="107"/>
                    </a:lnTo>
                    <a:lnTo>
                      <a:pt x="75" y="107"/>
                    </a:lnTo>
                    <a:lnTo>
                      <a:pt x="75" y="109"/>
                    </a:lnTo>
                    <a:lnTo>
                      <a:pt x="75" y="109"/>
                    </a:lnTo>
                    <a:lnTo>
                      <a:pt x="75" y="112"/>
                    </a:lnTo>
                    <a:lnTo>
                      <a:pt x="78" y="112"/>
                    </a:lnTo>
                    <a:lnTo>
                      <a:pt x="80" y="112"/>
                    </a:lnTo>
                    <a:lnTo>
                      <a:pt x="82" y="112"/>
                    </a:lnTo>
                    <a:lnTo>
                      <a:pt x="85" y="114"/>
                    </a:lnTo>
                    <a:lnTo>
                      <a:pt x="87" y="114"/>
                    </a:lnTo>
                    <a:lnTo>
                      <a:pt x="90" y="114"/>
                    </a:lnTo>
                    <a:lnTo>
                      <a:pt x="92" y="114"/>
                    </a:lnTo>
                    <a:lnTo>
                      <a:pt x="92" y="114"/>
                    </a:lnTo>
                    <a:lnTo>
                      <a:pt x="97" y="116"/>
                    </a:lnTo>
                    <a:lnTo>
                      <a:pt x="97" y="116"/>
                    </a:lnTo>
                    <a:lnTo>
                      <a:pt x="97" y="119"/>
                    </a:lnTo>
                    <a:lnTo>
                      <a:pt x="97" y="119"/>
                    </a:lnTo>
                    <a:lnTo>
                      <a:pt x="99" y="121"/>
                    </a:lnTo>
                    <a:lnTo>
                      <a:pt x="99" y="124"/>
                    </a:lnTo>
                    <a:lnTo>
                      <a:pt x="99" y="126"/>
                    </a:lnTo>
                    <a:lnTo>
                      <a:pt x="104" y="128"/>
                    </a:lnTo>
                    <a:lnTo>
                      <a:pt x="104" y="131"/>
                    </a:lnTo>
                    <a:lnTo>
                      <a:pt x="106" y="135"/>
                    </a:lnTo>
                    <a:lnTo>
                      <a:pt x="106" y="138"/>
                    </a:lnTo>
                    <a:lnTo>
                      <a:pt x="108" y="138"/>
                    </a:lnTo>
                    <a:lnTo>
                      <a:pt x="111" y="138"/>
                    </a:lnTo>
                    <a:lnTo>
                      <a:pt x="111" y="138"/>
                    </a:lnTo>
                    <a:lnTo>
                      <a:pt x="111" y="140"/>
                    </a:lnTo>
                    <a:lnTo>
                      <a:pt x="111" y="143"/>
                    </a:lnTo>
                    <a:lnTo>
                      <a:pt x="111" y="145"/>
                    </a:lnTo>
                    <a:lnTo>
                      <a:pt x="113" y="145"/>
                    </a:lnTo>
                    <a:lnTo>
                      <a:pt x="116" y="150"/>
                    </a:lnTo>
                    <a:lnTo>
                      <a:pt x="118" y="150"/>
                    </a:lnTo>
                    <a:lnTo>
                      <a:pt x="120" y="152"/>
                    </a:lnTo>
                    <a:lnTo>
                      <a:pt x="120" y="157"/>
                    </a:lnTo>
                    <a:lnTo>
                      <a:pt x="123" y="157"/>
                    </a:lnTo>
                    <a:lnTo>
                      <a:pt x="123" y="157"/>
                    </a:lnTo>
                    <a:lnTo>
                      <a:pt x="125" y="159"/>
                    </a:lnTo>
                    <a:lnTo>
                      <a:pt x="127" y="159"/>
                    </a:lnTo>
                    <a:lnTo>
                      <a:pt x="130" y="159"/>
                    </a:lnTo>
                    <a:lnTo>
                      <a:pt x="130" y="159"/>
                    </a:lnTo>
                    <a:lnTo>
                      <a:pt x="132" y="159"/>
                    </a:lnTo>
                    <a:lnTo>
                      <a:pt x="134" y="159"/>
                    </a:lnTo>
                    <a:lnTo>
                      <a:pt x="134" y="161"/>
                    </a:lnTo>
                    <a:lnTo>
                      <a:pt x="137" y="161"/>
                    </a:lnTo>
                    <a:lnTo>
                      <a:pt x="139" y="161"/>
                    </a:lnTo>
                    <a:lnTo>
                      <a:pt x="142" y="161"/>
                    </a:lnTo>
                    <a:lnTo>
                      <a:pt x="142" y="161"/>
                    </a:lnTo>
                    <a:lnTo>
                      <a:pt x="144" y="161"/>
                    </a:lnTo>
                    <a:lnTo>
                      <a:pt x="146" y="164"/>
                    </a:lnTo>
                    <a:lnTo>
                      <a:pt x="153" y="164"/>
                    </a:lnTo>
                    <a:lnTo>
                      <a:pt x="156" y="164"/>
                    </a:lnTo>
                    <a:lnTo>
                      <a:pt x="158" y="164"/>
                    </a:lnTo>
                    <a:lnTo>
                      <a:pt x="160" y="164"/>
                    </a:lnTo>
                    <a:lnTo>
                      <a:pt x="163" y="166"/>
                    </a:lnTo>
                    <a:lnTo>
                      <a:pt x="163" y="169"/>
                    </a:lnTo>
                    <a:lnTo>
                      <a:pt x="165" y="169"/>
                    </a:lnTo>
                    <a:lnTo>
                      <a:pt x="165" y="169"/>
                    </a:lnTo>
                    <a:lnTo>
                      <a:pt x="168" y="171"/>
                    </a:lnTo>
                    <a:lnTo>
                      <a:pt x="170" y="171"/>
                    </a:lnTo>
                    <a:lnTo>
                      <a:pt x="172" y="171"/>
                    </a:lnTo>
                    <a:lnTo>
                      <a:pt x="172" y="171"/>
                    </a:lnTo>
                    <a:lnTo>
                      <a:pt x="177" y="169"/>
                    </a:lnTo>
                    <a:lnTo>
                      <a:pt x="177" y="169"/>
                    </a:lnTo>
                    <a:lnTo>
                      <a:pt x="177" y="169"/>
                    </a:lnTo>
                    <a:lnTo>
                      <a:pt x="175" y="166"/>
                    </a:lnTo>
                    <a:lnTo>
                      <a:pt x="172" y="164"/>
                    </a:lnTo>
                    <a:lnTo>
                      <a:pt x="172" y="164"/>
                    </a:lnTo>
                    <a:lnTo>
                      <a:pt x="177" y="164"/>
                    </a:lnTo>
                    <a:lnTo>
                      <a:pt x="177" y="164"/>
                    </a:lnTo>
                    <a:lnTo>
                      <a:pt x="182" y="161"/>
                    </a:lnTo>
                    <a:lnTo>
                      <a:pt x="177" y="164"/>
                    </a:lnTo>
                    <a:close/>
                  </a:path>
                </a:pathLst>
              </a:custGeom>
              <a:solidFill>
                <a:srgbClr val="8787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0" name="Freeform 72"/>
              <p:cNvSpPr>
                <a:spLocks noEditPoints="1"/>
              </p:cNvSpPr>
              <p:nvPr/>
            </p:nvSpPr>
            <p:spPr bwMode="auto">
              <a:xfrm>
                <a:off x="5370" y="2854"/>
                <a:ext cx="187" cy="171"/>
              </a:xfrm>
              <a:custGeom>
                <a:avLst/>
                <a:gdLst>
                  <a:gd name="T0" fmla="*/ 179 w 187"/>
                  <a:gd name="T1" fmla="*/ 169 h 171"/>
                  <a:gd name="T2" fmla="*/ 182 w 187"/>
                  <a:gd name="T3" fmla="*/ 152 h 171"/>
                  <a:gd name="T4" fmla="*/ 175 w 187"/>
                  <a:gd name="T5" fmla="*/ 150 h 171"/>
                  <a:gd name="T6" fmla="*/ 184 w 187"/>
                  <a:gd name="T7" fmla="*/ 150 h 171"/>
                  <a:gd name="T8" fmla="*/ 177 w 187"/>
                  <a:gd name="T9" fmla="*/ 143 h 171"/>
                  <a:gd name="T10" fmla="*/ 172 w 187"/>
                  <a:gd name="T11" fmla="*/ 147 h 171"/>
                  <a:gd name="T12" fmla="*/ 170 w 187"/>
                  <a:gd name="T13" fmla="*/ 145 h 171"/>
                  <a:gd name="T14" fmla="*/ 45 w 187"/>
                  <a:gd name="T15" fmla="*/ 126 h 171"/>
                  <a:gd name="T16" fmla="*/ 45 w 187"/>
                  <a:gd name="T17" fmla="*/ 124 h 171"/>
                  <a:gd name="T18" fmla="*/ 134 w 187"/>
                  <a:gd name="T19" fmla="*/ 69 h 171"/>
                  <a:gd name="T20" fmla="*/ 132 w 187"/>
                  <a:gd name="T21" fmla="*/ 62 h 171"/>
                  <a:gd name="T22" fmla="*/ 120 w 187"/>
                  <a:gd name="T23" fmla="*/ 62 h 171"/>
                  <a:gd name="T24" fmla="*/ 101 w 187"/>
                  <a:gd name="T25" fmla="*/ 45 h 171"/>
                  <a:gd name="T26" fmla="*/ 99 w 187"/>
                  <a:gd name="T27" fmla="*/ 45 h 171"/>
                  <a:gd name="T28" fmla="*/ 170 w 187"/>
                  <a:gd name="T29" fmla="*/ 161 h 171"/>
                  <a:gd name="T30" fmla="*/ 160 w 187"/>
                  <a:gd name="T31" fmla="*/ 154 h 171"/>
                  <a:gd name="T32" fmla="*/ 165 w 187"/>
                  <a:gd name="T33" fmla="*/ 150 h 171"/>
                  <a:gd name="T34" fmla="*/ 153 w 187"/>
                  <a:gd name="T35" fmla="*/ 140 h 171"/>
                  <a:gd name="T36" fmla="*/ 142 w 187"/>
                  <a:gd name="T37" fmla="*/ 138 h 171"/>
                  <a:gd name="T38" fmla="*/ 137 w 187"/>
                  <a:gd name="T39" fmla="*/ 121 h 171"/>
                  <a:gd name="T40" fmla="*/ 123 w 187"/>
                  <a:gd name="T41" fmla="*/ 107 h 171"/>
                  <a:gd name="T42" fmla="*/ 116 w 187"/>
                  <a:gd name="T43" fmla="*/ 90 h 171"/>
                  <a:gd name="T44" fmla="*/ 132 w 187"/>
                  <a:gd name="T45" fmla="*/ 81 h 171"/>
                  <a:gd name="T46" fmla="*/ 125 w 187"/>
                  <a:gd name="T47" fmla="*/ 72 h 171"/>
                  <a:gd name="T48" fmla="*/ 99 w 187"/>
                  <a:gd name="T49" fmla="*/ 62 h 171"/>
                  <a:gd name="T50" fmla="*/ 85 w 187"/>
                  <a:gd name="T51" fmla="*/ 38 h 171"/>
                  <a:gd name="T52" fmla="*/ 73 w 187"/>
                  <a:gd name="T53" fmla="*/ 29 h 171"/>
                  <a:gd name="T54" fmla="*/ 66 w 187"/>
                  <a:gd name="T55" fmla="*/ 27 h 171"/>
                  <a:gd name="T56" fmla="*/ 47 w 187"/>
                  <a:gd name="T57" fmla="*/ 17 h 171"/>
                  <a:gd name="T58" fmla="*/ 26 w 187"/>
                  <a:gd name="T59" fmla="*/ 8 h 171"/>
                  <a:gd name="T60" fmla="*/ 9 w 187"/>
                  <a:gd name="T61" fmla="*/ 0 h 171"/>
                  <a:gd name="T62" fmla="*/ 7 w 187"/>
                  <a:gd name="T63" fmla="*/ 27 h 171"/>
                  <a:gd name="T64" fmla="*/ 7 w 187"/>
                  <a:gd name="T65" fmla="*/ 57 h 171"/>
                  <a:gd name="T66" fmla="*/ 4 w 187"/>
                  <a:gd name="T67" fmla="*/ 83 h 171"/>
                  <a:gd name="T68" fmla="*/ 2 w 187"/>
                  <a:gd name="T69" fmla="*/ 105 h 171"/>
                  <a:gd name="T70" fmla="*/ 0 w 187"/>
                  <a:gd name="T71" fmla="*/ 135 h 171"/>
                  <a:gd name="T72" fmla="*/ 9 w 187"/>
                  <a:gd name="T73" fmla="*/ 140 h 171"/>
                  <a:gd name="T74" fmla="*/ 26 w 187"/>
                  <a:gd name="T75" fmla="*/ 140 h 171"/>
                  <a:gd name="T76" fmla="*/ 45 w 187"/>
                  <a:gd name="T77" fmla="*/ 135 h 171"/>
                  <a:gd name="T78" fmla="*/ 40 w 187"/>
                  <a:gd name="T79" fmla="*/ 124 h 171"/>
                  <a:gd name="T80" fmla="*/ 23 w 187"/>
                  <a:gd name="T81" fmla="*/ 119 h 171"/>
                  <a:gd name="T82" fmla="*/ 33 w 187"/>
                  <a:gd name="T83" fmla="*/ 121 h 171"/>
                  <a:gd name="T84" fmla="*/ 52 w 187"/>
                  <a:gd name="T85" fmla="*/ 119 h 171"/>
                  <a:gd name="T86" fmla="*/ 54 w 187"/>
                  <a:gd name="T87" fmla="*/ 116 h 171"/>
                  <a:gd name="T88" fmla="*/ 54 w 187"/>
                  <a:gd name="T89" fmla="*/ 105 h 171"/>
                  <a:gd name="T90" fmla="*/ 64 w 187"/>
                  <a:gd name="T91" fmla="*/ 109 h 171"/>
                  <a:gd name="T92" fmla="*/ 71 w 187"/>
                  <a:gd name="T93" fmla="*/ 107 h 171"/>
                  <a:gd name="T94" fmla="*/ 78 w 187"/>
                  <a:gd name="T95" fmla="*/ 112 h 171"/>
                  <a:gd name="T96" fmla="*/ 92 w 187"/>
                  <a:gd name="T97" fmla="*/ 114 h 171"/>
                  <a:gd name="T98" fmla="*/ 99 w 187"/>
                  <a:gd name="T99" fmla="*/ 126 h 171"/>
                  <a:gd name="T100" fmla="*/ 111 w 187"/>
                  <a:gd name="T101" fmla="*/ 138 h 171"/>
                  <a:gd name="T102" fmla="*/ 120 w 187"/>
                  <a:gd name="T103" fmla="*/ 152 h 171"/>
                  <a:gd name="T104" fmla="*/ 130 w 187"/>
                  <a:gd name="T105" fmla="*/ 159 h 171"/>
                  <a:gd name="T106" fmla="*/ 142 w 187"/>
                  <a:gd name="T107" fmla="*/ 161 h 171"/>
                  <a:gd name="T108" fmla="*/ 163 w 187"/>
                  <a:gd name="T109" fmla="*/ 166 h 171"/>
                  <a:gd name="T110" fmla="*/ 172 w 187"/>
                  <a:gd name="T111" fmla="*/ 171 h 171"/>
                  <a:gd name="T112" fmla="*/ 177 w 187"/>
                  <a:gd name="T113" fmla="*/ 164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87" h="171">
                    <a:moveTo>
                      <a:pt x="179" y="169"/>
                    </a:moveTo>
                    <a:lnTo>
                      <a:pt x="179" y="171"/>
                    </a:lnTo>
                    <a:lnTo>
                      <a:pt x="179" y="171"/>
                    </a:lnTo>
                    <a:lnTo>
                      <a:pt x="182" y="171"/>
                    </a:lnTo>
                    <a:lnTo>
                      <a:pt x="182" y="169"/>
                    </a:lnTo>
                    <a:lnTo>
                      <a:pt x="182" y="169"/>
                    </a:lnTo>
                    <a:lnTo>
                      <a:pt x="179" y="169"/>
                    </a:lnTo>
                    <a:moveTo>
                      <a:pt x="187" y="157"/>
                    </a:moveTo>
                    <a:lnTo>
                      <a:pt x="187" y="157"/>
                    </a:lnTo>
                    <a:lnTo>
                      <a:pt x="184" y="157"/>
                    </a:lnTo>
                    <a:lnTo>
                      <a:pt x="187" y="157"/>
                    </a:lnTo>
                    <a:lnTo>
                      <a:pt x="182" y="154"/>
                    </a:lnTo>
                    <a:lnTo>
                      <a:pt x="182" y="152"/>
                    </a:lnTo>
                    <a:lnTo>
                      <a:pt x="182" y="152"/>
                    </a:lnTo>
                    <a:lnTo>
                      <a:pt x="182" y="152"/>
                    </a:lnTo>
                    <a:lnTo>
                      <a:pt x="182" y="154"/>
                    </a:lnTo>
                    <a:lnTo>
                      <a:pt x="182" y="157"/>
                    </a:lnTo>
                    <a:lnTo>
                      <a:pt x="184" y="157"/>
                    </a:lnTo>
                    <a:lnTo>
                      <a:pt x="184" y="159"/>
                    </a:lnTo>
                    <a:lnTo>
                      <a:pt x="187" y="161"/>
                    </a:lnTo>
                    <a:moveTo>
                      <a:pt x="175" y="150"/>
                    </a:moveTo>
                    <a:lnTo>
                      <a:pt x="177" y="150"/>
                    </a:lnTo>
                    <a:lnTo>
                      <a:pt x="179" y="150"/>
                    </a:lnTo>
                    <a:lnTo>
                      <a:pt x="182" y="150"/>
                    </a:lnTo>
                    <a:lnTo>
                      <a:pt x="182" y="150"/>
                    </a:lnTo>
                    <a:lnTo>
                      <a:pt x="182" y="152"/>
                    </a:lnTo>
                    <a:lnTo>
                      <a:pt x="184" y="150"/>
                    </a:lnTo>
                    <a:lnTo>
                      <a:pt x="184" y="150"/>
                    </a:lnTo>
                    <a:lnTo>
                      <a:pt x="184" y="150"/>
                    </a:lnTo>
                    <a:lnTo>
                      <a:pt x="184" y="147"/>
                    </a:lnTo>
                    <a:lnTo>
                      <a:pt x="182" y="145"/>
                    </a:lnTo>
                    <a:lnTo>
                      <a:pt x="182" y="145"/>
                    </a:lnTo>
                    <a:lnTo>
                      <a:pt x="179" y="145"/>
                    </a:lnTo>
                    <a:lnTo>
                      <a:pt x="177" y="143"/>
                    </a:lnTo>
                    <a:lnTo>
                      <a:pt x="177" y="143"/>
                    </a:lnTo>
                    <a:lnTo>
                      <a:pt x="175" y="145"/>
                    </a:lnTo>
                    <a:lnTo>
                      <a:pt x="175" y="145"/>
                    </a:lnTo>
                    <a:lnTo>
                      <a:pt x="175" y="145"/>
                    </a:lnTo>
                    <a:lnTo>
                      <a:pt x="177" y="147"/>
                    </a:lnTo>
                    <a:lnTo>
                      <a:pt x="177" y="147"/>
                    </a:lnTo>
                    <a:lnTo>
                      <a:pt x="175" y="150"/>
                    </a:lnTo>
                    <a:moveTo>
                      <a:pt x="172" y="147"/>
                    </a:moveTo>
                    <a:lnTo>
                      <a:pt x="172" y="147"/>
                    </a:lnTo>
                    <a:lnTo>
                      <a:pt x="175" y="145"/>
                    </a:lnTo>
                    <a:lnTo>
                      <a:pt x="175" y="143"/>
                    </a:lnTo>
                    <a:lnTo>
                      <a:pt x="172" y="143"/>
                    </a:lnTo>
                    <a:lnTo>
                      <a:pt x="172" y="140"/>
                    </a:lnTo>
                    <a:lnTo>
                      <a:pt x="170" y="143"/>
                    </a:lnTo>
                    <a:lnTo>
                      <a:pt x="170" y="145"/>
                    </a:lnTo>
                    <a:lnTo>
                      <a:pt x="172" y="147"/>
                    </a:lnTo>
                    <a:lnTo>
                      <a:pt x="172" y="147"/>
                    </a:lnTo>
                    <a:moveTo>
                      <a:pt x="47" y="126"/>
                    </a:moveTo>
                    <a:lnTo>
                      <a:pt x="45" y="126"/>
                    </a:lnTo>
                    <a:lnTo>
                      <a:pt x="42" y="124"/>
                    </a:lnTo>
                    <a:lnTo>
                      <a:pt x="42" y="126"/>
                    </a:lnTo>
                    <a:lnTo>
                      <a:pt x="45" y="126"/>
                    </a:lnTo>
                    <a:lnTo>
                      <a:pt x="47" y="128"/>
                    </a:lnTo>
                    <a:lnTo>
                      <a:pt x="49" y="131"/>
                    </a:lnTo>
                    <a:lnTo>
                      <a:pt x="49" y="128"/>
                    </a:lnTo>
                    <a:lnTo>
                      <a:pt x="47" y="126"/>
                    </a:lnTo>
                    <a:moveTo>
                      <a:pt x="49" y="124"/>
                    </a:moveTo>
                    <a:lnTo>
                      <a:pt x="45" y="124"/>
                    </a:lnTo>
                    <a:lnTo>
                      <a:pt x="45" y="124"/>
                    </a:lnTo>
                    <a:lnTo>
                      <a:pt x="49" y="126"/>
                    </a:lnTo>
                    <a:lnTo>
                      <a:pt x="49" y="126"/>
                    </a:lnTo>
                    <a:lnTo>
                      <a:pt x="49" y="126"/>
                    </a:lnTo>
                    <a:lnTo>
                      <a:pt x="49" y="124"/>
                    </a:lnTo>
                    <a:lnTo>
                      <a:pt x="49" y="124"/>
                    </a:lnTo>
                    <a:moveTo>
                      <a:pt x="134" y="69"/>
                    </a:moveTo>
                    <a:lnTo>
                      <a:pt x="134" y="69"/>
                    </a:lnTo>
                    <a:lnTo>
                      <a:pt x="137" y="69"/>
                    </a:lnTo>
                    <a:lnTo>
                      <a:pt x="137" y="67"/>
                    </a:lnTo>
                    <a:lnTo>
                      <a:pt x="137" y="64"/>
                    </a:lnTo>
                    <a:lnTo>
                      <a:pt x="137" y="64"/>
                    </a:lnTo>
                    <a:lnTo>
                      <a:pt x="134" y="62"/>
                    </a:lnTo>
                    <a:lnTo>
                      <a:pt x="132" y="62"/>
                    </a:lnTo>
                    <a:lnTo>
                      <a:pt x="132" y="62"/>
                    </a:lnTo>
                    <a:lnTo>
                      <a:pt x="132" y="64"/>
                    </a:lnTo>
                    <a:lnTo>
                      <a:pt x="134" y="67"/>
                    </a:lnTo>
                    <a:lnTo>
                      <a:pt x="134" y="69"/>
                    </a:lnTo>
                    <a:moveTo>
                      <a:pt x="118" y="57"/>
                    </a:moveTo>
                    <a:lnTo>
                      <a:pt x="118" y="57"/>
                    </a:lnTo>
                    <a:lnTo>
                      <a:pt x="118" y="60"/>
                    </a:lnTo>
                    <a:lnTo>
                      <a:pt x="120" y="62"/>
                    </a:lnTo>
                    <a:lnTo>
                      <a:pt x="120" y="62"/>
                    </a:lnTo>
                    <a:lnTo>
                      <a:pt x="123" y="60"/>
                    </a:lnTo>
                    <a:lnTo>
                      <a:pt x="123" y="57"/>
                    </a:lnTo>
                    <a:lnTo>
                      <a:pt x="120" y="55"/>
                    </a:lnTo>
                    <a:lnTo>
                      <a:pt x="118" y="57"/>
                    </a:lnTo>
                    <a:moveTo>
                      <a:pt x="99" y="45"/>
                    </a:moveTo>
                    <a:lnTo>
                      <a:pt x="101" y="45"/>
                    </a:lnTo>
                    <a:lnTo>
                      <a:pt x="101" y="43"/>
                    </a:lnTo>
                    <a:lnTo>
                      <a:pt x="101" y="43"/>
                    </a:lnTo>
                    <a:lnTo>
                      <a:pt x="99" y="43"/>
                    </a:lnTo>
                    <a:lnTo>
                      <a:pt x="99" y="43"/>
                    </a:lnTo>
                    <a:lnTo>
                      <a:pt x="99" y="43"/>
                    </a:lnTo>
                    <a:lnTo>
                      <a:pt x="97" y="45"/>
                    </a:lnTo>
                    <a:lnTo>
                      <a:pt x="99" y="45"/>
                    </a:lnTo>
                    <a:lnTo>
                      <a:pt x="99" y="45"/>
                    </a:lnTo>
                    <a:moveTo>
                      <a:pt x="142" y="64"/>
                    </a:moveTo>
                    <a:lnTo>
                      <a:pt x="142" y="67"/>
                    </a:lnTo>
                    <a:moveTo>
                      <a:pt x="177" y="164"/>
                    </a:moveTo>
                    <a:lnTo>
                      <a:pt x="175" y="161"/>
                    </a:lnTo>
                    <a:lnTo>
                      <a:pt x="172" y="161"/>
                    </a:lnTo>
                    <a:lnTo>
                      <a:pt x="170" y="161"/>
                    </a:lnTo>
                    <a:lnTo>
                      <a:pt x="170" y="159"/>
                    </a:lnTo>
                    <a:lnTo>
                      <a:pt x="168" y="159"/>
                    </a:lnTo>
                    <a:lnTo>
                      <a:pt x="165" y="159"/>
                    </a:lnTo>
                    <a:lnTo>
                      <a:pt x="165" y="159"/>
                    </a:lnTo>
                    <a:lnTo>
                      <a:pt x="163" y="157"/>
                    </a:lnTo>
                    <a:lnTo>
                      <a:pt x="163" y="157"/>
                    </a:lnTo>
                    <a:lnTo>
                      <a:pt x="160" y="154"/>
                    </a:lnTo>
                    <a:lnTo>
                      <a:pt x="163" y="154"/>
                    </a:lnTo>
                    <a:lnTo>
                      <a:pt x="163" y="152"/>
                    </a:lnTo>
                    <a:lnTo>
                      <a:pt x="165" y="152"/>
                    </a:lnTo>
                    <a:lnTo>
                      <a:pt x="165" y="152"/>
                    </a:lnTo>
                    <a:lnTo>
                      <a:pt x="168" y="152"/>
                    </a:lnTo>
                    <a:lnTo>
                      <a:pt x="165" y="150"/>
                    </a:lnTo>
                    <a:lnTo>
                      <a:pt x="165" y="150"/>
                    </a:lnTo>
                    <a:lnTo>
                      <a:pt x="163" y="150"/>
                    </a:lnTo>
                    <a:lnTo>
                      <a:pt x="156" y="150"/>
                    </a:lnTo>
                    <a:lnTo>
                      <a:pt x="156" y="147"/>
                    </a:lnTo>
                    <a:lnTo>
                      <a:pt x="153" y="147"/>
                    </a:lnTo>
                    <a:lnTo>
                      <a:pt x="153" y="145"/>
                    </a:lnTo>
                    <a:lnTo>
                      <a:pt x="153" y="143"/>
                    </a:lnTo>
                    <a:lnTo>
                      <a:pt x="153" y="140"/>
                    </a:lnTo>
                    <a:lnTo>
                      <a:pt x="153" y="138"/>
                    </a:lnTo>
                    <a:lnTo>
                      <a:pt x="153" y="138"/>
                    </a:lnTo>
                    <a:lnTo>
                      <a:pt x="151" y="138"/>
                    </a:lnTo>
                    <a:lnTo>
                      <a:pt x="151" y="138"/>
                    </a:lnTo>
                    <a:lnTo>
                      <a:pt x="146" y="138"/>
                    </a:lnTo>
                    <a:lnTo>
                      <a:pt x="144" y="138"/>
                    </a:lnTo>
                    <a:lnTo>
                      <a:pt x="142" y="138"/>
                    </a:lnTo>
                    <a:lnTo>
                      <a:pt x="142" y="135"/>
                    </a:lnTo>
                    <a:lnTo>
                      <a:pt x="139" y="131"/>
                    </a:lnTo>
                    <a:lnTo>
                      <a:pt x="139" y="128"/>
                    </a:lnTo>
                    <a:lnTo>
                      <a:pt x="137" y="126"/>
                    </a:lnTo>
                    <a:lnTo>
                      <a:pt x="137" y="126"/>
                    </a:lnTo>
                    <a:lnTo>
                      <a:pt x="137" y="126"/>
                    </a:lnTo>
                    <a:lnTo>
                      <a:pt x="137" y="121"/>
                    </a:lnTo>
                    <a:lnTo>
                      <a:pt x="134" y="119"/>
                    </a:lnTo>
                    <a:lnTo>
                      <a:pt x="134" y="116"/>
                    </a:lnTo>
                    <a:lnTo>
                      <a:pt x="132" y="114"/>
                    </a:lnTo>
                    <a:lnTo>
                      <a:pt x="130" y="114"/>
                    </a:lnTo>
                    <a:lnTo>
                      <a:pt x="127" y="112"/>
                    </a:lnTo>
                    <a:lnTo>
                      <a:pt x="125" y="109"/>
                    </a:lnTo>
                    <a:lnTo>
                      <a:pt x="123" y="107"/>
                    </a:lnTo>
                    <a:lnTo>
                      <a:pt x="120" y="105"/>
                    </a:lnTo>
                    <a:lnTo>
                      <a:pt x="120" y="105"/>
                    </a:lnTo>
                    <a:lnTo>
                      <a:pt x="118" y="102"/>
                    </a:lnTo>
                    <a:lnTo>
                      <a:pt x="118" y="98"/>
                    </a:lnTo>
                    <a:lnTo>
                      <a:pt x="116" y="93"/>
                    </a:lnTo>
                    <a:lnTo>
                      <a:pt x="116" y="90"/>
                    </a:lnTo>
                    <a:lnTo>
                      <a:pt x="116" y="90"/>
                    </a:lnTo>
                    <a:lnTo>
                      <a:pt x="118" y="88"/>
                    </a:lnTo>
                    <a:lnTo>
                      <a:pt x="123" y="88"/>
                    </a:lnTo>
                    <a:lnTo>
                      <a:pt x="130" y="88"/>
                    </a:lnTo>
                    <a:lnTo>
                      <a:pt x="132" y="88"/>
                    </a:lnTo>
                    <a:lnTo>
                      <a:pt x="132" y="88"/>
                    </a:lnTo>
                    <a:lnTo>
                      <a:pt x="132" y="86"/>
                    </a:lnTo>
                    <a:lnTo>
                      <a:pt x="132" y="81"/>
                    </a:lnTo>
                    <a:lnTo>
                      <a:pt x="132" y="79"/>
                    </a:lnTo>
                    <a:lnTo>
                      <a:pt x="130" y="79"/>
                    </a:lnTo>
                    <a:lnTo>
                      <a:pt x="130" y="79"/>
                    </a:lnTo>
                    <a:lnTo>
                      <a:pt x="130" y="76"/>
                    </a:lnTo>
                    <a:lnTo>
                      <a:pt x="127" y="74"/>
                    </a:lnTo>
                    <a:lnTo>
                      <a:pt x="127" y="74"/>
                    </a:lnTo>
                    <a:lnTo>
                      <a:pt x="125" y="72"/>
                    </a:lnTo>
                    <a:lnTo>
                      <a:pt x="125" y="72"/>
                    </a:lnTo>
                    <a:lnTo>
                      <a:pt x="123" y="72"/>
                    </a:lnTo>
                    <a:lnTo>
                      <a:pt x="120" y="72"/>
                    </a:lnTo>
                    <a:lnTo>
                      <a:pt x="118" y="72"/>
                    </a:lnTo>
                    <a:lnTo>
                      <a:pt x="106" y="64"/>
                    </a:lnTo>
                    <a:lnTo>
                      <a:pt x="104" y="64"/>
                    </a:lnTo>
                    <a:lnTo>
                      <a:pt x="99" y="62"/>
                    </a:lnTo>
                    <a:lnTo>
                      <a:pt x="97" y="62"/>
                    </a:lnTo>
                    <a:lnTo>
                      <a:pt x="94" y="60"/>
                    </a:lnTo>
                    <a:lnTo>
                      <a:pt x="97" y="55"/>
                    </a:lnTo>
                    <a:lnTo>
                      <a:pt x="97" y="50"/>
                    </a:lnTo>
                    <a:lnTo>
                      <a:pt x="94" y="48"/>
                    </a:lnTo>
                    <a:lnTo>
                      <a:pt x="87" y="38"/>
                    </a:lnTo>
                    <a:lnTo>
                      <a:pt x="85" y="38"/>
                    </a:lnTo>
                    <a:lnTo>
                      <a:pt x="82" y="38"/>
                    </a:lnTo>
                    <a:lnTo>
                      <a:pt x="82" y="36"/>
                    </a:lnTo>
                    <a:lnTo>
                      <a:pt x="80" y="34"/>
                    </a:lnTo>
                    <a:lnTo>
                      <a:pt x="80" y="34"/>
                    </a:lnTo>
                    <a:lnTo>
                      <a:pt x="78" y="31"/>
                    </a:lnTo>
                    <a:lnTo>
                      <a:pt x="75" y="31"/>
                    </a:lnTo>
                    <a:lnTo>
                      <a:pt x="73" y="29"/>
                    </a:lnTo>
                    <a:lnTo>
                      <a:pt x="73" y="27"/>
                    </a:lnTo>
                    <a:lnTo>
                      <a:pt x="73" y="27"/>
                    </a:lnTo>
                    <a:lnTo>
                      <a:pt x="71" y="27"/>
                    </a:lnTo>
                    <a:lnTo>
                      <a:pt x="71" y="27"/>
                    </a:lnTo>
                    <a:lnTo>
                      <a:pt x="68" y="27"/>
                    </a:lnTo>
                    <a:lnTo>
                      <a:pt x="66" y="27"/>
                    </a:lnTo>
                    <a:lnTo>
                      <a:pt x="66" y="27"/>
                    </a:lnTo>
                    <a:lnTo>
                      <a:pt x="64" y="27"/>
                    </a:lnTo>
                    <a:lnTo>
                      <a:pt x="61" y="24"/>
                    </a:lnTo>
                    <a:lnTo>
                      <a:pt x="61" y="22"/>
                    </a:lnTo>
                    <a:lnTo>
                      <a:pt x="59" y="22"/>
                    </a:lnTo>
                    <a:lnTo>
                      <a:pt x="54" y="19"/>
                    </a:lnTo>
                    <a:lnTo>
                      <a:pt x="52" y="17"/>
                    </a:lnTo>
                    <a:lnTo>
                      <a:pt x="47" y="17"/>
                    </a:lnTo>
                    <a:lnTo>
                      <a:pt x="45" y="17"/>
                    </a:lnTo>
                    <a:lnTo>
                      <a:pt x="45" y="17"/>
                    </a:lnTo>
                    <a:lnTo>
                      <a:pt x="37" y="15"/>
                    </a:lnTo>
                    <a:lnTo>
                      <a:pt x="30" y="12"/>
                    </a:lnTo>
                    <a:lnTo>
                      <a:pt x="26" y="8"/>
                    </a:lnTo>
                    <a:lnTo>
                      <a:pt x="26" y="8"/>
                    </a:lnTo>
                    <a:lnTo>
                      <a:pt x="26" y="8"/>
                    </a:lnTo>
                    <a:lnTo>
                      <a:pt x="23" y="8"/>
                    </a:lnTo>
                    <a:lnTo>
                      <a:pt x="21" y="5"/>
                    </a:lnTo>
                    <a:lnTo>
                      <a:pt x="11" y="0"/>
                    </a:lnTo>
                    <a:lnTo>
                      <a:pt x="11" y="0"/>
                    </a:lnTo>
                    <a:lnTo>
                      <a:pt x="9" y="0"/>
                    </a:lnTo>
                    <a:lnTo>
                      <a:pt x="9" y="0"/>
                    </a:lnTo>
                    <a:lnTo>
                      <a:pt x="9" y="0"/>
                    </a:lnTo>
                    <a:lnTo>
                      <a:pt x="9" y="3"/>
                    </a:lnTo>
                    <a:lnTo>
                      <a:pt x="9" y="5"/>
                    </a:lnTo>
                    <a:lnTo>
                      <a:pt x="9" y="10"/>
                    </a:lnTo>
                    <a:lnTo>
                      <a:pt x="7" y="15"/>
                    </a:lnTo>
                    <a:lnTo>
                      <a:pt x="7" y="19"/>
                    </a:lnTo>
                    <a:lnTo>
                      <a:pt x="7" y="22"/>
                    </a:lnTo>
                    <a:lnTo>
                      <a:pt x="7" y="27"/>
                    </a:lnTo>
                    <a:lnTo>
                      <a:pt x="7" y="31"/>
                    </a:lnTo>
                    <a:lnTo>
                      <a:pt x="7" y="36"/>
                    </a:lnTo>
                    <a:lnTo>
                      <a:pt x="7" y="41"/>
                    </a:lnTo>
                    <a:lnTo>
                      <a:pt x="7" y="43"/>
                    </a:lnTo>
                    <a:lnTo>
                      <a:pt x="7" y="48"/>
                    </a:lnTo>
                    <a:lnTo>
                      <a:pt x="7" y="53"/>
                    </a:lnTo>
                    <a:lnTo>
                      <a:pt x="7" y="57"/>
                    </a:lnTo>
                    <a:lnTo>
                      <a:pt x="4" y="62"/>
                    </a:lnTo>
                    <a:lnTo>
                      <a:pt x="4" y="64"/>
                    </a:lnTo>
                    <a:lnTo>
                      <a:pt x="4" y="69"/>
                    </a:lnTo>
                    <a:lnTo>
                      <a:pt x="4" y="74"/>
                    </a:lnTo>
                    <a:lnTo>
                      <a:pt x="4" y="79"/>
                    </a:lnTo>
                    <a:lnTo>
                      <a:pt x="4" y="81"/>
                    </a:lnTo>
                    <a:lnTo>
                      <a:pt x="4" y="83"/>
                    </a:lnTo>
                    <a:lnTo>
                      <a:pt x="2" y="86"/>
                    </a:lnTo>
                    <a:lnTo>
                      <a:pt x="2" y="88"/>
                    </a:lnTo>
                    <a:lnTo>
                      <a:pt x="2" y="90"/>
                    </a:lnTo>
                    <a:lnTo>
                      <a:pt x="4" y="93"/>
                    </a:lnTo>
                    <a:lnTo>
                      <a:pt x="4" y="95"/>
                    </a:lnTo>
                    <a:lnTo>
                      <a:pt x="2" y="100"/>
                    </a:lnTo>
                    <a:lnTo>
                      <a:pt x="2" y="105"/>
                    </a:lnTo>
                    <a:lnTo>
                      <a:pt x="2" y="109"/>
                    </a:lnTo>
                    <a:lnTo>
                      <a:pt x="2" y="112"/>
                    </a:lnTo>
                    <a:lnTo>
                      <a:pt x="2" y="116"/>
                    </a:lnTo>
                    <a:lnTo>
                      <a:pt x="2" y="121"/>
                    </a:lnTo>
                    <a:lnTo>
                      <a:pt x="2" y="126"/>
                    </a:lnTo>
                    <a:lnTo>
                      <a:pt x="0" y="131"/>
                    </a:lnTo>
                    <a:lnTo>
                      <a:pt x="0" y="135"/>
                    </a:lnTo>
                    <a:lnTo>
                      <a:pt x="0" y="138"/>
                    </a:lnTo>
                    <a:lnTo>
                      <a:pt x="0" y="138"/>
                    </a:lnTo>
                    <a:lnTo>
                      <a:pt x="2" y="140"/>
                    </a:lnTo>
                    <a:lnTo>
                      <a:pt x="4" y="140"/>
                    </a:lnTo>
                    <a:lnTo>
                      <a:pt x="7" y="140"/>
                    </a:lnTo>
                    <a:lnTo>
                      <a:pt x="7" y="140"/>
                    </a:lnTo>
                    <a:lnTo>
                      <a:pt x="9" y="140"/>
                    </a:lnTo>
                    <a:lnTo>
                      <a:pt x="11" y="140"/>
                    </a:lnTo>
                    <a:lnTo>
                      <a:pt x="14" y="140"/>
                    </a:lnTo>
                    <a:lnTo>
                      <a:pt x="19" y="140"/>
                    </a:lnTo>
                    <a:lnTo>
                      <a:pt x="23" y="140"/>
                    </a:lnTo>
                    <a:lnTo>
                      <a:pt x="23" y="140"/>
                    </a:lnTo>
                    <a:lnTo>
                      <a:pt x="26" y="140"/>
                    </a:lnTo>
                    <a:lnTo>
                      <a:pt x="26" y="140"/>
                    </a:lnTo>
                    <a:lnTo>
                      <a:pt x="28" y="143"/>
                    </a:lnTo>
                    <a:lnTo>
                      <a:pt x="30" y="143"/>
                    </a:lnTo>
                    <a:lnTo>
                      <a:pt x="35" y="140"/>
                    </a:lnTo>
                    <a:lnTo>
                      <a:pt x="40" y="138"/>
                    </a:lnTo>
                    <a:lnTo>
                      <a:pt x="42" y="138"/>
                    </a:lnTo>
                    <a:lnTo>
                      <a:pt x="45" y="135"/>
                    </a:lnTo>
                    <a:lnTo>
                      <a:pt x="45" y="135"/>
                    </a:lnTo>
                    <a:lnTo>
                      <a:pt x="45" y="133"/>
                    </a:lnTo>
                    <a:lnTo>
                      <a:pt x="45" y="131"/>
                    </a:lnTo>
                    <a:lnTo>
                      <a:pt x="45" y="128"/>
                    </a:lnTo>
                    <a:lnTo>
                      <a:pt x="42" y="128"/>
                    </a:lnTo>
                    <a:lnTo>
                      <a:pt x="40" y="126"/>
                    </a:lnTo>
                    <a:lnTo>
                      <a:pt x="40" y="126"/>
                    </a:lnTo>
                    <a:lnTo>
                      <a:pt x="40" y="124"/>
                    </a:lnTo>
                    <a:lnTo>
                      <a:pt x="35" y="124"/>
                    </a:lnTo>
                    <a:lnTo>
                      <a:pt x="30" y="121"/>
                    </a:lnTo>
                    <a:lnTo>
                      <a:pt x="28" y="124"/>
                    </a:lnTo>
                    <a:lnTo>
                      <a:pt x="28" y="121"/>
                    </a:lnTo>
                    <a:lnTo>
                      <a:pt x="28" y="121"/>
                    </a:lnTo>
                    <a:lnTo>
                      <a:pt x="26" y="119"/>
                    </a:lnTo>
                    <a:lnTo>
                      <a:pt x="23" y="119"/>
                    </a:lnTo>
                    <a:lnTo>
                      <a:pt x="26" y="119"/>
                    </a:lnTo>
                    <a:lnTo>
                      <a:pt x="28" y="119"/>
                    </a:lnTo>
                    <a:lnTo>
                      <a:pt x="28" y="119"/>
                    </a:lnTo>
                    <a:lnTo>
                      <a:pt x="28" y="121"/>
                    </a:lnTo>
                    <a:lnTo>
                      <a:pt x="28" y="121"/>
                    </a:lnTo>
                    <a:lnTo>
                      <a:pt x="30" y="121"/>
                    </a:lnTo>
                    <a:lnTo>
                      <a:pt x="33" y="121"/>
                    </a:lnTo>
                    <a:lnTo>
                      <a:pt x="33" y="121"/>
                    </a:lnTo>
                    <a:lnTo>
                      <a:pt x="35" y="121"/>
                    </a:lnTo>
                    <a:lnTo>
                      <a:pt x="37" y="121"/>
                    </a:lnTo>
                    <a:lnTo>
                      <a:pt x="40" y="121"/>
                    </a:lnTo>
                    <a:lnTo>
                      <a:pt x="45" y="121"/>
                    </a:lnTo>
                    <a:lnTo>
                      <a:pt x="47" y="121"/>
                    </a:lnTo>
                    <a:lnTo>
                      <a:pt x="52" y="119"/>
                    </a:lnTo>
                    <a:lnTo>
                      <a:pt x="49" y="116"/>
                    </a:lnTo>
                    <a:lnTo>
                      <a:pt x="49" y="116"/>
                    </a:lnTo>
                    <a:lnTo>
                      <a:pt x="49" y="114"/>
                    </a:lnTo>
                    <a:lnTo>
                      <a:pt x="49" y="114"/>
                    </a:lnTo>
                    <a:lnTo>
                      <a:pt x="52" y="114"/>
                    </a:lnTo>
                    <a:lnTo>
                      <a:pt x="54" y="116"/>
                    </a:lnTo>
                    <a:lnTo>
                      <a:pt x="54" y="116"/>
                    </a:lnTo>
                    <a:lnTo>
                      <a:pt x="56" y="116"/>
                    </a:lnTo>
                    <a:lnTo>
                      <a:pt x="54" y="114"/>
                    </a:lnTo>
                    <a:lnTo>
                      <a:pt x="56" y="114"/>
                    </a:lnTo>
                    <a:lnTo>
                      <a:pt x="56" y="114"/>
                    </a:lnTo>
                    <a:lnTo>
                      <a:pt x="54" y="105"/>
                    </a:lnTo>
                    <a:lnTo>
                      <a:pt x="52" y="105"/>
                    </a:lnTo>
                    <a:lnTo>
                      <a:pt x="54" y="105"/>
                    </a:lnTo>
                    <a:lnTo>
                      <a:pt x="54" y="105"/>
                    </a:lnTo>
                    <a:lnTo>
                      <a:pt x="56" y="107"/>
                    </a:lnTo>
                    <a:lnTo>
                      <a:pt x="56" y="109"/>
                    </a:lnTo>
                    <a:lnTo>
                      <a:pt x="59" y="109"/>
                    </a:lnTo>
                    <a:lnTo>
                      <a:pt x="61" y="109"/>
                    </a:lnTo>
                    <a:lnTo>
                      <a:pt x="64" y="109"/>
                    </a:lnTo>
                    <a:lnTo>
                      <a:pt x="64" y="109"/>
                    </a:lnTo>
                    <a:lnTo>
                      <a:pt x="64" y="109"/>
                    </a:lnTo>
                    <a:lnTo>
                      <a:pt x="66" y="107"/>
                    </a:lnTo>
                    <a:lnTo>
                      <a:pt x="66" y="109"/>
                    </a:lnTo>
                    <a:lnTo>
                      <a:pt x="66" y="109"/>
                    </a:lnTo>
                    <a:lnTo>
                      <a:pt x="68" y="107"/>
                    </a:lnTo>
                    <a:lnTo>
                      <a:pt x="68" y="107"/>
                    </a:lnTo>
                    <a:lnTo>
                      <a:pt x="71" y="107"/>
                    </a:lnTo>
                    <a:lnTo>
                      <a:pt x="71" y="107"/>
                    </a:lnTo>
                    <a:lnTo>
                      <a:pt x="73" y="107"/>
                    </a:lnTo>
                    <a:lnTo>
                      <a:pt x="75" y="107"/>
                    </a:lnTo>
                    <a:lnTo>
                      <a:pt x="75" y="109"/>
                    </a:lnTo>
                    <a:lnTo>
                      <a:pt x="75" y="109"/>
                    </a:lnTo>
                    <a:lnTo>
                      <a:pt x="75" y="112"/>
                    </a:lnTo>
                    <a:lnTo>
                      <a:pt x="78" y="112"/>
                    </a:lnTo>
                    <a:lnTo>
                      <a:pt x="80" y="112"/>
                    </a:lnTo>
                    <a:lnTo>
                      <a:pt x="82" y="112"/>
                    </a:lnTo>
                    <a:lnTo>
                      <a:pt x="85" y="114"/>
                    </a:lnTo>
                    <a:lnTo>
                      <a:pt x="87" y="114"/>
                    </a:lnTo>
                    <a:lnTo>
                      <a:pt x="90" y="114"/>
                    </a:lnTo>
                    <a:lnTo>
                      <a:pt x="92" y="114"/>
                    </a:lnTo>
                    <a:lnTo>
                      <a:pt x="92" y="114"/>
                    </a:lnTo>
                    <a:lnTo>
                      <a:pt x="97" y="116"/>
                    </a:lnTo>
                    <a:lnTo>
                      <a:pt x="97" y="116"/>
                    </a:lnTo>
                    <a:lnTo>
                      <a:pt x="97" y="119"/>
                    </a:lnTo>
                    <a:lnTo>
                      <a:pt x="97" y="119"/>
                    </a:lnTo>
                    <a:lnTo>
                      <a:pt x="99" y="121"/>
                    </a:lnTo>
                    <a:lnTo>
                      <a:pt x="99" y="124"/>
                    </a:lnTo>
                    <a:lnTo>
                      <a:pt x="99" y="126"/>
                    </a:lnTo>
                    <a:lnTo>
                      <a:pt x="104" y="128"/>
                    </a:lnTo>
                    <a:lnTo>
                      <a:pt x="104" y="131"/>
                    </a:lnTo>
                    <a:lnTo>
                      <a:pt x="106" y="135"/>
                    </a:lnTo>
                    <a:lnTo>
                      <a:pt x="106" y="138"/>
                    </a:lnTo>
                    <a:lnTo>
                      <a:pt x="108" y="138"/>
                    </a:lnTo>
                    <a:lnTo>
                      <a:pt x="111" y="138"/>
                    </a:lnTo>
                    <a:lnTo>
                      <a:pt x="111" y="138"/>
                    </a:lnTo>
                    <a:lnTo>
                      <a:pt x="111" y="140"/>
                    </a:lnTo>
                    <a:lnTo>
                      <a:pt x="111" y="143"/>
                    </a:lnTo>
                    <a:lnTo>
                      <a:pt x="111" y="145"/>
                    </a:lnTo>
                    <a:lnTo>
                      <a:pt x="113" y="145"/>
                    </a:lnTo>
                    <a:lnTo>
                      <a:pt x="116" y="150"/>
                    </a:lnTo>
                    <a:lnTo>
                      <a:pt x="118" y="150"/>
                    </a:lnTo>
                    <a:lnTo>
                      <a:pt x="120" y="152"/>
                    </a:lnTo>
                    <a:lnTo>
                      <a:pt x="120" y="157"/>
                    </a:lnTo>
                    <a:lnTo>
                      <a:pt x="123" y="157"/>
                    </a:lnTo>
                    <a:lnTo>
                      <a:pt x="123" y="157"/>
                    </a:lnTo>
                    <a:lnTo>
                      <a:pt x="125" y="159"/>
                    </a:lnTo>
                    <a:lnTo>
                      <a:pt x="127" y="159"/>
                    </a:lnTo>
                    <a:lnTo>
                      <a:pt x="130" y="159"/>
                    </a:lnTo>
                    <a:lnTo>
                      <a:pt x="130" y="159"/>
                    </a:lnTo>
                    <a:lnTo>
                      <a:pt x="132" y="159"/>
                    </a:lnTo>
                    <a:lnTo>
                      <a:pt x="134" y="159"/>
                    </a:lnTo>
                    <a:lnTo>
                      <a:pt x="134" y="161"/>
                    </a:lnTo>
                    <a:lnTo>
                      <a:pt x="137" y="161"/>
                    </a:lnTo>
                    <a:lnTo>
                      <a:pt x="139" y="161"/>
                    </a:lnTo>
                    <a:lnTo>
                      <a:pt x="142" y="161"/>
                    </a:lnTo>
                    <a:lnTo>
                      <a:pt x="142" y="161"/>
                    </a:lnTo>
                    <a:lnTo>
                      <a:pt x="144" y="161"/>
                    </a:lnTo>
                    <a:lnTo>
                      <a:pt x="146" y="164"/>
                    </a:lnTo>
                    <a:lnTo>
                      <a:pt x="153" y="164"/>
                    </a:lnTo>
                    <a:lnTo>
                      <a:pt x="156" y="164"/>
                    </a:lnTo>
                    <a:lnTo>
                      <a:pt x="158" y="164"/>
                    </a:lnTo>
                    <a:lnTo>
                      <a:pt x="160" y="164"/>
                    </a:lnTo>
                    <a:lnTo>
                      <a:pt x="163" y="166"/>
                    </a:lnTo>
                    <a:lnTo>
                      <a:pt x="163" y="169"/>
                    </a:lnTo>
                    <a:lnTo>
                      <a:pt x="165" y="169"/>
                    </a:lnTo>
                    <a:lnTo>
                      <a:pt x="165" y="169"/>
                    </a:lnTo>
                    <a:lnTo>
                      <a:pt x="168" y="171"/>
                    </a:lnTo>
                    <a:lnTo>
                      <a:pt x="170" y="171"/>
                    </a:lnTo>
                    <a:lnTo>
                      <a:pt x="172" y="171"/>
                    </a:lnTo>
                    <a:lnTo>
                      <a:pt x="172" y="171"/>
                    </a:lnTo>
                    <a:lnTo>
                      <a:pt x="177" y="169"/>
                    </a:lnTo>
                    <a:lnTo>
                      <a:pt x="177" y="169"/>
                    </a:lnTo>
                    <a:lnTo>
                      <a:pt x="177" y="169"/>
                    </a:lnTo>
                    <a:lnTo>
                      <a:pt x="175" y="166"/>
                    </a:lnTo>
                    <a:lnTo>
                      <a:pt x="172" y="164"/>
                    </a:lnTo>
                    <a:lnTo>
                      <a:pt x="172" y="164"/>
                    </a:lnTo>
                    <a:lnTo>
                      <a:pt x="177" y="164"/>
                    </a:lnTo>
                    <a:lnTo>
                      <a:pt x="177" y="164"/>
                    </a:lnTo>
                    <a:lnTo>
                      <a:pt x="182" y="161"/>
                    </a:lnTo>
                    <a:lnTo>
                      <a:pt x="177" y="164"/>
                    </a:lnTo>
                  </a:path>
                </a:pathLst>
              </a:custGeom>
              <a:noFill/>
              <a:ln w="3175" cap="rnd">
                <a:solidFill>
                  <a:srgbClr val="F9F9F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01" name="Freeform 73"/>
              <p:cNvSpPr>
                <a:spLocks noEditPoints="1"/>
              </p:cNvSpPr>
              <p:nvPr/>
            </p:nvSpPr>
            <p:spPr bwMode="auto">
              <a:xfrm>
                <a:off x="1204" y="2596"/>
                <a:ext cx="109" cy="52"/>
              </a:xfrm>
              <a:custGeom>
                <a:avLst/>
                <a:gdLst>
                  <a:gd name="T0" fmla="*/ 24 w 109"/>
                  <a:gd name="T1" fmla="*/ 43 h 52"/>
                  <a:gd name="T2" fmla="*/ 21 w 109"/>
                  <a:gd name="T3" fmla="*/ 45 h 52"/>
                  <a:gd name="T4" fmla="*/ 26 w 109"/>
                  <a:gd name="T5" fmla="*/ 50 h 52"/>
                  <a:gd name="T6" fmla="*/ 73 w 109"/>
                  <a:gd name="T7" fmla="*/ 29 h 52"/>
                  <a:gd name="T8" fmla="*/ 73 w 109"/>
                  <a:gd name="T9" fmla="*/ 29 h 52"/>
                  <a:gd name="T10" fmla="*/ 76 w 109"/>
                  <a:gd name="T11" fmla="*/ 26 h 52"/>
                  <a:gd name="T12" fmla="*/ 78 w 109"/>
                  <a:gd name="T13" fmla="*/ 29 h 52"/>
                  <a:gd name="T14" fmla="*/ 16 w 109"/>
                  <a:gd name="T15" fmla="*/ 5 h 52"/>
                  <a:gd name="T16" fmla="*/ 16 w 109"/>
                  <a:gd name="T17" fmla="*/ 7 h 52"/>
                  <a:gd name="T18" fmla="*/ 106 w 109"/>
                  <a:gd name="T19" fmla="*/ 29 h 52"/>
                  <a:gd name="T20" fmla="*/ 104 w 109"/>
                  <a:gd name="T21" fmla="*/ 24 h 52"/>
                  <a:gd name="T22" fmla="*/ 99 w 109"/>
                  <a:gd name="T23" fmla="*/ 12 h 52"/>
                  <a:gd name="T24" fmla="*/ 78 w 109"/>
                  <a:gd name="T25" fmla="*/ 5 h 52"/>
                  <a:gd name="T26" fmla="*/ 73 w 109"/>
                  <a:gd name="T27" fmla="*/ 3 h 52"/>
                  <a:gd name="T28" fmla="*/ 64 w 109"/>
                  <a:gd name="T29" fmla="*/ 3 h 52"/>
                  <a:gd name="T30" fmla="*/ 57 w 109"/>
                  <a:gd name="T31" fmla="*/ 10 h 52"/>
                  <a:gd name="T32" fmla="*/ 38 w 109"/>
                  <a:gd name="T33" fmla="*/ 17 h 52"/>
                  <a:gd name="T34" fmla="*/ 26 w 109"/>
                  <a:gd name="T35" fmla="*/ 15 h 52"/>
                  <a:gd name="T36" fmla="*/ 24 w 109"/>
                  <a:gd name="T37" fmla="*/ 12 h 52"/>
                  <a:gd name="T38" fmla="*/ 24 w 109"/>
                  <a:gd name="T39" fmla="*/ 15 h 52"/>
                  <a:gd name="T40" fmla="*/ 16 w 109"/>
                  <a:gd name="T41" fmla="*/ 10 h 52"/>
                  <a:gd name="T42" fmla="*/ 16 w 109"/>
                  <a:gd name="T43" fmla="*/ 10 h 52"/>
                  <a:gd name="T44" fmla="*/ 14 w 109"/>
                  <a:gd name="T45" fmla="*/ 5 h 52"/>
                  <a:gd name="T46" fmla="*/ 12 w 109"/>
                  <a:gd name="T47" fmla="*/ 3 h 52"/>
                  <a:gd name="T48" fmla="*/ 7 w 109"/>
                  <a:gd name="T49" fmla="*/ 0 h 52"/>
                  <a:gd name="T50" fmla="*/ 5 w 109"/>
                  <a:gd name="T51" fmla="*/ 3 h 52"/>
                  <a:gd name="T52" fmla="*/ 5 w 109"/>
                  <a:gd name="T53" fmla="*/ 12 h 52"/>
                  <a:gd name="T54" fmla="*/ 7 w 109"/>
                  <a:gd name="T55" fmla="*/ 17 h 52"/>
                  <a:gd name="T56" fmla="*/ 5 w 109"/>
                  <a:gd name="T57" fmla="*/ 22 h 52"/>
                  <a:gd name="T58" fmla="*/ 2 w 109"/>
                  <a:gd name="T59" fmla="*/ 26 h 52"/>
                  <a:gd name="T60" fmla="*/ 2 w 109"/>
                  <a:gd name="T61" fmla="*/ 31 h 52"/>
                  <a:gd name="T62" fmla="*/ 5 w 109"/>
                  <a:gd name="T63" fmla="*/ 29 h 52"/>
                  <a:gd name="T64" fmla="*/ 14 w 109"/>
                  <a:gd name="T65" fmla="*/ 29 h 52"/>
                  <a:gd name="T66" fmla="*/ 19 w 109"/>
                  <a:gd name="T67" fmla="*/ 31 h 52"/>
                  <a:gd name="T68" fmla="*/ 26 w 109"/>
                  <a:gd name="T69" fmla="*/ 34 h 52"/>
                  <a:gd name="T70" fmla="*/ 33 w 109"/>
                  <a:gd name="T71" fmla="*/ 43 h 52"/>
                  <a:gd name="T72" fmla="*/ 35 w 109"/>
                  <a:gd name="T73" fmla="*/ 38 h 52"/>
                  <a:gd name="T74" fmla="*/ 40 w 109"/>
                  <a:gd name="T75" fmla="*/ 48 h 52"/>
                  <a:gd name="T76" fmla="*/ 47 w 109"/>
                  <a:gd name="T77" fmla="*/ 50 h 52"/>
                  <a:gd name="T78" fmla="*/ 54 w 109"/>
                  <a:gd name="T79" fmla="*/ 48 h 52"/>
                  <a:gd name="T80" fmla="*/ 54 w 109"/>
                  <a:gd name="T81" fmla="*/ 43 h 52"/>
                  <a:gd name="T82" fmla="*/ 47 w 109"/>
                  <a:gd name="T83" fmla="*/ 34 h 52"/>
                  <a:gd name="T84" fmla="*/ 50 w 109"/>
                  <a:gd name="T85" fmla="*/ 29 h 52"/>
                  <a:gd name="T86" fmla="*/ 61 w 109"/>
                  <a:gd name="T87" fmla="*/ 22 h 52"/>
                  <a:gd name="T88" fmla="*/ 66 w 109"/>
                  <a:gd name="T89" fmla="*/ 17 h 52"/>
                  <a:gd name="T90" fmla="*/ 71 w 109"/>
                  <a:gd name="T91" fmla="*/ 12 h 52"/>
                  <a:gd name="T92" fmla="*/ 80 w 109"/>
                  <a:gd name="T93" fmla="*/ 17 h 52"/>
                  <a:gd name="T94" fmla="*/ 85 w 109"/>
                  <a:gd name="T95" fmla="*/ 22 h 52"/>
                  <a:gd name="T96" fmla="*/ 87 w 109"/>
                  <a:gd name="T97" fmla="*/ 26 h 52"/>
                  <a:gd name="T98" fmla="*/ 87 w 109"/>
                  <a:gd name="T99" fmla="*/ 24 h 52"/>
                  <a:gd name="T100" fmla="*/ 90 w 109"/>
                  <a:gd name="T101" fmla="*/ 26 h 52"/>
                  <a:gd name="T102" fmla="*/ 95 w 109"/>
                  <a:gd name="T103" fmla="*/ 26 h 52"/>
                  <a:gd name="T104" fmla="*/ 97 w 109"/>
                  <a:gd name="T105" fmla="*/ 31 h 52"/>
                  <a:gd name="T106" fmla="*/ 92 w 109"/>
                  <a:gd name="T107" fmla="*/ 26 h 52"/>
                  <a:gd name="T108" fmla="*/ 90 w 109"/>
                  <a:gd name="T109" fmla="*/ 34 h 52"/>
                  <a:gd name="T110" fmla="*/ 87 w 109"/>
                  <a:gd name="T111" fmla="*/ 36 h 52"/>
                  <a:gd name="T112" fmla="*/ 97 w 109"/>
                  <a:gd name="T113" fmla="*/ 48 h 52"/>
                  <a:gd name="T114" fmla="*/ 99 w 109"/>
                  <a:gd name="T115" fmla="*/ 41 h 52"/>
                  <a:gd name="T116" fmla="*/ 99 w 109"/>
                  <a:gd name="T117" fmla="*/ 43 h 52"/>
                  <a:gd name="T118" fmla="*/ 106 w 109"/>
                  <a:gd name="T119" fmla="*/ 41 h 52"/>
                  <a:gd name="T120" fmla="*/ 109 w 109"/>
                  <a:gd name="T121" fmla="*/ 3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9" h="52">
                    <a:moveTo>
                      <a:pt x="24" y="48"/>
                    </a:moveTo>
                    <a:lnTo>
                      <a:pt x="24" y="45"/>
                    </a:lnTo>
                    <a:lnTo>
                      <a:pt x="26" y="45"/>
                    </a:lnTo>
                    <a:lnTo>
                      <a:pt x="24" y="43"/>
                    </a:lnTo>
                    <a:lnTo>
                      <a:pt x="24" y="43"/>
                    </a:lnTo>
                    <a:lnTo>
                      <a:pt x="24" y="43"/>
                    </a:lnTo>
                    <a:lnTo>
                      <a:pt x="21" y="45"/>
                    </a:lnTo>
                    <a:lnTo>
                      <a:pt x="21" y="45"/>
                    </a:lnTo>
                    <a:lnTo>
                      <a:pt x="21" y="45"/>
                    </a:lnTo>
                    <a:lnTo>
                      <a:pt x="24" y="48"/>
                    </a:lnTo>
                    <a:lnTo>
                      <a:pt x="26" y="50"/>
                    </a:lnTo>
                    <a:lnTo>
                      <a:pt x="26" y="50"/>
                    </a:lnTo>
                    <a:lnTo>
                      <a:pt x="26" y="48"/>
                    </a:lnTo>
                    <a:lnTo>
                      <a:pt x="24" y="48"/>
                    </a:lnTo>
                    <a:close/>
                    <a:moveTo>
                      <a:pt x="73" y="29"/>
                    </a:moveTo>
                    <a:lnTo>
                      <a:pt x="73" y="29"/>
                    </a:lnTo>
                    <a:lnTo>
                      <a:pt x="73" y="31"/>
                    </a:lnTo>
                    <a:lnTo>
                      <a:pt x="76" y="29"/>
                    </a:lnTo>
                    <a:lnTo>
                      <a:pt x="73" y="29"/>
                    </a:lnTo>
                    <a:lnTo>
                      <a:pt x="73" y="29"/>
                    </a:lnTo>
                    <a:close/>
                    <a:moveTo>
                      <a:pt x="78" y="24"/>
                    </a:moveTo>
                    <a:lnTo>
                      <a:pt x="78" y="26"/>
                    </a:lnTo>
                    <a:lnTo>
                      <a:pt x="76" y="26"/>
                    </a:lnTo>
                    <a:lnTo>
                      <a:pt x="76" y="26"/>
                    </a:lnTo>
                    <a:lnTo>
                      <a:pt x="76" y="29"/>
                    </a:lnTo>
                    <a:lnTo>
                      <a:pt x="78" y="31"/>
                    </a:lnTo>
                    <a:lnTo>
                      <a:pt x="78" y="29"/>
                    </a:lnTo>
                    <a:lnTo>
                      <a:pt x="78" y="29"/>
                    </a:lnTo>
                    <a:lnTo>
                      <a:pt x="78" y="26"/>
                    </a:lnTo>
                    <a:lnTo>
                      <a:pt x="78" y="26"/>
                    </a:lnTo>
                    <a:lnTo>
                      <a:pt x="78" y="24"/>
                    </a:lnTo>
                    <a:close/>
                    <a:moveTo>
                      <a:pt x="16" y="5"/>
                    </a:moveTo>
                    <a:lnTo>
                      <a:pt x="16" y="5"/>
                    </a:lnTo>
                    <a:lnTo>
                      <a:pt x="16" y="5"/>
                    </a:lnTo>
                    <a:lnTo>
                      <a:pt x="16" y="5"/>
                    </a:lnTo>
                    <a:lnTo>
                      <a:pt x="16" y="7"/>
                    </a:lnTo>
                    <a:lnTo>
                      <a:pt x="16" y="5"/>
                    </a:lnTo>
                    <a:close/>
                    <a:moveTo>
                      <a:pt x="109" y="34"/>
                    </a:moveTo>
                    <a:lnTo>
                      <a:pt x="109" y="31"/>
                    </a:lnTo>
                    <a:lnTo>
                      <a:pt x="106" y="29"/>
                    </a:lnTo>
                    <a:lnTo>
                      <a:pt x="106" y="26"/>
                    </a:lnTo>
                    <a:lnTo>
                      <a:pt x="106" y="26"/>
                    </a:lnTo>
                    <a:lnTo>
                      <a:pt x="104" y="24"/>
                    </a:lnTo>
                    <a:lnTo>
                      <a:pt x="104" y="24"/>
                    </a:lnTo>
                    <a:lnTo>
                      <a:pt x="106" y="22"/>
                    </a:lnTo>
                    <a:lnTo>
                      <a:pt x="106" y="22"/>
                    </a:lnTo>
                    <a:lnTo>
                      <a:pt x="102" y="17"/>
                    </a:lnTo>
                    <a:lnTo>
                      <a:pt x="99" y="12"/>
                    </a:lnTo>
                    <a:lnTo>
                      <a:pt x="95" y="10"/>
                    </a:lnTo>
                    <a:lnTo>
                      <a:pt x="87" y="5"/>
                    </a:lnTo>
                    <a:lnTo>
                      <a:pt x="83" y="5"/>
                    </a:lnTo>
                    <a:lnTo>
                      <a:pt x="78" y="5"/>
                    </a:lnTo>
                    <a:lnTo>
                      <a:pt x="78" y="5"/>
                    </a:lnTo>
                    <a:lnTo>
                      <a:pt x="78" y="3"/>
                    </a:lnTo>
                    <a:lnTo>
                      <a:pt x="76" y="3"/>
                    </a:lnTo>
                    <a:lnTo>
                      <a:pt x="73" y="3"/>
                    </a:lnTo>
                    <a:lnTo>
                      <a:pt x="71" y="3"/>
                    </a:lnTo>
                    <a:lnTo>
                      <a:pt x="66" y="0"/>
                    </a:lnTo>
                    <a:lnTo>
                      <a:pt x="66" y="3"/>
                    </a:lnTo>
                    <a:lnTo>
                      <a:pt x="64" y="3"/>
                    </a:lnTo>
                    <a:lnTo>
                      <a:pt x="61" y="5"/>
                    </a:lnTo>
                    <a:lnTo>
                      <a:pt x="59" y="5"/>
                    </a:lnTo>
                    <a:lnTo>
                      <a:pt x="59" y="7"/>
                    </a:lnTo>
                    <a:lnTo>
                      <a:pt x="57" y="10"/>
                    </a:lnTo>
                    <a:lnTo>
                      <a:pt x="47" y="12"/>
                    </a:lnTo>
                    <a:lnTo>
                      <a:pt x="45" y="12"/>
                    </a:lnTo>
                    <a:lnTo>
                      <a:pt x="43" y="17"/>
                    </a:lnTo>
                    <a:lnTo>
                      <a:pt x="38" y="17"/>
                    </a:lnTo>
                    <a:lnTo>
                      <a:pt x="35" y="19"/>
                    </a:lnTo>
                    <a:lnTo>
                      <a:pt x="33" y="19"/>
                    </a:lnTo>
                    <a:lnTo>
                      <a:pt x="28" y="17"/>
                    </a:lnTo>
                    <a:lnTo>
                      <a:pt x="26" y="15"/>
                    </a:lnTo>
                    <a:lnTo>
                      <a:pt x="24" y="12"/>
                    </a:lnTo>
                    <a:lnTo>
                      <a:pt x="24" y="12"/>
                    </a:lnTo>
                    <a:lnTo>
                      <a:pt x="24" y="10"/>
                    </a:lnTo>
                    <a:lnTo>
                      <a:pt x="24" y="12"/>
                    </a:lnTo>
                    <a:lnTo>
                      <a:pt x="24" y="12"/>
                    </a:lnTo>
                    <a:lnTo>
                      <a:pt x="26" y="15"/>
                    </a:lnTo>
                    <a:lnTo>
                      <a:pt x="24" y="15"/>
                    </a:lnTo>
                    <a:lnTo>
                      <a:pt x="24" y="15"/>
                    </a:lnTo>
                    <a:lnTo>
                      <a:pt x="19" y="15"/>
                    </a:lnTo>
                    <a:lnTo>
                      <a:pt x="19" y="15"/>
                    </a:lnTo>
                    <a:lnTo>
                      <a:pt x="16" y="12"/>
                    </a:lnTo>
                    <a:lnTo>
                      <a:pt x="16" y="10"/>
                    </a:lnTo>
                    <a:lnTo>
                      <a:pt x="16" y="10"/>
                    </a:lnTo>
                    <a:lnTo>
                      <a:pt x="16" y="10"/>
                    </a:lnTo>
                    <a:lnTo>
                      <a:pt x="16" y="10"/>
                    </a:lnTo>
                    <a:lnTo>
                      <a:pt x="16" y="10"/>
                    </a:lnTo>
                    <a:lnTo>
                      <a:pt x="14" y="10"/>
                    </a:lnTo>
                    <a:lnTo>
                      <a:pt x="14" y="7"/>
                    </a:lnTo>
                    <a:lnTo>
                      <a:pt x="14" y="5"/>
                    </a:lnTo>
                    <a:lnTo>
                      <a:pt x="14" y="5"/>
                    </a:lnTo>
                    <a:lnTo>
                      <a:pt x="12" y="3"/>
                    </a:lnTo>
                    <a:lnTo>
                      <a:pt x="12" y="3"/>
                    </a:lnTo>
                    <a:lnTo>
                      <a:pt x="12" y="3"/>
                    </a:lnTo>
                    <a:lnTo>
                      <a:pt x="12" y="3"/>
                    </a:lnTo>
                    <a:lnTo>
                      <a:pt x="9" y="3"/>
                    </a:lnTo>
                    <a:lnTo>
                      <a:pt x="9" y="3"/>
                    </a:lnTo>
                    <a:lnTo>
                      <a:pt x="7" y="3"/>
                    </a:lnTo>
                    <a:lnTo>
                      <a:pt x="7" y="0"/>
                    </a:lnTo>
                    <a:lnTo>
                      <a:pt x="7" y="3"/>
                    </a:lnTo>
                    <a:lnTo>
                      <a:pt x="5" y="3"/>
                    </a:lnTo>
                    <a:lnTo>
                      <a:pt x="5" y="3"/>
                    </a:lnTo>
                    <a:lnTo>
                      <a:pt x="5" y="3"/>
                    </a:lnTo>
                    <a:lnTo>
                      <a:pt x="5" y="5"/>
                    </a:lnTo>
                    <a:lnTo>
                      <a:pt x="5" y="7"/>
                    </a:lnTo>
                    <a:lnTo>
                      <a:pt x="2" y="12"/>
                    </a:lnTo>
                    <a:lnTo>
                      <a:pt x="5" y="12"/>
                    </a:lnTo>
                    <a:lnTo>
                      <a:pt x="7" y="15"/>
                    </a:lnTo>
                    <a:lnTo>
                      <a:pt x="7" y="15"/>
                    </a:lnTo>
                    <a:lnTo>
                      <a:pt x="7" y="15"/>
                    </a:lnTo>
                    <a:lnTo>
                      <a:pt x="7" y="17"/>
                    </a:lnTo>
                    <a:lnTo>
                      <a:pt x="5" y="17"/>
                    </a:lnTo>
                    <a:lnTo>
                      <a:pt x="5" y="17"/>
                    </a:lnTo>
                    <a:lnTo>
                      <a:pt x="2" y="19"/>
                    </a:lnTo>
                    <a:lnTo>
                      <a:pt x="5" y="22"/>
                    </a:lnTo>
                    <a:lnTo>
                      <a:pt x="5" y="24"/>
                    </a:lnTo>
                    <a:lnTo>
                      <a:pt x="5" y="24"/>
                    </a:lnTo>
                    <a:lnTo>
                      <a:pt x="5" y="26"/>
                    </a:lnTo>
                    <a:lnTo>
                      <a:pt x="2" y="26"/>
                    </a:lnTo>
                    <a:lnTo>
                      <a:pt x="0" y="29"/>
                    </a:lnTo>
                    <a:lnTo>
                      <a:pt x="0" y="29"/>
                    </a:lnTo>
                    <a:lnTo>
                      <a:pt x="2" y="29"/>
                    </a:lnTo>
                    <a:lnTo>
                      <a:pt x="2" y="31"/>
                    </a:lnTo>
                    <a:lnTo>
                      <a:pt x="2" y="31"/>
                    </a:lnTo>
                    <a:lnTo>
                      <a:pt x="2" y="34"/>
                    </a:lnTo>
                    <a:lnTo>
                      <a:pt x="5" y="34"/>
                    </a:lnTo>
                    <a:lnTo>
                      <a:pt x="5" y="29"/>
                    </a:lnTo>
                    <a:lnTo>
                      <a:pt x="5" y="29"/>
                    </a:lnTo>
                    <a:lnTo>
                      <a:pt x="7" y="29"/>
                    </a:lnTo>
                    <a:lnTo>
                      <a:pt x="9" y="29"/>
                    </a:lnTo>
                    <a:lnTo>
                      <a:pt x="14" y="29"/>
                    </a:lnTo>
                    <a:lnTo>
                      <a:pt x="16" y="29"/>
                    </a:lnTo>
                    <a:lnTo>
                      <a:pt x="16" y="31"/>
                    </a:lnTo>
                    <a:lnTo>
                      <a:pt x="16" y="31"/>
                    </a:lnTo>
                    <a:lnTo>
                      <a:pt x="19" y="31"/>
                    </a:lnTo>
                    <a:lnTo>
                      <a:pt x="21" y="31"/>
                    </a:lnTo>
                    <a:lnTo>
                      <a:pt x="24" y="31"/>
                    </a:lnTo>
                    <a:lnTo>
                      <a:pt x="26" y="31"/>
                    </a:lnTo>
                    <a:lnTo>
                      <a:pt x="26" y="34"/>
                    </a:lnTo>
                    <a:lnTo>
                      <a:pt x="26" y="34"/>
                    </a:lnTo>
                    <a:lnTo>
                      <a:pt x="28" y="41"/>
                    </a:lnTo>
                    <a:lnTo>
                      <a:pt x="31" y="43"/>
                    </a:lnTo>
                    <a:lnTo>
                      <a:pt x="33" y="43"/>
                    </a:lnTo>
                    <a:lnTo>
                      <a:pt x="33" y="43"/>
                    </a:lnTo>
                    <a:lnTo>
                      <a:pt x="33" y="43"/>
                    </a:lnTo>
                    <a:lnTo>
                      <a:pt x="35" y="38"/>
                    </a:lnTo>
                    <a:lnTo>
                      <a:pt x="35" y="38"/>
                    </a:lnTo>
                    <a:lnTo>
                      <a:pt x="35" y="38"/>
                    </a:lnTo>
                    <a:lnTo>
                      <a:pt x="38" y="36"/>
                    </a:lnTo>
                    <a:lnTo>
                      <a:pt x="38" y="41"/>
                    </a:lnTo>
                    <a:lnTo>
                      <a:pt x="40" y="48"/>
                    </a:lnTo>
                    <a:lnTo>
                      <a:pt x="40" y="50"/>
                    </a:lnTo>
                    <a:lnTo>
                      <a:pt x="40" y="52"/>
                    </a:lnTo>
                    <a:lnTo>
                      <a:pt x="43" y="52"/>
                    </a:lnTo>
                    <a:lnTo>
                      <a:pt x="47" y="50"/>
                    </a:lnTo>
                    <a:lnTo>
                      <a:pt x="50" y="50"/>
                    </a:lnTo>
                    <a:lnTo>
                      <a:pt x="50" y="48"/>
                    </a:lnTo>
                    <a:lnTo>
                      <a:pt x="52" y="48"/>
                    </a:lnTo>
                    <a:lnTo>
                      <a:pt x="54" y="48"/>
                    </a:lnTo>
                    <a:lnTo>
                      <a:pt x="54" y="45"/>
                    </a:lnTo>
                    <a:lnTo>
                      <a:pt x="57" y="45"/>
                    </a:lnTo>
                    <a:lnTo>
                      <a:pt x="57" y="43"/>
                    </a:lnTo>
                    <a:lnTo>
                      <a:pt x="54" y="43"/>
                    </a:lnTo>
                    <a:lnTo>
                      <a:pt x="52" y="38"/>
                    </a:lnTo>
                    <a:lnTo>
                      <a:pt x="50" y="36"/>
                    </a:lnTo>
                    <a:lnTo>
                      <a:pt x="50" y="34"/>
                    </a:lnTo>
                    <a:lnTo>
                      <a:pt x="47" y="34"/>
                    </a:lnTo>
                    <a:lnTo>
                      <a:pt x="47" y="31"/>
                    </a:lnTo>
                    <a:lnTo>
                      <a:pt x="50" y="31"/>
                    </a:lnTo>
                    <a:lnTo>
                      <a:pt x="50" y="29"/>
                    </a:lnTo>
                    <a:lnTo>
                      <a:pt x="50" y="29"/>
                    </a:lnTo>
                    <a:lnTo>
                      <a:pt x="54" y="29"/>
                    </a:lnTo>
                    <a:lnTo>
                      <a:pt x="54" y="26"/>
                    </a:lnTo>
                    <a:lnTo>
                      <a:pt x="61" y="22"/>
                    </a:lnTo>
                    <a:lnTo>
                      <a:pt x="61" y="22"/>
                    </a:lnTo>
                    <a:lnTo>
                      <a:pt x="61" y="19"/>
                    </a:lnTo>
                    <a:lnTo>
                      <a:pt x="64" y="19"/>
                    </a:lnTo>
                    <a:lnTo>
                      <a:pt x="64" y="17"/>
                    </a:lnTo>
                    <a:lnTo>
                      <a:pt x="66" y="17"/>
                    </a:lnTo>
                    <a:lnTo>
                      <a:pt x="66" y="15"/>
                    </a:lnTo>
                    <a:lnTo>
                      <a:pt x="66" y="15"/>
                    </a:lnTo>
                    <a:lnTo>
                      <a:pt x="69" y="15"/>
                    </a:lnTo>
                    <a:lnTo>
                      <a:pt x="71" y="12"/>
                    </a:lnTo>
                    <a:lnTo>
                      <a:pt x="76" y="15"/>
                    </a:lnTo>
                    <a:lnTo>
                      <a:pt x="78" y="15"/>
                    </a:lnTo>
                    <a:lnTo>
                      <a:pt x="80" y="17"/>
                    </a:lnTo>
                    <a:lnTo>
                      <a:pt x="80" y="17"/>
                    </a:lnTo>
                    <a:lnTo>
                      <a:pt x="83" y="19"/>
                    </a:lnTo>
                    <a:lnTo>
                      <a:pt x="83" y="19"/>
                    </a:lnTo>
                    <a:lnTo>
                      <a:pt x="83" y="19"/>
                    </a:lnTo>
                    <a:lnTo>
                      <a:pt x="85" y="22"/>
                    </a:lnTo>
                    <a:lnTo>
                      <a:pt x="85" y="26"/>
                    </a:lnTo>
                    <a:lnTo>
                      <a:pt x="87" y="26"/>
                    </a:lnTo>
                    <a:lnTo>
                      <a:pt x="87" y="26"/>
                    </a:lnTo>
                    <a:lnTo>
                      <a:pt x="87" y="26"/>
                    </a:lnTo>
                    <a:lnTo>
                      <a:pt x="87" y="26"/>
                    </a:lnTo>
                    <a:lnTo>
                      <a:pt x="87" y="26"/>
                    </a:lnTo>
                    <a:lnTo>
                      <a:pt x="87" y="24"/>
                    </a:lnTo>
                    <a:lnTo>
                      <a:pt x="87" y="24"/>
                    </a:lnTo>
                    <a:lnTo>
                      <a:pt x="87" y="24"/>
                    </a:lnTo>
                    <a:lnTo>
                      <a:pt x="90" y="26"/>
                    </a:lnTo>
                    <a:lnTo>
                      <a:pt x="90" y="26"/>
                    </a:lnTo>
                    <a:lnTo>
                      <a:pt x="90" y="26"/>
                    </a:lnTo>
                    <a:lnTo>
                      <a:pt x="90" y="26"/>
                    </a:lnTo>
                    <a:lnTo>
                      <a:pt x="92" y="26"/>
                    </a:lnTo>
                    <a:lnTo>
                      <a:pt x="92" y="24"/>
                    </a:lnTo>
                    <a:lnTo>
                      <a:pt x="95" y="26"/>
                    </a:lnTo>
                    <a:lnTo>
                      <a:pt x="95" y="29"/>
                    </a:lnTo>
                    <a:lnTo>
                      <a:pt x="97" y="31"/>
                    </a:lnTo>
                    <a:lnTo>
                      <a:pt x="99" y="31"/>
                    </a:lnTo>
                    <a:lnTo>
                      <a:pt x="97" y="31"/>
                    </a:lnTo>
                    <a:lnTo>
                      <a:pt x="95" y="31"/>
                    </a:lnTo>
                    <a:lnTo>
                      <a:pt x="95" y="29"/>
                    </a:lnTo>
                    <a:lnTo>
                      <a:pt x="92" y="26"/>
                    </a:lnTo>
                    <a:lnTo>
                      <a:pt x="92" y="26"/>
                    </a:lnTo>
                    <a:lnTo>
                      <a:pt x="92" y="29"/>
                    </a:lnTo>
                    <a:lnTo>
                      <a:pt x="90" y="29"/>
                    </a:lnTo>
                    <a:lnTo>
                      <a:pt x="90" y="31"/>
                    </a:lnTo>
                    <a:lnTo>
                      <a:pt x="90" y="34"/>
                    </a:lnTo>
                    <a:lnTo>
                      <a:pt x="87" y="34"/>
                    </a:lnTo>
                    <a:lnTo>
                      <a:pt x="87" y="34"/>
                    </a:lnTo>
                    <a:lnTo>
                      <a:pt x="85" y="34"/>
                    </a:lnTo>
                    <a:lnTo>
                      <a:pt x="87" y="36"/>
                    </a:lnTo>
                    <a:lnTo>
                      <a:pt x="90" y="45"/>
                    </a:lnTo>
                    <a:lnTo>
                      <a:pt x="95" y="50"/>
                    </a:lnTo>
                    <a:lnTo>
                      <a:pt x="95" y="50"/>
                    </a:lnTo>
                    <a:lnTo>
                      <a:pt x="97" y="48"/>
                    </a:lnTo>
                    <a:lnTo>
                      <a:pt x="97" y="45"/>
                    </a:lnTo>
                    <a:lnTo>
                      <a:pt x="99" y="45"/>
                    </a:lnTo>
                    <a:lnTo>
                      <a:pt x="97" y="43"/>
                    </a:lnTo>
                    <a:lnTo>
                      <a:pt x="99" y="41"/>
                    </a:lnTo>
                    <a:lnTo>
                      <a:pt x="99" y="41"/>
                    </a:lnTo>
                    <a:lnTo>
                      <a:pt x="99" y="41"/>
                    </a:lnTo>
                    <a:lnTo>
                      <a:pt x="99" y="41"/>
                    </a:lnTo>
                    <a:lnTo>
                      <a:pt x="99" y="43"/>
                    </a:lnTo>
                    <a:lnTo>
                      <a:pt x="102" y="43"/>
                    </a:lnTo>
                    <a:lnTo>
                      <a:pt x="102" y="45"/>
                    </a:lnTo>
                    <a:lnTo>
                      <a:pt x="102" y="43"/>
                    </a:lnTo>
                    <a:lnTo>
                      <a:pt x="106" y="41"/>
                    </a:lnTo>
                    <a:lnTo>
                      <a:pt x="106" y="41"/>
                    </a:lnTo>
                    <a:lnTo>
                      <a:pt x="106" y="38"/>
                    </a:lnTo>
                    <a:lnTo>
                      <a:pt x="106" y="36"/>
                    </a:lnTo>
                    <a:lnTo>
                      <a:pt x="109" y="36"/>
                    </a:lnTo>
                    <a:lnTo>
                      <a:pt x="109" y="36"/>
                    </a:lnTo>
                    <a:lnTo>
                      <a:pt x="109" y="34"/>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74"/>
              <p:cNvSpPr>
                <a:spLocks/>
              </p:cNvSpPr>
              <p:nvPr/>
            </p:nvSpPr>
            <p:spPr bwMode="auto">
              <a:xfrm>
                <a:off x="5195" y="2736"/>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75"/>
              <p:cNvSpPr>
                <a:spLocks noEditPoints="1"/>
              </p:cNvSpPr>
              <p:nvPr/>
            </p:nvSpPr>
            <p:spPr bwMode="auto">
              <a:xfrm>
                <a:off x="3368" y="2113"/>
                <a:ext cx="24" cy="26"/>
              </a:xfrm>
              <a:custGeom>
                <a:avLst/>
                <a:gdLst>
                  <a:gd name="T0" fmla="*/ 5 w 24"/>
                  <a:gd name="T1" fmla="*/ 19 h 26"/>
                  <a:gd name="T2" fmla="*/ 5 w 24"/>
                  <a:gd name="T3" fmla="*/ 19 h 26"/>
                  <a:gd name="T4" fmla="*/ 3 w 24"/>
                  <a:gd name="T5" fmla="*/ 22 h 26"/>
                  <a:gd name="T6" fmla="*/ 0 w 24"/>
                  <a:gd name="T7" fmla="*/ 24 h 26"/>
                  <a:gd name="T8" fmla="*/ 0 w 24"/>
                  <a:gd name="T9" fmla="*/ 26 h 26"/>
                  <a:gd name="T10" fmla="*/ 0 w 24"/>
                  <a:gd name="T11" fmla="*/ 26 h 26"/>
                  <a:gd name="T12" fmla="*/ 3 w 24"/>
                  <a:gd name="T13" fmla="*/ 26 h 26"/>
                  <a:gd name="T14" fmla="*/ 3 w 24"/>
                  <a:gd name="T15" fmla="*/ 24 h 26"/>
                  <a:gd name="T16" fmla="*/ 5 w 24"/>
                  <a:gd name="T17" fmla="*/ 22 h 26"/>
                  <a:gd name="T18" fmla="*/ 5 w 24"/>
                  <a:gd name="T19" fmla="*/ 19 h 26"/>
                  <a:gd name="T20" fmla="*/ 22 w 24"/>
                  <a:gd name="T21" fmla="*/ 12 h 26"/>
                  <a:gd name="T22" fmla="*/ 22 w 24"/>
                  <a:gd name="T23" fmla="*/ 7 h 26"/>
                  <a:gd name="T24" fmla="*/ 22 w 24"/>
                  <a:gd name="T25" fmla="*/ 5 h 26"/>
                  <a:gd name="T26" fmla="*/ 22 w 24"/>
                  <a:gd name="T27" fmla="*/ 3 h 26"/>
                  <a:gd name="T28" fmla="*/ 22 w 24"/>
                  <a:gd name="T29" fmla="*/ 3 h 26"/>
                  <a:gd name="T30" fmla="*/ 19 w 24"/>
                  <a:gd name="T31" fmla="*/ 0 h 26"/>
                  <a:gd name="T32" fmla="*/ 19 w 24"/>
                  <a:gd name="T33" fmla="*/ 0 h 26"/>
                  <a:gd name="T34" fmla="*/ 19 w 24"/>
                  <a:gd name="T35" fmla="*/ 0 h 26"/>
                  <a:gd name="T36" fmla="*/ 17 w 24"/>
                  <a:gd name="T37" fmla="*/ 0 h 26"/>
                  <a:gd name="T38" fmla="*/ 15 w 24"/>
                  <a:gd name="T39" fmla="*/ 0 h 26"/>
                  <a:gd name="T40" fmla="*/ 12 w 24"/>
                  <a:gd name="T41" fmla="*/ 0 h 26"/>
                  <a:gd name="T42" fmla="*/ 12 w 24"/>
                  <a:gd name="T43" fmla="*/ 3 h 26"/>
                  <a:gd name="T44" fmla="*/ 12 w 24"/>
                  <a:gd name="T45" fmla="*/ 5 h 26"/>
                  <a:gd name="T46" fmla="*/ 12 w 24"/>
                  <a:gd name="T47" fmla="*/ 7 h 26"/>
                  <a:gd name="T48" fmla="*/ 12 w 24"/>
                  <a:gd name="T49" fmla="*/ 10 h 26"/>
                  <a:gd name="T50" fmla="*/ 12 w 24"/>
                  <a:gd name="T51" fmla="*/ 10 h 26"/>
                  <a:gd name="T52" fmla="*/ 12 w 24"/>
                  <a:gd name="T53" fmla="*/ 12 h 26"/>
                  <a:gd name="T54" fmla="*/ 12 w 24"/>
                  <a:gd name="T55" fmla="*/ 15 h 26"/>
                  <a:gd name="T56" fmla="*/ 12 w 24"/>
                  <a:gd name="T57" fmla="*/ 15 h 26"/>
                  <a:gd name="T58" fmla="*/ 12 w 24"/>
                  <a:gd name="T59" fmla="*/ 15 h 26"/>
                  <a:gd name="T60" fmla="*/ 12 w 24"/>
                  <a:gd name="T61" fmla="*/ 15 h 26"/>
                  <a:gd name="T62" fmla="*/ 15 w 24"/>
                  <a:gd name="T63" fmla="*/ 15 h 26"/>
                  <a:gd name="T64" fmla="*/ 15 w 24"/>
                  <a:gd name="T65" fmla="*/ 15 h 26"/>
                  <a:gd name="T66" fmla="*/ 17 w 24"/>
                  <a:gd name="T67" fmla="*/ 15 h 26"/>
                  <a:gd name="T68" fmla="*/ 17 w 24"/>
                  <a:gd name="T69" fmla="*/ 17 h 26"/>
                  <a:gd name="T70" fmla="*/ 17 w 24"/>
                  <a:gd name="T71" fmla="*/ 17 h 26"/>
                  <a:gd name="T72" fmla="*/ 15 w 24"/>
                  <a:gd name="T73" fmla="*/ 17 h 26"/>
                  <a:gd name="T74" fmla="*/ 12 w 24"/>
                  <a:gd name="T75" fmla="*/ 19 h 26"/>
                  <a:gd name="T76" fmla="*/ 12 w 24"/>
                  <a:gd name="T77" fmla="*/ 22 h 26"/>
                  <a:gd name="T78" fmla="*/ 12 w 24"/>
                  <a:gd name="T79" fmla="*/ 24 h 26"/>
                  <a:gd name="T80" fmla="*/ 12 w 24"/>
                  <a:gd name="T81" fmla="*/ 24 h 26"/>
                  <a:gd name="T82" fmla="*/ 12 w 24"/>
                  <a:gd name="T83" fmla="*/ 24 h 26"/>
                  <a:gd name="T84" fmla="*/ 15 w 24"/>
                  <a:gd name="T85" fmla="*/ 24 h 26"/>
                  <a:gd name="T86" fmla="*/ 19 w 24"/>
                  <a:gd name="T87" fmla="*/ 24 h 26"/>
                  <a:gd name="T88" fmla="*/ 22 w 24"/>
                  <a:gd name="T89" fmla="*/ 22 h 26"/>
                  <a:gd name="T90" fmla="*/ 22 w 24"/>
                  <a:gd name="T91" fmla="*/ 22 h 26"/>
                  <a:gd name="T92" fmla="*/ 22 w 24"/>
                  <a:gd name="T93" fmla="*/ 19 h 26"/>
                  <a:gd name="T94" fmla="*/ 22 w 24"/>
                  <a:gd name="T95" fmla="*/ 17 h 26"/>
                  <a:gd name="T96" fmla="*/ 24 w 24"/>
                  <a:gd name="T97" fmla="*/ 15 h 26"/>
                  <a:gd name="T98" fmla="*/ 22 w 24"/>
                  <a:gd name="T99" fmla="*/ 1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4" h="26">
                    <a:moveTo>
                      <a:pt x="5" y="19"/>
                    </a:moveTo>
                    <a:lnTo>
                      <a:pt x="5" y="19"/>
                    </a:lnTo>
                    <a:lnTo>
                      <a:pt x="3" y="22"/>
                    </a:lnTo>
                    <a:lnTo>
                      <a:pt x="0" y="24"/>
                    </a:lnTo>
                    <a:lnTo>
                      <a:pt x="0" y="26"/>
                    </a:lnTo>
                    <a:lnTo>
                      <a:pt x="0" y="26"/>
                    </a:lnTo>
                    <a:lnTo>
                      <a:pt x="3" y="26"/>
                    </a:lnTo>
                    <a:lnTo>
                      <a:pt x="3" y="24"/>
                    </a:lnTo>
                    <a:lnTo>
                      <a:pt x="5" y="22"/>
                    </a:lnTo>
                    <a:lnTo>
                      <a:pt x="5" y="19"/>
                    </a:lnTo>
                    <a:close/>
                    <a:moveTo>
                      <a:pt x="22" y="12"/>
                    </a:moveTo>
                    <a:lnTo>
                      <a:pt x="22" y="7"/>
                    </a:lnTo>
                    <a:lnTo>
                      <a:pt x="22" y="5"/>
                    </a:lnTo>
                    <a:lnTo>
                      <a:pt x="22" y="3"/>
                    </a:lnTo>
                    <a:lnTo>
                      <a:pt x="22" y="3"/>
                    </a:lnTo>
                    <a:lnTo>
                      <a:pt x="19" y="0"/>
                    </a:lnTo>
                    <a:lnTo>
                      <a:pt x="19" y="0"/>
                    </a:lnTo>
                    <a:lnTo>
                      <a:pt x="19" y="0"/>
                    </a:lnTo>
                    <a:lnTo>
                      <a:pt x="17" y="0"/>
                    </a:lnTo>
                    <a:lnTo>
                      <a:pt x="15" y="0"/>
                    </a:lnTo>
                    <a:lnTo>
                      <a:pt x="12" y="0"/>
                    </a:lnTo>
                    <a:lnTo>
                      <a:pt x="12" y="3"/>
                    </a:lnTo>
                    <a:lnTo>
                      <a:pt x="12" y="5"/>
                    </a:lnTo>
                    <a:lnTo>
                      <a:pt x="12" y="7"/>
                    </a:lnTo>
                    <a:lnTo>
                      <a:pt x="12" y="10"/>
                    </a:lnTo>
                    <a:lnTo>
                      <a:pt x="12" y="10"/>
                    </a:lnTo>
                    <a:lnTo>
                      <a:pt x="12" y="12"/>
                    </a:lnTo>
                    <a:lnTo>
                      <a:pt x="12" y="15"/>
                    </a:lnTo>
                    <a:lnTo>
                      <a:pt x="12" y="15"/>
                    </a:lnTo>
                    <a:lnTo>
                      <a:pt x="12" y="15"/>
                    </a:lnTo>
                    <a:lnTo>
                      <a:pt x="12" y="15"/>
                    </a:lnTo>
                    <a:lnTo>
                      <a:pt x="15" y="15"/>
                    </a:lnTo>
                    <a:lnTo>
                      <a:pt x="15" y="15"/>
                    </a:lnTo>
                    <a:lnTo>
                      <a:pt x="17" y="15"/>
                    </a:lnTo>
                    <a:lnTo>
                      <a:pt x="17" y="17"/>
                    </a:lnTo>
                    <a:lnTo>
                      <a:pt x="17" y="17"/>
                    </a:lnTo>
                    <a:lnTo>
                      <a:pt x="15" y="17"/>
                    </a:lnTo>
                    <a:lnTo>
                      <a:pt x="12" y="19"/>
                    </a:lnTo>
                    <a:lnTo>
                      <a:pt x="12" y="22"/>
                    </a:lnTo>
                    <a:lnTo>
                      <a:pt x="12" y="24"/>
                    </a:lnTo>
                    <a:lnTo>
                      <a:pt x="12" y="24"/>
                    </a:lnTo>
                    <a:lnTo>
                      <a:pt x="12" y="24"/>
                    </a:lnTo>
                    <a:lnTo>
                      <a:pt x="15" y="24"/>
                    </a:lnTo>
                    <a:lnTo>
                      <a:pt x="19" y="24"/>
                    </a:lnTo>
                    <a:lnTo>
                      <a:pt x="22" y="22"/>
                    </a:lnTo>
                    <a:lnTo>
                      <a:pt x="22" y="22"/>
                    </a:lnTo>
                    <a:lnTo>
                      <a:pt x="22" y="19"/>
                    </a:lnTo>
                    <a:lnTo>
                      <a:pt x="22" y="17"/>
                    </a:lnTo>
                    <a:lnTo>
                      <a:pt x="24" y="15"/>
                    </a:lnTo>
                    <a:lnTo>
                      <a:pt x="22" y="12"/>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76"/>
              <p:cNvSpPr>
                <a:spLocks/>
              </p:cNvSpPr>
              <p:nvPr/>
            </p:nvSpPr>
            <p:spPr bwMode="auto">
              <a:xfrm>
                <a:off x="3846" y="2016"/>
                <a:ext cx="270" cy="282"/>
              </a:xfrm>
              <a:custGeom>
                <a:avLst/>
                <a:gdLst>
                  <a:gd name="T0" fmla="*/ 258 w 270"/>
                  <a:gd name="T1" fmla="*/ 29 h 282"/>
                  <a:gd name="T2" fmla="*/ 246 w 270"/>
                  <a:gd name="T3" fmla="*/ 24 h 282"/>
                  <a:gd name="T4" fmla="*/ 242 w 270"/>
                  <a:gd name="T5" fmla="*/ 10 h 282"/>
                  <a:gd name="T6" fmla="*/ 227 w 270"/>
                  <a:gd name="T7" fmla="*/ 3 h 282"/>
                  <a:gd name="T8" fmla="*/ 215 w 270"/>
                  <a:gd name="T9" fmla="*/ 3 h 282"/>
                  <a:gd name="T10" fmla="*/ 189 w 270"/>
                  <a:gd name="T11" fmla="*/ 5 h 282"/>
                  <a:gd name="T12" fmla="*/ 173 w 270"/>
                  <a:gd name="T13" fmla="*/ 12 h 282"/>
                  <a:gd name="T14" fmla="*/ 161 w 270"/>
                  <a:gd name="T15" fmla="*/ 22 h 282"/>
                  <a:gd name="T16" fmla="*/ 173 w 270"/>
                  <a:gd name="T17" fmla="*/ 36 h 282"/>
                  <a:gd name="T18" fmla="*/ 173 w 270"/>
                  <a:gd name="T19" fmla="*/ 43 h 282"/>
                  <a:gd name="T20" fmla="*/ 166 w 270"/>
                  <a:gd name="T21" fmla="*/ 55 h 282"/>
                  <a:gd name="T22" fmla="*/ 156 w 270"/>
                  <a:gd name="T23" fmla="*/ 67 h 282"/>
                  <a:gd name="T24" fmla="*/ 156 w 270"/>
                  <a:gd name="T25" fmla="*/ 78 h 282"/>
                  <a:gd name="T26" fmla="*/ 145 w 270"/>
                  <a:gd name="T27" fmla="*/ 93 h 282"/>
                  <a:gd name="T28" fmla="*/ 140 w 270"/>
                  <a:gd name="T29" fmla="*/ 116 h 282"/>
                  <a:gd name="T30" fmla="*/ 126 w 270"/>
                  <a:gd name="T31" fmla="*/ 112 h 282"/>
                  <a:gd name="T32" fmla="*/ 121 w 270"/>
                  <a:gd name="T33" fmla="*/ 121 h 282"/>
                  <a:gd name="T34" fmla="*/ 102 w 270"/>
                  <a:gd name="T35" fmla="*/ 126 h 282"/>
                  <a:gd name="T36" fmla="*/ 97 w 270"/>
                  <a:gd name="T37" fmla="*/ 142 h 282"/>
                  <a:gd name="T38" fmla="*/ 88 w 270"/>
                  <a:gd name="T39" fmla="*/ 157 h 282"/>
                  <a:gd name="T40" fmla="*/ 64 w 270"/>
                  <a:gd name="T41" fmla="*/ 161 h 282"/>
                  <a:gd name="T42" fmla="*/ 14 w 270"/>
                  <a:gd name="T43" fmla="*/ 157 h 282"/>
                  <a:gd name="T44" fmla="*/ 17 w 270"/>
                  <a:gd name="T45" fmla="*/ 173 h 282"/>
                  <a:gd name="T46" fmla="*/ 38 w 270"/>
                  <a:gd name="T47" fmla="*/ 187 h 282"/>
                  <a:gd name="T48" fmla="*/ 43 w 270"/>
                  <a:gd name="T49" fmla="*/ 206 h 282"/>
                  <a:gd name="T50" fmla="*/ 52 w 270"/>
                  <a:gd name="T51" fmla="*/ 211 h 282"/>
                  <a:gd name="T52" fmla="*/ 45 w 270"/>
                  <a:gd name="T53" fmla="*/ 220 h 282"/>
                  <a:gd name="T54" fmla="*/ 33 w 270"/>
                  <a:gd name="T55" fmla="*/ 228 h 282"/>
                  <a:gd name="T56" fmla="*/ 26 w 270"/>
                  <a:gd name="T57" fmla="*/ 239 h 282"/>
                  <a:gd name="T58" fmla="*/ 36 w 270"/>
                  <a:gd name="T59" fmla="*/ 251 h 282"/>
                  <a:gd name="T60" fmla="*/ 55 w 270"/>
                  <a:gd name="T61" fmla="*/ 251 h 282"/>
                  <a:gd name="T62" fmla="*/ 71 w 270"/>
                  <a:gd name="T63" fmla="*/ 247 h 282"/>
                  <a:gd name="T64" fmla="*/ 104 w 270"/>
                  <a:gd name="T65" fmla="*/ 247 h 282"/>
                  <a:gd name="T66" fmla="*/ 109 w 270"/>
                  <a:gd name="T67" fmla="*/ 244 h 282"/>
                  <a:gd name="T68" fmla="*/ 128 w 270"/>
                  <a:gd name="T69" fmla="*/ 261 h 282"/>
                  <a:gd name="T70" fmla="*/ 135 w 270"/>
                  <a:gd name="T71" fmla="*/ 277 h 282"/>
                  <a:gd name="T72" fmla="*/ 147 w 270"/>
                  <a:gd name="T73" fmla="*/ 280 h 282"/>
                  <a:gd name="T74" fmla="*/ 156 w 270"/>
                  <a:gd name="T75" fmla="*/ 277 h 282"/>
                  <a:gd name="T76" fmla="*/ 161 w 270"/>
                  <a:gd name="T77" fmla="*/ 270 h 282"/>
                  <a:gd name="T78" fmla="*/ 178 w 270"/>
                  <a:gd name="T79" fmla="*/ 273 h 282"/>
                  <a:gd name="T80" fmla="*/ 192 w 270"/>
                  <a:gd name="T81" fmla="*/ 270 h 282"/>
                  <a:gd name="T82" fmla="*/ 199 w 270"/>
                  <a:gd name="T83" fmla="*/ 268 h 282"/>
                  <a:gd name="T84" fmla="*/ 199 w 270"/>
                  <a:gd name="T85" fmla="*/ 261 h 282"/>
                  <a:gd name="T86" fmla="*/ 187 w 270"/>
                  <a:gd name="T87" fmla="*/ 242 h 282"/>
                  <a:gd name="T88" fmla="*/ 178 w 270"/>
                  <a:gd name="T89" fmla="*/ 228 h 282"/>
                  <a:gd name="T90" fmla="*/ 166 w 270"/>
                  <a:gd name="T91" fmla="*/ 218 h 282"/>
                  <a:gd name="T92" fmla="*/ 173 w 270"/>
                  <a:gd name="T93" fmla="*/ 199 h 282"/>
                  <a:gd name="T94" fmla="*/ 182 w 270"/>
                  <a:gd name="T95" fmla="*/ 194 h 282"/>
                  <a:gd name="T96" fmla="*/ 206 w 270"/>
                  <a:gd name="T97" fmla="*/ 192 h 282"/>
                  <a:gd name="T98" fmla="*/ 220 w 270"/>
                  <a:gd name="T99" fmla="*/ 171 h 282"/>
                  <a:gd name="T100" fmla="*/ 232 w 270"/>
                  <a:gd name="T101" fmla="*/ 147 h 282"/>
                  <a:gd name="T102" fmla="*/ 239 w 270"/>
                  <a:gd name="T103" fmla="*/ 131 h 282"/>
                  <a:gd name="T104" fmla="*/ 242 w 270"/>
                  <a:gd name="T105" fmla="*/ 119 h 282"/>
                  <a:gd name="T106" fmla="*/ 251 w 270"/>
                  <a:gd name="T107" fmla="*/ 104 h 282"/>
                  <a:gd name="T108" fmla="*/ 239 w 270"/>
                  <a:gd name="T109" fmla="*/ 97 h 282"/>
                  <a:gd name="T110" fmla="*/ 230 w 270"/>
                  <a:gd name="T111" fmla="*/ 88 h 282"/>
                  <a:gd name="T112" fmla="*/ 225 w 270"/>
                  <a:gd name="T113" fmla="*/ 81 h 282"/>
                  <a:gd name="T114" fmla="*/ 223 w 270"/>
                  <a:gd name="T115" fmla="*/ 69 h 282"/>
                  <a:gd name="T116" fmla="*/ 218 w 270"/>
                  <a:gd name="T117" fmla="*/ 64 h 282"/>
                  <a:gd name="T118" fmla="*/ 215 w 270"/>
                  <a:gd name="T119" fmla="*/ 55 h 282"/>
                  <a:gd name="T120" fmla="*/ 234 w 270"/>
                  <a:gd name="T121" fmla="*/ 52 h 282"/>
                  <a:gd name="T122" fmla="*/ 253 w 270"/>
                  <a:gd name="T123" fmla="*/ 52 h 282"/>
                  <a:gd name="T124" fmla="*/ 268 w 270"/>
                  <a:gd name="T125" fmla="*/ 45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0" h="282">
                    <a:moveTo>
                      <a:pt x="268" y="41"/>
                    </a:moveTo>
                    <a:lnTo>
                      <a:pt x="268" y="38"/>
                    </a:lnTo>
                    <a:lnTo>
                      <a:pt x="265" y="36"/>
                    </a:lnTo>
                    <a:lnTo>
                      <a:pt x="265" y="36"/>
                    </a:lnTo>
                    <a:lnTo>
                      <a:pt x="263" y="31"/>
                    </a:lnTo>
                    <a:lnTo>
                      <a:pt x="260" y="31"/>
                    </a:lnTo>
                    <a:lnTo>
                      <a:pt x="260" y="29"/>
                    </a:lnTo>
                    <a:lnTo>
                      <a:pt x="258" y="29"/>
                    </a:lnTo>
                    <a:lnTo>
                      <a:pt x="258" y="29"/>
                    </a:lnTo>
                    <a:lnTo>
                      <a:pt x="256" y="24"/>
                    </a:lnTo>
                    <a:lnTo>
                      <a:pt x="256" y="26"/>
                    </a:lnTo>
                    <a:lnTo>
                      <a:pt x="253" y="26"/>
                    </a:lnTo>
                    <a:lnTo>
                      <a:pt x="251" y="26"/>
                    </a:lnTo>
                    <a:lnTo>
                      <a:pt x="251" y="26"/>
                    </a:lnTo>
                    <a:lnTo>
                      <a:pt x="251" y="26"/>
                    </a:lnTo>
                    <a:lnTo>
                      <a:pt x="249" y="24"/>
                    </a:lnTo>
                    <a:lnTo>
                      <a:pt x="249" y="24"/>
                    </a:lnTo>
                    <a:lnTo>
                      <a:pt x="246" y="24"/>
                    </a:lnTo>
                    <a:lnTo>
                      <a:pt x="246" y="22"/>
                    </a:lnTo>
                    <a:lnTo>
                      <a:pt x="244" y="22"/>
                    </a:lnTo>
                    <a:lnTo>
                      <a:pt x="244" y="22"/>
                    </a:lnTo>
                    <a:lnTo>
                      <a:pt x="244" y="19"/>
                    </a:lnTo>
                    <a:lnTo>
                      <a:pt x="246" y="19"/>
                    </a:lnTo>
                    <a:lnTo>
                      <a:pt x="244" y="14"/>
                    </a:lnTo>
                    <a:lnTo>
                      <a:pt x="244" y="12"/>
                    </a:lnTo>
                    <a:lnTo>
                      <a:pt x="244" y="12"/>
                    </a:lnTo>
                    <a:lnTo>
                      <a:pt x="242" y="10"/>
                    </a:lnTo>
                    <a:lnTo>
                      <a:pt x="242" y="10"/>
                    </a:lnTo>
                    <a:lnTo>
                      <a:pt x="239" y="7"/>
                    </a:lnTo>
                    <a:lnTo>
                      <a:pt x="237" y="7"/>
                    </a:lnTo>
                    <a:lnTo>
                      <a:pt x="234" y="7"/>
                    </a:lnTo>
                    <a:lnTo>
                      <a:pt x="234" y="7"/>
                    </a:lnTo>
                    <a:lnTo>
                      <a:pt x="232" y="7"/>
                    </a:lnTo>
                    <a:lnTo>
                      <a:pt x="232" y="3"/>
                    </a:lnTo>
                    <a:lnTo>
                      <a:pt x="230" y="3"/>
                    </a:lnTo>
                    <a:lnTo>
                      <a:pt x="227" y="3"/>
                    </a:lnTo>
                    <a:lnTo>
                      <a:pt x="225" y="0"/>
                    </a:lnTo>
                    <a:lnTo>
                      <a:pt x="223" y="3"/>
                    </a:lnTo>
                    <a:lnTo>
                      <a:pt x="223" y="3"/>
                    </a:lnTo>
                    <a:lnTo>
                      <a:pt x="223" y="3"/>
                    </a:lnTo>
                    <a:lnTo>
                      <a:pt x="220" y="0"/>
                    </a:lnTo>
                    <a:lnTo>
                      <a:pt x="218" y="0"/>
                    </a:lnTo>
                    <a:lnTo>
                      <a:pt x="218" y="0"/>
                    </a:lnTo>
                    <a:lnTo>
                      <a:pt x="215" y="0"/>
                    </a:lnTo>
                    <a:lnTo>
                      <a:pt x="215" y="3"/>
                    </a:lnTo>
                    <a:lnTo>
                      <a:pt x="211" y="3"/>
                    </a:lnTo>
                    <a:lnTo>
                      <a:pt x="208" y="5"/>
                    </a:lnTo>
                    <a:lnTo>
                      <a:pt x="208" y="5"/>
                    </a:lnTo>
                    <a:lnTo>
                      <a:pt x="206" y="5"/>
                    </a:lnTo>
                    <a:lnTo>
                      <a:pt x="204" y="3"/>
                    </a:lnTo>
                    <a:lnTo>
                      <a:pt x="204" y="3"/>
                    </a:lnTo>
                    <a:lnTo>
                      <a:pt x="197" y="3"/>
                    </a:lnTo>
                    <a:lnTo>
                      <a:pt x="192" y="5"/>
                    </a:lnTo>
                    <a:lnTo>
                      <a:pt x="189" y="5"/>
                    </a:lnTo>
                    <a:lnTo>
                      <a:pt x="187" y="5"/>
                    </a:lnTo>
                    <a:lnTo>
                      <a:pt x="182" y="5"/>
                    </a:lnTo>
                    <a:lnTo>
                      <a:pt x="182" y="5"/>
                    </a:lnTo>
                    <a:lnTo>
                      <a:pt x="180" y="7"/>
                    </a:lnTo>
                    <a:lnTo>
                      <a:pt x="178" y="7"/>
                    </a:lnTo>
                    <a:lnTo>
                      <a:pt x="178" y="7"/>
                    </a:lnTo>
                    <a:lnTo>
                      <a:pt x="175" y="7"/>
                    </a:lnTo>
                    <a:lnTo>
                      <a:pt x="175" y="10"/>
                    </a:lnTo>
                    <a:lnTo>
                      <a:pt x="173" y="12"/>
                    </a:lnTo>
                    <a:lnTo>
                      <a:pt x="171" y="12"/>
                    </a:lnTo>
                    <a:lnTo>
                      <a:pt x="171" y="14"/>
                    </a:lnTo>
                    <a:lnTo>
                      <a:pt x="171" y="14"/>
                    </a:lnTo>
                    <a:lnTo>
                      <a:pt x="168" y="14"/>
                    </a:lnTo>
                    <a:lnTo>
                      <a:pt x="166" y="14"/>
                    </a:lnTo>
                    <a:lnTo>
                      <a:pt x="166" y="17"/>
                    </a:lnTo>
                    <a:lnTo>
                      <a:pt x="163" y="19"/>
                    </a:lnTo>
                    <a:lnTo>
                      <a:pt x="163" y="19"/>
                    </a:lnTo>
                    <a:lnTo>
                      <a:pt x="161" y="22"/>
                    </a:lnTo>
                    <a:lnTo>
                      <a:pt x="163" y="22"/>
                    </a:lnTo>
                    <a:lnTo>
                      <a:pt x="166" y="24"/>
                    </a:lnTo>
                    <a:lnTo>
                      <a:pt x="166" y="26"/>
                    </a:lnTo>
                    <a:lnTo>
                      <a:pt x="168" y="26"/>
                    </a:lnTo>
                    <a:lnTo>
                      <a:pt x="168" y="29"/>
                    </a:lnTo>
                    <a:lnTo>
                      <a:pt x="171" y="31"/>
                    </a:lnTo>
                    <a:lnTo>
                      <a:pt x="171" y="33"/>
                    </a:lnTo>
                    <a:lnTo>
                      <a:pt x="171" y="33"/>
                    </a:lnTo>
                    <a:lnTo>
                      <a:pt x="173" y="36"/>
                    </a:lnTo>
                    <a:lnTo>
                      <a:pt x="173" y="36"/>
                    </a:lnTo>
                    <a:lnTo>
                      <a:pt x="171" y="38"/>
                    </a:lnTo>
                    <a:lnTo>
                      <a:pt x="171" y="38"/>
                    </a:lnTo>
                    <a:lnTo>
                      <a:pt x="173" y="38"/>
                    </a:lnTo>
                    <a:lnTo>
                      <a:pt x="173" y="41"/>
                    </a:lnTo>
                    <a:lnTo>
                      <a:pt x="173" y="41"/>
                    </a:lnTo>
                    <a:lnTo>
                      <a:pt x="173" y="41"/>
                    </a:lnTo>
                    <a:lnTo>
                      <a:pt x="173" y="43"/>
                    </a:lnTo>
                    <a:lnTo>
                      <a:pt x="173" y="43"/>
                    </a:lnTo>
                    <a:lnTo>
                      <a:pt x="171" y="45"/>
                    </a:lnTo>
                    <a:lnTo>
                      <a:pt x="171" y="45"/>
                    </a:lnTo>
                    <a:lnTo>
                      <a:pt x="168" y="48"/>
                    </a:lnTo>
                    <a:lnTo>
                      <a:pt x="168" y="50"/>
                    </a:lnTo>
                    <a:lnTo>
                      <a:pt x="166" y="50"/>
                    </a:lnTo>
                    <a:lnTo>
                      <a:pt x="166" y="52"/>
                    </a:lnTo>
                    <a:lnTo>
                      <a:pt x="166" y="55"/>
                    </a:lnTo>
                    <a:lnTo>
                      <a:pt x="166" y="55"/>
                    </a:lnTo>
                    <a:lnTo>
                      <a:pt x="166" y="55"/>
                    </a:lnTo>
                    <a:lnTo>
                      <a:pt x="166" y="57"/>
                    </a:lnTo>
                    <a:lnTo>
                      <a:pt x="168" y="57"/>
                    </a:lnTo>
                    <a:lnTo>
                      <a:pt x="168" y="59"/>
                    </a:lnTo>
                    <a:lnTo>
                      <a:pt x="168" y="62"/>
                    </a:lnTo>
                    <a:lnTo>
                      <a:pt x="168" y="62"/>
                    </a:lnTo>
                    <a:lnTo>
                      <a:pt x="168" y="64"/>
                    </a:lnTo>
                    <a:lnTo>
                      <a:pt x="166" y="67"/>
                    </a:lnTo>
                    <a:lnTo>
                      <a:pt x="161" y="67"/>
                    </a:lnTo>
                    <a:lnTo>
                      <a:pt x="156" y="67"/>
                    </a:lnTo>
                    <a:lnTo>
                      <a:pt x="156" y="67"/>
                    </a:lnTo>
                    <a:lnTo>
                      <a:pt x="154" y="67"/>
                    </a:lnTo>
                    <a:lnTo>
                      <a:pt x="149" y="64"/>
                    </a:lnTo>
                    <a:lnTo>
                      <a:pt x="147" y="64"/>
                    </a:lnTo>
                    <a:lnTo>
                      <a:pt x="147" y="67"/>
                    </a:lnTo>
                    <a:lnTo>
                      <a:pt x="152" y="71"/>
                    </a:lnTo>
                    <a:lnTo>
                      <a:pt x="154" y="74"/>
                    </a:lnTo>
                    <a:lnTo>
                      <a:pt x="156" y="76"/>
                    </a:lnTo>
                    <a:lnTo>
                      <a:pt x="156" y="78"/>
                    </a:lnTo>
                    <a:lnTo>
                      <a:pt x="156" y="81"/>
                    </a:lnTo>
                    <a:lnTo>
                      <a:pt x="154" y="83"/>
                    </a:lnTo>
                    <a:lnTo>
                      <a:pt x="152" y="83"/>
                    </a:lnTo>
                    <a:lnTo>
                      <a:pt x="149" y="86"/>
                    </a:lnTo>
                    <a:lnTo>
                      <a:pt x="147" y="86"/>
                    </a:lnTo>
                    <a:lnTo>
                      <a:pt x="145" y="86"/>
                    </a:lnTo>
                    <a:lnTo>
                      <a:pt x="145" y="90"/>
                    </a:lnTo>
                    <a:lnTo>
                      <a:pt x="145" y="93"/>
                    </a:lnTo>
                    <a:lnTo>
                      <a:pt x="145" y="93"/>
                    </a:lnTo>
                    <a:lnTo>
                      <a:pt x="145" y="95"/>
                    </a:lnTo>
                    <a:lnTo>
                      <a:pt x="142" y="97"/>
                    </a:lnTo>
                    <a:lnTo>
                      <a:pt x="142" y="100"/>
                    </a:lnTo>
                    <a:lnTo>
                      <a:pt x="145" y="102"/>
                    </a:lnTo>
                    <a:lnTo>
                      <a:pt x="145" y="109"/>
                    </a:lnTo>
                    <a:lnTo>
                      <a:pt x="145" y="112"/>
                    </a:lnTo>
                    <a:lnTo>
                      <a:pt x="142" y="114"/>
                    </a:lnTo>
                    <a:lnTo>
                      <a:pt x="140" y="114"/>
                    </a:lnTo>
                    <a:lnTo>
                      <a:pt x="140" y="116"/>
                    </a:lnTo>
                    <a:lnTo>
                      <a:pt x="137" y="116"/>
                    </a:lnTo>
                    <a:lnTo>
                      <a:pt x="135" y="114"/>
                    </a:lnTo>
                    <a:lnTo>
                      <a:pt x="135" y="114"/>
                    </a:lnTo>
                    <a:lnTo>
                      <a:pt x="133" y="112"/>
                    </a:lnTo>
                    <a:lnTo>
                      <a:pt x="133" y="112"/>
                    </a:lnTo>
                    <a:lnTo>
                      <a:pt x="130" y="114"/>
                    </a:lnTo>
                    <a:lnTo>
                      <a:pt x="128" y="112"/>
                    </a:lnTo>
                    <a:lnTo>
                      <a:pt x="126" y="112"/>
                    </a:lnTo>
                    <a:lnTo>
                      <a:pt x="126" y="112"/>
                    </a:lnTo>
                    <a:lnTo>
                      <a:pt x="126" y="114"/>
                    </a:lnTo>
                    <a:lnTo>
                      <a:pt x="123" y="114"/>
                    </a:lnTo>
                    <a:lnTo>
                      <a:pt x="119" y="116"/>
                    </a:lnTo>
                    <a:lnTo>
                      <a:pt x="116" y="116"/>
                    </a:lnTo>
                    <a:lnTo>
                      <a:pt x="116" y="119"/>
                    </a:lnTo>
                    <a:lnTo>
                      <a:pt x="116" y="119"/>
                    </a:lnTo>
                    <a:lnTo>
                      <a:pt x="119" y="121"/>
                    </a:lnTo>
                    <a:lnTo>
                      <a:pt x="119" y="121"/>
                    </a:lnTo>
                    <a:lnTo>
                      <a:pt x="121" y="121"/>
                    </a:lnTo>
                    <a:lnTo>
                      <a:pt x="119" y="123"/>
                    </a:lnTo>
                    <a:lnTo>
                      <a:pt x="119" y="123"/>
                    </a:lnTo>
                    <a:lnTo>
                      <a:pt x="116" y="123"/>
                    </a:lnTo>
                    <a:lnTo>
                      <a:pt x="111" y="123"/>
                    </a:lnTo>
                    <a:lnTo>
                      <a:pt x="109" y="123"/>
                    </a:lnTo>
                    <a:lnTo>
                      <a:pt x="107" y="123"/>
                    </a:lnTo>
                    <a:lnTo>
                      <a:pt x="104" y="123"/>
                    </a:lnTo>
                    <a:lnTo>
                      <a:pt x="104" y="123"/>
                    </a:lnTo>
                    <a:lnTo>
                      <a:pt x="102" y="126"/>
                    </a:lnTo>
                    <a:lnTo>
                      <a:pt x="102" y="128"/>
                    </a:lnTo>
                    <a:lnTo>
                      <a:pt x="100" y="128"/>
                    </a:lnTo>
                    <a:lnTo>
                      <a:pt x="100" y="128"/>
                    </a:lnTo>
                    <a:lnTo>
                      <a:pt x="100" y="131"/>
                    </a:lnTo>
                    <a:lnTo>
                      <a:pt x="97" y="131"/>
                    </a:lnTo>
                    <a:lnTo>
                      <a:pt x="97" y="133"/>
                    </a:lnTo>
                    <a:lnTo>
                      <a:pt x="97" y="138"/>
                    </a:lnTo>
                    <a:lnTo>
                      <a:pt x="97" y="140"/>
                    </a:lnTo>
                    <a:lnTo>
                      <a:pt x="97" y="142"/>
                    </a:lnTo>
                    <a:lnTo>
                      <a:pt x="97" y="145"/>
                    </a:lnTo>
                    <a:lnTo>
                      <a:pt x="97" y="147"/>
                    </a:lnTo>
                    <a:lnTo>
                      <a:pt x="97" y="149"/>
                    </a:lnTo>
                    <a:lnTo>
                      <a:pt x="100" y="149"/>
                    </a:lnTo>
                    <a:lnTo>
                      <a:pt x="100" y="152"/>
                    </a:lnTo>
                    <a:lnTo>
                      <a:pt x="97" y="152"/>
                    </a:lnTo>
                    <a:lnTo>
                      <a:pt x="97" y="154"/>
                    </a:lnTo>
                    <a:lnTo>
                      <a:pt x="92" y="154"/>
                    </a:lnTo>
                    <a:lnTo>
                      <a:pt x="88" y="157"/>
                    </a:lnTo>
                    <a:lnTo>
                      <a:pt x="85" y="157"/>
                    </a:lnTo>
                    <a:lnTo>
                      <a:pt x="81" y="159"/>
                    </a:lnTo>
                    <a:lnTo>
                      <a:pt x="78" y="159"/>
                    </a:lnTo>
                    <a:lnTo>
                      <a:pt x="76" y="159"/>
                    </a:lnTo>
                    <a:lnTo>
                      <a:pt x="74" y="159"/>
                    </a:lnTo>
                    <a:lnTo>
                      <a:pt x="71" y="159"/>
                    </a:lnTo>
                    <a:lnTo>
                      <a:pt x="69" y="159"/>
                    </a:lnTo>
                    <a:lnTo>
                      <a:pt x="66" y="159"/>
                    </a:lnTo>
                    <a:lnTo>
                      <a:pt x="64" y="161"/>
                    </a:lnTo>
                    <a:lnTo>
                      <a:pt x="62" y="161"/>
                    </a:lnTo>
                    <a:lnTo>
                      <a:pt x="62" y="161"/>
                    </a:lnTo>
                    <a:lnTo>
                      <a:pt x="62" y="164"/>
                    </a:lnTo>
                    <a:lnTo>
                      <a:pt x="59" y="161"/>
                    </a:lnTo>
                    <a:lnTo>
                      <a:pt x="50" y="161"/>
                    </a:lnTo>
                    <a:lnTo>
                      <a:pt x="31" y="161"/>
                    </a:lnTo>
                    <a:lnTo>
                      <a:pt x="29" y="161"/>
                    </a:lnTo>
                    <a:lnTo>
                      <a:pt x="24" y="159"/>
                    </a:lnTo>
                    <a:lnTo>
                      <a:pt x="14" y="157"/>
                    </a:lnTo>
                    <a:lnTo>
                      <a:pt x="7" y="154"/>
                    </a:lnTo>
                    <a:lnTo>
                      <a:pt x="0" y="152"/>
                    </a:lnTo>
                    <a:lnTo>
                      <a:pt x="5" y="157"/>
                    </a:lnTo>
                    <a:lnTo>
                      <a:pt x="7" y="159"/>
                    </a:lnTo>
                    <a:lnTo>
                      <a:pt x="12" y="164"/>
                    </a:lnTo>
                    <a:lnTo>
                      <a:pt x="12" y="164"/>
                    </a:lnTo>
                    <a:lnTo>
                      <a:pt x="12" y="166"/>
                    </a:lnTo>
                    <a:lnTo>
                      <a:pt x="14" y="171"/>
                    </a:lnTo>
                    <a:lnTo>
                      <a:pt x="17" y="173"/>
                    </a:lnTo>
                    <a:lnTo>
                      <a:pt x="19" y="175"/>
                    </a:lnTo>
                    <a:lnTo>
                      <a:pt x="22" y="178"/>
                    </a:lnTo>
                    <a:lnTo>
                      <a:pt x="24" y="180"/>
                    </a:lnTo>
                    <a:lnTo>
                      <a:pt x="26" y="183"/>
                    </a:lnTo>
                    <a:lnTo>
                      <a:pt x="29" y="183"/>
                    </a:lnTo>
                    <a:lnTo>
                      <a:pt x="33" y="183"/>
                    </a:lnTo>
                    <a:lnTo>
                      <a:pt x="33" y="185"/>
                    </a:lnTo>
                    <a:lnTo>
                      <a:pt x="36" y="187"/>
                    </a:lnTo>
                    <a:lnTo>
                      <a:pt x="38" y="187"/>
                    </a:lnTo>
                    <a:lnTo>
                      <a:pt x="40" y="187"/>
                    </a:lnTo>
                    <a:lnTo>
                      <a:pt x="40" y="187"/>
                    </a:lnTo>
                    <a:lnTo>
                      <a:pt x="40" y="187"/>
                    </a:lnTo>
                    <a:lnTo>
                      <a:pt x="40" y="192"/>
                    </a:lnTo>
                    <a:lnTo>
                      <a:pt x="40" y="197"/>
                    </a:lnTo>
                    <a:lnTo>
                      <a:pt x="43" y="204"/>
                    </a:lnTo>
                    <a:lnTo>
                      <a:pt x="43" y="204"/>
                    </a:lnTo>
                    <a:lnTo>
                      <a:pt x="43" y="206"/>
                    </a:lnTo>
                    <a:lnTo>
                      <a:pt x="43" y="206"/>
                    </a:lnTo>
                    <a:lnTo>
                      <a:pt x="43" y="209"/>
                    </a:lnTo>
                    <a:lnTo>
                      <a:pt x="43" y="209"/>
                    </a:lnTo>
                    <a:lnTo>
                      <a:pt x="43" y="209"/>
                    </a:lnTo>
                    <a:lnTo>
                      <a:pt x="45" y="209"/>
                    </a:lnTo>
                    <a:lnTo>
                      <a:pt x="50" y="209"/>
                    </a:lnTo>
                    <a:lnTo>
                      <a:pt x="50" y="209"/>
                    </a:lnTo>
                    <a:lnTo>
                      <a:pt x="52" y="209"/>
                    </a:lnTo>
                    <a:lnTo>
                      <a:pt x="52" y="211"/>
                    </a:lnTo>
                    <a:lnTo>
                      <a:pt x="52" y="211"/>
                    </a:lnTo>
                    <a:lnTo>
                      <a:pt x="52" y="211"/>
                    </a:lnTo>
                    <a:lnTo>
                      <a:pt x="52" y="213"/>
                    </a:lnTo>
                    <a:lnTo>
                      <a:pt x="52" y="216"/>
                    </a:lnTo>
                    <a:lnTo>
                      <a:pt x="52" y="216"/>
                    </a:lnTo>
                    <a:lnTo>
                      <a:pt x="52" y="216"/>
                    </a:lnTo>
                    <a:lnTo>
                      <a:pt x="52" y="220"/>
                    </a:lnTo>
                    <a:lnTo>
                      <a:pt x="52" y="220"/>
                    </a:lnTo>
                    <a:lnTo>
                      <a:pt x="50" y="220"/>
                    </a:lnTo>
                    <a:lnTo>
                      <a:pt x="45" y="220"/>
                    </a:lnTo>
                    <a:lnTo>
                      <a:pt x="43" y="220"/>
                    </a:lnTo>
                    <a:lnTo>
                      <a:pt x="43" y="223"/>
                    </a:lnTo>
                    <a:lnTo>
                      <a:pt x="38" y="223"/>
                    </a:lnTo>
                    <a:lnTo>
                      <a:pt x="38" y="223"/>
                    </a:lnTo>
                    <a:lnTo>
                      <a:pt x="36" y="223"/>
                    </a:lnTo>
                    <a:lnTo>
                      <a:pt x="36" y="225"/>
                    </a:lnTo>
                    <a:lnTo>
                      <a:pt x="36" y="228"/>
                    </a:lnTo>
                    <a:lnTo>
                      <a:pt x="36" y="228"/>
                    </a:lnTo>
                    <a:lnTo>
                      <a:pt x="33" y="228"/>
                    </a:lnTo>
                    <a:lnTo>
                      <a:pt x="33" y="228"/>
                    </a:lnTo>
                    <a:lnTo>
                      <a:pt x="29" y="230"/>
                    </a:lnTo>
                    <a:lnTo>
                      <a:pt x="29" y="230"/>
                    </a:lnTo>
                    <a:lnTo>
                      <a:pt x="29" y="230"/>
                    </a:lnTo>
                    <a:lnTo>
                      <a:pt x="29" y="235"/>
                    </a:lnTo>
                    <a:lnTo>
                      <a:pt x="29" y="237"/>
                    </a:lnTo>
                    <a:lnTo>
                      <a:pt x="26" y="237"/>
                    </a:lnTo>
                    <a:lnTo>
                      <a:pt x="26" y="239"/>
                    </a:lnTo>
                    <a:lnTo>
                      <a:pt x="26" y="239"/>
                    </a:lnTo>
                    <a:lnTo>
                      <a:pt x="26" y="242"/>
                    </a:lnTo>
                    <a:lnTo>
                      <a:pt x="26" y="244"/>
                    </a:lnTo>
                    <a:lnTo>
                      <a:pt x="26" y="249"/>
                    </a:lnTo>
                    <a:lnTo>
                      <a:pt x="26" y="251"/>
                    </a:lnTo>
                    <a:lnTo>
                      <a:pt x="26" y="251"/>
                    </a:lnTo>
                    <a:lnTo>
                      <a:pt x="29" y="254"/>
                    </a:lnTo>
                    <a:lnTo>
                      <a:pt x="31" y="254"/>
                    </a:lnTo>
                    <a:lnTo>
                      <a:pt x="36" y="251"/>
                    </a:lnTo>
                    <a:lnTo>
                      <a:pt x="36" y="251"/>
                    </a:lnTo>
                    <a:lnTo>
                      <a:pt x="38" y="251"/>
                    </a:lnTo>
                    <a:lnTo>
                      <a:pt x="38" y="251"/>
                    </a:lnTo>
                    <a:lnTo>
                      <a:pt x="38" y="254"/>
                    </a:lnTo>
                    <a:lnTo>
                      <a:pt x="40" y="251"/>
                    </a:lnTo>
                    <a:lnTo>
                      <a:pt x="40" y="251"/>
                    </a:lnTo>
                    <a:lnTo>
                      <a:pt x="43" y="251"/>
                    </a:lnTo>
                    <a:lnTo>
                      <a:pt x="45" y="249"/>
                    </a:lnTo>
                    <a:lnTo>
                      <a:pt x="52" y="251"/>
                    </a:lnTo>
                    <a:lnTo>
                      <a:pt x="55" y="251"/>
                    </a:lnTo>
                    <a:lnTo>
                      <a:pt x="57" y="251"/>
                    </a:lnTo>
                    <a:lnTo>
                      <a:pt x="59" y="251"/>
                    </a:lnTo>
                    <a:lnTo>
                      <a:pt x="59" y="249"/>
                    </a:lnTo>
                    <a:lnTo>
                      <a:pt x="62" y="249"/>
                    </a:lnTo>
                    <a:lnTo>
                      <a:pt x="64" y="247"/>
                    </a:lnTo>
                    <a:lnTo>
                      <a:pt x="69" y="249"/>
                    </a:lnTo>
                    <a:lnTo>
                      <a:pt x="69" y="249"/>
                    </a:lnTo>
                    <a:lnTo>
                      <a:pt x="71" y="247"/>
                    </a:lnTo>
                    <a:lnTo>
                      <a:pt x="71" y="247"/>
                    </a:lnTo>
                    <a:lnTo>
                      <a:pt x="71" y="249"/>
                    </a:lnTo>
                    <a:lnTo>
                      <a:pt x="81" y="251"/>
                    </a:lnTo>
                    <a:lnTo>
                      <a:pt x="81" y="251"/>
                    </a:lnTo>
                    <a:lnTo>
                      <a:pt x="81" y="251"/>
                    </a:lnTo>
                    <a:lnTo>
                      <a:pt x="83" y="249"/>
                    </a:lnTo>
                    <a:lnTo>
                      <a:pt x="88" y="249"/>
                    </a:lnTo>
                    <a:lnTo>
                      <a:pt x="95" y="247"/>
                    </a:lnTo>
                    <a:lnTo>
                      <a:pt x="100" y="249"/>
                    </a:lnTo>
                    <a:lnTo>
                      <a:pt x="104" y="247"/>
                    </a:lnTo>
                    <a:lnTo>
                      <a:pt x="109" y="247"/>
                    </a:lnTo>
                    <a:lnTo>
                      <a:pt x="111" y="247"/>
                    </a:lnTo>
                    <a:lnTo>
                      <a:pt x="114" y="247"/>
                    </a:lnTo>
                    <a:lnTo>
                      <a:pt x="114" y="247"/>
                    </a:lnTo>
                    <a:lnTo>
                      <a:pt x="114" y="244"/>
                    </a:lnTo>
                    <a:lnTo>
                      <a:pt x="111" y="244"/>
                    </a:lnTo>
                    <a:lnTo>
                      <a:pt x="107" y="244"/>
                    </a:lnTo>
                    <a:lnTo>
                      <a:pt x="109" y="244"/>
                    </a:lnTo>
                    <a:lnTo>
                      <a:pt x="109" y="244"/>
                    </a:lnTo>
                    <a:lnTo>
                      <a:pt x="111" y="242"/>
                    </a:lnTo>
                    <a:lnTo>
                      <a:pt x="114" y="244"/>
                    </a:lnTo>
                    <a:lnTo>
                      <a:pt x="116" y="244"/>
                    </a:lnTo>
                    <a:lnTo>
                      <a:pt x="116" y="247"/>
                    </a:lnTo>
                    <a:lnTo>
                      <a:pt x="119" y="251"/>
                    </a:lnTo>
                    <a:lnTo>
                      <a:pt x="119" y="254"/>
                    </a:lnTo>
                    <a:lnTo>
                      <a:pt x="119" y="256"/>
                    </a:lnTo>
                    <a:lnTo>
                      <a:pt x="119" y="258"/>
                    </a:lnTo>
                    <a:lnTo>
                      <a:pt x="128" y="261"/>
                    </a:lnTo>
                    <a:lnTo>
                      <a:pt x="128" y="261"/>
                    </a:lnTo>
                    <a:lnTo>
                      <a:pt x="130" y="268"/>
                    </a:lnTo>
                    <a:lnTo>
                      <a:pt x="133" y="270"/>
                    </a:lnTo>
                    <a:lnTo>
                      <a:pt x="133" y="273"/>
                    </a:lnTo>
                    <a:lnTo>
                      <a:pt x="133" y="275"/>
                    </a:lnTo>
                    <a:lnTo>
                      <a:pt x="135" y="275"/>
                    </a:lnTo>
                    <a:lnTo>
                      <a:pt x="135" y="275"/>
                    </a:lnTo>
                    <a:lnTo>
                      <a:pt x="135" y="277"/>
                    </a:lnTo>
                    <a:lnTo>
                      <a:pt x="135" y="277"/>
                    </a:lnTo>
                    <a:lnTo>
                      <a:pt x="137" y="280"/>
                    </a:lnTo>
                    <a:lnTo>
                      <a:pt x="140" y="277"/>
                    </a:lnTo>
                    <a:lnTo>
                      <a:pt x="140" y="280"/>
                    </a:lnTo>
                    <a:lnTo>
                      <a:pt x="140" y="280"/>
                    </a:lnTo>
                    <a:lnTo>
                      <a:pt x="142" y="280"/>
                    </a:lnTo>
                    <a:lnTo>
                      <a:pt x="142" y="280"/>
                    </a:lnTo>
                    <a:lnTo>
                      <a:pt x="145" y="280"/>
                    </a:lnTo>
                    <a:lnTo>
                      <a:pt x="145" y="280"/>
                    </a:lnTo>
                    <a:lnTo>
                      <a:pt x="147" y="280"/>
                    </a:lnTo>
                    <a:lnTo>
                      <a:pt x="147" y="280"/>
                    </a:lnTo>
                    <a:lnTo>
                      <a:pt x="147" y="282"/>
                    </a:lnTo>
                    <a:lnTo>
                      <a:pt x="149" y="282"/>
                    </a:lnTo>
                    <a:lnTo>
                      <a:pt x="149" y="280"/>
                    </a:lnTo>
                    <a:lnTo>
                      <a:pt x="149" y="280"/>
                    </a:lnTo>
                    <a:lnTo>
                      <a:pt x="149" y="277"/>
                    </a:lnTo>
                    <a:lnTo>
                      <a:pt x="152" y="277"/>
                    </a:lnTo>
                    <a:lnTo>
                      <a:pt x="154" y="277"/>
                    </a:lnTo>
                    <a:lnTo>
                      <a:pt x="156" y="277"/>
                    </a:lnTo>
                    <a:lnTo>
                      <a:pt x="159" y="277"/>
                    </a:lnTo>
                    <a:lnTo>
                      <a:pt x="159" y="270"/>
                    </a:lnTo>
                    <a:lnTo>
                      <a:pt x="159" y="270"/>
                    </a:lnTo>
                    <a:lnTo>
                      <a:pt x="159" y="270"/>
                    </a:lnTo>
                    <a:lnTo>
                      <a:pt x="159" y="270"/>
                    </a:lnTo>
                    <a:lnTo>
                      <a:pt x="159" y="270"/>
                    </a:lnTo>
                    <a:lnTo>
                      <a:pt x="159" y="270"/>
                    </a:lnTo>
                    <a:lnTo>
                      <a:pt x="161" y="270"/>
                    </a:lnTo>
                    <a:lnTo>
                      <a:pt x="161" y="270"/>
                    </a:lnTo>
                    <a:lnTo>
                      <a:pt x="163" y="270"/>
                    </a:lnTo>
                    <a:lnTo>
                      <a:pt x="163" y="270"/>
                    </a:lnTo>
                    <a:lnTo>
                      <a:pt x="166" y="270"/>
                    </a:lnTo>
                    <a:lnTo>
                      <a:pt x="166" y="270"/>
                    </a:lnTo>
                    <a:lnTo>
                      <a:pt x="171" y="270"/>
                    </a:lnTo>
                    <a:lnTo>
                      <a:pt x="173" y="270"/>
                    </a:lnTo>
                    <a:lnTo>
                      <a:pt x="175" y="273"/>
                    </a:lnTo>
                    <a:lnTo>
                      <a:pt x="175" y="273"/>
                    </a:lnTo>
                    <a:lnTo>
                      <a:pt x="178" y="273"/>
                    </a:lnTo>
                    <a:lnTo>
                      <a:pt x="180" y="273"/>
                    </a:lnTo>
                    <a:lnTo>
                      <a:pt x="182" y="273"/>
                    </a:lnTo>
                    <a:lnTo>
                      <a:pt x="182" y="273"/>
                    </a:lnTo>
                    <a:lnTo>
                      <a:pt x="182" y="270"/>
                    </a:lnTo>
                    <a:lnTo>
                      <a:pt x="185" y="270"/>
                    </a:lnTo>
                    <a:lnTo>
                      <a:pt x="189" y="268"/>
                    </a:lnTo>
                    <a:lnTo>
                      <a:pt x="189" y="268"/>
                    </a:lnTo>
                    <a:lnTo>
                      <a:pt x="192" y="268"/>
                    </a:lnTo>
                    <a:lnTo>
                      <a:pt x="192" y="270"/>
                    </a:lnTo>
                    <a:lnTo>
                      <a:pt x="192" y="270"/>
                    </a:lnTo>
                    <a:lnTo>
                      <a:pt x="192" y="273"/>
                    </a:lnTo>
                    <a:lnTo>
                      <a:pt x="194" y="273"/>
                    </a:lnTo>
                    <a:lnTo>
                      <a:pt x="194" y="273"/>
                    </a:lnTo>
                    <a:lnTo>
                      <a:pt x="197" y="270"/>
                    </a:lnTo>
                    <a:lnTo>
                      <a:pt x="197" y="270"/>
                    </a:lnTo>
                    <a:lnTo>
                      <a:pt x="197" y="270"/>
                    </a:lnTo>
                    <a:lnTo>
                      <a:pt x="199" y="270"/>
                    </a:lnTo>
                    <a:lnTo>
                      <a:pt x="199" y="268"/>
                    </a:lnTo>
                    <a:lnTo>
                      <a:pt x="199" y="268"/>
                    </a:lnTo>
                    <a:lnTo>
                      <a:pt x="199" y="268"/>
                    </a:lnTo>
                    <a:lnTo>
                      <a:pt x="199" y="265"/>
                    </a:lnTo>
                    <a:lnTo>
                      <a:pt x="199" y="265"/>
                    </a:lnTo>
                    <a:lnTo>
                      <a:pt x="197" y="265"/>
                    </a:lnTo>
                    <a:lnTo>
                      <a:pt x="197" y="263"/>
                    </a:lnTo>
                    <a:lnTo>
                      <a:pt x="199" y="263"/>
                    </a:lnTo>
                    <a:lnTo>
                      <a:pt x="199" y="263"/>
                    </a:lnTo>
                    <a:lnTo>
                      <a:pt x="199" y="261"/>
                    </a:lnTo>
                    <a:lnTo>
                      <a:pt x="197" y="258"/>
                    </a:lnTo>
                    <a:lnTo>
                      <a:pt x="194" y="254"/>
                    </a:lnTo>
                    <a:lnTo>
                      <a:pt x="194" y="251"/>
                    </a:lnTo>
                    <a:lnTo>
                      <a:pt x="192" y="249"/>
                    </a:lnTo>
                    <a:lnTo>
                      <a:pt x="189" y="247"/>
                    </a:lnTo>
                    <a:lnTo>
                      <a:pt x="189" y="242"/>
                    </a:lnTo>
                    <a:lnTo>
                      <a:pt x="189" y="242"/>
                    </a:lnTo>
                    <a:lnTo>
                      <a:pt x="189" y="242"/>
                    </a:lnTo>
                    <a:lnTo>
                      <a:pt x="187" y="242"/>
                    </a:lnTo>
                    <a:lnTo>
                      <a:pt x="187" y="242"/>
                    </a:lnTo>
                    <a:lnTo>
                      <a:pt x="185" y="242"/>
                    </a:lnTo>
                    <a:lnTo>
                      <a:pt x="182" y="242"/>
                    </a:lnTo>
                    <a:lnTo>
                      <a:pt x="182" y="242"/>
                    </a:lnTo>
                    <a:lnTo>
                      <a:pt x="178" y="237"/>
                    </a:lnTo>
                    <a:lnTo>
                      <a:pt x="178" y="235"/>
                    </a:lnTo>
                    <a:lnTo>
                      <a:pt x="178" y="232"/>
                    </a:lnTo>
                    <a:lnTo>
                      <a:pt x="178" y="230"/>
                    </a:lnTo>
                    <a:lnTo>
                      <a:pt x="178" y="228"/>
                    </a:lnTo>
                    <a:lnTo>
                      <a:pt x="178" y="225"/>
                    </a:lnTo>
                    <a:lnTo>
                      <a:pt x="178" y="223"/>
                    </a:lnTo>
                    <a:lnTo>
                      <a:pt x="178" y="223"/>
                    </a:lnTo>
                    <a:lnTo>
                      <a:pt x="175" y="223"/>
                    </a:lnTo>
                    <a:lnTo>
                      <a:pt x="173" y="223"/>
                    </a:lnTo>
                    <a:lnTo>
                      <a:pt x="171" y="220"/>
                    </a:lnTo>
                    <a:lnTo>
                      <a:pt x="168" y="220"/>
                    </a:lnTo>
                    <a:lnTo>
                      <a:pt x="166" y="218"/>
                    </a:lnTo>
                    <a:lnTo>
                      <a:pt x="166" y="218"/>
                    </a:lnTo>
                    <a:lnTo>
                      <a:pt x="166" y="218"/>
                    </a:lnTo>
                    <a:lnTo>
                      <a:pt x="166" y="213"/>
                    </a:lnTo>
                    <a:lnTo>
                      <a:pt x="166" y="211"/>
                    </a:lnTo>
                    <a:lnTo>
                      <a:pt x="166" y="209"/>
                    </a:lnTo>
                    <a:lnTo>
                      <a:pt x="166" y="209"/>
                    </a:lnTo>
                    <a:lnTo>
                      <a:pt x="168" y="209"/>
                    </a:lnTo>
                    <a:lnTo>
                      <a:pt x="168" y="206"/>
                    </a:lnTo>
                    <a:lnTo>
                      <a:pt x="171" y="204"/>
                    </a:lnTo>
                    <a:lnTo>
                      <a:pt x="173" y="199"/>
                    </a:lnTo>
                    <a:lnTo>
                      <a:pt x="175" y="194"/>
                    </a:lnTo>
                    <a:lnTo>
                      <a:pt x="175" y="194"/>
                    </a:lnTo>
                    <a:lnTo>
                      <a:pt x="175" y="194"/>
                    </a:lnTo>
                    <a:lnTo>
                      <a:pt x="178" y="192"/>
                    </a:lnTo>
                    <a:lnTo>
                      <a:pt x="178" y="192"/>
                    </a:lnTo>
                    <a:lnTo>
                      <a:pt x="180" y="192"/>
                    </a:lnTo>
                    <a:lnTo>
                      <a:pt x="182" y="192"/>
                    </a:lnTo>
                    <a:lnTo>
                      <a:pt x="182" y="194"/>
                    </a:lnTo>
                    <a:lnTo>
                      <a:pt x="182" y="194"/>
                    </a:lnTo>
                    <a:lnTo>
                      <a:pt x="185" y="197"/>
                    </a:lnTo>
                    <a:lnTo>
                      <a:pt x="185" y="197"/>
                    </a:lnTo>
                    <a:lnTo>
                      <a:pt x="187" y="199"/>
                    </a:lnTo>
                    <a:lnTo>
                      <a:pt x="187" y="199"/>
                    </a:lnTo>
                    <a:lnTo>
                      <a:pt x="192" y="197"/>
                    </a:lnTo>
                    <a:lnTo>
                      <a:pt x="194" y="194"/>
                    </a:lnTo>
                    <a:lnTo>
                      <a:pt x="199" y="194"/>
                    </a:lnTo>
                    <a:lnTo>
                      <a:pt x="201" y="194"/>
                    </a:lnTo>
                    <a:lnTo>
                      <a:pt x="206" y="192"/>
                    </a:lnTo>
                    <a:lnTo>
                      <a:pt x="206" y="192"/>
                    </a:lnTo>
                    <a:lnTo>
                      <a:pt x="206" y="187"/>
                    </a:lnTo>
                    <a:lnTo>
                      <a:pt x="208" y="185"/>
                    </a:lnTo>
                    <a:lnTo>
                      <a:pt x="208" y="183"/>
                    </a:lnTo>
                    <a:lnTo>
                      <a:pt x="208" y="180"/>
                    </a:lnTo>
                    <a:lnTo>
                      <a:pt x="211" y="178"/>
                    </a:lnTo>
                    <a:lnTo>
                      <a:pt x="211" y="175"/>
                    </a:lnTo>
                    <a:lnTo>
                      <a:pt x="215" y="173"/>
                    </a:lnTo>
                    <a:lnTo>
                      <a:pt x="220" y="171"/>
                    </a:lnTo>
                    <a:lnTo>
                      <a:pt x="220" y="168"/>
                    </a:lnTo>
                    <a:lnTo>
                      <a:pt x="223" y="164"/>
                    </a:lnTo>
                    <a:lnTo>
                      <a:pt x="225" y="159"/>
                    </a:lnTo>
                    <a:lnTo>
                      <a:pt x="225" y="159"/>
                    </a:lnTo>
                    <a:lnTo>
                      <a:pt x="225" y="154"/>
                    </a:lnTo>
                    <a:lnTo>
                      <a:pt x="225" y="152"/>
                    </a:lnTo>
                    <a:lnTo>
                      <a:pt x="227" y="149"/>
                    </a:lnTo>
                    <a:lnTo>
                      <a:pt x="230" y="149"/>
                    </a:lnTo>
                    <a:lnTo>
                      <a:pt x="232" y="147"/>
                    </a:lnTo>
                    <a:lnTo>
                      <a:pt x="234" y="147"/>
                    </a:lnTo>
                    <a:lnTo>
                      <a:pt x="234" y="145"/>
                    </a:lnTo>
                    <a:lnTo>
                      <a:pt x="234" y="145"/>
                    </a:lnTo>
                    <a:lnTo>
                      <a:pt x="232" y="142"/>
                    </a:lnTo>
                    <a:lnTo>
                      <a:pt x="232" y="142"/>
                    </a:lnTo>
                    <a:lnTo>
                      <a:pt x="232" y="140"/>
                    </a:lnTo>
                    <a:lnTo>
                      <a:pt x="234" y="140"/>
                    </a:lnTo>
                    <a:lnTo>
                      <a:pt x="237" y="133"/>
                    </a:lnTo>
                    <a:lnTo>
                      <a:pt x="239" y="131"/>
                    </a:lnTo>
                    <a:lnTo>
                      <a:pt x="239" y="131"/>
                    </a:lnTo>
                    <a:lnTo>
                      <a:pt x="242" y="131"/>
                    </a:lnTo>
                    <a:lnTo>
                      <a:pt x="244" y="128"/>
                    </a:lnTo>
                    <a:lnTo>
                      <a:pt x="244" y="128"/>
                    </a:lnTo>
                    <a:lnTo>
                      <a:pt x="244" y="126"/>
                    </a:lnTo>
                    <a:lnTo>
                      <a:pt x="242" y="126"/>
                    </a:lnTo>
                    <a:lnTo>
                      <a:pt x="242" y="126"/>
                    </a:lnTo>
                    <a:lnTo>
                      <a:pt x="242" y="123"/>
                    </a:lnTo>
                    <a:lnTo>
                      <a:pt x="242" y="119"/>
                    </a:lnTo>
                    <a:lnTo>
                      <a:pt x="242" y="119"/>
                    </a:lnTo>
                    <a:lnTo>
                      <a:pt x="239" y="114"/>
                    </a:lnTo>
                    <a:lnTo>
                      <a:pt x="239" y="112"/>
                    </a:lnTo>
                    <a:lnTo>
                      <a:pt x="239" y="112"/>
                    </a:lnTo>
                    <a:lnTo>
                      <a:pt x="242" y="109"/>
                    </a:lnTo>
                    <a:lnTo>
                      <a:pt x="242" y="109"/>
                    </a:lnTo>
                    <a:lnTo>
                      <a:pt x="249" y="107"/>
                    </a:lnTo>
                    <a:lnTo>
                      <a:pt x="249" y="104"/>
                    </a:lnTo>
                    <a:lnTo>
                      <a:pt x="251" y="104"/>
                    </a:lnTo>
                    <a:lnTo>
                      <a:pt x="251" y="102"/>
                    </a:lnTo>
                    <a:lnTo>
                      <a:pt x="251" y="102"/>
                    </a:lnTo>
                    <a:lnTo>
                      <a:pt x="251" y="102"/>
                    </a:lnTo>
                    <a:lnTo>
                      <a:pt x="249" y="100"/>
                    </a:lnTo>
                    <a:lnTo>
                      <a:pt x="246" y="100"/>
                    </a:lnTo>
                    <a:lnTo>
                      <a:pt x="244" y="97"/>
                    </a:lnTo>
                    <a:lnTo>
                      <a:pt x="242" y="97"/>
                    </a:lnTo>
                    <a:lnTo>
                      <a:pt x="239" y="97"/>
                    </a:lnTo>
                    <a:lnTo>
                      <a:pt x="239" y="97"/>
                    </a:lnTo>
                    <a:lnTo>
                      <a:pt x="237" y="95"/>
                    </a:lnTo>
                    <a:lnTo>
                      <a:pt x="237" y="93"/>
                    </a:lnTo>
                    <a:lnTo>
                      <a:pt x="237" y="93"/>
                    </a:lnTo>
                    <a:lnTo>
                      <a:pt x="237" y="93"/>
                    </a:lnTo>
                    <a:lnTo>
                      <a:pt x="234" y="93"/>
                    </a:lnTo>
                    <a:lnTo>
                      <a:pt x="232" y="93"/>
                    </a:lnTo>
                    <a:lnTo>
                      <a:pt x="232" y="90"/>
                    </a:lnTo>
                    <a:lnTo>
                      <a:pt x="232" y="90"/>
                    </a:lnTo>
                    <a:lnTo>
                      <a:pt x="230" y="88"/>
                    </a:lnTo>
                    <a:lnTo>
                      <a:pt x="230" y="88"/>
                    </a:lnTo>
                    <a:lnTo>
                      <a:pt x="230" y="86"/>
                    </a:lnTo>
                    <a:lnTo>
                      <a:pt x="230" y="86"/>
                    </a:lnTo>
                    <a:lnTo>
                      <a:pt x="227" y="86"/>
                    </a:lnTo>
                    <a:lnTo>
                      <a:pt x="225" y="83"/>
                    </a:lnTo>
                    <a:lnTo>
                      <a:pt x="225" y="83"/>
                    </a:lnTo>
                    <a:lnTo>
                      <a:pt x="223" y="83"/>
                    </a:lnTo>
                    <a:lnTo>
                      <a:pt x="223" y="81"/>
                    </a:lnTo>
                    <a:lnTo>
                      <a:pt x="225" y="81"/>
                    </a:lnTo>
                    <a:lnTo>
                      <a:pt x="225" y="78"/>
                    </a:lnTo>
                    <a:lnTo>
                      <a:pt x="225" y="76"/>
                    </a:lnTo>
                    <a:lnTo>
                      <a:pt x="225" y="76"/>
                    </a:lnTo>
                    <a:lnTo>
                      <a:pt x="225" y="76"/>
                    </a:lnTo>
                    <a:lnTo>
                      <a:pt x="223" y="74"/>
                    </a:lnTo>
                    <a:lnTo>
                      <a:pt x="223" y="74"/>
                    </a:lnTo>
                    <a:lnTo>
                      <a:pt x="223" y="74"/>
                    </a:lnTo>
                    <a:lnTo>
                      <a:pt x="220" y="71"/>
                    </a:lnTo>
                    <a:lnTo>
                      <a:pt x="223" y="69"/>
                    </a:lnTo>
                    <a:lnTo>
                      <a:pt x="223" y="69"/>
                    </a:lnTo>
                    <a:lnTo>
                      <a:pt x="225" y="69"/>
                    </a:lnTo>
                    <a:lnTo>
                      <a:pt x="225" y="67"/>
                    </a:lnTo>
                    <a:lnTo>
                      <a:pt x="225" y="67"/>
                    </a:lnTo>
                    <a:lnTo>
                      <a:pt x="225" y="67"/>
                    </a:lnTo>
                    <a:lnTo>
                      <a:pt x="223" y="67"/>
                    </a:lnTo>
                    <a:lnTo>
                      <a:pt x="220" y="64"/>
                    </a:lnTo>
                    <a:lnTo>
                      <a:pt x="218" y="64"/>
                    </a:lnTo>
                    <a:lnTo>
                      <a:pt x="218" y="64"/>
                    </a:lnTo>
                    <a:lnTo>
                      <a:pt x="218" y="64"/>
                    </a:lnTo>
                    <a:lnTo>
                      <a:pt x="218" y="62"/>
                    </a:lnTo>
                    <a:lnTo>
                      <a:pt x="220" y="62"/>
                    </a:lnTo>
                    <a:lnTo>
                      <a:pt x="218" y="59"/>
                    </a:lnTo>
                    <a:lnTo>
                      <a:pt x="218" y="59"/>
                    </a:lnTo>
                    <a:lnTo>
                      <a:pt x="215" y="59"/>
                    </a:lnTo>
                    <a:lnTo>
                      <a:pt x="215" y="57"/>
                    </a:lnTo>
                    <a:lnTo>
                      <a:pt x="215" y="57"/>
                    </a:lnTo>
                    <a:lnTo>
                      <a:pt x="215" y="55"/>
                    </a:lnTo>
                    <a:lnTo>
                      <a:pt x="215" y="55"/>
                    </a:lnTo>
                    <a:lnTo>
                      <a:pt x="218" y="52"/>
                    </a:lnTo>
                    <a:lnTo>
                      <a:pt x="218" y="50"/>
                    </a:lnTo>
                    <a:lnTo>
                      <a:pt x="220" y="50"/>
                    </a:lnTo>
                    <a:lnTo>
                      <a:pt x="223" y="50"/>
                    </a:lnTo>
                    <a:lnTo>
                      <a:pt x="225" y="50"/>
                    </a:lnTo>
                    <a:lnTo>
                      <a:pt x="227" y="50"/>
                    </a:lnTo>
                    <a:lnTo>
                      <a:pt x="232" y="50"/>
                    </a:lnTo>
                    <a:lnTo>
                      <a:pt x="234" y="52"/>
                    </a:lnTo>
                    <a:lnTo>
                      <a:pt x="237" y="52"/>
                    </a:lnTo>
                    <a:lnTo>
                      <a:pt x="239" y="52"/>
                    </a:lnTo>
                    <a:lnTo>
                      <a:pt x="239" y="52"/>
                    </a:lnTo>
                    <a:lnTo>
                      <a:pt x="244" y="55"/>
                    </a:lnTo>
                    <a:lnTo>
                      <a:pt x="246" y="55"/>
                    </a:lnTo>
                    <a:lnTo>
                      <a:pt x="249" y="55"/>
                    </a:lnTo>
                    <a:lnTo>
                      <a:pt x="251" y="55"/>
                    </a:lnTo>
                    <a:lnTo>
                      <a:pt x="251" y="52"/>
                    </a:lnTo>
                    <a:lnTo>
                      <a:pt x="253" y="52"/>
                    </a:lnTo>
                    <a:lnTo>
                      <a:pt x="256" y="52"/>
                    </a:lnTo>
                    <a:lnTo>
                      <a:pt x="260" y="50"/>
                    </a:lnTo>
                    <a:lnTo>
                      <a:pt x="260" y="50"/>
                    </a:lnTo>
                    <a:lnTo>
                      <a:pt x="263" y="50"/>
                    </a:lnTo>
                    <a:lnTo>
                      <a:pt x="265" y="48"/>
                    </a:lnTo>
                    <a:lnTo>
                      <a:pt x="265" y="48"/>
                    </a:lnTo>
                    <a:lnTo>
                      <a:pt x="265" y="48"/>
                    </a:lnTo>
                    <a:lnTo>
                      <a:pt x="265" y="45"/>
                    </a:lnTo>
                    <a:lnTo>
                      <a:pt x="268" y="45"/>
                    </a:lnTo>
                    <a:lnTo>
                      <a:pt x="270" y="45"/>
                    </a:lnTo>
                    <a:lnTo>
                      <a:pt x="270" y="43"/>
                    </a:lnTo>
                    <a:lnTo>
                      <a:pt x="270" y="43"/>
                    </a:lnTo>
                    <a:lnTo>
                      <a:pt x="268" y="41"/>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77"/>
              <p:cNvSpPr>
                <a:spLocks noEditPoints="1"/>
              </p:cNvSpPr>
              <p:nvPr/>
            </p:nvSpPr>
            <p:spPr bwMode="auto">
              <a:xfrm>
                <a:off x="3707" y="2244"/>
                <a:ext cx="139" cy="203"/>
              </a:xfrm>
              <a:custGeom>
                <a:avLst/>
                <a:gdLst>
                  <a:gd name="T0" fmla="*/ 120 w 139"/>
                  <a:gd name="T1" fmla="*/ 130 h 203"/>
                  <a:gd name="T2" fmla="*/ 125 w 139"/>
                  <a:gd name="T3" fmla="*/ 123 h 203"/>
                  <a:gd name="T4" fmla="*/ 135 w 139"/>
                  <a:gd name="T5" fmla="*/ 80 h 203"/>
                  <a:gd name="T6" fmla="*/ 125 w 139"/>
                  <a:gd name="T7" fmla="*/ 71 h 203"/>
                  <a:gd name="T8" fmla="*/ 118 w 139"/>
                  <a:gd name="T9" fmla="*/ 61 h 203"/>
                  <a:gd name="T10" fmla="*/ 111 w 139"/>
                  <a:gd name="T11" fmla="*/ 56 h 203"/>
                  <a:gd name="T12" fmla="*/ 94 w 139"/>
                  <a:gd name="T13" fmla="*/ 54 h 203"/>
                  <a:gd name="T14" fmla="*/ 80 w 139"/>
                  <a:gd name="T15" fmla="*/ 42 h 203"/>
                  <a:gd name="T16" fmla="*/ 71 w 139"/>
                  <a:gd name="T17" fmla="*/ 28 h 203"/>
                  <a:gd name="T18" fmla="*/ 66 w 139"/>
                  <a:gd name="T19" fmla="*/ 33 h 203"/>
                  <a:gd name="T20" fmla="*/ 64 w 139"/>
                  <a:gd name="T21" fmla="*/ 30 h 203"/>
                  <a:gd name="T22" fmla="*/ 64 w 139"/>
                  <a:gd name="T23" fmla="*/ 28 h 203"/>
                  <a:gd name="T24" fmla="*/ 61 w 139"/>
                  <a:gd name="T25" fmla="*/ 30 h 203"/>
                  <a:gd name="T26" fmla="*/ 61 w 139"/>
                  <a:gd name="T27" fmla="*/ 35 h 203"/>
                  <a:gd name="T28" fmla="*/ 61 w 139"/>
                  <a:gd name="T29" fmla="*/ 40 h 203"/>
                  <a:gd name="T30" fmla="*/ 64 w 139"/>
                  <a:gd name="T31" fmla="*/ 45 h 203"/>
                  <a:gd name="T32" fmla="*/ 64 w 139"/>
                  <a:gd name="T33" fmla="*/ 47 h 203"/>
                  <a:gd name="T34" fmla="*/ 56 w 139"/>
                  <a:gd name="T35" fmla="*/ 49 h 203"/>
                  <a:gd name="T36" fmla="*/ 56 w 139"/>
                  <a:gd name="T37" fmla="*/ 54 h 203"/>
                  <a:gd name="T38" fmla="*/ 54 w 139"/>
                  <a:gd name="T39" fmla="*/ 66 h 203"/>
                  <a:gd name="T40" fmla="*/ 52 w 139"/>
                  <a:gd name="T41" fmla="*/ 75 h 203"/>
                  <a:gd name="T42" fmla="*/ 59 w 139"/>
                  <a:gd name="T43" fmla="*/ 87 h 203"/>
                  <a:gd name="T44" fmla="*/ 61 w 139"/>
                  <a:gd name="T45" fmla="*/ 94 h 203"/>
                  <a:gd name="T46" fmla="*/ 59 w 139"/>
                  <a:gd name="T47" fmla="*/ 106 h 203"/>
                  <a:gd name="T48" fmla="*/ 56 w 139"/>
                  <a:gd name="T49" fmla="*/ 116 h 203"/>
                  <a:gd name="T50" fmla="*/ 54 w 139"/>
                  <a:gd name="T51" fmla="*/ 125 h 203"/>
                  <a:gd name="T52" fmla="*/ 52 w 139"/>
                  <a:gd name="T53" fmla="*/ 135 h 203"/>
                  <a:gd name="T54" fmla="*/ 38 w 139"/>
                  <a:gd name="T55" fmla="*/ 139 h 203"/>
                  <a:gd name="T56" fmla="*/ 26 w 139"/>
                  <a:gd name="T57" fmla="*/ 144 h 203"/>
                  <a:gd name="T58" fmla="*/ 14 w 139"/>
                  <a:gd name="T59" fmla="*/ 149 h 203"/>
                  <a:gd name="T60" fmla="*/ 2 w 139"/>
                  <a:gd name="T61" fmla="*/ 153 h 203"/>
                  <a:gd name="T62" fmla="*/ 2 w 139"/>
                  <a:gd name="T63" fmla="*/ 161 h 203"/>
                  <a:gd name="T64" fmla="*/ 7 w 139"/>
                  <a:gd name="T65" fmla="*/ 170 h 203"/>
                  <a:gd name="T66" fmla="*/ 9 w 139"/>
                  <a:gd name="T67" fmla="*/ 177 h 203"/>
                  <a:gd name="T68" fmla="*/ 14 w 139"/>
                  <a:gd name="T69" fmla="*/ 187 h 203"/>
                  <a:gd name="T70" fmla="*/ 16 w 139"/>
                  <a:gd name="T71" fmla="*/ 194 h 203"/>
                  <a:gd name="T72" fmla="*/ 23 w 139"/>
                  <a:gd name="T73" fmla="*/ 203 h 203"/>
                  <a:gd name="T74" fmla="*/ 38 w 139"/>
                  <a:gd name="T75" fmla="*/ 198 h 203"/>
                  <a:gd name="T76" fmla="*/ 52 w 139"/>
                  <a:gd name="T77" fmla="*/ 196 h 203"/>
                  <a:gd name="T78" fmla="*/ 61 w 139"/>
                  <a:gd name="T79" fmla="*/ 189 h 203"/>
                  <a:gd name="T80" fmla="*/ 61 w 139"/>
                  <a:gd name="T81" fmla="*/ 184 h 203"/>
                  <a:gd name="T82" fmla="*/ 80 w 139"/>
                  <a:gd name="T83" fmla="*/ 177 h 203"/>
                  <a:gd name="T84" fmla="*/ 90 w 139"/>
                  <a:gd name="T85" fmla="*/ 161 h 203"/>
                  <a:gd name="T86" fmla="*/ 104 w 139"/>
                  <a:gd name="T87" fmla="*/ 156 h 203"/>
                  <a:gd name="T88" fmla="*/ 106 w 139"/>
                  <a:gd name="T89" fmla="*/ 149 h 203"/>
                  <a:gd name="T90" fmla="*/ 104 w 139"/>
                  <a:gd name="T91" fmla="*/ 137 h 203"/>
                  <a:gd name="T92" fmla="*/ 106 w 139"/>
                  <a:gd name="T93" fmla="*/ 125 h 203"/>
                  <a:gd name="T94" fmla="*/ 111 w 139"/>
                  <a:gd name="T95" fmla="*/ 123 h 203"/>
                  <a:gd name="T96" fmla="*/ 116 w 139"/>
                  <a:gd name="T97" fmla="*/ 125 h 203"/>
                  <a:gd name="T98" fmla="*/ 125 w 139"/>
                  <a:gd name="T99" fmla="*/ 106 h 203"/>
                  <a:gd name="T100" fmla="*/ 135 w 139"/>
                  <a:gd name="T101" fmla="*/ 92 h 203"/>
                  <a:gd name="T102" fmla="*/ 139 w 139"/>
                  <a:gd name="T103" fmla="*/ 82 h 203"/>
                  <a:gd name="T104" fmla="*/ 68 w 139"/>
                  <a:gd name="T105" fmla="*/ 23 h 203"/>
                  <a:gd name="T106" fmla="*/ 68 w 139"/>
                  <a:gd name="T107" fmla="*/ 21 h 203"/>
                  <a:gd name="T108" fmla="*/ 66 w 139"/>
                  <a:gd name="T109" fmla="*/ 9 h 203"/>
                  <a:gd name="T110" fmla="*/ 68 w 139"/>
                  <a:gd name="T111" fmla="*/ 14 h 203"/>
                  <a:gd name="T112" fmla="*/ 68 w 139"/>
                  <a:gd name="T113" fmla="*/ 11 h 203"/>
                  <a:gd name="T114" fmla="*/ 68 w 139"/>
                  <a:gd name="T115" fmla="*/ 0 h 203"/>
                  <a:gd name="T116" fmla="*/ 66 w 139"/>
                  <a:gd name="T117" fmla="*/ 2 h 203"/>
                  <a:gd name="T118" fmla="*/ 64 w 139"/>
                  <a:gd name="T119" fmla="*/ 4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9" h="203">
                    <a:moveTo>
                      <a:pt x="123" y="123"/>
                    </a:moveTo>
                    <a:lnTo>
                      <a:pt x="120" y="125"/>
                    </a:lnTo>
                    <a:lnTo>
                      <a:pt x="120" y="130"/>
                    </a:lnTo>
                    <a:lnTo>
                      <a:pt x="120" y="130"/>
                    </a:lnTo>
                    <a:lnTo>
                      <a:pt x="120" y="130"/>
                    </a:lnTo>
                    <a:lnTo>
                      <a:pt x="123" y="127"/>
                    </a:lnTo>
                    <a:lnTo>
                      <a:pt x="123" y="125"/>
                    </a:lnTo>
                    <a:lnTo>
                      <a:pt x="125" y="123"/>
                    </a:lnTo>
                    <a:lnTo>
                      <a:pt x="123" y="118"/>
                    </a:lnTo>
                    <a:lnTo>
                      <a:pt x="123" y="123"/>
                    </a:lnTo>
                    <a:close/>
                    <a:moveTo>
                      <a:pt x="137" y="80"/>
                    </a:moveTo>
                    <a:lnTo>
                      <a:pt x="135" y="80"/>
                    </a:lnTo>
                    <a:lnTo>
                      <a:pt x="132" y="78"/>
                    </a:lnTo>
                    <a:lnTo>
                      <a:pt x="130" y="78"/>
                    </a:lnTo>
                    <a:lnTo>
                      <a:pt x="127" y="75"/>
                    </a:lnTo>
                    <a:lnTo>
                      <a:pt x="125" y="71"/>
                    </a:lnTo>
                    <a:lnTo>
                      <a:pt x="123" y="68"/>
                    </a:lnTo>
                    <a:lnTo>
                      <a:pt x="120" y="66"/>
                    </a:lnTo>
                    <a:lnTo>
                      <a:pt x="120" y="64"/>
                    </a:lnTo>
                    <a:lnTo>
                      <a:pt x="118" y="61"/>
                    </a:lnTo>
                    <a:lnTo>
                      <a:pt x="118" y="59"/>
                    </a:lnTo>
                    <a:lnTo>
                      <a:pt x="113" y="56"/>
                    </a:lnTo>
                    <a:lnTo>
                      <a:pt x="111" y="56"/>
                    </a:lnTo>
                    <a:lnTo>
                      <a:pt x="111" y="56"/>
                    </a:lnTo>
                    <a:lnTo>
                      <a:pt x="108" y="56"/>
                    </a:lnTo>
                    <a:lnTo>
                      <a:pt x="104" y="54"/>
                    </a:lnTo>
                    <a:lnTo>
                      <a:pt x="99" y="54"/>
                    </a:lnTo>
                    <a:lnTo>
                      <a:pt x="94" y="54"/>
                    </a:lnTo>
                    <a:lnTo>
                      <a:pt x="87" y="49"/>
                    </a:lnTo>
                    <a:lnTo>
                      <a:pt x="87" y="49"/>
                    </a:lnTo>
                    <a:lnTo>
                      <a:pt x="82" y="45"/>
                    </a:lnTo>
                    <a:lnTo>
                      <a:pt x="80" y="42"/>
                    </a:lnTo>
                    <a:lnTo>
                      <a:pt x="75" y="40"/>
                    </a:lnTo>
                    <a:lnTo>
                      <a:pt x="73" y="33"/>
                    </a:lnTo>
                    <a:lnTo>
                      <a:pt x="71" y="28"/>
                    </a:lnTo>
                    <a:lnTo>
                      <a:pt x="71" y="28"/>
                    </a:lnTo>
                    <a:lnTo>
                      <a:pt x="71" y="28"/>
                    </a:lnTo>
                    <a:lnTo>
                      <a:pt x="68" y="30"/>
                    </a:lnTo>
                    <a:lnTo>
                      <a:pt x="68" y="30"/>
                    </a:lnTo>
                    <a:lnTo>
                      <a:pt x="66" y="33"/>
                    </a:lnTo>
                    <a:lnTo>
                      <a:pt x="66" y="33"/>
                    </a:lnTo>
                    <a:lnTo>
                      <a:pt x="66" y="33"/>
                    </a:lnTo>
                    <a:lnTo>
                      <a:pt x="64" y="33"/>
                    </a:lnTo>
                    <a:lnTo>
                      <a:pt x="64" y="30"/>
                    </a:lnTo>
                    <a:lnTo>
                      <a:pt x="64" y="30"/>
                    </a:lnTo>
                    <a:lnTo>
                      <a:pt x="64" y="30"/>
                    </a:lnTo>
                    <a:lnTo>
                      <a:pt x="64" y="30"/>
                    </a:lnTo>
                    <a:lnTo>
                      <a:pt x="64" y="28"/>
                    </a:lnTo>
                    <a:lnTo>
                      <a:pt x="64" y="28"/>
                    </a:lnTo>
                    <a:lnTo>
                      <a:pt x="64" y="28"/>
                    </a:lnTo>
                    <a:lnTo>
                      <a:pt x="61" y="28"/>
                    </a:lnTo>
                    <a:lnTo>
                      <a:pt x="61" y="30"/>
                    </a:lnTo>
                    <a:lnTo>
                      <a:pt x="61" y="30"/>
                    </a:lnTo>
                    <a:lnTo>
                      <a:pt x="61" y="33"/>
                    </a:lnTo>
                    <a:lnTo>
                      <a:pt x="61" y="35"/>
                    </a:lnTo>
                    <a:lnTo>
                      <a:pt x="61" y="35"/>
                    </a:lnTo>
                    <a:lnTo>
                      <a:pt x="61" y="37"/>
                    </a:lnTo>
                    <a:lnTo>
                      <a:pt x="61" y="37"/>
                    </a:lnTo>
                    <a:lnTo>
                      <a:pt x="61" y="40"/>
                    </a:lnTo>
                    <a:lnTo>
                      <a:pt x="61" y="40"/>
                    </a:lnTo>
                    <a:lnTo>
                      <a:pt x="61" y="42"/>
                    </a:lnTo>
                    <a:lnTo>
                      <a:pt x="61" y="45"/>
                    </a:lnTo>
                    <a:lnTo>
                      <a:pt x="61" y="45"/>
                    </a:lnTo>
                    <a:lnTo>
                      <a:pt x="64" y="45"/>
                    </a:lnTo>
                    <a:lnTo>
                      <a:pt x="66" y="45"/>
                    </a:lnTo>
                    <a:lnTo>
                      <a:pt x="66" y="47"/>
                    </a:lnTo>
                    <a:lnTo>
                      <a:pt x="66" y="47"/>
                    </a:lnTo>
                    <a:lnTo>
                      <a:pt x="64" y="47"/>
                    </a:lnTo>
                    <a:lnTo>
                      <a:pt x="61" y="49"/>
                    </a:lnTo>
                    <a:lnTo>
                      <a:pt x="61" y="49"/>
                    </a:lnTo>
                    <a:lnTo>
                      <a:pt x="56" y="49"/>
                    </a:lnTo>
                    <a:lnTo>
                      <a:pt x="56" y="49"/>
                    </a:lnTo>
                    <a:lnTo>
                      <a:pt x="56" y="52"/>
                    </a:lnTo>
                    <a:lnTo>
                      <a:pt x="56" y="52"/>
                    </a:lnTo>
                    <a:lnTo>
                      <a:pt x="56" y="52"/>
                    </a:lnTo>
                    <a:lnTo>
                      <a:pt x="56" y="54"/>
                    </a:lnTo>
                    <a:lnTo>
                      <a:pt x="56" y="56"/>
                    </a:lnTo>
                    <a:lnTo>
                      <a:pt x="56" y="59"/>
                    </a:lnTo>
                    <a:lnTo>
                      <a:pt x="54" y="61"/>
                    </a:lnTo>
                    <a:lnTo>
                      <a:pt x="54" y="66"/>
                    </a:lnTo>
                    <a:lnTo>
                      <a:pt x="52" y="68"/>
                    </a:lnTo>
                    <a:lnTo>
                      <a:pt x="52" y="71"/>
                    </a:lnTo>
                    <a:lnTo>
                      <a:pt x="52" y="73"/>
                    </a:lnTo>
                    <a:lnTo>
                      <a:pt x="52" y="75"/>
                    </a:lnTo>
                    <a:lnTo>
                      <a:pt x="54" y="78"/>
                    </a:lnTo>
                    <a:lnTo>
                      <a:pt x="56" y="80"/>
                    </a:lnTo>
                    <a:lnTo>
                      <a:pt x="56" y="82"/>
                    </a:lnTo>
                    <a:lnTo>
                      <a:pt x="59" y="87"/>
                    </a:lnTo>
                    <a:lnTo>
                      <a:pt x="61" y="90"/>
                    </a:lnTo>
                    <a:lnTo>
                      <a:pt x="61" y="92"/>
                    </a:lnTo>
                    <a:lnTo>
                      <a:pt x="61" y="94"/>
                    </a:lnTo>
                    <a:lnTo>
                      <a:pt x="61" y="94"/>
                    </a:lnTo>
                    <a:lnTo>
                      <a:pt x="61" y="97"/>
                    </a:lnTo>
                    <a:lnTo>
                      <a:pt x="61" y="99"/>
                    </a:lnTo>
                    <a:lnTo>
                      <a:pt x="59" y="104"/>
                    </a:lnTo>
                    <a:lnTo>
                      <a:pt x="59" y="106"/>
                    </a:lnTo>
                    <a:lnTo>
                      <a:pt x="59" y="109"/>
                    </a:lnTo>
                    <a:lnTo>
                      <a:pt x="56" y="111"/>
                    </a:lnTo>
                    <a:lnTo>
                      <a:pt x="56" y="113"/>
                    </a:lnTo>
                    <a:lnTo>
                      <a:pt x="56" y="116"/>
                    </a:lnTo>
                    <a:lnTo>
                      <a:pt x="56" y="118"/>
                    </a:lnTo>
                    <a:lnTo>
                      <a:pt x="56" y="120"/>
                    </a:lnTo>
                    <a:lnTo>
                      <a:pt x="54" y="123"/>
                    </a:lnTo>
                    <a:lnTo>
                      <a:pt x="54" y="125"/>
                    </a:lnTo>
                    <a:lnTo>
                      <a:pt x="54" y="127"/>
                    </a:lnTo>
                    <a:lnTo>
                      <a:pt x="54" y="130"/>
                    </a:lnTo>
                    <a:lnTo>
                      <a:pt x="52" y="132"/>
                    </a:lnTo>
                    <a:lnTo>
                      <a:pt x="52" y="135"/>
                    </a:lnTo>
                    <a:lnTo>
                      <a:pt x="47" y="135"/>
                    </a:lnTo>
                    <a:lnTo>
                      <a:pt x="45" y="137"/>
                    </a:lnTo>
                    <a:lnTo>
                      <a:pt x="42" y="137"/>
                    </a:lnTo>
                    <a:lnTo>
                      <a:pt x="38" y="139"/>
                    </a:lnTo>
                    <a:lnTo>
                      <a:pt x="35" y="139"/>
                    </a:lnTo>
                    <a:lnTo>
                      <a:pt x="33" y="142"/>
                    </a:lnTo>
                    <a:lnTo>
                      <a:pt x="30" y="142"/>
                    </a:lnTo>
                    <a:lnTo>
                      <a:pt x="26" y="144"/>
                    </a:lnTo>
                    <a:lnTo>
                      <a:pt x="23" y="144"/>
                    </a:lnTo>
                    <a:lnTo>
                      <a:pt x="21" y="146"/>
                    </a:lnTo>
                    <a:lnTo>
                      <a:pt x="16" y="146"/>
                    </a:lnTo>
                    <a:lnTo>
                      <a:pt x="14" y="149"/>
                    </a:lnTo>
                    <a:lnTo>
                      <a:pt x="11" y="149"/>
                    </a:lnTo>
                    <a:lnTo>
                      <a:pt x="7" y="151"/>
                    </a:lnTo>
                    <a:lnTo>
                      <a:pt x="4" y="151"/>
                    </a:lnTo>
                    <a:lnTo>
                      <a:pt x="2" y="153"/>
                    </a:lnTo>
                    <a:lnTo>
                      <a:pt x="0" y="153"/>
                    </a:lnTo>
                    <a:lnTo>
                      <a:pt x="0" y="156"/>
                    </a:lnTo>
                    <a:lnTo>
                      <a:pt x="2" y="158"/>
                    </a:lnTo>
                    <a:lnTo>
                      <a:pt x="2" y="161"/>
                    </a:lnTo>
                    <a:lnTo>
                      <a:pt x="2" y="163"/>
                    </a:lnTo>
                    <a:lnTo>
                      <a:pt x="4" y="165"/>
                    </a:lnTo>
                    <a:lnTo>
                      <a:pt x="4" y="168"/>
                    </a:lnTo>
                    <a:lnTo>
                      <a:pt x="7" y="170"/>
                    </a:lnTo>
                    <a:lnTo>
                      <a:pt x="7" y="172"/>
                    </a:lnTo>
                    <a:lnTo>
                      <a:pt x="7" y="172"/>
                    </a:lnTo>
                    <a:lnTo>
                      <a:pt x="9" y="175"/>
                    </a:lnTo>
                    <a:lnTo>
                      <a:pt x="9" y="177"/>
                    </a:lnTo>
                    <a:lnTo>
                      <a:pt x="11" y="180"/>
                    </a:lnTo>
                    <a:lnTo>
                      <a:pt x="11" y="182"/>
                    </a:lnTo>
                    <a:lnTo>
                      <a:pt x="11" y="184"/>
                    </a:lnTo>
                    <a:lnTo>
                      <a:pt x="14" y="187"/>
                    </a:lnTo>
                    <a:lnTo>
                      <a:pt x="14" y="189"/>
                    </a:lnTo>
                    <a:lnTo>
                      <a:pt x="16" y="191"/>
                    </a:lnTo>
                    <a:lnTo>
                      <a:pt x="16" y="191"/>
                    </a:lnTo>
                    <a:lnTo>
                      <a:pt x="16" y="194"/>
                    </a:lnTo>
                    <a:lnTo>
                      <a:pt x="19" y="196"/>
                    </a:lnTo>
                    <a:lnTo>
                      <a:pt x="21" y="198"/>
                    </a:lnTo>
                    <a:lnTo>
                      <a:pt x="21" y="201"/>
                    </a:lnTo>
                    <a:lnTo>
                      <a:pt x="23" y="203"/>
                    </a:lnTo>
                    <a:lnTo>
                      <a:pt x="26" y="203"/>
                    </a:lnTo>
                    <a:lnTo>
                      <a:pt x="33" y="201"/>
                    </a:lnTo>
                    <a:lnTo>
                      <a:pt x="35" y="201"/>
                    </a:lnTo>
                    <a:lnTo>
                      <a:pt x="38" y="198"/>
                    </a:lnTo>
                    <a:lnTo>
                      <a:pt x="40" y="196"/>
                    </a:lnTo>
                    <a:lnTo>
                      <a:pt x="45" y="196"/>
                    </a:lnTo>
                    <a:lnTo>
                      <a:pt x="49" y="196"/>
                    </a:lnTo>
                    <a:lnTo>
                      <a:pt x="52" y="196"/>
                    </a:lnTo>
                    <a:lnTo>
                      <a:pt x="54" y="198"/>
                    </a:lnTo>
                    <a:lnTo>
                      <a:pt x="59" y="196"/>
                    </a:lnTo>
                    <a:lnTo>
                      <a:pt x="61" y="194"/>
                    </a:lnTo>
                    <a:lnTo>
                      <a:pt x="61" y="189"/>
                    </a:lnTo>
                    <a:lnTo>
                      <a:pt x="61" y="189"/>
                    </a:lnTo>
                    <a:lnTo>
                      <a:pt x="61" y="187"/>
                    </a:lnTo>
                    <a:lnTo>
                      <a:pt x="61" y="187"/>
                    </a:lnTo>
                    <a:lnTo>
                      <a:pt x="61" y="184"/>
                    </a:lnTo>
                    <a:lnTo>
                      <a:pt x="66" y="180"/>
                    </a:lnTo>
                    <a:lnTo>
                      <a:pt x="68" y="177"/>
                    </a:lnTo>
                    <a:lnTo>
                      <a:pt x="75" y="177"/>
                    </a:lnTo>
                    <a:lnTo>
                      <a:pt x="80" y="177"/>
                    </a:lnTo>
                    <a:lnTo>
                      <a:pt x="82" y="175"/>
                    </a:lnTo>
                    <a:lnTo>
                      <a:pt x="85" y="172"/>
                    </a:lnTo>
                    <a:lnTo>
                      <a:pt x="85" y="163"/>
                    </a:lnTo>
                    <a:lnTo>
                      <a:pt x="90" y="161"/>
                    </a:lnTo>
                    <a:lnTo>
                      <a:pt x="92" y="158"/>
                    </a:lnTo>
                    <a:lnTo>
                      <a:pt x="94" y="156"/>
                    </a:lnTo>
                    <a:lnTo>
                      <a:pt x="99" y="156"/>
                    </a:lnTo>
                    <a:lnTo>
                      <a:pt x="104" y="156"/>
                    </a:lnTo>
                    <a:lnTo>
                      <a:pt x="106" y="156"/>
                    </a:lnTo>
                    <a:lnTo>
                      <a:pt x="106" y="153"/>
                    </a:lnTo>
                    <a:lnTo>
                      <a:pt x="106" y="151"/>
                    </a:lnTo>
                    <a:lnTo>
                      <a:pt x="106" y="149"/>
                    </a:lnTo>
                    <a:lnTo>
                      <a:pt x="104" y="146"/>
                    </a:lnTo>
                    <a:lnTo>
                      <a:pt x="104" y="142"/>
                    </a:lnTo>
                    <a:lnTo>
                      <a:pt x="104" y="139"/>
                    </a:lnTo>
                    <a:lnTo>
                      <a:pt x="104" y="137"/>
                    </a:lnTo>
                    <a:lnTo>
                      <a:pt x="104" y="135"/>
                    </a:lnTo>
                    <a:lnTo>
                      <a:pt x="106" y="130"/>
                    </a:lnTo>
                    <a:lnTo>
                      <a:pt x="106" y="127"/>
                    </a:lnTo>
                    <a:lnTo>
                      <a:pt x="106" y="125"/>
                    </a:lnTo>
                    <a:lnTo>
                      <a:pt x="108" y="120"/>
                    </a:lnTo>
                    <a:lnTo>
                      <a:pt x="111" y="120"/>
                    </a:lnTo>
                    <a:lnTo>
                      <a:pt x="111" y="120"/>
                    </a:lnTo>
                    <a:lnTo>
                      <a:pt x="111" y="123"/>
                    </a:lnTo>
                    <a:lnTo>
                      <a:pt x="111" y="125"/>
                    </a:lnTo>
                    <a:lnTo>
                      <a:pt x="113" y="125"/>
                    </a:lnTo>
                    <a:lnTo>
                      <a:pt x="113" y="125"/>
                    </a:lnTo>
                    <a:lnTo>
                      <a:pt x="116" y="125"/>
                    </a:lnTo>
                    <a:lnTo>
                      <a:pt x="118" y="123"/>
                    </a:lnTo>
                    <a:lnTo>
                      <a:pt x="120" y="116"/>
                    </a:lnTo>
                    <a:lnTo>
                      <a:pt x="123" y="111"/>
                    </a:lnTo>
                    <a:lnTo>
                      <a:pt x="125" y="106"/>
                    </a:lnTo>
                    <a:lnTo>
                      <a:pt x="130" y="104"/>
                    </a:lnTo>
                    <a:lnTo>
                      <a:pt x="132" y="101"/>
                    </a:lnTo>
                    <a:lnTo>
                      <a:pt x="135" y="97"/>
                    </a:lnTo>
                    <a:lnTo>
                      <a:pt x="135" y="92"/>
                    </a:lnTo>
                    <a:lnTo>
                      <a:pt x="137" y="90"/>
                    </a:lnTo>
                    <a:lnTo>
                      <a:pt x="137" y="87"/>
                    </a:lnTo>
                    <a:lnTo>
                      <a:pt x="139" y="85"/>
                    </a:lnTo>
                    <a:lnTo>
                      <a:pt x="139" y="82"/>
                    </a:lnTo>
                    <a:lnTo>
                      <a:pt x="137" y="80"/>
                    </a:lnTo>
                    <a:close/>
                    <a:moveTo>
                      <a:pt x="68" y="21"/>
                    </a:moveTo>
                    <a:lnTo>
                      <a:pt x="68" y="21"/>
                    </a:lnTo>
                    <a:lnTo>
                      <a:pt x="68" y="23"/>
                    </a:lnTo>
                    <a:lnTo>
                      <a:pt x="68" y="23"/>
                    </a:lnTo>
                    <a:lnTo>
                      <a:pt x="68" y="23"/>
                    </a:lnTo>
                    <a:lnTo>
                      <a:pt x="68" y="21"/>
                    </a:lnTo>
                    <a:lnTo>
                      <a:pt x="68" y="21"/>
                    </a:lnTo>
                    <a:lnTo>
                      <a:pt x="68" y="21"/>
                    </a:lnTo>
                    <a:close/>
                    <a:moveTo>
                      <a:pt x="66" y="4"/>
                    </a:moveTo>
                    <a:lnTo>
                      <a:pt x="66" y="7"/>
                    </a:lnTo>
                    <a:lnTo>
                      <a:pt x="66" y="9"/>
                    </a:lnTo>
                    <a:lnTo>
                      <a:pt x="66" y="11"/>
                    </a:lnTo>
                    <a:lnTo>
                      <a:pt x="66" y="14"/>
                    </a:lnTo>
                    <a:lnTo>
                      <a:pt x="66" y="14"/>
                    </a:lnTo>
                    <a:lnTo>
                      <a:pt x="68" y="14"/>
                    </a:lnTo>
                    <a:lnTo>
                      <a:pt x="68" y="14"/>
                    </a:lnTo>
                    <a:lnTo>
                      <a:pt x="68" y="14"/>
                    </a:lnTo>
                    <a:lnTo>
                      <a:pt x="68" y="11"/>
                    </a:lnTo>
                    <a:lnTo>
                      <a:pt x="68" y="11"/>
                    </a:lnTo>
                    <a:lnTo>
                      <a:pt x="68" y="11"/>
                    </a:lnTo>
                    <a:lnTo>
                      <a:pt x="68" y="4"/>
                    </a:lnTo>
                    <a:lnTo>
                      <a:pt x="68" y="2"/>
                    </a:lnTo>
                    <a:lnTo>
                      <a:pt x="68" y="0"/>
                    </a:lnTo>
                    <a:lnTo>
                      <a:pt x="68" y="0"/>
                    </a:lnTo>
                    <a:lnTo>
                      <a:pt x="68" y="0"/>
                    </a:lnTo>
                    <a:lnTo>
                      <a:pt x="68" y="0"/>
                    </a:lnTo>
                    <a:lnTo>
                      <a:pt x="66" y="2"/>
                    </a:lnTo>
                    <a:lnTo>
                      <a:pt x="66" y="2"/>
                    </a:lnTo>
                    <a:lnTo>
                      <a:pt x="66" y="2"/>
                    </a:lnTo>
                    <a:lnTo>
                      <a:pt x="64" y="2"/>
                    </a:lnTo>
                    <a:lnTo>
                      <a:pt x="64" y="4"/>
                    </a:lnTo>
                    <a:lnTo>
                      <a:pt x="64" y="4"/>
                    </a:lnTo>
                    <a:lnTo>
                      <a:pt x="66" y="4"/>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78"/>
              <p:cNvSpPr>
                <a:spLocks noEditPoints="1"/>
              </p:cNvSpPr>
              <p:nvPr/>
            </p:nvSpPr>
            <p:spPr bwMode="auto">
              <a:xfrm>
                <a:off x="2862" y="1341"/>
                <a:ext cx="360" cy="244"/>
              </a:xfrm>
              <a:custGeom>
                <a:avLst/>
                <a:gdLst>
                  <a:gd name="T0" fmla="*/ 50 w 360"/>
                  <a:gd name="T1" fmla="*/ 143 h 244"/>
                  <a:gd name="T2" fmla="*/ 90 w 360"/>
                  <a:gd name="T3" fmla="*/ 114 h 244"/>
                  <a:gd name="T4" fmla="*/ 111 w 360"/>
                  <a:gd name="T5" fmla="*/ 95 h 244"/>
                  <a:gd name="T6" fmla="*/ 121 w 360"/>
                  <a:gd name="T7" fmla="*/ 57 h 244"/>
                  <a:gd name="T8" fmla="*/ 130 w 360"/>
                  <a:gd name="T9" fmla="*/ 55 h 244"/>
                  <a:gd name="T10" fmla="*/ 152 w 360"/>
                  <a:gd name="T11" fmla="*/ 43 h 244"/>
                  <a:gd name="T12" fmla="*/ 152 w 360"/>
                  <a:gd name="T13" fmla="*/ 50 h 244"/>
                  <a:gd name="T14" fmla="*/ 161 w 360"/>
                  <a:gd name="T15" fmla="*/ 45 h 244"/>
                  <a:gd name="T16" fmla="*/ 154 w 360"/>
                  <a:gd name="T17" fmla="*/ 41 h 244"/>
                  <a:gd name="T18" fmla="*/ 175 w 360"/>
                  <a:gd name="T19" fmla="*/ 29 h 244"/>
                  <a:gd name="T20" fmla="*/ 185 w 360"/>
                  <a:gd name="T21" fmla="*/ 36 h 244"/>
                  <a:gd name="T22" fmla="*/ 223 w 360"/>
                  <a:gd name="T23" fmla="*/ 19 h 244"/>
                  <a:gd name="T24" fmla="*/ 201 w 360"/>
                  <a:gd name="T25" fmla="*/ 17 h 244"/>
                  <a:gd name="T26" fmla="*/ 189 w 360"/>
                  <a:gd name="T27" fmla="*/ 26 h 244"/>
                  <a:gd name="T28" fmla="*/ 260 w 360"/>
                  <a:gd name="T29" fmla="*/ 12 h 244"/>
                  <a:gd name="T30" fmla="*/ 265 w 360"/>
                  <a:gd name="T31" fmla="*/ 10 h 244"/>
                  <a:gd name="T32" fmla="*/ 256 w 360"/>
                  <a:gd name="T33" fmla="*/ 8 h 244"/>
                  <a:gd name="T34" fmla="*/ 353 w 360"/>
                  <a:gd name="T35" fmla="*/ 24 h 244"/>
                  <a:gd name="T36" fmla="*/ 350 w 360"/>
                  <a:gd name="T37" fmla="*/ 12 h 244"/>
                  <a:gd name="T38" fmla="*/ 322 w 360"/>
                  <a:gd name="T39" fmla="*/ 17 h 244"/>
                  <a:gd name="T40" fmla="*/ 308 w 360"/>
                  <a:gd name="T41" fmla="*/ 8 h 244"/>
                  <a:gd name="T42" fmla="*/ 279 w 360"/>
                  <a:gd name="T43" fmla="*/ 19 h 244"/>
                  <a:gd name="T44" fmla="*/ 267 w 360"/>
                  <a:gd name="T45" fmla="*/ 8 h 244"/>
                  <a:gd name="T46" fmla="*/ 244 w 360"/>
                  <a:gd name="T47" fmla="*/ 15 h 244"/>
                  <a:gd name="T48" fmla="*/ 225 w 360"/>
                  <a:gd name="T49" fmla="*/ 22 h 244"/>
                  <a:gd name="T50" fmla="*/ 213 w 360"/>
                  <a:gd name="T51" fmla="*/ 24 h 244"/>
                  <a:gd name="T52" fmla="*/ 194 w 360"/>
                  <a:gd name="T53" fmla="*/ 34 h 244"/>
                  <a:gd name="T54" fmla="*/ 180 w 360"/>
                  <a:gd name="T55" fmla="*/ 48 h 244"/>
                  <a:gd name="T56" fmla="*/ 161 w 360"/>
                  <a:gd name="T57" fmla="*/ 57 h 244"/>
                  <a:gd name="T58" fmla="*/ 152 w 360"/>
                  <a:gd name="T59" fmla="*/ 62 h 244"/>
                  <a:gd name="T60" fmla="*/ 140 w 360"/>
                  <a:gd name="T61" fmla="*/ 69 h 244"/>
                  <a:gd name="T62" fmla="*/ 128 w 360"/>
                  <a:gd name="T63" fmla="*/ 79 h 244"/>
                  <a:gd name="T64" fmla="*/ 118 w 360"/>
                  <a:gd name="T65" fmla="*/ 95 h 244"/>
                  <a:gd name="T66" fmla="*/ 109 w 360"/>
                  <a:gd name="T67" fmla="*/ 109 h 244"/>
                  <a:gd name="T68" fmla="*/ 71 w 360"/>
                  <a:gd name="T69" fmla="*/ 135 h 244"/>
                  <a:gd name="T70" fmla="*/ 97 w 360"/>
                  <a:gd name="T71" fmla="*/ 133 h 244"/>
                  <a:gd name="T72" fmla="*/ 69 w 360"/>
                  <a:gd name="T73" fmla="*/ 138 h 244"/>
                  <a:gd name="T74" fmla="*/ 57 w 360"/>
                  <a:gd name="T75" fmla="*/ 152 h 244"/>
                  <a:gd name="T76" fmla="*/ 45 w 360"/>
                  <a:gd name="T77" fmla="*/ 154 h 244"/>
                  <a:gd name="T78" fmla="*/ 29 w 360"/>
                  <a:gd name="T79" fmla="*/ 159 h 244"/>
                  <a:gd name="T80" fmla="*/ 24 w 360"/>
                  <a:gd name="T81" fmla="*/ 171 h 244"/>
                  <a:gd name="T82" fmla="*/ 5 w 360"/>
                  <a:gd name="T83" fmla="*/ 183 h 244"/>
                  <a:gd name="T84" fmla="*/ 38 w 360"/>
                  <a:gd name="T85" fmla="*/ 183 h 244"/>
                  <a:gd name="T86" fmla="*/ 3 w 360"/>
                  <a:gd name="T87" fmla="*/ 192 h 244"/>
                  <a:gd name="T88" fmla="*/ 5 w 360"/>
                  <a:gd name="T89" fmla="*/ 209 h 244"/>
                  <a:gd name="T90" fmla="*/ 29 w 360"/>
                  <a:gd name="T91" fmla="*/ 199 h 244"/>
                  <a:gd name="T92" fmla="*/ 14 w 360"/>
                  <a:gd name="T93" fmla="*/ 214 h 244"/>
                  <a:gd name="T94" fmla="*/ 19 w 360"/>
                  <a:gd name="T95" fmla="*/ 218 h 244"/>
                  <a:gd name="T96" fmla="*/ 17 w 360"/>
                  <a:gd name="T97" fmla="*/ 237 h 244"/>
                  <a:gd name="T98" fmla="*/ 38 w 360"/>
                  <a:gd name="T99" fmla="*/ 244 h 244"/>
                  <a:gd name="T100" fmla="*/ 76 w 360"/>
                  <a:gd name="T101" fmla="*/ 228 h 244"/>
                  <a:gd name="T102" fmla="*/ 92 w 360"/>
                  <a:gd name="T103" fmla="*/ 223 h 244"/>
                  <a:gd name="T104" fmla="*/ 114 w 360"/>
                  <a:gd name="T105" fmla="*/ 204 h 244"/>
                  <a:gd name="T106" fmla="*/ 109 w 360"/>
                  <a:gd name="T107" fmla="*/ 173 h 244"/>
                  <a:gd name="T108" fmla="*/ 121 w 360"/>
                  <a:gd name="T109" fmla="*/ 128 h 244"/>
                  <a:gd name="T110" fmla="*/ 142 w 360"/>
                  <a:gd name="T111" fmla="*/ 95 h 244"/>
                  <a:gd name="T112" fmla="*/ 170 w 360"/>
                  <a:gd name="T113" fmla="*/ 60 h 244"/>
                  <a:gd name="T114" fmla="*/ 213 w 360"/>
                  <a:gd name="T115" fmla="*/ 48 h 244"/>
                  <a:gd name="T116" fmla="*/ 239 w 360"/>
                  <a:gd name="T117" fmla="*/ 36 h 244"/>
                  <a:gd name="T118" fmla="*/ 284 w 360"/>
                  <a:gd name="T119" fmla="*/ 45 h 244"/>
                  <a:gd name="T120" fmla="*/ 308 w 360"/>
                  <a:gd name="T121" fmla="*/ 22 h 244"/>
                  <a:gd name="T122" fmla="*/ 341 w 360"/>
                  <a:gd name="T123" fmla="*/ 34 h 244"/>
                  <a:gd name="T124" fmla="*/ 286 w 360"/>
                  <a:gd name="T125" fmla="*/ 5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60" h="244">
                    <a:moveTo>
                      <a:pt x="5" y="202"/>
                    </a:moveTo>
                    <a:lnTo>
                      <a:pt x="3" y="199"/>
                    </a:lnTo>
                    <a:lnTo>
                      <a:pt x="3" y="197"/>
                    </a:lnTo>
                    <a:lnTo>
                      <a:pt x="3" y="197"/>
                    </a:lnTo>
                    <a:lnTo>
                      <a:pt x="3" y="199"/>
                    </a:lnTo>
                    <a:lnTo>
                      <a:pt x="3" y="199"/>
                    </a:lnTo>
                    <a:lnTo>
                      <a:pt x="3" y="202"/>
                    </a:lnTo>
                    <a:lnTo>
                      <a:pt x="3" y="202"/>
                    </a:lnTo>
                    <a:lnTo>
                      <a:pt x="3" y="202"/>
                    </a:lnTo>
                    <a:lnTo>
                      <a:pt x="5" y="204"/>
                    </a:lnTo>
                    <a:lnTo>
                      <a:pt x="5" y="202"/>
                    </a:lnTo>
                    <a:close/>
                    <a:moveTo>
                      <a:pt x="3" y="185"/>
                    </a:moveTo>
                    <a:lnTo>
                      <a:pt x="3" y="183"/>
                    </a:lnTo>
                    <a:lnTo>
                      <a:pt x="0" y="183"/>
                    </a:lnTo>
                    <a:lnTo>
                      <a:pt x="0" y="185"/>
                    </a:lnTo>
                    <a:lnTo>
                      <a:pt x="0" y="185"/>
                    </a:lnTo>
                    <a:lnTo>
                      <a:pt x="0" y="185"/>
                    </a:lnTo>
                    <a:lnTo>
                      <a:pt x="3" y="185"/>
                    </a:lnTo>
                    <a:lnTo>
                      <a:pt x="3" y="185"/>
                    </a:lnTo>
                    <a:close/>
                    <a:moveTo>
                      <a:pt x="47" y="143"/>
                    </a:moveTo>
                    <a:lnTo>
                      <a:pt x="47" y="143"/>
                    </a:lnTo>
                    <a:lnTo>
                      <a:pt x="50" y="143"/>
                    </a:lnTo>
                    <a:lnTo>
                      <a:pt x="50" y="143"/>
                    </a:lnTo>
                    <a:lnTo>
                      <a:pt x="50" y="140"/>
                    </a:lnTo>
                    <a:lnTo>
                      <a:pt x="50" y="140"/>
                    </a:lnTo>
                    <a:lnTo>
                      <a:pt x="47" y="140"/>
                    </a:lnTo>
                    <a:lnTo>
                      <a:pt x="45" y="143"/>
                    </a:lnTo>
                    <a:lnTo>
                      <a:pt x="45" y="143"/>
                    </a:lnTo>
                    <a:lnTo>
                      <a:pt x="47" y="143"/>
                    </a:lnTo>
                    <a:close/>
                    <a:moveTo>
                      <a:pt x="55" y="138"/>
                    </a:moveTo>
                    <a:lnTo>
                      <a:pt x="59" y="135"/>
                    </a:lnTo>
                    <a:lnTo>
                      <a:pt x="59" y="135"/>
                    </a:lnTo>
                    <a:lnTo>
                      <a:pt x="59" y="135"/>
                    </a:lnTo>
                    <a:lnTo>
                      <a:pt x="59" y="133"/>
                    </a:lnTo>
                    <a:lnTo>
                      <a:pt x="59" y="133"/>
                    </a:lnTo>
                    <a:lnTo>
                      <a:pt x="59" y="135"/>
                    </a:lnTo>
                    <a:lnTo>
                      <a:pt x="55" y="135"/>
                    </a:lnTo>
                    <a:lnTo>
                      <a:pt x="52" y="135"/>
                    </a:lnTo>
                    <a:lnTo>
                      <a:pt x="55" y="138"/>
                    </a:lnTo>
                    <a:lnTo>
                      <a:pt x="55" y="138"/>
                    </a:lnTo>
                    <a:close/>
                    <a:moveTo>
                      <a:pt x="92" y="112"/>
                    </a:moveTo>
                    <a:lnTo>
                      <a:pt x="90" y="114"/>
                    </a:lnTo>
                    <a:lnTo>
                      <a:pt x="88" y="114"/>
                    </a:lnTo>
                    <a:lnTo>
                      <a:pt x="90" y="114"/>
                    </a:lnTo>
                    <a:lnTo>
                      <a:pt x="92" y="114"/>
                    </a:lnTo>
                    <a:lnTo>
                      <a:pt x="95" y="114"/>
                    </a:lnTo>
                    <a:lnTo>
                      <a:pt x="95" y="114"/>
                    </a:lnTo>
                    <a:lnTo>
                      <a:pt x="95" y="114"/>
                    </a:lnTo>
                    <a:lnTo>
                      <a:pt x="95" y="112"/>
                    </a:lnTo>
                    <a:lnTo>
                      <a:pt x="92" y="112"/>
                    </a:lnTo>
                    <a:close/>
                    <a:moveTo>
                      <a:pt x="102" y="100"/>
                    </a:moveTo>
                    <a:lnTo>
                      <a:pt x="102" y="100"/>
                    </a:lnTo>
                    <a:lnTo>
                      <a:pt x="102" y="100"/>
                    </a:lnTo>
                    <a:lnTo>
                      <a:pt x="104" y="100"/>
                    </a:lnTo>
                    <a:lnTo>
                      <a:pt x="104" y="100"/>
                    </a:lnTo>
                    <a:lnTo>
                      <a:pt x="107" y="100"/>
                    </a:lnTo>
                    <a:lnTo>
                      <a:pt x="107" y="98"/>
                    </a:lnTo>
                    <a:lnTo>
                      <a:pt x="104" y="98"/>
                    </a:lnTo>
                    <a:lnTo>
                      <a:pt x="102" y="100"/>
                    </a:lnTo>
                    <a:close/>
                    <a:moveTo>
                      <a:pt x="116" y="93"/>
                    </a:moveTo>
                    <a:lnTo>
                      <a:pt x="116" y="93"/>
                    </a:lnTo>
                    <a:lnTo>
                      <a:pt x="116" y="93"/>
                    </a:lnTo>
                    <a:lnTo>
                      <a:pt x="114" y="93"/>
                    </a:lnTo>
                    <a:lnTo>
                      <a:pt x="114" y="93"/>
                    </a:lnTo>
                    <a:lnTo>
                      <a:pt x="111" y="93"/>
                    </a:lnTo>
                    <a:lnTo>
                      <a:pt x="111" y="95"/>
                    </a:lnTo>
                    <a:lnTo>
                      <a:pt x="111" y="95"/>
                    </a:lnTo>
                    <a:lnTo>
                      <a:pt x="114" y="95"/>
                    </a:lnTo>
                    <a:lnTo>
                      <a:pt x="116" y="93"/>
                    </a:lnTo>
                    <a:close/>
                    <a:moveTo>
                      <a:pt x="114" y="90"/>
                    </a:moveTo>
                    <a:lnTo>
                      <a:pt x="114" y="90"/>
                    </a:lnTo>
                    <a:lnTo>
                      <a:pt x="114" y="90"/>
                    </a:lnTo>
                    <a:lnTo>
                      <a:pt x="111" y="90"/>
                    </a:lnTo>
                    <a:lnTo>
                      <a:pt x="111" y="90"/>
                    </a:lnTo>
                    <a:lnTo>
                      <a:pt x="111" y="90"/>
                    </a:lnTo>
                    <a:lnTo>
                      <a:pt x="111" y="93"/>
                    </a:lnTo>
                    <a:lnTo>
                      <a:pt x="111" y="93"/>
                    </a:lnTo>
                    <a:lnTo>
                      <a:pt x="111" y="93"/>
                    </a:lnTo>
                    <a:lnTo>
                      <a:pt x="114" y="93"/>
                    </a:lnTo>
                    <a:lnTo>
                      <a:pt x="114" y="90"/>
                    </a:lnTo>
                    <a:close/>
                    <a:moveTo>
                      <a:pt x="121" y="55"/>
                    </a:moveTo>
                    <a:lnTo>
                      <a:pt x="118" y="57"/>
                    </a:lnTo>
                    <a:lnTo>
                      <a:pt x="118" y="57"/>
                    </a:lnTo>
                    <a:lnTo>
                      <a:pt x="116" y="60"/>
                    </a:lnTo>
                    <a:lnTo>
                      <a:pt x="118" y="60"/>
                    </a:lnTo>
                    <a:lnTo>
                      <a:pt x="121" y="57"/>
                    </a:lnTo>
                    <a:lnTo>
                      <a:pt x="121" y="57"/>
                    </a:lnTo>
                    <a:lnTo>
                      <a:pt x="121" y="57"/>
                    </a:lnTo>
                    <a:lnTo>
                      <a:pt x="121" y="55"/>
                    </a:lnTo>
                    <a:lnTo>
                      <a:pt x="121" y="55"/>
                    </a:lnTo>
                    <a:close/>
                    <a:moveTo>
                      <a:pt x="133" y="53"/>
                    </a:moveTo>
                    <a:lnTo>
                      <a:pt x="130" y="53"/>
                    </a:lnTo>
                    <a:lnTo>
                      <a:pt x="130" y="53"/>
                    </a:lnTo>
                    <a:lnTo>
                      <a:pt x="128" y="53"/>
                    </a:lnTo>
                    <a:lnTo>
                      <a:pt x="126" y="53"/>
                    </a:lnTo>
                    <a:lnTo>
                      <a:pt x="126" y="55"/>
                    </a:lnTo>
                    <a:lnTo>
                      <a:pt x="123" y="53"/>
                    </a:lnTo>
                    <a:lnTo>
                      <a:pt x="123" y="55"/>
                    </a:lnTo>
                    <a:lnTo>
                      <a:pt x="123" y="55"/>
                    </a:lnTo>
                    <a:lnTo>
                      <a:pt x="121" y="55"/>
                    </a:lnTo>
                    <a:lnTo>
                      <a:pt x="123" y="57"/>
                    </a:lnTo>
                    <a:lnTo>
                      <a:pt x="123" y="57"/>
                    </a:lnTo>
                    <a:lnTo>
                      <a:pt x="126" y="57"/>
                    </a:lnTo>
                    <a:lnTo>
                      <a:pt x="126" y="55"/>
                    </a:lnTo>
                    <a:lnTo>
                      <a:pt x="126" y="55"/>
                    </a:lnTo>
                    <a:lnTo>
                      <a:pt x="126" y="55"/>
                    </a:lnTo>
                    <a:lnTo>
                      <a:pt x="128" y="55"/>
                    </a:lnTo>
                    <a:lnTo>
                      <a:pt x="128" y="55"/>
                    </a:lnTo>
                    <a:lnTo>
                      <a:pt x="130" y="55"/>
                    </a:lnTo>
                    <a:lnTo>
                      <a:pt x="130" y="55"/>
                    </a:lnTo>
                    <a:lnTo>
                      <a:pt x="130" y="53"/>
                    </a:lnTo>
                    <a:lnTo>
                      <a:pt x="133" y="53"/>
                    </a:lnTo>
                    <a:lnTo>
                      <a:pt x="135" y="53"/>
                    </a:lnTo>
                    <a:lnTo>
                      <a:pt x="135" y="53"/>
                    </a:lnTo>
                    <a:lnTo>
                      <a:pt x="135" y="53"/>
                    </a:lnTo>
                    <a:lnTo>
                      <a:pt x="133" y="53"/>
                    </a:lnTo>
                    <a:close/>
                    <a:moveTo>
                      <a:pt x="142" y="43"/>
                    </a:moveTo>
                    <a:lnTo>
                      <a:pt x="142" y="43"/>
                    </a:lnTo>
                    <a:lnTo>
                      <a:pt x="140" y="43"/>
                    </a:lnTo>
                    <a:lnTo>
                      <a:pt x="140" y="43"/>
                    </a:lnTo>
                    <a:lnTo>
                      <a:pt x="137" y="43"/>
                    </a:lnTo>
                    <a:lnTo>
                      <a:pt x="137" y="45"/>
                    </a:lnTo>
                    <a:lnTo>
                      <a:pt x="140" y="45"/>
                    </a:lnTo>
                    <a:lnTo>
                      <a:pt x="142" y="45"/>
                    </a:lnTo>
                    <a:lnTo>
                      <a:pt x="142" y="45"/>
                    </a:lnTo>
                    <a:lnTo>
                      <a:pt x="144" y="45"/>
                    </a:lnTo>
                    <a:lnTo>
                      <a:pt x="144" y="45"/>
                    </a:lnTo>
                    <a:lnTo>
                      <a:pt x="144" y="45"/>
                    </a:lnTo>
                    <a:lnTo>
                      <a:pt x="147" y="45"/>
                    </a:lnTo>
                    <a:lnTo>
                      <a:pt x="149" y="45"/>
                    </a:lnTo>
                    <a:lnTo>
                      <a:pt x="152" y="45"/>
                    </a:lnTo>
                    <a:lnTo>
                      <a:pt x="152" y="43"/>
                    </a:lnTo>
                    <a:lnTo>
                      <a:pt x="152" y="41"/>
                    </a:lnTo>
                    <a:lnTo>
                      <a:pt x="149" y="41"/>
                    </a:lnTo>
                    <a:lnTo>
                      <a:pt x="149" y="38"/>
                    </a:lnTo>
                    <a:lnTo>
                      <a:pt x="147" y="38"/>
                    </a:lnTo>
                    <a:lnTo>
                      <a:pt x="147" y="38"/>
                    </a:lnTo>
                    <a:lnTo>
                      <a:pt x="147" y="38"/>
                    </a:lnTo>
                    <a:lnTo>
                      <a:pt x="147" y="41"/>
                    </a:lnTo>
                    <a:lnTo>
                      <a:pt x="144" y="41"/>
                    </a:lnTo>
                    <a:lnTo>
                      <a:pt x="144" y="41"/>
                    </a:lnTo>
                    <a:lnTo>
                      <a:pt x="144" y="41"/>
                    </a:lnTo>
                    <a:lnTo>
                      <a:pt x="144" y="43"/>
                    </a:lnTo>
                    <a:lnTo>
                      <a:pt x="142" y="43"/>
                    </a:lnTo>
                    <a:close/>
                    <a:moveTo>
                      <a:pt x="137" y="53"/>
                    </a:moveTo>
                    <a:lnTo>
                      <a:pt x="137" y="53"/>
                    </a:lnTo>
                    <a:lnTo>
                      <a:pt x="142" y="53"/>
                    </a:lnTo>
                    <a:lnTo>
                      <a:pt x="144" y="50"/>
                    </a:lnTo>
                    <a:lnTo>
                      <a:pt x="147" y="53"/>
                    </a:lnTo>
                    <a:lnTo>
                      <a:pt x="147" y="53"/>
                    </a:lnTo>
                    <a:lnTo>
                      <a:pt x="149" y="50"/>
                    </a:lnTo>
                    <a:lnTo>
                      <a:pt x="149" y="50"/>
                    </a:lnTo>
                    <a:lnTo>
                      <a:pt x="152" y="50"/>
                    </a:lnTo>
                    <a:lnTo>
                      <a:pt x="152" y="50"/>
                    </a:lnTo>
                    <a:lnTo>
                      <a:pt x="152" y="50"/>
                    </a:lnTo>
                    <a:lnTo>
                      <a:pt x="156" y="50"/>
                    </a:lnTo>
                    <a:lnTo>
                      <a:pt x="156" y="50"/>
                    </a:lnTo>
                    <a:lnTo>
                      <a:pt x="159" y="50"/>
                    </a:lnTo>
                    <a:lnTo>
                      <a:pt x="159" y="50"/>
                    </a:lnTo>
                    <a:lnTo>
                      <a:pt x="159" y="50"/>
                    </a:lnTo>
                    <a:lnTo>
                      <a:pt x="159" y="50"/>
                    </a:lnTo>
                    <a:lnTo>
                      <a:pt x="161" y="48"/>
                    </a:lnTo>
                    <a:lnTo>
                      <a:pt x="163" y="48"/>
                    </a:lnTo>
                    <a:lnTo>
                      <a:pt x="163" y="45"/>
                    </a:lnTo>
                    <a:lnTo>
                      <a:pt x="168" y="45"/>
                    </a:lnTo>
                    <a:lnTo>
                      <a:pt x="168" y="43"/>
                    </a:lnTo>
                    <a:lnTo>
                      <a:pt x="166" y="43"/>
                    </a:lnTo>
                    <a:lnTo>
                      <a:pt x="166" y="41"/>
                    </a:lnTo>
                    <a:lnTo>
                      <a:pt x="163" y="41"/>
                    </a:lnTo>
                    <a:lnTo>
                      <a:pt x="163" y="41"/>
                    </a:lnTo>
                    <a:lnTo>
                      <a:pt x="163" y="41"/>
                    </a:lnTo>
                    <a:lnTo>
                      <a:pt x="161" y="41"/>
                    </a:lnTo>
                    <a:lnTo>
                      <a:pt x="161" y="43"/>
                    </a:lnTo>
                    <a:lnTo>
                      <a:pt x="161" y="43"/>
                    </a:lnTo>
                    <a:lnTo>
                      <a:pt x="161" y="43"/>
                    </a:lnTo>
                    <a:lnTo>
                      <a:pt x="161" y="45"/>
                    </a:lnTo>
                    <a:lnTo>
                      <a:pt x="159" y="45"/>
                    </a:lnTo>
                    <a:lnTo>
                      <a:pt x="156" y="48"/>
                    </a:lnTo>
                    <a:lnTo>
                      <a:pt x="156" y="45"/>
                    </a:lnTo>
                    <a:lnTo>
                      <a:pt x="156" y="45"/>
                    </a:lnTo>
                    <a:lnTo>
                      <a:pt x="159" y="43"/>
                    </a:lnTo>
                    <a:lnTo>
                      <a:pt x="159" y="43"/>
                    </a:lnTo>
                    <a:lnTo>
                      <a:pt x="159" y="41"/>
                    </a:lnTo>
                    <a:lnTo>
                      <a:pt x="156" y="38"/>
                    </a:lnTo>
                    <a:lnTo>
                      <a:pt x="156" y="38"/>
                    </a:lnTo>
                    <a:lnTo>
                      <a:pt x="159" y="36"/>
                    </a:lnTo>
                    <a:lnTo>
                      <a:pt x="161" y="36"/>
                    </a:lnTo>
                    <a:lnTo>
                      <a:pt x="161" y="34"/>
                    </a:lnTo>
                    <a:lnTo>
                      <a:pt x="161" y="34"/>
                    </a:lnTo>
                    <a:lnTo>
                      <a:pt x="159" y="34"/>
                    </a:lnTo>
                    <a:lnTo>
                      <a:pt x="159" y="34"/>
                    </a:lnTo>
                    <a:lnTo>
                      <a:pt x="156" y="36"/>
                    </a:lnTo>
                    <a:lnTo>
                      <a:pt x="154" y="36"/>
                    </a:lnTo>
                    <a:lnTo>
                      <a:pt x="152" y="38"/>
                    </a:lnTo>
                    <a:lnTo>
                      <a:pt x="152" y="38"/>
                    </a:lnTo>
                    <a:lnTo>
                      <a:pt x="152" y="41"/>
                    </a:lnTo>
                    <a:lnTo>
                      <a:pt x="154" y="41"/>
                    </a:lnTo>
                    <a:lnTo>
                      <a:pt x="154" y="41"/>
                    </a:lnTo>
                    <a:lnTo>
                      <a:pt x="154" y="43"/>
                    </a:lnTo>
                    <a:lnTo>
                      <a:pt x="152" y="45"/>
                    </a:lnTo>
                    <a:lnTo>
                      <a:pt x="147" y="48"/>
                    </a:lnTo>
                    <a:lnTo>
                      <a:pt x="140" y="50"/>
                    </a:lnTo>
                    <a:lnTo>
                      <a:pt x="140" y="50"/>
                    </a:lnTo>
                    <a:lnTo>
                      <a:pt x="137" y="53"/>
                    </a:lnTo>
                    <a:lnTo>
                      <a:pt x="137" y="53"/>
                    </a:lnTo>
                    <a:close/>
                    <a:moveTo>
                      <a:pt x="187" y="34"/>
                    </a:moveTo>
                    <a:lnTo>
                      <a:pt x="187" y="31"/>
                    </a:lnTo>
                    <a:lnTo>
                      <a:pt x="187" y="31"/>
                    </a:lnTo>
                    <a:lnTo>
                      <a:pt x="187" y="29"/>
                    </a:lnTo>
                    <a:lnTo>
                      <a:pt x="185" y="29"/>
                    </a:lnTo>
                    <a:lnTo>
                      <a:pt x="185" y="29"/>
                    </a:lnTo>
                    <a:lnTo>
                      <a:pt x="182" y="29"/>
                    </a:lnTo>
                    <a:lnTo>
                      <a:pt x="182" y="29"/>
                    </a:lnTo>
                    <a:lnTo>
                      <a:pt x="180" y="29"/>
                    </a:lnTo>
                    <a:lnTo>
                      <a:pt x="180" y="29"/>
                    </a:lnTo>
                    <a:lnTo>
                      <a:pt x="180" y="29"/>
                    </a:lnTo>
                    <a:lnTo>
                      <a:pt x="180" y="29"/>
                    </a:lnTo>
                    <a:lnTo>
                      <a:pt x="180" y="29"/>
                    </a:lnTo>
                    <a:lnTo>
                      <a:pt x="178" y="29"/>
                    </a:lnTo>
                    <a:lnTo>
                      <a:pt x="175" y="29"/>
                    </a:lnTo>
                    <a:lnTo>
                      <a:pt x="175" y="31"/>
                    </a:lnTo>
                    <a:lnTo>
                      <a:pt x="178" y="31"/>
                    </a:lnTo>
                    <a:lnTo>
                      <a:pt x="178" y="31"/>
                    </a:lnTo>
                    <a:lnTo>
                      <a:pt x="178" y="31"/>
                    </a:lnTo>
                    <a:lnTo>
                      <a:pt x="173" y="31"/>
                    </a:lnTo>
                    <a:lnTo>
                      <a:pt x="173" y="31"/>
                    </a:lnTo>
                    <a:lnTo>
                      <a:pt x="173" y="34"/>
                    </a:lnTo>
                    <a:lnTo>
                      <a:pt x="173" y="34"/>
                    </a:lnTo>
                    <a:lnTo>
                      <a:pt x="173" y="36"/>
                    </a:lnTo>
                    <a:lnTo>
                      <a:pt x="173" y="36"/>
                    </a:lnTo>
                    <a:lnTo>
                      <a:pt x="170" y="36"/>
                    </a:lnTo>
                    <a:lnTo>
                      <a:pt x="170" y="36"/>
                    </a:lnTo>
                    <a:lnTo>
                      <a:pt x="170" y="38"/>
                    </a:lnTo>
                    <a:lnTo>
                      <a:pt x="173" y="38"/>
                    </a:lnTo>
                    <a:lnTo>
                      <a:pt x="175" y="38"/>
                    </a:lnTo>
                    <a:lnTo>
                      <a:pt x="175" y="38"/>
                    </a:lnTo>
                    <a:lnTo>
                      <a:pt x="175" y="38"/>
                    </a:lnTo>
                    <a:lnTo>
                      <a:pt x="178" y="36"/>
                    </a:lnTo>
                    <a:lnTo>
                      <a:pt x="180" y="36"/>
                    </a:lnTo>
                    <a:lnTo>
                      <a:pt x="180" y="36"/>
                    </a:lnTo>
                    <a:lnTo>
                      <a:pt x="182" y="36"/>
                    </a:lnTo>
                    <a:lnTo>
                      <a:pt x="185" y="36"/>
                    </a:lnTo>
                    <a:lnTo>
                      <a:pt x="185" y="34"/>
                    </a:lnTo>
                    <a:lnTo>
                      <a:pt x="185" y="34"/>
                    </a:lnTo>
                    <a:lnTo>
                      <a:pt x="187" y="34"/>
                    </a:lnTo>
                    <a:close/>
                    <a:moveTo>
                      <a:pt x="346" y="22"/>
                    </a:moveTo>
                    <a:lnTo>
                      <a:pt x="343" y="24"/>
                    </a:lnTo>
                    <a:lnTo>
                      <a:pt x="343" y="24"/>
                    </a:lnTo>
                    <a:lnTo>
                      <a:pt x="343" y="24"/>
                    </a:lnTo>
                    <a:lnTo>
                      <a:pt x="346" y="24"/>
                    </a:lnTo>
                    <a:lnTo>
                      <a:pt x="348" y="24"/>
                    </a:lnTo>
                    <a:lnTo>
                      <a:pt x="348" y="24"/>
                    </a:lnTo>
                    <a:lnTo>
                      <a:pt x="346" y="22"/>
                    </a:lnTo>
                    <a:lnTo>
                      <a:pt x="346" y="22"/>
                    </a:lnTo>
                    <a:close/>
                    <a:moveTo>
                      <a:pt x="220" y="17"/>
                    </a:moveTo>
                    <a:lnTo>
                      <a:pt x="218" y="17"/>
                    </a:lnTo>
                    <a:lnTo>
                      <a:pt x="218" y="19"/>
                    </a:lnTo>
                    <a:lnTo>
                      <a:pt x="218" y="19"/>
                    </a:lnTo>
                    <a:lnTo>
                      <a:pt x="218" y="19"/>
                    </a:lnTo>
                    <a:lnTo>
                      <a:pt x="220" y="19"/>
                    </a:lnTo>
                    <a:lnTo>
                      <a:pt x="220" y="19"/>
                    </a:lnTo>
                    <a:lnTo>
                      <a:pt x="220" y="19"/>
                    </a:lnTo>
                    <a:lnTo>
                      <a:pt x="223" y="19"/>
                    </a:lnTo>
                    <a:lnTo>
                      <a:pt x="223" y="19"/>
                    </a:lnTo>
                    <a:lnTo>
                      <a:pt x="223" y="17"/>
                    </a:lnTo>
                    <a:lnTo>
                      <a:pt x="223" y="17"/>
                    </a:lnTo>
                    <a:lnTo>
                      <a:pt x="220" y="17"/>
                    </a:lnTo>
                    <a:close/>
                    <a:moveTo>
                      <a:pt x="189" y="29"/>
                    </a:moveTo>
                    <a:lnTo>
                      <a:pt x="192" y="29"/>
                    </a:lnTo>
                    <a:lnTo>
                      <a:pt x="197" y="29"/>
                    </a:lnTo>
                    <a:lnTo>
                      <a:pt x="197" y="29"/>
                    </a:lnTo>
                    <a:lnTo>
                      <a:pt x="197" y="26"/>
                    </a:lnTo>
                    <a:lnTo>
                      <a:pt x="199" y="26"/>
                    </a:lnTo>
                    <a:lnTo>
                      <a:pt x="199" y="24"/>
                    </a:lnTo>
                    <a:lnTo>
                      <a:pt x="201" y="24"/>
                    </a:lnTo>
                    <a:lnTo>
                      <a:pt x="201" y="24"/>
                    </a:lnTo>
                    <a:lnTo>
                      <a:pt x="204" y="24"/>
                    </a:lnTo>
                    <a:lnTo>
                      <a:pt x="206" y="22"/>
                    </a:lnTo>
                    <a:lnTo>
                      <a:pt x="206" y="22"/>
                    </a:lnTo>
                    <a:lnTo>
                      <a:pt x="208" y="22"/>
                    </a:lnTo>
                    <a:lnTo>
                      <a:pt x="206" y="19"/>
                    </a:lnTo>
                    <a:lnTo>
                      <a:pt x="206" y="19"/>
                    </a:lnTo>
                    <a:lnTo>
                      <a:pt x="204" y="22"/>
                    </a:lnTo>
                    <a:lnTo>
                      <a:pt x="204" y="22"/>
                    </a:lnTo>
                    <a:lnTo>
                      <a:pt x="201" y="19"/>
                    </a:lnTo>
                    <a:lnTo>
                      <a:pt x="201" y="17"/>
                    </a:lnTo>
                    <a:lnTo>
                      <a:pt x="201" y="17"/>
                    </a:lnTo>
                    <a:lnTo>
                      <a:pt x="201" y="17"/>
                    </a:lnTo>
                    <a:lnTo>
                      <a:pt x="199" y="17"/>
                    </a:lnTo>
                    <a:lnTo>
                      <a:pt x="199" y="19"/>
                    </a:lnTo>
                    <a:lnTo>
                      <a:pt x="199" y="19"/>
                    </a:lnTo>
                    <a:lnTo>
                      <a:pt x="199" y="19"/>
                    </a:lnTo>
                    <a:lnTo>
                      <a:pt x="199" y="19"/>
                    </a:lnTo>
                    <a:lnTo>
                      <a:pt x="197" y="22"/>
                    </a:lnTo>
                    <a:lnTo>
                      <a:pt x="197" y="22"/>
                    </a:lnTo>
                    <a:lnTo>
                      <a:pt x="194" y="24"/>
                    </a:lnTo>
                    <a:lnTo>
                      <a:pt x="194" y="24"/>
                    </a:lnTo>
                    <a:lnTo>
                      <a:pt x="194" y="24"/>
                    </a:lnTo>
                    <a:lnTo>
                      <a:pt x="194" y="24"/>
                    </a:lnTo>
                    <a:lnTo>
                      <a:pt x="194" y="24"/>
                    </a:lnTo>
                    <a:lnTo>
                      <a:pt x="194" y="24"/>
                    </a:lnTo>
                    <a:lnTo>
                      <a:pt x="192" y="24"/>
                    </a:lnTo>
                    <a:lnTo>
                      <a:pt x="192" y="24"/>
                    </a:lnTo>
                    <a:lnTo>
                      <a:pt x="189" y="24"/>
                    </a:lnTo>
                    <a:lnTo>
                      <a:pt x="189" y="26"/>
                    </a:lnTo>
                    <a:lnTo>
                      <a:pt x="189" y="26"/>
                    </a:lnTo>
                    <a:lnTo>
                      <a:pt x="189" y="26"/>
                    </a:lnTo>
                    <a:lnTo>
                      <a:pt x="189" y="26"/>
                    </a:lnTo>
                    <a:lnTo>
                      <a:pt x="187" y="26"/>
                    </a:lnTo>
                    <a:lnTo>
                      <a:pt x="187" y="29"/>
                    </a:lnTo>
                    <a:lnTo>
                      <a:pt x="187" y="29"/>
                    </a:lnTo>
                    <a:lnTo>
                      <a:pt x="189" y="29"/>
                    </a:lnTo>
                    <a:close/>
                    <a:moveTo>
                      <a:pt x="208" y="19"/>
                    </a:moveTo>
                    <a:lnTo>
                      <a:pt x="208" y="19"/>
                    </a:lnTo>
                    <a:lnTo>
                      <a:pt x="211" y="19"/>
                    </a:lnTo>
                    <a:lnTo>
                      <a:pt x="213" y="19"/>
                    </a:lnTo>
                    <a:lnTo>
                      <a:pt x="213" y="19"/>
                    </a:lnTo>
                    <a:lnTo>
                      <a:pt x="213" y="19"/>
                    </a:lnTo>
                    <a:lnTo>
                      <a:pt x="213" y="19"/>
                    </a:lnTo>
                    <a:lnTo>
                      <a:pt x="211" y="17"/>
                    </a:lnTo>
                    <a:lnTo>
                      <a:pt x="211" y="17"/>
                    </a:lnTo>
                    <a:lnTo>
                      <a:pt x="211" y="17"/>
                    </a:lnTo>
                    <a:lnTo>
                      <a:pt x="208" y="17"/>
                    </a:lnTo>
                    <a:lnTo>
                      <a:pt x="208" y="17"/>
                    </a:lnTo>
                    <a:lnTo>
                      <a:pt x="206" y="17"/>
                    </a:lnTo>
                    <a:lnTo>
                      <a:pt x="206" y="17"/>
                    </a:lnTo>
                    <a:lnTo>
                      <a:pt x="208" y="17"/>
                    </a:lnTo>
                    <a:lnTo>
                      <a:pt x="208" y="19"/>
                    </a:lnTo>
                    <a:close/>
                    <a:moveTo>
                      <a:pt x="260" y="12"/>
                    </a:moveTo>
                    <a:lnTo>
                      <a:pt x="260" y="12"/>
                    </a:lnTo>
                    <a:lnTo>
                      <a:pt x="260" y="12"/>
                    </a:lnTo>
                    <a:lnTo>
                      <a:pt x="260" y="10"/>
                    </a:lnTo>
                    <a:lnTo>
                      <a:pt x="258" y="10"/>
                    </a:lnTo>
                    <a:lnTo>
                      <a:pt x="256" y="12"/>
                    </a:lnTo>
                    <a:lnTo>
                      <a:pt x="253" y="12"/>
                    </a:lnTo>
                    <a:lnTo>
                      <a:pt x="251" y="12"/>
                    </a:lnTo>
                    <a:lnTo>
                      <a:pt x="251" y="12"/>
                    </a:lnTo>
                    <a:lnTo>
                      <a:pt x="251" y="15"/>
                    </a:lnTo>
                    <a:lnTo>
                      <a:pt x="251" y="15"/>
                    </a:lnTo>
                    <a:lnTo>
                      <a:pt x="251" y="15"/>
                    </a:lnTo>
                    <a:lnTo>
                      <a:pt x="253" y="15"/>
                    </a:lnTo>
                    <a:lnTo>
                      <a:pt x="253" y="15"/>
                    </a:lnTo>
                    <a:lnTo>
                      <a:pt x="253" y="15"/>
                    </a:lnTo>
                    <a:lnTo>
                      <a:pt x="253" y="17"/>
                    </a:lnTo>
                    <a:lnTo>
                      <a:pt x="256" y="15"/>
                    </a:lnTo>
                    <a:lnTo>
                      <a:pt x="256" y="15"/>
                    </a:lnTo>
                    <a:lnTo>
                      <a:pt x="256" y="15"/>
                    </a:lnTo>
                    <a:lnTo>
                      <a:pt x="260" y="15"/>
                    </a:lnTo>
                    <a:lnTo>
                      <a:pt x="260" y="12"/>
                    </a:lnTo>
                    <a:close/>
                    <a:moveTo>
                      <a:pt x="260" y="12"/>
                    </a:moveTo>
                    <a:lnTo>
                      <a:pt x="263" y="12"/>
                    </a:lnTo>
                    <a:lnTo>
                      <a:pt x="265" y="10"/>
                    </a:lnTo>
                    <a:lnTo>
                      <a:pt x="265" y="10"/>
                    </a:lnTo>
                    <a:lnTo>
                      <a:pt x="265" y="10"/>
                    </a:lnTo>
                    <a:lnTo>
                      <a:pt x="263" y="8"/>
                    </a:lnTo>
                    <a:lnTo>
                      <a:pt x="263" y="8"/>
                    </a:lnTo>
                    <a:lnTo>
                      <a:pt x="263" y="8"/>
                    </a:lnTo>
                    <a:lnTo>
                      <a:pt x="260" y="8"/>
                    </a:lnTo>
                    <a:lnTo>
                      <a:pt x="260" y="10"/>
                    </a:lnTo>
                    <a:lnTo>
                      <a:pt x="260" y="10"/>
                    </a:lnTo>
                    <a:lnTo>
                      <a:pt x="260" y="12"/>
                    </a:lnTo>
                    <a:close/>
                    <a:moveTo>
                      <a:pt x="241" y="12"/>
                    </a:moveTo>
                    <a:lnTo>
                      <a:pt x="244" y="12"/>
                    </a:lnTo>
                    <a:lnTo>
                      <a:pt x="244" y="12"/>
                    </a:lnTo>
                    <a:lnTo>
                      <a:pt x="246" y="12"/>
                    </a:lnTo>
                    <a:lnTo>
                      <a:pt x="246" y="12"/>
                    </a:lnTo>
                    <a:lnTo>
                      <a:pt x="246" y="12"/>
                    </a:lnTo>
                    <a:lnTo>
                      <a:pt x="249" y="12"/>
                    </a:lnTo>
                    <a:lnTo>
                      <a:pt x="251" y="12"/>
                    </a:lnTo>
                    <a:lnTo>
                      <a:pt x="251" y="10"/>
                    </a:lnTo>
                    <a:lnTo>
                      <a:pt x="253" y="10"/>
                    </a:lnTo>
                    <a:lnTo>
                      <a:pt x="256" y="8"/>
                    </a:lnTo>
                    <a:lnTo>
                      <a:pt x="256" y="8"/>
                    </a:lnTo>
                    <a:lnTo>
                      <a:pt x="256" y="8"/>
                    </a:lnTo>
                    <a:lnTo>
                      <a:pt x="258" y="8"/>
                    </a:lnTo>
                    <a:lnTo>
                      <a:pt x="256" y="5"/>
                    </a:lnTo>
                    <a:lnTo>
                      <a:pt x="256" y="8"/>
                    </a:lnTo>
                    <a:lnTo>
                      <a:pt x="253" y="8"/>
                    </a:lnTo>
                    <a:lnTo>
                      <a:pt x="251" y="8"/>
                    </a:lnTo>
                    <a:lnTo>
                      <a:pt x="249" y="8"/>
                    </a:lnTo>
                    <a:lnTo>
                      <a:pt x="246" y="10"/>
                    </a:lnTo>
                    <a:lnTo>
                      <a:pt x="244" y="8"/>
                    </a:lnTo>
                    <a:lnTo>
                      <a:pt x="244" y="10"/>
                    </a:lnTo>
                    <a:lnTo>
                      <a:pt x="241" y="10"/>
                    </a:lnTo>
                    <a:lnTo>
                      <a:pt x="241" y="10"/>
                    </a:lnTo>
                    <a:lnTo>
                      <a:pt x="239" y="10"/>
                    </a:lnTo>
                    <a:lnTo>
                      <a:pt x="239" y="10"/>
                    </a:lnTo>
                    <a:lnTo>
                      <a:pt x="241" y="12"/>
                    </a:lnTo>
                    <a:close/>
                    <a:moveTo>
                      <a:pt x="360" y="26"/>
                    </a:moveTo>
                    <a:lnTo>
                      <a:pt x="360" y="24"/>
                    </a:lnTo>
                    <a:lnTo>
                      <a:pt x="357" y="24"/>
                    </a:lnTo>
                    <a:lnTo>
                      <a:pt x="355" y="24"/>
                    </a:lnTo>
                    <a:lnTo>
                      <a:pt x="353" y="24"/>
                    </a:lnTo>
                    <a:lnTo>
                      <a:pt x="353" y="26"/>
                    </a:lnTo>
                    <a:lnTo>
                      <a:pt x="353" y="26"/>
                    </a:lnTo>
                    <a:lnTo>
                      <a:pt x="353" y="24"/>
                    </a:lnTo>
                    <a:lnTo>
                      <a:pt x="350" y="24"/>
                    </a:lnTo>
                    <a:lnTo>
                      <a:pt x="350" y="24"/>
                    </a:lnTo>
                    <a:lnTo>
                      <a:pt x="350" y="26"/>
                    </a:lnTo>
                    <a:lnTo>
                      <a:pt x="348" y="26"/>
                    </a:lnTo>
                    <a:lnTo>
                      <a:pt x="348" y="26"/>
                    </a:lnTo>
                    <a:lnTo>
                      <a:pt x="346" y="26"/>
                    </a:lnTo>
                    <a:lnTo>
                      <a:pt x="343" y="26"/>
                    </a:lnTo>
                    <a:lnTo>
                      <a:pt x="343" y="24"/>
                    </a:lnTo>
                    <a:lnTo>
                      <a:pt x="343" y="24"/>
                    </a:lnTo>
                    <a:lnTo>
                      <a:pt x="341" y="24"/>
                    </a:lnTo>
                    <a:lnTo>
                      <a:pt x="341" y="22"/>
                    </a:lnTo>
                    <a:lnTo>
                      <a:pt x="341" y="22"/>
                    </a:lnTo>
                    <a:lnTo>
                      <a:pt x="331" y="19"/>
                    </a:lnTo>
                    <a:lnTo>
                      <a:pt x="329" y="19"/>
                    </a:lnTo>
                    <a:lnTo>
                      <a:pt x="346" y="19"/>
                    </a:lnTo>
                    <a:lnTo>
                      <a:pt x="350" y="19"/>
                    </a:lnTo>
                    <a:lnTo>
                      <a:pt x="353" y="17"/>
                    </a:lnTo>
                    <a:lnTo>
                      <a:pt x="357" y="17"/>
                    </a:lnTo>
                    <a:lnTo>
                      <a:pt x="357" y="15"/>
                    </a:lnTo>
                    <a:lnTo>
                      <a:pt x="357" y="15"/>
                    </a:lnTo>
                    <a:lnTo>
                      <a:pt x="353" y="12"/>
                    </a:lnTo>
                    <a:lnTo>
                      <a:pt x="350" y="12"/>
                    </a:lnTo>
                    <a:lnTo>
                      <a:pt x="348" y="12"/>
                    </a:lnTo>
                    <a:lnTo>
                      <a:pt x="348" y="12"/>
                    </a:lnTo>
                    <a:lnTo>
                      <a:pt x="348" y="10"/>
                    </a:lnTo>
                    <a:lnTo>
                      <a:pt x="346" y="8"/>
                    </a:lnTo>
                    <a:lnTo>
                      <a:pt x="343" y="10"/>
                    </a:lnTo>
                    <a:lnTo>
                      <a:pt x="341" y="10"/>
                    </a:lnTo>
                    <a:lnTo>
                      <a:pt x="341" y="10"/>
                    </a:lnTo>
                    <a:lnTo>
                      <a:pt x="341" y="10"/>
                    </a:lnTo>
                    <a:lnTo>
                      <a:pt x="338" y="8"/>
                    </a:lnTo>
                    <a:lnTo>
                      <a:pt x="336" y="8"/>
                    </a:lnTo>
                    <a:lnTo>
                      <a:pt x="336" y="8"/>
                    </a:lnTo>
                    <a:lnTo>
                      <a:pt x="334" y="8"/>
                    </a:lnTo>
                    <a:lnTo>
                      <a:pt x="331" y="5"/>
                    </a:lnTo>
                    <a:lnTo>
                      <a:pt x="329" y="5"/>
                    </a:lnTo>
                    <a:lnTo>
                      <a:pt x="327" y="5"/>
                    </a:lnTo>
                    <a:lnTo>
                      <a:pt x="327" y="8"/>
                    </a:lnTo>
                    <a:lnTo>
                      <a:pt x="324" y="10"/>
                    </a:lnTo>
                    <a:lnTo>
                      <a:pt x="324" y="12"/>
                    </a:lnTo>
                    <a:lnTo>
                      <a:pt x="322" y="12"/>
                    </a:lnTo>
                    <a:lnTo>
                      <a:pt x="322" y="15"/>
                    </a:lnTo>
                    <a:lnTo>
                      <a:pt x="322" y="17"/>
                    </a:lnTo>
                    <a:lnTo>
                      <a:pt x="322" y="17"/>
                    </a:lnTo>
                    <a:lnTo>
                      <a:pt x="322" y="15"/>
                    </a:lnTo>
                    <a:lnTo>
                      <a:pt x="322" y="12"/>
                    </a:lnTo>
                    <a:lnTo>
                      <a:pt x="322" y="10"/>
                    </a:lnTo>
                    <a:lnTo>
                      <a:pt x="322" y="10"/>
                    </a:lnTo>
                    <a:lnTo>
                      <a:pt x="320" y="8"/>
                    </a:lnTo>
                    <a:lnTo>
                      <a:pt x="317" y="10"/>
                    </a:lnTo>
                    <a:lnTo>
                      <a:pt x="317" y="10"/>
                    </a:lnTo>
                    <a:lnTo>
                      <a:pt x="317" y="8"/>
                    </a:lnTo>
                    <a:lnTo>
                      <a:pt x="322" y="8"/>
                    </a:lnTo>
                    <a:lnTo>
                      <a:pt x="322" y="8"/>
                    </a:lnTo>
                    <a:lnTo>
                      <a:pt x="322" y="5"/>
                    </a:lnTo>
                    <a:lnTo>
                      <a:pt x="322" y="3"/>
                    </a:lnTo>
                    <a:lnTo>
                      <a:pt x="320" y="3"/>
                    </a:lnTo>
                    <a:lnTo>
                      <a:pt x="315" y="3"/>
                    </a:lnTo>
                    <a:lnTo>
                      <a:pt x="312" y="3"/>
                    </a:lnTo>
                    <a:lnTo>
                      <a:pt x="312" y="3"/>
                    </a:lnTo>
                    <a:lnTo>
                      <a:pt x="308" y="3"/>
                    </a:lnTo>
                    <a:lnTo>
                      <a:pt x="308" y="5"/>
                    </a:lnTo>
                    <a:lnTo>
                      <a:pt x="308" y="5"/>
                    </a:lnTo>
                    <a:lnTo>
                      <a:pt x="312" y="8"/>
                    </a:lnTo>
                    <a:lnTo>
                      <a:pt x="312" y="8"/>
                    </a:lnTo>
                    <a:lnTo>
                      <a:pt x="308" y="8"/>
                    </a:lnTo>
                    <a:lnTo>
                      <a:pt x="308" y="8"/>
                    </a:lnTo>
                    <a:lnTo>
                      <a:pt x="308" y="10"/>
                    </a:lnTo>
                    <a:lnTo>
                      <a:pt x="305" y="10"/>
                    </a:lnTo>
                    <a:lnTo>
                      <a:pt x="305" y="12"/>
                    </a:lnTo>
                    <a:lnTo>
                      <a:pt x="301" y="15"/>
                    </a:lnTo>
                    <a:lnTo>
                      <a:pt x="301" y="15"/>
                    </a:lnTo>
                    <a:lnTo>
                      <a:pt x="301" y="12"/>
                    </a:lnTo>
                    <a:lnTo>
                      <a:pt x="301" y="12"/>
                    </a:lnTo>
                    <a:lnTo>
                      <a:pt x="301" y="12"/>
                    </a:lnTo>
                    <a:lnTo>
                      <a:pt x="301" y="10"/>
                    </a:lnTo>
                    <a:lnTo>
                      <a:pt x="298" y="10"/>
                    </a:lnTo>
                    <a:lnTo>
                      <a:pt x="301" y="8"/>
                    </a:lnTo>
                    <a:lnTo>
                      <a:pt x="301" y="5"/>
                    </a:lnTo>
                    <a:lnTo>
                      <a:pt x="301" y="5"/>
                    </a:lnTo>
                    <a:lnTo>
                      <a:pt x="298" y="5"/>
                    </a:lnTo>
                    <a:lnTo>
                      <a:pt x="293" y="8"/>
                    </a:lnTo>
                    <a:lnTo>
                      <a:pt x="291" y="10"/>
                    </a:lnTo>
                    <a:lnTo>
                      <a:pt x="284" y="15"/>
                    </a:lnTo>
                    <a:lnTo>
                      <a:pt x="284" y="17"/>
                    </a:lnTo>
                    <a:lnTo>
                      <a:pt x="282" y="19"/>
                    </a:lnTo>
                    <a:lnTo>
                      <a:pt x="279" y="19"/>
                    </a:lnTo>
                    <a:lnTo>
                      <a:pt x="279" y="19"/>
                    </a:lnTo>
                    <a:lnTo>
                      <a:pt x="279" y="17"/>
                    </a:lnTo>
                    <a:lnTo>
                      <a:pt x="282" y="15"/>
                    </a:lnTo>
                    <a:lnTo>
                      <a:pt x="282" y="12"/>
                    </a:lnTo>
                    <a:lnTo>
                      <a:pt x="282" y="12"/>
                    </a:lnTo>
                    <a:lnTo>
                      <a:pt x="284" y="10"/>
                    </a:lnTo>
                    <a:lnTo>
                      <a:pt x="286" y="8"/>
                    </a:lnTo>
                    <a:lnTo>
                      <a:pt x="289" y="8"/>
                    </a:lnTo>
                    <a:lnTo>
                      <a:pt x="289" y="5"/>
                    </a:lnTo>
                    <a:lnTo>
                      <a:pt x="286" y="5"/>
                    </a:lnTo>
                    <a:lnTo>
                      <a:pt x="286" y="5"/>
                    </a:lnTo>
                    <a:lnTo>
                      <a:pt x="284" y="5"/>
                    </a:lnTo>
                    <a:lnTo>
                      <a:pt x="284" y="5"/>
                    </a:lnTo>
                    <a:lnTo>
                      <a:pt x="282" y="5"/>
                    </a:lnTo>
                    <a:lnTo>
                      <a:pt x="282" y="5"/>
                    </a:lnTo>
                    <a:lnTo>
                      <a:pt x="282" y="5"/>
                    </a:lnTo>
                    <a:lnTo>
                      <a:pt x="279" y="5"/>
                    </a:lnTo>
                    <a:lnTo>
                      <a:pt x="277" y="5"/>
                    </a:lnTo>
                    <a:lnTo>
                      <a:pt x="275" y="3"/>
                    </a:lnTo>
                    <a:lnTo>
                      <a:pt x="275" y="3"/>
                    </a:lnTo>
                    <a:lnTo>
                      <a:pt x="272" y="3"/>
                    </a:lnTo>
                    <a:lnTo>
                      <a:pt x="270" y="5"/>
                    </a:lnTo>
                    <a:lnTo>
                      <a:pt x="267" y="8"/>
                    </a:lnTo>
                    <a:lnTo>
                      <a:pt x="267" y="8"/>
                    </a:lnTo>
                    <a:lnTo>
                      <a:pt x="270" y="8"/>
                    </a:lnTo>
                    <a:lnTo>
                      <a:pt x="270" y="8"/>
                    </a:lnTo>
                    <a:lnTo>
                      <a:pt x="270" y="10"/>
                    </a:lnTo>
                    <a:lnTo>
                      <a:pt x="267" y="10"/>
                    </a:lnTo>
                    <a:lnTo>
                      <a:pt x="265" y="12"/>
                    </a:lnTo>
                    <a:lnTo>
                      <a:pt x="263" y="12"/>
                    </a:lnTo>
                    <a:lnTo>
                      <a:pt x="260" y="15"/>
                    </a:lnTo>
                    <a:lnTo>
                      <a:pt x="258" y="17"/>
                    </a:lnTo>
                    <a:lnTo>
                      <a:pt x="256" y="17"/>
                    </a:lnTo>
                    <a:lnTo>
                      <a:pt x="256" y="19"/>
                    </a:lnTo>
                    <a:lnTo>
                      <a:pt x="256" y="19"/>
                    </a:lnTo>
                    <a:lnTo>
                      <a:pt x="258" y="22"/>
                    </a:lnTo>
                    <a:lnTo>
                      <a:pt x="258" y="22"/>
                    </a:lnTo>
                    <a:lnTo>
                      <a:pt x="256" y="22"/>
                    </a:lnTo>
                    <a:lnTo>
                      <a:pt x="256" y="19"/>
                    </a:lnTo>
                    <a:lnTo>
                      <a:pt x="253" y="19"/>
                    </a:lnTo>
                    <a:lnTo>
                      <a:pt x="251" y="17"/>
                    </a:lnTo>
                    <a:lnTo>
                      <a:pt x="251" y="15"/>
                    </a:lnTo>
                    <a:lnTo>
                      <a:pt x="251" y="15"/>
                    </a:lnTo>
                    <a:lnTo>
                      <a:pt x="249" y="15"/>
                    </a:lnTo>
                    <a:lnTo>
                      <a:pt x="244" y="15"/>
                    </a:lnTo>
                    <a:lnTo>
                      <a:pt x="244" y="17"/>
                    </a:lnTo>
                    <a:lnTo>
                      <a:pt x="244" y="17"/>
                    </a:lnTo>
                    <a:lnTo>
                      <a:pt x="241" y="15"/>
                    </a:lnTo>
                    <a:lnTo>
                      <a:pt x="239" y="17"/>
                    </a:lnTo>
                    <a:lnTo>
                      <a:pt x="239" y="17"/>
                    </a:lnTo>
                    <a:lnTo>
                      <a:pt x="237" y="17"/>
                    </a:lnTo>
                    <a:lnTo>
                      <a:pt x="232" y="17"/>
                    </a:lnTo>
                    <a:lnTo>
                      <a:pt x="230" y="17"/>
                    </a:lnTo>
                    <a:lnTo>
                      <a:pt x="230" y="17"/>
                    </a:lnTo>
                    <a:lnTo>
                      <a:pt x="232" y="17"/>
                    </a:lnTo>
                    <a:lnTo>
                      <a:pt x="234" y="19"/>
                    </a:lnTo>
                    <a:lnTo>
                      <a:pt x="237" y="19"/>
                    </a:lnTo>
                    <a:lnTo>
                      <a:pt x="237" y="22"/>
                    </a:lnTo>
                    <a:lnTo>
                      <a:pt x="239" y="24"/>
                    </a:lnTo>
                    <a:lnTo>
                      <a:pt x="239" y="24"/>
                    </a:lnTo>
                    <a:lnTo>
                      <a:pt x="237" y="24"/>
                    </a:lnTo>
                    <a:lnTo>
                      <a:pt x="234" y="22"/>
                    </a:lnTo>
                    <a:lnTo>
                      <a:pt x="232" y="22"/>
                    </a:lnTo>
                    <a:lnTo>
                      <a:pt x="230" y="22"/>
                    </a:lnTo>
                    <a:lnTo>
                      <a:pt x="227" y="24"/>
                    </a:lnTo>
                    <a:lnTo>
                      <a:pt x="227" y="24"/>
                    </a:lnTo>
                    <a:lnTo>
                      <a:pt x="225" y="22"/>
                    </a:lnTo>
                    <a:lnTo>
                      <a:pt x="225" y="22"/>
                    </a:lnTo>
                    <a:lnTo>
                      <a:pt x="220" y="22"/>
                    </a:lnTo>
                    <a:lnTo>
                      <a:pt x="220" y="24"/>
                    </a:lnTo>
                    <a:lnTo>
                      <a:pt x="220" y="26"/>
                    </a:lnTo>
                    <a:lnTo>
                      <a:pt x="220" y="26"/>
                    </a:lnTo>
                    <a:lnTo>
                      <a:pt x="223" y="29"/>
                    </a:lnTo>
                    <a:lnTo>
                      <a:pt x="223" y="29"/>
                    </a:lnTo>
                    <a:lnTo>
                      <a:pt x="223" y="29"/>
                    </a:lnTo>
                    <a:lnTo>
                      <a:pt x="220" y="29"/>
                    </a:lnTo>
                    <a:lnTo>
                      <a:pt x="215" y="31"/>
                    </a:lnTo>
                    <a:lnTo>
                      <a:pt x="215" y="34"/>
                    </a:lnTo>
                    <a:lnTo>
                      <a:pt x="213" y="34"/>
                    </a:lnTo>
                    <a:lnTo>
                      <a:pt x="213" y="34"/>
                    </a:lnTo>
                    <a:lnTo>
                      <a:pt x="218" y="29"/>
                    </a:lnTo>
                    <a:lnTo>
                      <a:pt x="218" y="29"/>
                    </a:lnTo>
                    <a:lnTo>
                      <a:pt x="218" y="26"/>
                    </a:lnTo>
                    <a:lnTo>
                      <a:pt x="218" y="24"/>
                    </a:lnTo>
                    <a:lnTo>
                      <a:pt x="218" y="22"/>
                    </a:lnTo>
                    <a:lnTo>
                      <a:pt x="218" y="22"/>
                    </a:lnTo>
                    <a:lnTo>
                      <a:pt x="215" y="22"/>
                    </a:lnTo>
                    <a:lnTo>
                      <a:pt x="215" y="22"/>
                    </a:lnTo>
                    <a:lnTo>
                      <a:pt x="213" y="24"/>
                    </a:lnTo>
                    <a:lnTo>
                      <a:pt x="213" y="24"/>
                    </a:lnTo>
                    <a:lnTo>
                      <a:pt x="211" y="26"/>
                    </a:lnTo>
                    <a:lnTo>
                      <a:pt x="211" y="29"/>
                    </a:lnTo>
                    <a:lnTo>
                      <a:pt x="208" y="31"/>
                    </a:lnTo>
                    <a:lnTo>
                      <a:pt x="208" y="29"/>
                    </a:lnTo>
                    <a:lnTo>
                      <a:pt x="208" y="29"/>
                    </a:lnTo>
                    <a:lnTo>
                      <a:pt x="208" y="24"/>
                    </a:lnTo>
                    <a:lnTo>
                      <a:pt x="208" y="24"/>
                    </a:lnTo>
                    <a:lnTo>
                      <a:pt x="201" y="26"/>
                    </a:lnTo>
                    <a:lnTo>
                      <a:pt x="199" y="26"/>
                    </a:lnTo>
                    <a:lnTo>
                      <a:pt x="199" y="26"/>
                    </a:lnTo>
                    <a:lnTo>
                      <a:pt x="199" y="29"/>
                    </a:lnTo>
                    <a:lnTo>
                      <a:pt x="199" y="29"/>
                    </a:lnTo>
                    <a:lnTo>
                      <a:pt x="199" y="29"/>
                    </a:lnTo>
                    <a:lnTo>
                      <a:pt x="197" y="29"/>
                    </a:lnTo>
                    <a:lnTo>
                      <a:pt x="194" y="29"/>
                    </a:lnTo>
                    <a:lnTo>
                      <a:pt x="194" y="29"/>
                    </a:lnTo>
                    <a:lnTo>
                      <a:pt x="194" y="31"/>
                    </a:lnTo>
                    <a:lnTo>
                      <a:pt x="197" y="31"/>
                    </a:lnTo>
                    <a:lnTo>
                      <a:pt x="199" y="34"/>
                    </a:lnTo>
                    <a:lnTo>
                      <a:pt x="199" y="34"/>
                    </a:lnTo>
                    <a:lnTo>
                      <a:pt x="194" y="34"/>
                    </a:lnTo>
                    <a:lnTo>
                      <a:pt x="192" y="31"/>
                    </a:lnTo>
                    <a:lnTo>
                      <a:pt x="192" y="31"/>
                    </a:lnTo>
                    <a:lnTo>
                      <a:pt x="189" y="31"/>
                    </a:lnTo>
                    <a:lnTo>
                      <a:pt x="189" y="31"/>
                    </a:lnTo>
                    <a:lnTo>
                      <a:pt x="189" y="31"/>
                    </a:lnTo>
                    <a:lnTo>
                      <a:pt x="187" y="34"/>
                    </a:lnTo>
                    <a:lnTo>
                      <a:pt x="187" y="34"/>
                    </a:lnTo>
                    <a:lnTo>
                      <a:pt x="187" y="36"/>
                    </a:lnTo>
                    <a:lnTo>
                      <a:pt x="187" y="36"/>
                    </a:lnTo>
                    <a:lnTo>
                      <a:pt x="182" y="36"/>
                    </a:lnTo>
                    <a:lnTo>
                      <a:pt x="180" y="38"/>
                    </a:lnTo>
                    <a:lnTo>
                      <a:pt x="180" y="41"/>
                    </a:lnTo>
                    <a:lnTo>
                      <a:pt x="178" y="43"/>
                    </a:lnTo>
                    <a:lnTo>
                      <a:pt x="175" y="43"/>
                    </a:lnTo>
                    <a:lnTo>
                      <a:pt x="173" y="45"/>
                    </a:lnTo>
                    <a:lnTo>
                      <a:pt x="168" y="45"/>
                    </a:lnTo>
                    <a:lnTo>
                      <a:pt x="168" y="45"/>
                    </a:lnTo>
                    <a:lnTo>
                      <a:pt x="168" y="48"/>
                    </a:lnTo>
                    <a:lnTo>
                      <a:pt x="168" y="48"/>
                    </a:lnTo>
                    <a:lnTo>
                      <a:pt x="168" y="48"/>
                    </a:lnTo>
                    <a:lnTo>
                      <a:pt x="178" y="48"/>
                    </a:lnTo>
                    <a:lnTo>
                      <a:pt x="180" y="48"/>
                    </a:lnTo>
                    <a:lnTo>
                      <a:pt x="180" y="48"/>
                    </a:lnTo>
                    <a:lnTo>
                      <a:pt x="180" y="48"/>
                    </a:lnTo>
                    <a:lnTo>
                      <a:pt x="182" y="48"/>
                    </a:lnTo>
                    <a:lnTo>
                      <a:pt x="182" y="50"/>
                    </a:lnTo>
                    <a:lnTo>
                      <a:pt x="180" y="50"/>
                    </a:lnTo>
                    <a:lnTo>
                      <a:pt x="178" y="50"/>
                    </a:lnTo>
                    <a:lnTo>
                      <a:pt x="175" y="50"/>
                    </a:lnTo>
                    <a:lnTo>
                      <a:pt x="173" y="50"/>
                    </a:lnTo>
                    <a:lnTo>
                      <a:pt x="173" y="50"/>
                    </a:lnTo>
                    <a:lnTo>
                      <a:pt x="168" y="50"/>
                    </a:lnTo>
                    <a:lnTo>
                      <a:pt x="166" y="50"/>
                    </a:lnTo>
                    <a:lnTo>
                      <a:pt x="163" y="50"/>
                    </a:lnTo>
                    <a:lnTo>
                      <a:pt x="163" y="53"/>
                    </a:lnTo>
                    <a:lnTo>
                      <a:pt x="163" y="55"/>
                    </a:lnTo>
                    <a:lnTo>
                      <a:pt x="166" y="55"/>
                    </a:lnTo>
                    <a:lnTo>
                      <a:pt x="166" y="55"/>
                    </a:lnTo>
                    <a:lnTo>
                      <a:pt x="166" y="55"/>
                    </a:lnTo>
                    <a:lnTo>
                      <a:pt x="166" y="55"/>
                    </a:lnTo>
                    <a:lnTo>
                      <a:pt x="163" y="57"/>
                    </a:lnTo>
                    <a:lnTo>
                      <a:pt x="166" y="60"/>
                    </a:lnTo>
                    <a:lnTo>
                      <a:pt x="163" y="60"/>
                    </a:lnTo>
                    <a:lnTo>
                      <a:pt x="161" y="57"/>
                    </a:lnTo>
                    <a:lnTo>
                      <a:pt x="161" y="53"/>
                    </a:lnTo>
                    <a:lnTo>
                      <a:pt x="161" y="53"/>
                    </a:lnTo>
                    <a:lnTo>
                      <a:pt x="161" y="53"/>
                    </a:lnTo>
                    <a:lnTo>
                      <a:pt x="159" y="53"/>
                    </a:lnTo>
                    <a:lnTo>
                      <a:pt x="156" y="55"/>
                    </a:lnTo>
                    <a:lnTo>
                      <a:pt x="154" y="55"/>
                    </a:lnTo>
                    <a:lnTo>
                      <a:pt x="152" y="55"/>
                    </a:lnTo>
                    <a:lnTo>
                      <a:pt x="152" y="55"/>
                    </a:lnTo>
                    <a:lnTo>
                      <a:pt x="152" y="57"/>
                    </a:lnTo>
                    <a:lnTo>
                      <a:pt x="154" y="57"/>
                    </a:lnTo>
                    <a:lnTo>
                      <a:pt x="156" y="57"/>
                    </a:lnTo>
                    <a:lnTo>
                      <a:pt x="154" y="57"/>
                    </a:lnTo>
                    <a:lnTo>
                      <a:pt x="152" y="57"/>
                    </a:lnTo>
                    <a:lnTo>
                      <a:pt x="152" y="57"/>
                    </a:lnTo>
                    <a:lnTo>
                      <a:pt x="149" y="57"/>
                    </a:lnTo>
                    <a:lnTo>
                      <a:pt x="147" y="57"/>
                    </a:lnTo>
                    <a:lnTo>
                      <a:pt x="144" y="60"/>
                    </a:lnTo>
                    <a:lnTo>
                      <a:pt x="144" y="62"/>
                    </a:lnTo>
                    <a:lnTo>
                      <a:pt x="144" y="62"/>
                    </a:lnTo>
                    <a:lnTo>
                      <a:pt x="144" y="62"/>
                    </a:lnTo>
                    <a:lnTo>
                      <a:pt x="147" y="62"/>
                    </a:lnTo>
                    <a:lnTo>
                      <a:pt x="152" y="62"/>
                    </a:lnTo>
                    <a:lnTo>
                      <a:pt x="152" y="62"/>
                    </a:lnTo>
                    <a:lnTo>
                      <a:pt x="152" y="62"/>
                    </a:lnTo>
                    <a:lnTo>
                      <a:pt x="149" y="62"/>
                    </a:lnTo>
                    <a:lnTo>
                      <a:pt x="149" y="64"/>
                    </a:lnTo>
                    <a:lnTo>
                      <a:pt x="152" y="64"/>
                    </a:lnTo>
                    <a:lnTo>
                      <a:pt x="154" y="64"/>
                    </a:lnTo>
                    <a:lnTo>
                      <a:pt x="156" y="64"/>
                    </a:lnTo>
                    <a:lnTo>
                      <a:pt x="156" y="64"/>
                    </a:lnTo>
                    <a:lnTo>
                      <a:pt x="154" y="67"/>
                    </a:lnTo>
                    <a:lnTo>
                      <a:pt x="156" y="69"/>
                    </a:lnTo>
                    <a:lnTo>
                      <a:pt x="154" y="69"/>
                    </a:lnTo>
                    <a:lnTo>
                      <a:pt x="154" y="67"/>
                    </a:lnTo>
                    <a:lnTo>
                      <a:pt x="152" y="67"/>
                    </a:lnTo>
                    <a:lnTo>
                      <a:pt x="152" y="67"/>
                    </a:lnTo>
                    <a:lnTo>
                      <a:pt x="149" y="64"/>
                    </a:lnTo>
                    <a:lnTo>
                      <a:pt x="147" y="64"/>
                    </a:lnTo>
                    <a:lnTo>
                      <a:pt x="144" y="67"/>
                    </a:lnTo>
                    <a:lnTo>
                      <a:pt x="142" y="67"/>
                    </a:lnTo>
                    <a:lnTo>
                      <a:pt x="140" y="69"/>
                    </a:lnTo>
                    <a:lnTo>
                      <a:pt x="140" y="69"/>
                    </a:lnTo>
                    <a:lnTo>
                      <a:pt x="140" y="69"/>
                    </a:lnTo>
                    <a:lnTo>
                      <a:pt x="140" y="69"/>
                    </a:lnTo>
                    <a:lnTo>
                      <a:pt x="142" y="69"/>
                    </a:lnTo>
                    <a:lnTo>
                      <a:pt x="144" y="69"/>
                    </a:lnTo>
                    <a:lnTo>
                      <a:pt x="152" y="69"/>
                    </a:lnTo>
                    <a:lnTo>
                      <a:pt x="154" y="71"/>
                    </a:lnTo>
                    <a:lnTo>
                      <a:pt x="154" y="71"/>
                    </a:lnTo>
                    <a:lnTo>
                      <a:pt x="144" y="71"/>
                    </a:lnTo>
                    <a:lnTo>
                      <a:pt x="142" y="71"/>
                    </a:lnTo>
                    <a:lnTo>
                      <a:pt x="140" y="71"/>
                    </a:lnTo>
                    <a:lnTo>
                      <a:pt x="137" y="71"/>
                    </a:lnTo>
                    <a:lnTo>
                      <a:pt x="137" y="74"/>
                    </a:lnTo>
                    <a:lnTo>
                      <a:pt x="135" y="74"/>
                    </a:lnTo>
                    <a:lnTo>
                      <a:pt x="133" y="74"/>
                    </a:lnTo>
                    <a:lnTo>
                      <a:pt x="133" y="76"/>
                    </a:lnTo>
                    <a:lnTo>
                      <a:pt x="130" y="76"/>
                    </a:lnTo>
                    <a:lnTo>
                      <a:pt x="130" y="76"/>
                    </a:lnTo>
                    <a:lnTo>
                      <a:pt x="128" y="76"/>
                    </a:lnTo>
                    <a:lnTo>
                      <a:pt x="130" y="79"/>
                    </a:lnTo>
                    <a:lnTo>
                      <a:pt x="133" y="79"/>
                    </a:lnTo>
                    <a:lnTo>
                      <a:pt x="133" y="79"/>
                    </a:lnTo>
                    <a:lnTo>
                      <a:pt x="130" y="79"/>
                    </a:lnTo>
                    <a:lnTo>
                      <a:pt x="128" y="79"/>
                    </a:lnTo>
                    <a:lnTo>
                      <a:pt x="128" y="79"/>
                    </a:lnTo>
                    <a:lnTo>
                      <a:pt x="126" y="81"/>
                    </a:lnTo>
                    <a:lnTo>
                      <a:pt x="123" y="81"/>
                    </a:lnTo>
                    <a:lnTo>
                      <a:pt x="123" y="81"/>
                    </a:lnTo>
                    <a:lnTo>
                      <a:pt x="123" y="83"/>
                    </a:lnTo>
                    <a:lnTo>
                      <a:pt x="121" y="83"/>
                    </a:lnTo>
                    <a:lnTo>
                      <a:pt x="121" y="86"/>
                    </a:lnTo>
                    <a:lnTo>
                      <a:pt x="121" y="88"/>
                    </a:lnTo>
                    <a:lnTo>
                      <a:pt x="126" y="88"/>
                    </a:lnTo>
                    <a:lnTo>
                      <a:pt x="126" y="88"/>
                    </a:lnTo>
                    <a:lnTo>
                      <a:pt x="126" y="88"/>
                    </a:lnTo>
                    <a:lnTo>
                      <a:pt x="130" y="88"/>
                    </a:lnTo>
                    <a:lnTo>
                      <a:pt x="133" y="88"/>
                    </a:lnTo>
                    <a:lnTo>
                      <a:pt x="135" y="88"/>
                    </a:lnTo>
                    <a:lnTo>
                      <a:pt x="133" y="88"/>
                    </a:lnTo>
                    <a:lnTo>
                      <a:pt x="130" y="88"/>
                    </a:lnTo>
                    <a:lnTo>
                      <a:pt x="130" y="90"/>
                    </a:lnTo>
                    <a:lnTo>
                      <a:pt x="126" y="90"/>
                    </a:lnTo>
                    <a:lnTo>
                      <a:pt x="116" y="90"/>
                    </a:lnTo>
                    <a:lnTo>
                      <a:pt x="116" y="93"/>
                    </a:lnTo>
                    <a:lnTo>
                      <a:pt x="118" y="93"/>
                    </a:lnTo>
                    <a:lnTo>
                      <a:pt x="121" y="95"/>
                    </a:lnTo>
                    <a:lnTo>
                      <a:pt x="118" y="95"/>
                    </a:lnTo>
                    <a:lnTo>
                      <a:pt x="116" y="95"/>
                    </a:lnTo>
                    <a:lnTo>
                      <a:pt x="116" y="95"/>
                    </a:lnTo>
                    <a:lnTo>
                      <a:pt x="114" y="98"/>
                    </a:lnTo>
                    <a:lnTo>
                      <a:pt x="111" y="100"/>
                    </a:lnTo>
                    <a:lnTo>
                      <a:pt x="109" y="102"/>
                    </a:lnTo>
                    <a:lnTo>
                      <a:pt x="109" y="102"/>
                    </a:lnTo>
                    <a:lnTo>
                      <a:pt x="107" y="105"/>
                    </a:lnTo>
                    <a:lnTo>
                      <a:pt x="107" y="107"/>
                    </a:lnTo>
                    <a:lnTo>
                      <a:pt x="109" y="107"/>
                    </a:lnTo>
                    <a:lnTo>
                      <a:pt x="109" y="107"/>
                    </a:lnTo>
                    <a:lnTo>
                      <a:pt x="111" y="107"/>
                    </a:lnTo>
                    <a:lnTo>
                      <a:pt x="111" y="107"/>
                    </a:lnTo>
                    <a:lnTo>
                      <a:pt x="111" y="109"/>
                    </a:lnTo>
                    <a:lnTo>
                      <a:pt x="114" y="107"/>
                    </a:lnTo>
                    <a:lnTo>
                      <a:pt x="116" y="107"/>
                    </a:lnTo>
                    <a:lnTo>
                      <a:pt x="118" y="107"/>
                    </a:lnTo>
                    <a:lnTo>
                      <a:pt x="118" y="105"/>
                    </a:lnTo>
                    <a:lnTo>
                      <a:pt x="116" y="107"/>
                    </a:lnTo>
                    <a:lnTo>
                      <a:pt x="114" y="109"/>
                    </a:lnTo>
                    <a:lnTo>
                      <a:pt x="111" y="109"/>
                    </a:lnTo>
                    <a:lnTo>
                      <a:pt x="109" y="109"/>
                    </a:lnTo>
                    <a:lnTo>
                      <a:pt x="109" y="109"/>
                    </a:lnTo>
                    <a:lnTo>
                      <a:pt x="100" y="112"/>
                    </a:lnTo>
                    <a:lnTo>
                      <a:pt x="97" y="114"/>
                    </a:lnTo>
                    <a:lnTo>
                      <a:pt x="97" y="114"/>
                    </a:lnTo>
                    <a:lnTo>
                      <a:pt x="97" y="116"/>
                    </a:lnTo>
                    <a:lnTo>
                      <a:pt x="97" y="116"/>
                    </a:lnTo>
                    <a:lnTo>
                      <a:pt x="100" y="114"/>
                    </a:lnTo>
                    <a:lnTo>
                      <a:pt x="102" y="114"/>
                    </a:lnTo>
                    <a:lnTo>
                      <a:pt x="100" y="116"/>
                    </a:lnTo>
                    <a:lnTo>
                      <a:pt x="97" y="116"/>
                    </a:lnTo>
                    <a:lnTo>
                      <a:pt x="95" y="119"/>
                    </a:lnTo>
                    <a:lnTo>
                      <a:pt x="92" y="119"/>
                    </a:lnTo>
                    <a:lnTo>
                      <a:pt x="90" y="119"/>
                    </a:lnTo>
                    <a:lnTo>
                      <a:pt x="90" y="121"/>
                    </a:lnTo>
                    <a:lnTo>
                      <a:pt x="85" y="124"/>
                    </a:lnTo>
                    <a:lnTo>
                      <a:pt x="81" y="126"/>
                    </a:lnTo>
                    <a:lnTo>
                      <a:pt x="78" y="128"/>
                    </a:lnTo>
                    <a:lnTo>
                      <a:pt x="76" y="131"/>
                    </a:lnTo>
                    <a:lnTo>
                      <a:pt x="76" y="133"/>
                    </a:lnTo>
                    <a:lnTo>
                      <a:pt x="74" y="133"/>
                    </a:lnTo>
                    <a:lnTo>
                      <a:pt x="71" y="135"/>
                    </a:lnTo>
                    <a:lnTo>
                      <a:pt x="71" y="135"/>
                    </a:lnTo>
                    <a:lnTo>
                      <a:pt x="71" y="135"/>
                    </a:lnTo>
                    <a:lnTo>
                      <a:pt x="74" y="135"/>
                    </a:lnTo>
                    <a:lnTo>
                      <a:pt x="74" y="135"/>
                    </a:lnTo>
                    <a:lnTo>
                      <a:pt x="76" y="138"/>
                    </a:lnTo>
                    <a:lnTo>
                      <a:pt x="76" y="138"/>
                    </a:lnTo>
                    <a:lnTo>
                      <a:pt x="76" y="140"/>
                    </a:lnTo>
                    <a:lnTo>
                      <a:pt x="78" y="140"/>
                    </a:lnTo>
                    <a:lnTo>
                      <a:pt x="83" y="138"/>
                    </a:lnTo>
                    <a:lnTo>
                      <a:pt x="90" y="135"/>
                    </a:lnTo>
                    <a:lnTo>
                      <a:pt x="92" y="133"/>
                    </a:lnTo>
                    <a:lnTo>
                      <a:pt x="92" y="133"/>
                    </a:lnTo>
                    <a:lnTo>
                      <a:pt x="90" y="133"/>
                    </a:lnTo>
                    <a:lnTo>
                      <a:pt x="92" y="131"/>
                    </a:lnTo>
                    <a:lnTo>
                      <a:pt x="95" y="131"/>
                    </a:lnTo>
                    <a:lnTo>
                      <a:pt x="97" y="128"/>
                    </a:lnTo>
                    <a:lnTo>
                      <a:pt x="97" y="131"/>
                    </a:lnTo>
                    <a:lnTo>
                      <a:pt x="97" y="131"/>
                    </a:lnTo>
                    <a:lnTo>
                      <a:pt x="97" y="131"/>
                    </a:lnTo>
                    <a:lnTo>
                      <a:pt x="95" y="133"/>
                    </a:lnTo>
                    <a:lnTo>
                      <a:pt x="95" y="133"/>
                    </a:lnTo>
                    <a:lnTo>
                      <a:pt x="97" y="133"/>
                    </a:lnTo>
                    <a:lnTo>
                      <a:pt x="97" y="133"/>
                    </a:lnTo>
                    <a:lnTo>
                      <a:pt x="97" y="133"/>
                    </a:lnTo>
                    <a:lnTo>
                      <a:pt x="95" y="135"/>
                    </a:lnTo>
                    <a:lnTo>
                      <a:pt x="92" y="135"/>
                    </a:lnTo>
                    <a:lnTo>
                      <a:pt x="90" y="135"/>
                    </a:lnTo>
                    <a:lnTo>
                      <a:pt x="88" y="138"/>
                    </a:lnTo>
                    <a:lnTo>
                      <a:pt x="88" y="138"/>
                    </a:lnTo>
                    <a:lnTo>
                      <a:pt x="88" y="138"/>
                    </a:lnTo>
                    <a:lnTo>
                      <a:pt x="88" y="140"/>
                    </a:lnTo>
                    <a:lnTo>
                      <a:pt x="88" y="140"/>
                    </a:lnTo>
                    <a:lnTo>
                      <a:pt x="88" y="140"/>
                    </a:lnTo>
                    <a:lnTo>
                      <a:pt x="85" y="140"/>
                    </a:lnTo>
                    <a:lnTo>
                      <a:pt x="83" y="140"/>
                    </a:lnTo>
                    <a:lnTo>
                      <a:pt x="81" y="140"/>
                    </a:lnTo>
                    <a:lnTo>
                      <a:pt x="78" y="140"/>
                    </a:lnTo>
                    <a:lnTo>
                      <a:pt x="78" y="143"/>
                    </a:lnTo>
                    <a:lnTo>
                      <a:pt x="76" y="143"/>
                    </a:lnTo>
                    <a:lnTo>
                      <a:pt x="76" y="140"/>
                    </a:lnTo>
                    <a:lnTo>
                      <a:pt x="76" y="140"/>
                    </a:lnTo>
                    <a:lnTo>
                      <a:pt x="76" y="140"/>
                    </a:lnTo>
                    <a:lnTo>
                      <a:pt x="74" y="138"/>
                    </a:lnTo>
                    <a:lnTo>
                      <a:pt x="71" y="138"/>
                    </a:lnTo>
                    <a:lnTo>
                      <a:pt x="71" y="138"/>
                    </a:lnTo>
                    <a:lnTo>
                      <a:pt x="69" y="138"/>
                    </a:lnTo>
                    <a:lnTo>
                      <a:pt x="64" y="140"/>
                    </a:lnTo>
                    <a:lnTo>
                      <a:pt x="64" y="140"/>
                    </a:lnTo>
                    <a:lnTo>
                      <a:pt x="64" y="140"/>
                    </a:lnTo>
                    <a:lnTo>
                      <a:pt x="66" y="138"/>
                    </a:lnTo>
                    <a:lnTo>
                      <a:pt x="64" y="138"/>
                    </a:lnTo>
                    <a:lnTo>
                      <a:pt x="62" y="138"/>
                    </a:lnTo>
                    <a:lnTo>
                      <a:pt x="59" y="138"/>
                    </a:lnTo>
                    <a:lnTo>
                      <a:pt x="57" y="138"/>
                    </a:lnTo>
                    <a:lnTo>
                      <a:pt x="55" y="140"/>
                    </a:lnTo>
                    <a:lnTo>
                      <a:pt x="55" y="140"/>
                    </a:lnTo>
                    <a:lnTo>
                      <a:pt x="55" y="140"/>
                    </a:lnTo>
                    <a:lnTo>
                      <a:pt x="55" y="140"/>
                    </a:lnTo>
                    <a:lnTo>
                      <a:pt x="57" y="140"/>
                    </a:lnTo>
                    <a:lnTo>
                      <a:pt x="57" y="143"/>
                    </a:lnTo>
                    <a:lnTo>
                      <a:pt x="57" y="143"/>
                    </a:lnTo>
                    <a:lnTo>
                      <a:pt x="57" y="143"/>
                    </a:lnTo>
                    <a:lnTo>
                      <a:pt x="52" y="145"/>
                    </a:lnTo>
                    <a:lnTo>
                      <a:pt x="52" y="145"/>
                    </a:lnTo>
                    <a:lnTo>
                      <a:pt x="50" y="147"/>
                    </a:lnTo>
                    <a:lnTo>
                      <a:pt x="52" y="147"/>
                    </a:lnTo>
                    <a:lnTo>
                      <a:pt x="52" y="150"/>
                    </a:lnTo>
                    <a:lnTo>
                      <a:pt x="57" y="152"/>
                    </a:lnTo>
                    <a:lnTo>
                      <a:pt x="57" y="152"/>
                    </a:lnTo>
                    <a:lnTo>
                      <a:pt x="52" y="150"/>
                    </a:lnTo>
                    <a:lnTo>
                      <a:pt x="52" y="150"/>
                    </a:lnTo>
                    <a:lnTo>
                      <a:pt x="50" y="147"/>
                    </a:lnTo>
                    <a:lnTo>
                      <a:pt x="47" y="147"/>
                    </a:lnTo>
                    <a:lnTo>
                      <a:pt x="45" y="147"/>
                    </a:lnTo>
                    <a:lnTo>
                      <a:pt x="43" y="147"/>
                    </a:lnTo>
                    <a:lnTo>
                      <a:pt x="43" y="147"/>
                    </a:lnTo>
                    <a:lnTo>
                      <a:pt x="40" y="150"/>
                    </a:lnTo>
                    <a:lnTo>
                      <a:pt x="33" y="150"/>
                    </a:lnTo>
                    <a:lnTo>
                      <a:pt x="33" y="150"/>
                    </a:lnTo>
                    <a:lnTo>
                      <a:pt x="33" y="152"/>
                    </a:lnTo>
                    <a:lnTo>
                      <a:pt x="31" y="154"/>
                    </a:lnTo>
                    <a:lnTo>
                      <a:pt x="31" y="154"/>
                    </a:lnTo>
                    <a:lnTo>
                      <a:pt x="31" y="154"/>
                    </a:lnTo>
                    <a:lnTo>
                      <a:pt x="33" y="154"/>
                    </a:lnTo>
                    <a:lnTo>
                      <a:pt x="36" y="154"/>
                    </a:lnTo>
                    <a:lnTo>
                      <a:pt x="38" y="154"/>
                    </a:lnTo>
                    <a:lnTo>
                      <a:pt x="40" y="154"/>
                    </a:lnTo>
                    <a:lnTo>
                      <a:pt x="50" y="154"/>
                    </a:lnTo>
                    <a:lnTo>
                      <a:pt x="50" y="154"/>
                    </a:lnTo>
                    <a:lnTo>
                      <a:pt x="45" y="154"/>
                    </a:lnTo>
                    <a:lnTo>
                      <a:pt x="40" y="154"/>
                    </a:lnTo>
                    <a:lnTo>
                      <a:pt x="40" y="157"/>
                    </a:lnTo>
                    <a:lnTo>
                      <a:pt x="40" y="157"/>
                    </a:lnTo>
                    <a:lnTo>
                      <a:pt x="43" y="157"/>
                    </a:lnTo>
                    <a:lnTo>
                      <a:pt x="43" y="157"/>
                    </a:lnTo>
                    <a:lnTo>
                      <a:pt x="43" y="157"/>
                    </a:lnTo>
                    <a:lnTo>
                      <a:pt x="40" y="159"/>
                    </a:lnTo>
                    <a:lnTo>
                      <a:pt x="38" y="157"/>
                    </a:lnTo>
                    <a:lnTo>
                      <a:pt x="33" y="157"/>
                    </a:lnTo>
                    <a:lnTo>
                      <a:pt x="31" y="157"/>
                    </a:lnTo>
                    <a:lnTo>
                      <a:pt x="29" y="157"/>
                    </a:lnTo>
                    <a:lnTo>
                      <a:pt x="26" y="157"/>
                    </a:lnTo>
                    <a:lnTo>
                      <a:pt x="24" y="157"/>
                    </a:lnTo>
                    <a:lnTo>
                      <a:pt x="24" y="157"/>
                    </a:lnTo>
                    <a:lnTo>
                      <a:pt x="21" y="159"/>
                    </a:lnTo>
                    <a:lnTo>
                      <a:pt x="21" y="159"/>
                    </a:lnTo>
                    <a:lnTo>
                      <a:pt x="21" y="159"/>
                    </a:lnTo>
                    <a:lnTo>
                      <a:pt x="21" y="161"/>
                    </a:lnTo>
                    <a:lnTo>
                      <a:pt x="24" y="161"/>
                    </a:lnTo>
                    <a:lnTo>
                      <a:pt x="26" y="159"/>
                    </a:lnTo>
                    <a:lnTo>
                      <a:pt x="29" y="159"/>
                    </a:lnTo>
                    <a:lnTo>
                      <a:pt x="29" y="159"/>
                    </a:lnTo>
                    <a:lnTo>
                      <a:pt x="29" y="161"/>
                    </a:lnTo>
                    <a:lnTo>
                      <a:pt x="21" y="161"/>
                    </a:lnTo>
                    <a:lnTo>
                      <a:pt x="19" y="161"/>
                    </a:lnTo>
                    <a:lnTo>
                      <a:pt x="19" y="161"/>
                    </a:lnTo>
                    <a:lnTo>
                      <a:pt x="19" y="161"/>
                    </a:lnTo>
                    <a:lnTo>
                      <a:pt x="17" y="161"/>
                    </a:lnTo>
                    <a:lnTo>
                      <a:pt x="17" y="161"/>
                    </a:lnTo>
                    <a:lnTo>
                      <a:pt x="14" y="161"/>
                    </a:lnTo>
                    <a:lnTo>
                      <a:pt x="12" y="161"/>
                    </a:lnTo>
                    <a:lnTo>
                      <a:pt x="12" y="164"/>
                    </a:lnTo>
                    <a:lnTo>
                      <a:pt x="10" y="164"/>
                    </a:lnTo>
                    <a:lnTo>
                      <a:pt x="10" y="166"/>
                    </a:lnTo>
                    <a:lnTo>
                      <a:pt x="10" y="166"/>
                    </a:lnTo>
                    <a:lnTo>
                      <a:pt x="7" y="164"/>
                    </a:lnTo>
                    <a:lnTo>
                      <a:pt x="7" y="166"/>
                    </a:lnTo>
                    <a:lnTo>
                      <a:pt x="5" y="169"/>
                    </a:lnTo>
                    <a:lnTo>
                      <a:pt x="7" y="169"/>
                    </a:lnTo>
                    <a:lnTo>
                      <a:pt x="7" y="169"/>
                    </a:lnTo>
                    <a:lnTo>
                      <a:pt x="12" y="169"/>
                    </a:lnTo>
                    <a:lnTo>
                      <a:pt x="14" y="169"/>
                    </a:lnTo>
                    <a:lnTo>
                      <a:pt x="21" y="171"/>
                    </a:lnTo>
                    <a:lnTo>
                      <a:pt x="24" y="171"/>
                    </a:lnTo>
                    <a:lnTo>
                      <a:pt x="29" y="171"/>
                    </a:lnTo>
                    <a:lnTo>
                      <a:pt x="29" y="171"/>
                    </a:lnTo>
                    <a:lnTo>
                      <a:pt x="26" y="171"/>
                    </a:lnTo>
                    <a:lnTo>
                      <a:pt x="19" y="173"/>
                    </a:lnTo>
                    <a:lnTo>
                      <a:pt x="14" y="171"/>
                    </a:lnTo>
                    <a:lnTo>
                      <a:pt x="10" y="171"/>
                    </a:lnTo>
                    <a:lnTo>
                      <a:pt x="5" y="171"/>
                    </a:lnTo>
                    <a:lnTo>
                      <a:pt x="5" y="171"/>
                    </a:lnTo>
                    <a:lnTo>
                      <a:pt x="3" y="171"/>
                    </a:lnTo>
                    <a:lnTo>
                      <a:pt x="3" y="171"/>
                    </a:lnTo>
                    <a:lnTo>
                      <a:pt x="3" y="173"/>
                    </a:lnTo>
                    <a:lnTo>
                      <a:pt x="3" y="176"/>
                    </a:lnTo>
                    <a:lnTo>
                      <a:pt x="5" y="176"/>
                    </a:lnTo>
                    <a:lnTo>
                      <a:pt x="7" y="178"/>
                    </a:lnTo>
                    <a:lnTo>
                      <a:pt x="7" y="178"/>
                    </a:lnTo>
                    <a:lnTo>
                      <a:pt x="10" y="178"/>
                    </a:lnTo>
                    <a:lnTo>
                      <a:pt x="7" y="178"/>
                    </a:lnTo>
                    <a:lnTo>
                      <a:pt x="7" y="178"/>
                    </a:lnTo>
                    <a:lnTo>
                      <a:pt x="3" y="178"/>
                    </a:lnTo>
                    <a:lnTo>
                      <a:pt x="3" y="180"/>
                    </a:lnTo>
                    <a:lnTo>
                      <a:pt x="5" y="183"/>
                    </a:lnTo>
                    <a:lnTo>
                      <a:pt x="5" y="183"/>
                    </a:lnTo>
                    <a:lnTo>
                      <a:pt x="7" y="185"/>
                    </a:lnTo>
                    <a:lnTo>
                      <a:pt x="10" y="185"/>
                    </a:lnTo>
                    <a:lnTo>
                      <a:pt x="12" y="185"/>
                    </a:lnTo>
                    <a:lnTo>
                      <a:pt x="19" y="185"/>
                    </a:lnTo>
                    <a:lnTo>
                      <a:pt x="24" y="185"/>
                    </a:lnTo>
                    <a:lnTo>
                      <a:pt x="26" y="185"/>
                    </a:lnTo>
                    <a:lnTo>
                      <a:pt x="26" y="183"/>
                    </a:lnTo>
                    <a:lnTo>
                      <a:pt x="26" y="183"/>
                    </a:lnTo>
                    <a:lnTo>
                      <a:pt x="26" y="183"/>
                    </a:lnTo>
                    <a:lnTo>
                      <a:pt x="26" y="183"/>
                    </a:lnTo>
                    <a:lnTo>
                      <a:pt x="29" y="183"/>
                    </a:lnTo>
                    <a:lnTo>
                      <a:pt x="31" y="183"/>
                    </a:lnTo>
                    <a:lnTo>
                      <a:pt x="31" y="185"/>
                    </a:lnTo>
                    <a:lnTo>
                      <a:pt x="36" y="185"/>
                    </a:lnTo>
                    <a:lnTo>
                      <a:pt x="38" y="183"/>
                    </a:lnTo>
                    <a:lnTo>
                      <a:pt x="38" y="183"/>
                    </a:lnTo>
                    <a:lnTo>
                      <a:pt x="38" y="183"/>
                    </a:lnTo>
                    <a:lnTo>
                      <a:pt x="38" y="180"/>
                    </a:lnTo>
                    <a:lnTo>
                      <a:pt x="40" y="178"/>
                    </a:lnTo>
                    <a:lnTo>
                      <a:pt x="40" y="180"/>
                    </a:lnTo>
                    <a:lnTo>
                      <a:pt x="38" y="183"/>
                    </a:lnTo>
                    <a:lnTo>
                      <a:pt x="38" y="183"/>
                    </a:lnTo>
                    <a:lnTo>
                      <a:pt x="43" y="183"/>
                    </a:lnTo>
                    <a:lnTo>
                      <a:pt x="40" y="185"/>
                    </a:lnTo>
                    <a:lnTo>
                      <a:pt x="33" y="185"/>
                    </a:lnTo>
                    <a:lnTo>
                      <a:pt x="33" y="188"/>
                    </a:lnTo>
                    <a:lnTo>
                      <a:pt x="33" y="188"/>
                    </a:lnTo>
                    <a:lnTo>
                      <a:pt x="33" y="188"/>
                    </a:lnTo>
                    <a:lnTo>
                      <a:pt x="33" y="188"/>
                    </a:lnTo>
                    <a:lnTo>
                      <a:pt x="33" y="185"/>
                    </a:lnTo>
                    <a:lnTo>
                      <a:pt x="31" y="185"/>
                    </a:lnTo>
                    <a:lnTo>
                      <a:pt x="29" y="185"/>
                    </a:lnTo>
                    <a:lnTo>
                      <a:pt x="26" y="185"/>
                    </a:lnTo>
                    <a:lnTo>
                      <a:pt x="24" y="185"/>
                    </a:lnTo>
                    <a:lnTo>
                      <a:pt x="21" y="185"/>
                    </a:lnTo>
                    <a:lnTo>
                      <a:pt x="17" y="185"/>
                    </a:lnTo>
                    <a:lnTo>
                      <a:pt x="10" y="185"/>
                    </a:lnTo>
                    <a:lnTo>
                      <a:pt x="7" y="188"/>
                    </a:lnTo>
                    <a:lnTo>
                      <a:pt x="5" y="188"/>
                    </a:lnTo>
                    <a:lnTo>
                      <a:pt x="5" y="185"/>
                    </a:lnTo>
                    <a:lnTo>
                      <a:pt x="3" y="188"/>
                    </a:lnTo>
                    <a:lnTo>
                      <a:pt x="3" y="188"/>
                    </a:lnTo>
                    <a:lnTo>
                      <a:pt x="3" y="190"/>
                    </a:lnTo>
                    <a:lnTo>
                      <a:pt x="3" y="192"/>
                    </a:lnTo>
                    <a:lnTo>
                      <a:pt x="5" y="195"/>
                    </a:lnTo>
                    <a:lnTo>
                      <a:pt x="7" y="195"/>
                    </a:lnTo>
                    <a:lnTo>
                      <a:pt x="10" y="195"/>
                    </a:lnTo>
                    <a:lnTo>
                      <a:pt x="12" y="192"/>
                    </a:lnTo>
                    <a:lnTo>
                      <a:pt x="12" y="192"/>
                    </a:lnTo>
                    <a:lnTo>
                      <a:pt x="12" y="195"/>
                    </a:lnTo>
                    <a:lnTo>
                      <a:pt x="5" y="197"/>
                    </a:lnTo>
                    <a:lnTo>
                      <a:pt x="5" y="197"/>
                    </a:lnTo>
                    <a:lnTo>
                      <a:pt x="5" y="202"/>
                    </a:lnTo>
                    <a:lnTo>
                      <a:pt x="7" y="202"/>
                    </a:lnTo>
                    <a:lnTo>
                      <a:pt x="10" y="204"/>
                    </a:lnTo>
                    <a:lnTo>
                      <a:pt x="12" y="204"/>
                    </a:lnTo>
                    <a:lnTo>
                      <a:pt x="12" y="204"/>
                    </a:lnTo>
                    <a:lnTo>
                      <a:pt x="12" y="204"/>
                    </a:lnTo>
                    <a:lnTo>
                      <a:pt x="10" y="206"/>
                    </a:lnTo>
                    <a:lnTo>
                      <a:pt x="7" y="206"/>
                    </a:lnTo>
                    <a:lnTo>
                      <a:pt x="7" y="204"/>
                    </a:lnTo>
                    <a:lnTo>
                      <a:pt x="5" y="204"/>
                    </a:lnTo>
                    <a:lnTo>
                      <a:pt x="5" y="206"/>
                    </a:lnTo>
                    <a:lnTo>
                      <a:pt x="5" y="206"/>
                    </a:lnTo>
                    <a:lnTo>
                      <a:pt x="5" y="209"/>
                    </a:lnTo>
                    <a:lnTo>
                      <a:pt x="5" y="209"/>
                    </a:lnTo>
                    <a:lnTo>
                      <a:pt x="3" y="211"/>
                    </a:lnTo>
                    <a:lnTo>
                      <a:pt x="3" y="214"/>
                    </a:lnTo>
                    <a:lnTo>
                      <a:pt x="5" y="214"/>
                    </a:lnTo>
                    <a:lnTo>
                      <a:pt x="5" y="214"/>
                    </a:lnTo>
                    <a:lnTo>
                      <a:pt x="5" y="214"/>
                    </a:lnTo>
                    <a:lnTo>
                      <a:pt x="5" y="211"/>
                    </a:lnTo>
                    <a:lnTo>
                      <a:pt x="7" y="211"/>
                    </a:lnTo>
                    <a:lnTo>
                      <a:pt x="10" y="211"/>
                    </a:lnTo>
                    <a:lnTo>
                      <a:pt x="10" y="209"/>
                    </a:lnTo>
                    <a:lnTo>
                      <a:pt x="12" y="206"/>
                    </a:lnTo>
                    <a:lnTo>
                      <a:pt x="14" y="206"/>
                    </a:lnTo>
                    <a:lnTo>
                      <a:pt x="14" y="206"/>
                    </a:lnTo>
                    <a:lnTo>
                      <a:pt x="17" y="204"/>
                    </a:lnTo>
                    <a:lnTo>
                      <a:pt x="17" y="202"/>
                    </a:lnTo>
                    <a:lnTo>
                      <a:pt x="19" y="202"/>
                    </a:lnTo>
                    <a:lnTo>
                      <a:pt x="19" y="199"/>
                    </a:lnTo>
                    <a:lnTo>
                      <a:pt x="24" y="199"/>
                    </a:lnTo>
                    <a:lnTo>
                      <a:pt x="29" y="197"/>
                    </a:lnTo>
                    <a:lnTo>
                      <a:pt x="33" y="197"/>
                    </a:lnTo>
                    <a:lnTo>
                      <a:pt x="31" y="197"/>
                    </a:lnTo>
                    <a:lnTo>
                      <a:pt x="29" y="197"/>
                    </a:lnTo>
                    <a:lnTo>
                      <a:pt x="29" y="199"/>
                    </a:lnTo>
                    <a:lnTo>
                      <a:pt x="26" y="199"/>
                    </a:lnTo>
                    <a:lnTo>
                      <a:pt x="26" y="204"/>
                    </a:lnTo>
                    <a:lnTo>
                      <a:pt x="26" y="202"/>
                    </a:lnTo>
                    <a:lnTo>
                      <a:pt x="26" y="199"/>
                    </a:lnTo>
                    <a:lnTo>
                      <a:pt x="26" y="199"/>
                    </a:lnTo>
                    <a:lnTo>
                      <a:pt x="24" y="199"/>
                    </a:lnTo>
                    <a:lnTo>
                      <a:pt x="19" y="202"/>
                    </a:lnTo>
                    <a:lnTo>
                      <a:pt x="19" y="204"/>
                    </a:lnTo>
                    <a:lnTo>
                      <a:pt x="19" y="204"/>
                    </a:lnTo>
                    <a:lnTo>
                      <a:pt x="19" y="204"/>
                    </a:lnTo>
                    <a:lnTo>
                      <a:pt x="17" y="206"/>
                    </a:lnTo>
                    <a:lnTo>
                      <a:pt x="14" y="209"/>
                    </a:lnTo>
                    <a:lnTo>
                      <a:pt x="12" y="209"/>
                    </a:lnTo>
                    <a:lnTo>
                      <a:pt x="14" y="211"/>
                    </a:lnTo>
                    <a:lnTo>
                      <a:pt x="14" y="211"/>
                    </a:lnTo>
                    <a:lnTo>
                      <a:pt x="17" y="211"/>
                    </a:lnTo>
                    <a:lnTo>
                      <a:pt x="19" y="211"/>
                    </a:lnTo>
                    <a:lnTo>
                      <a:pt x="21" y="209"/>
                    </a:lnTo>
                    <a:lnTo>
                      <a:pt x="21" y="211"/>
                    </a:lnTo>
                    <a:lnTo>
                      <a:pt x="17" y="211"/>
                    </a:lnTo>
                    <a:lnTo>
                      <a:pt x="14" y="211"/>
                    </a:lnTo>
                    <a:lnTo>
                      <a:pt x="14" y="214"/>
                    </a:lnTo>
                    <a:lnTo>
                      <a:pt x="10" y="214"/>
                    </a:lnTo>
                    <a:lnTo>
                      <a:pt x="10" y="211"/>
                    </a:lnTo>
                    <a:lnTo>
                      <a:pt x="10" y="211"/>
                    </a:lnTo>
                    <a:lnTo>
                      <a:pt x="7" y="214"/>
                    </a:lnTo>
                    <a:lnTo>
                      <a:pt x="7" y="214"/>
                    </a:lnTo>
                    <a:lnTo>
                      <a:pt x="5" y="216"/>
                    </a:lnTo>
                    <a:lnTo>
                      <a:pt x="5" y="218"/>
                    </a:lnTo>
                    <a:lnTo>
                      <a:pt x="3" y="221"/>
                    </a:lnTo>
                    <a:lnTo>
                      <a:pt x="5" y="223"/>
                    </a:lnTo>
                    <a:lnTo>
                      <a:pt x="7" y="223"/>
                    </a:lnTo>
                    <a:lnTo>
                      <a:pt x="10" y="223"/>
                    </a:lnTo>
                    <a:lnTo>
                      <a:pt x="10" y="221"/>
                    </a:lnTo>
                    <a:lnTo>
                      <a:pt x="12" y="221"/>
                    </a:lnTo>
                    <a:lnTo>
                      <a:pt x="12" y="221"/>
                    </a:lnTo>
                    <a:lnTo>
                      <a:pt x="14" y="218"/>
                    </a:lnTo>
                    <a:lnTo>
                      <a:pt x="17" y="218"/>
                    </a:lnTo>
                    <a:lnTo>
                      <a:pt x="19" y="216"/>
                    </a:lnTo>
                    <a:lnTo>
                      <a:pt x="21" y="216"/>
                    </a:lnTo>
                    <a:lnTo>
                      <a:pt x="24" y="216"/>
                    </a:lnTo>
                    <a:lnTo>
                      <a:pt x="24" y="216"/>
                    </a:lnTo>
                    <a:lnTo>
                      <a:pt x="21" y="216"/>
                    </a:lnTo>
                    <a:lnTo>
                      <a:pt x="19" y="218"/>
                    </a:lnTo>
                    <a:lnTo>
                      <a:pt x="17" y="218"/>
                    </a:lnTo>
                    <a:lnTo>
                      <a:pt x="17" y="221"/>
                    </a:lnTo>
                    <a:lnTo>
                      <a:pt x="17" y="221"/>
                    </a:lnTo>
                    <a:lnTo>
                      <a:pt x="17" y="223"/>
                    </a:lnTo>
                    <a:lnTo>
                      <a:pt x="17" y="223"/>
                    </a:lnTo>
                    <a:lnTo>
                      <a:pt x="14" y="223"/>
                    </a:lnTo>
                    <a:lnTo>
                      <a:pt x="14" y="225"/>
                    </a:lnTo>
                    <a:lnTo>
                      <a:pt x="17" y="225"/>
                    </a:lnTo>
                    <a:lnTo>
                      <a:pt x="19" y="228"/>
                    </a:lnTo>
                    <a:lnTo>
                      <a:pt x="21" y="225"/>
                    </a:lnTo>
                    <a:lnTo>
                      <a:pt x="21" y="225"/>
                    </a:lnTo>
                    <a:lnTo>
                      <a:pt x="19" y="228"/>
                    </a:lnTo>
                    <a:lnTo>
                      <a:pt x="19" y="228"/>
                    </a:lnTo>
                    <a:lnTo>
                      <a:pt x="19" y="228"/>
                    </a:lnTo>
                    <a:lnTo>
                      <a:pt x="14" y="228"/>
                    </a:lnTo>
                    <a:lnTo>
                      <a:pt x="10" y="225"/>
                    </a:lnTo>
                    <a:lnTo>
                      <a:pt x="10" y="228"/>
                    </a:lnTo>
                    <a:lnTo>
                      <a:pt x="10" y="230"/>
                    </a:lnTo>
                    <a:lnTo>
                      <a:pt x="10" y="232"/>
                    </a:lnTo>
                    <a:lnTo>
                      <a:pt x="10" y="232"/>
                    </a:lnTo>
                    <a:lnTo>
                      <a:pt x="12" y="235"/>
                    </a:lnTo>
                    <a:lnTo>
                      <a:pt x="17" y="237"/>
                    </a:lnTo>
                    <a:lnTo>
                      <a:pt x="17" y="237"/>
                    </a:lnTo>
                    <a:lnTo>
                      <a:pt x="21" y="240"/>
                    </a:lnTo>
                    <a:lnTo>
                      <a:pt x="24" y="240"/>
                    </a:lnTo>
                    <a:lnTo>
                      <a:pt x="26" y="240"/>
                    </a:lnTo>
                    <a:lnTo>
                      <a:pt x="26" y="240"/>
                    </a:lnTo>
                    <a:lnTo>
                      <a:pt x="26" y="242"/>
                    </a:lnTo>
                    <a:lnTo>
                      <a:pt x="26" y="242"/>
                    </a:lnTo>
                    <a:lnTo>
                      <a:pt x="26" y="242"/>
                    </a:lnTo>
                    <a:lnTo>
                      <a:pt x="24" y="244"/>
                    </a:lnTo>
                    <a:lnTo>
                      <a:pt x="24" y="244"/>
                    </a:lnTo>
                    <a:lnTo>
                      <a:pt x="26" y="244"/>
                    </a:lnTo>
                    <a:lnTo>
                      <a:pt x="29" y="244"/>
                    </a:lnTo>
                    <a:lnTo>
                      <a:pt x="29" y="242"/>
                    </a:lnTo>
                    <a:lnTo>
                      <a:pt x="29" y="242"/>
                    </a:lnTo>
                    <a:lnTo>
                      <a:pt x="29" y="242"/>
                    </a:lnTo>
                    <a:lnTo>
                      <a:pt x="31" y="242"/>
                    </a:lnTo>
                    <a:lnTo>
                      <a:pt x="29" y="244"/>
                    </a:lnTo>
                    <a:lnTo>
                      <a:pt x="29" y="244"/>
                    </a:lnTo>
                    <a:lnTo>
                      <a:pt x="29" y="244"/>
                    </a:lnTo>
                    <a:lnTo>
                      <a:pt x="31" y="244"/>
                    </a:lnTo>
                    <a:lnTo>
                      <a:pt x="33" y="244"/>
                    </a:lnTo>
                    <a:lnTo>
                      <a:pt x="38" y="244"/>
                    </a:lnTo>
                    <a:lnTo>
                      <a:pt x="45" y="244"/>
                    </a:lnTo>
                    <a:lnTo>
                      <a:pt x="47" y="242"/>
                    </a:lnTo>
                    <a:lnTo>
                      <a:pt x="50" y="242"/>
                    </a:lnTo>
                    <a:lnTo>
                      <a:pt x="52" y="242"/>
                    </a:lnTo>
                    <a:lnTo>
                      <a:pt x="55" y="240"/>
                    </a:lnTo>
                    <a:lnTo>
                      <a:pt x="59" y="235"/>
                    </a:lnTo>
                    <a:lnTo>
                      <a:pt x="64" y="232"/>
                    </a:lnTo>
                    <a:lnTo>
                      <a:pt x="64" y="232"/>
                    </a:lnTo>
                    <a:lnTo>
                      <a:pt x="64" y="230"/>
                    </a:lnTo>
                    <a:lnTo>
                      <a:pt x="66" y="230"/>
                    </a:lnTo>
                    <a:lnTo>
                      <a:pt x="66" y="230"/>
                    </a:lnTo>
                    <a:lnTo>
                      <a:pt x="66" y="228"/>
                    </a:lnTo>
                    <a:lnTo>
                      <a:pt x="69" y="228"/>
                    </a:lnTo>
                    <a:lnTo>
                      <a:pt x="71" y="228"/>
                    </a:lnTo>
                    <a:lnTo>
                      <a:pt x="71" y="228"/>
                    </a:lnTo>
                    <a:lnTo>
                      <a:pt x="71" y="225"/>
                    </a:lnTo>
                    <a:lnTo>
                      <a:pt x="71" y="225"/>
                    </a:lnTo>
                    <a:lnTo>
                      <a:pt x="71" y="223"/>
                    </a:lnTo>
                    <a:lnTo>
                      <a:pt x="71" y="223"/>
                    </a:lnTo>
                    <a:lnTo>
                      <a:pt x="74" y="225"/>
                    </a:lnTo>
                    <a:lnTo>
                      <a:pt x="74" y="228"/>
                    </a:lnTo>
                    <a:lnTo>
                      <a:pt x="76" y="228"/>
                    </a:lnTo>
                    <a:lnTo>
                      <a:pt x="78" y="225"/>
                    </a:lnTo>
                    <a:lnTo>
                      <a:pt x="81" y="225"/>
                    </a:lnTo>
                    <a:lnTo>
                      <a:pt x="81" y="225"/>
                    </a:lnTo>
                    <a:lnTo>
                      <a:pt x="81" y="225"/>
                    </a:lnTo>
                    <a:lnTo>
                      <a:pt x="83" y="221"/>
                    </a:lnTo>
                    <a:lnTo>
                      <a:pt x="83" y="218"/>
                    </a:lnTo>
                    <a:lnTo>
                      <a:pt x="83" y="218"/>
                    </a:lnTo>
                    <a:lnTo>
                      <a:pt x="83" y="218"/>
                    </a:lnTo>
                    <a:lnTo>
                      <a:pt x="83" y="216"/>
                    </a:lnTo>
                    <a:lnTo>
                      <a:pt x="85" y="216"/>
                    </a:lnTo>
                    <a:lnTo>
                      <a:pt x="85" y="214"/>
                    </a:lnTo>
                    <a:lnTo>
                      <a:pt x="85" y="214"/>
                    </a:lnTo>
                    <a:lnTo>
                      <a:pt x="85" y="211"/>
                    </a:lnTo>
                    <a:lnTo>
                      <a:pt x="85" y="214"/>
                    </a:lnTo>
                    <a:lnTo>
                      <a:pt x="85" y="214"/>
                    </a:lnTo>
                    <a:lnTo>
                      <a:pt x="85" y="218"/>
                    </a:lnTo>
                    <a:lnTo>
                      <a:pt x="85" y="218"/>
                    </a:lnTo>
                    <a:lnTo>
                      <a:pt x="88" y="221"/>
                    </a:lnTo>
                    <a:lnTo>
                      <a:pt x="90" y="223"/>
                    </a:lnTo>
                    <a:lnTo>
                      <a:pt x="90" y="223"/>
                    </a:lnTo>
                    <a:lnTo>
                      <a:pt x="92" y="223"/>
                    </a:lnTo>
                    <a:lnTo>
                      <a:pt x="92" y="223"/>
                    </a:lnTo>
                    <a:lnTo>
                      <a:pt x="95" y="223"/>
                    </a:lnTo>
                    <a:lnTo>
                      <a:pt x="97" y="223"/>
                    </a:lnTo>
                    <a:lnTo>
                      <a:pt x="97" y="225"/>
                    </a:lnTo>
                    <a:lnTo>
                      <a:pt x="97" y="225"/>
                    </a:lnTo>
                    <a:lnTo>
                      <a:pt x="100" y="228"/>
                    </a:lnTo>
                    <a:lnTo>
                      <a:pt x="100" y="228"/>
                    </a:lnTo>
                    <a:lnTo>
                      <a:pt x="102" y="228"/>
                    </a:lnTo>
                    <a:lnTo>
                      <a:pt x="102" y="225"/>
                    </a:lnTo>
                    <a:lnTo>
                      <a:pt x="102" y="223"/>
                    </a:lnTo>
                    <a:lnTo>
                      <a:pt x="104" y="221"/>
                    </a:lnTo>
                    <a:lnTo>
                      <a:pt x="102" y="218"/>
                    </a:lnTo>
                    <a:lnTo>
                      <a:pt x="102" y="216"/>
                    </a:lnTo>
                    <a:lnTo>
                      <a:pt x="102" y="214"/>
                    </a:lnTo>
                    <a:lnTo>
                      <a:pt x="104" y="214"/>
                    </a:lnTo>
                    <a:lnTo>
                      <a:pt x="104" y="211"/>
                    </a:lnTo>
                    <a:lnTo>
                      <a:pt x="107" y="209"/>
                    </a:lnTo>
                    <a:lnTo>
                      <a:pt x="107" y="209"/>
                    </a:lnTo>
                    <a:lnTo>
                      <a:pt x="107" y="209"/>
                    </a:lnTo>
                    <a:lnTo>
                      <a:pt x="109" y="209"/>
                    </a:lnTo>
                    <a:lnTo>
                      <a:pt x="111" y="206"/>
                    </a:lnTo>
                    <a:lnTo>
                      <a:pt x="114" y="206"/>
                    </a:lnTo>
                    <a:lnTo>
                      <a:pt x="114" y="204"/>
                    </a:lnTo>
                    <a:lnTo>
                      <a:pt x="114" y="202"/>
                    </a:lnTo>
                    <a:lnTo>
                      <a:pt x="114" y="202"/>
                    </a:lnTo>
                    <a:lnTo>
                      <a:pt x="114" y="199"/>
                    </a:lnTo>
                    <a:lnTo>
                      <a:pt x="116" y="197"/>
                    </a:lnTo>
                    <a:lnTo>
                      <a:pt x="114" y="197"/>
                    </a:lnTo>
                    <a:lnTo>
                      <a:pt x="114" y="192"/>
                    </a:lnTo>
                    <a:lnTo>
                      <a:pt x="111" y="190"/>
                    </a:lnTo>
                    <a:lnTo>
                      <a:pt x="111" y="188"/>
                    </a:lnTo>
                    <a:lnTo>
                      <a:pt x="111" y="188"/>
                    </a:lnTo>
                    <a:lnTo>
                      <a:pt x="114" y="188"/>
                    </a:lnTo>
                    <a:lnTo>
                      <a:pt x="116" y="188"/>
                    </a:lnTo>
                    <a:lnTo>
                      <a:pt x="116" y="185"/>
                    </a:lnTo>
                    <a:lnTo>
                      <a:pt x="116" y="185"/>
                    </a:lnTo>
                    <a:lnTo>
                      <a:pt x="118" y="185"/>
                    </a:lnTo>
                    <a:lnTo>
                      <a:pt x="118" y="183"/>
                    </a:lnTo>
                    <a:lnTo>
                      <a:pt x="118" y="183"/>
                    </a:lnTo>
                    <a:lnTo>
                      <a:pt x="118" y="180"/>
                    </a:lnTo>
                    <a:lnTo>
                      <a:pt x="118" y="178"/>
                    </a:lnTo>
                    <a:lnTo>
                      <a:pt x="116" y="178"/>
                    </a:lnTo>
                    <a:lnTo>
                      <a:pt x="114" y="176"/>
                    </a:lnTo>
                    <a:lnTo>
                      <a:pt x="111" y="176"/>
                    </a:lnTo>
                    <a:lnTo>
                      <a:pt x="109" y="173"/>
                    </a:lnTo>
                    <a:lnTo>
                      <a:pt x="109" y="169"/>
                    </a:lnTo>
                    <a:lnTo>
                      <a:pt x="111" y="166"/>
                    </a:lnTo>
                    <a:lnTo>
                      <a:pt x="111" y="164"/>
                    </a:lnTo>
                    <a:lnTo>
                      <a:pt x="111" y="164"/>
                    </a:lnTo>
                    <a:lnTo>
                      <a:pt x="109" y="157"/>
                    </a:lnTo>
                    <a:lnTo>
                      <a:pt x="109" y="157"/>
                    </a:lnTo>
                    <a:lnTo>
                      <a:pt x="109" y="154"/>
                    </a:lnTo>
                    <a:lnTo>
                      <a:pt x="109" y="152"/>
                    </a:lnTo>
                    <a:lnTo>
                      <a:pt x="109" y="150"/>
                    </a:lnTo>
                    <a:lnTo>
                      <a:pt x="109" y="150"/>
                    </a:lnTo>
                    <a:lnTo>
                      <a:pt x="109" y="150"/>
                    </a:lnTo>
                    <a:lnTo>
                      <a:pt x="109" y="147"/>
                    </a:lnTo>
                    <a:lnTo>
                      <a:pt x="109" y="147"/>
                    </a:lnTo>
                    <a:lnTo>
                      <a:pt x="107" y="145"/>
                    </a:lnTo>
                    <a:lnTo>
                      <a:pt x="109" y="140"/>
                    </a:lnTo>
                    <a:lnTo>
                      <a:pt x="109" y="138"/>
                    </a:lnTo>
                    <a:lnTo>
                      <a:pt x="111" y="135"/>
                    </a:lnTo>
                    <a:lnTo>
                      <a:pt x="114" y="133"/>
                    </a:lnTo>
                    <a:lnTo>
                      <a:pt x="116" y="131"/>
                    </a:lnTo>
                    <a:lnTo>
                      <a:pt x="116" y="131"/>
                    </a:lnTo>
                    <a:lnTo>
                      <a:pt x="118" y="131"/>
                    </a:lnTo>
                    <a:lnTo>
                      <a:pt x="121" y="128"/>
                    </a:lnTo>
                    <a:lnTo>
                      <a:pt x="123" y="128"/>
                    </a:lnTo>
                    <a:lnTo>
                      <a:pt x="126" y="128"/>
                    </a:lnTo>
                    <a:lnTo>
                      <a:pt x="130" y="131"/>
                    </a:lnTo>
                    <a:lnTo>
                      <a:pt x="135" y="131"/>
                    </a:lnTo>
                    <a:lnTo>
                      <a:pt x="135" y="131"/>
                    </a:lnTo>
                    <a:lnTo>
                      <a:pt x="135" y="128"/>
                    </a:lnTo>
                    <a:lnTo>
                      <a:pt x="137" y="128"/>
                    </a:lnTo>
                    <a:lnTo>
                      <a:pt x="137" y="126"/>
                    </a:lnTo>
                    <a:lnTo>
                      <a:pt x="137" y="124"/>
                    </a:lnTo>
                    <a:lnTo>
                      <a:pt x="135" y="121"/>
                    </a:lnTo>
                    <a:lnTo>
                      <a:pt x="133" y="121"/>
                    </a:lnTo>
                    <a:lnTo>
                      <a:pt x="130" y="119"/>
                    </a:lnTo>
                    <a:lnTo>
                      <a:pt x="133" y="116"/>
                    </a:lnTo>
                    <a:lnTo>
                      <a:pt x="135" y="112"/>
                    </a:lnTo>
                    <a:lnTo>
                      <a:pt x="140" y="109"/>
                    </a:lnTo>
                    <a:lnTo>
                      <a:pt x="140" y="107"/>
                    </a:lnTo>
                    <a:lnTo>
                      <a:pt x="142" y="107"/>
                    </a:lnTo>
                    <a:lnTo>
                      <a:pt x="142" y="100"/>
                    </a:lnTo>
                    <a:lnTo>
                      <a:pt x="142" y="98"/>
                    </a:lnTo>
                    <a:lnTo>
                      <a:pt x="142" y="98"/>
                    </a:lnTo>
                    <a:lnTo>
                      <a:pt x="142" y="95"/>
                    </a:lnTo>
                    <a:lnTo>
                      <a:pt x="142" y="95"/>
                    </a:lnTo>
                    <a:lnTo>
                      <a:pt x="142" y="90"/>
                    </a:lnTo>
                    <a:lnTo>
                      <a:pt x="147" y="90"/>
                    </a:lnTo>
                    <a:lnTo>
                      <a:pt x="149" y="90"/>
                    </a:lnTo>
                    <a:lnTo>
                      <a:pt x="149" y="90"/>
                    </a:lnTo>
                    <a:lnTo>
                      <a:pt x="154" y="88"/>
                    </a:lnTo>
                    <a:lnTo>
                      <a:pt x="154" y="88"/>
                    </a:lnTo>
                    <a:lnTo>
                      <a:pt x="154" y="83"/>
                    </a:lnTo>
                    <a:lnTo>
                      <a:pt x="156" y="83"/>
                    </a:lnTo>
                    <a:lnTo>
                      <a:pt x="159" y="79"/>
                    </a:lnTo>
                    <a:lnTo>
                      <a:pt x="163" y="76"/>
                    </a:lnTo>
                    <a:lnTo>
                      <a:pt x="166" y="74"/>
                    </a:lnTo>
                    <a:lnTo>
                      <a:pt x="166" y="74"/>
                    </a:lnTo>
                    <a:lnTo>
                      <a:pt x="168" y="71"/>
                    </a:lnTo>
                    <a:lnTo>
                      <a:pt x="166" y="69"/>
                    </a:lnTo>
                    <a:lnTo>
                      <a:pt x="166" y="69"/>
                    </a:lnTo>
                    <a:lnTo>
                      <a:pt x="163" y="67"/>
                    </a:lnTo>
                    <a:lnTo>
                      <a:pt x="163" y="67"/>
                    </a:lnTo>
                    <a:lnTo>
                      <a:pt x="166" y="64"/>
                    </a:lnTo>
                    <a:lnTo>
                      <a:pt x="168" y="64"/>
                    </a:lnTo>
                    <a:lnTo>
                      <a:pt x="168" y="64"/>
                    </a:lnTo>
                    <a:lnTo>
                      <a:pt x="168" y="64"/>
                    </a:lnTo>
                    <a:lnTo>
                      <a:pt x="170" y="60"/>
                    </a:lnTo>
                    <a:lnTo>
                      <a:pt x="178" y="57"/>
                    </a:lnTo>
                    <a:lnTo>
                      <a:pt x="178" y="55"/>
                    </a:lnTo>
                    <a:lnTo>
                      <a:pt x="182" y="55"/>
                    </a:lnTo>
                    <a:lnTo>
                      <a:pt x="187" y="57"/>
                    </a:lnTo>
                    <a:lnTo>
                      <a:pt x="189" y="55"/>
                    </a:lnTo>
                    <a:lnTo>
                      <a:pt x="189" y="55"/>
                    </a:lnTo>
                    <a:lnTo>
                      <a:pt x="189" y="53"/>
                    </a:lnTo>
                    <a:lnTo>
                      <a:pt x="189" y="50"/>
                    </a:lnTo>
                    <a:lnTo>
                      <a:pt x="189" y="48"/>
                    </a:lnTo>
                    <a:lnTo>
                      <a:pt x="189" y="48"/>
                    </a:lnTo>
                    <a:lnTo>
                      <a:pt x="192" y="48"/>
                    </a:lnTo>
                    <a:lnTo>
                      <a:pt x="192" y="45"/>
                    </a:lnTo>
                    <a:lnTo>
                      <a:pt x="199" y="48"/>
                    </a:lnTo>
                    <a:lnTo>
                      <a:pt x="199" y="48"/>
                    </a:lnTo>
                    <a:lnTo>
                      <a:pt x="201" y="48"/>
                    </a:lnTo>
                    <a:lnTo>
                      <a:pt x="204" y="48"/>
                    </a:lnTo>
                    <a:lnTo>
                      <a:pt x="211" y="50"/>
                    </a:lnTo>
                    <a:lnTo>
                      <a:pt x="213" y="50"/>
                    </a:lnTo>
                    <a:lnTo>
                      <a:pt x="215" y="50"/>
                    </a:lnTo>
                    <a:lnTo>
                      <a:pt x="215" y="50"/>
                    </a:lnTo>
                    <a:lnTo>
                      <a:pt x="218" y="48"/>
                    </a:lnTo>
                    <a:lnTo>
                      <a:pt x="213" y="48"/>
                    </a:lnTo>
                    <a:lnTo>
                      <a:pt x="215" y="45"/>
                    </a:lnTo>
                    <a:lnTo>
                      <a:pt x="218" y="45"/>
                    </a:lnTo>
                    <a:lnTo>
                      <a:pt x="218" y="43"/>
                    </a:lnTo>
                    <a:lnTo>
                      <a:pt x="218" y="41"/>
                    </a:lnTo>
                    <a:lnTo>
                      <a:pt x="218" y="41"/>
                    </a:lnTo>
                    <a:lnTo>
                      <a:pt x="218" y="41"/>
                    </a:lnTo>
                    <a:lnTo>
                      <a:pt x="215" y="38"/>
                    </a:lnTo>
                    <a:lnTo>
                      <a:pt x="220" y="38"/>
                    </a:lnTo>
                    <a:lnTo>
                      <a:pt x="223" y="38"/>
                    </a:lnTo>
                    <a:lnTo>
                      <a:pt x="223" y="38"/>
                    </a:lnTo>
                    <a:lnTo>
                      <a:pt x="225" y="38"/>
                    </a:lnTo>
                    <a:lnTo>
                      <a:pt x="227" y="38"/>
                    </a:lnTo>
                    <a:lnTo>
                      <a:pt x="230" y="38"/>
                    </a:lnTo>
                    <a:lnTo>
                      <a:pt x="230" y="38"/>
                    </a:lnTo>
                    <a:lnTo>
                      <a:pt x="227" y="36"/>
                    </a:lnTo>
                    <a:lnTo>
                      <a:pt x="227" y="36"/>
                    </a:lnTo>
                    <a:lnTo>
                      <a:pt x="230" y="34"/>
                    </a:lnTo>
                    <a:lnTo>
                      <a:pt x="230" y="34"/>
                    </a:lnTo>
                    <a:lnTo>
                      <a:pt x="234" y="34"/>
                    </a:lnTo>
                    <a:lnTo>
                      <a:pt x="234" y="34"/>
                    </a:lnTo>
                    <a:lnTo>
                      <a:pt x="234" y="34"/>
                    </a:lnTo>
                    <a:lnTo>
                      <a:pt x="239" y="36"/>
                    </a:lnTo>
                    <a:lnTo>
                      <a:pt x="241" y="38"/>
                    </a:lnTo>
                    <a:lnTo>
                      <a:pt x="241" y="38"/>
                    </a:lnTo>
                    <a:lnTo>
                      <a:pt x="246" y="41"/>
                    </a:lnTo>
                    <a:lnTo>
                      <a:pt x="246" y="43"/>
                    </a:lnTo>
                    <a:lnTo>
                      <a:pt x="246" y="43"/>
                    </a:lnTo>
                    <a:lnTo>
                      <a:pt x="249" y="43"/>
                    </a:lnTo>
                    <a:lnTo>
                      <a:pt x="253" y="43"/>
                    </a:lnTo>
                    <a:lnTo>
                      <a:pt x="256" y="45"/>
                    </a:lnTo>
                    <a:lnTo>
                      <a:pt x="258" y="45"/>
                    </a:lnTo>
                    <a:lnTo>
                      <a:pt x="260" y="45"/>
                    </a:lnTo>
                    <a:lnTo>
                      <a:pt x="260" y="45"/>
                    </a:lnTo>
                    <a:lnTo>
                      <a:pt x="265" y="43"/>
                    </a:lnTo>
                    <a:lnTo>
                      <a:pt x="265" y="43"/>
                    </a:lnTo>
                    <a:lnTo>
                      <a:pt x="267" y="43"/>
                    </a:lnTo>
                    <a:lnTo>
                      <a:pt x="267" y="43"/>
                    </a:lnTo>
                    <a:lnTo>
                      <a:pt x="270" y="43"/>
                    </a:lnTo>
                    <a:lnTo>
                      <a:pt x="272" y="43"/>
                    </a:lnTo>
                    <a:lnTo>
                      <a:pt x="275" y="45"/>
                    </a:lnTo>
                    <a:lnTo>
                      <a:pt x="279" y="45"/>
                    </a:lnTo>
                    <a:lnTo>
                      <a:pt x="279" y="45"/>
                    </a:lnTo>
                    <a:lnTo>
                      <a:pt x="282" y="45"/>
                    </a:lnTo>
                    <a:lnTo>
                      <a:pt x="284" y="45"/>
                    </a:lnTo>
                    <a:lnTo>
                      <a:pt x="284" y="43"/>
                    </a:lnTo>
                    <a:lnTo>
                      <a:pt x="286" y="43"/>
                    </a:lnTo>
                    <a:lnTo>
                      <a:pt x="286" y="41"/>
                    </a:lnTo>
                    <a:lnTo>
                      <a:pt x="289" y="41"/>
                    </a:lnTo>
                    <a:lnTo>
                      <a:pt x="289" y="41"/>
                    </a:lnTo>
                    <a:lnTo>
                      <a:pt x="291" y="41"/>
                    </a:lnTo>
                    <a:lnTo>
                      <a:pt x="291" y="38"/>
                    </a:lnTo>
                    <a:lnTo>
                      <a:pt x="291" y="38"/>
                    </a:lnTo>
                    <a:lnTo>
                      <a:pt x="291" y="34"/>
                    </a:lnTo>
                    <a:lnTo>
                      <a:pt x="291" y="34"/>
                    </a:lnTo>
                    <a:lnTo>
                      <a:pt x="293" y="31"/>
                    </a:lnTo>
                    <a:lnTo>
                      <a:pt x="293" y="29"/>
                    </a:lnTo>
                    <a:lnTo>
                      <a:pt x="293" y="26"/>
                    </a:lnTo>
                    <a:lnTo>
                      <a:pt x="293" y="26"/>
                    </a:lnTo>
                    <a:lnTo>
                      <a:pt x="296" y="26"/>
                    </a:lnTo>
                    <a:lnTo>
                      <a:pt x="298" y="24"/>
                    </a:lnTo>
                    <a:lnTo>
                      <a:pt x="301" y="22"/>
                    </a:lnTo>
                    <a:lnTo>
                      <a:pt x="301" y="22"/>
                    </a:lnTo>
                    <a:lnTo>
                      <a:pt x="303" y="22"/>
                    </a:lnTo>
                    <a:lnTo>
                      <a:pt x="305" y="22"/>
                    </a:lnTo>
                    <a:lnTo>
                      <a:pt x="308" y="22"/>
                    </a:lnTo>
                    <a:lnTo>
                      <a:pt x="308" y="22"/>
                    </a:lnTo>
                    <a:lnTo>
                      <a:pt x="310" y="22"/>
                    </a:lnTo>
                    <a:lnTo>
                      <a:pt x="310" y="22"/>
                    </a:lnTo>
                    <a:lnTo>
                      <a:pt x="315" y="19"/>
                    </a:lnTo>
                    <a:lnTo>
                      <a:pt x="317" y="19"/>
                    </a:lnTo>
                    <a:lnTo>
                      <a:pt x="317" y="19"/>
                    </a:lnTo>
                    <a:lnTo>
                      <a:pt x="320" y="22"/>
                    </a:lnTo>
                    <a:lnTo>
                      <a:pt x="324" y="24"/>
                    </a:lnTo>
                    <a:lnTo>
                      <a:pt x="327" y="24"/>
                    </a:lnTo>
                    <a:lnTo>
                      <a:pt x="331" y="26"/>
                    </a:lnTo>
                    <a:lnTo>
                      <a:pt x="336" y="26"/>
                    </a:lnTo>
                    <a:lnTo>
                      <a:pt x="338" y="31"/>
                    </a:lnTo>
                    <a:lnTo>
                      <a:pt x="338" y="31"/>
                    </a:lnTo>
                    <a:lnTo>
                      <a:pt x="338" y="31"/>
                    </a:lnTo>
                    <a:lnTo>
                      <a:pt x="336" y="34"/>
                    </a:lnTo>
                    <a:lnTo>
                      <a:pt x="334" y="36"/>
                    </a:lnTo>
                    <a:lnTo>
                      <a:pt x="334" y="36"/>
                    </a:lnTo>
                    <a:lnTo>
                      <a:pt x="334" y="38"/>
                    </a:lnTo>
                    <a:lnTo>
                      <a:pt x="336" y="38"/>
                    </a:lnTo>
                    <a:lnTo>
                      <a:pt x="338" y="38"/>
                    </a:lnTo>
                    <a:lnTo>
                      <a:pt x="338" y="38"/>
                    </a:lnTo>
                    <a:lnTo>
                      <a:pt x="338" y="36"/>
                    </a:lnTo>
                    <a:lnTo>
                      <a:pt x="341" y="34"/>
                    </a:lnTo>
                    <a:lnTo>
                      <a:pt x="341" y="34"/>
                    </a:lnTo>
                    <a:lnTo>
                      <a:pt x="346" y="31"/>
                    </a:lnTo>
                    <a:lnTo>
                      <a:pt x="348" y="31"/>
                    </a:lnTo>
                    <a:lnTo>
                      <a:pt x="350" y="31"/>
                    </a:lnTo>
                    <a:lnTo>
                      <a:pt x="350" y="31"/>
                    </a:lnTo>
                    <a:lnTo>
                      <a:pt x="350" y="29"/>
                    </a:lnTo>
                    <a:lnTo>
                      <a:pt x="350" y="29"/>
                    </a:lnTo>
                    <a:lnTo>
                      <a:pt x="350" y="29"/>
                    </a:lnTo>
                    <a:lnTo>
                      <a:pt x="350" y="26"/>
                    </a:lnTo>
                    <a:lnTo>
                      <a:pt x="350" y="26"/>
                    </a:lnTo>
                    <a:lnTo>
                      <a:pt x="350" y="26"/>
                    </a:lnTo>
                    <a:lnTo>
                      <a:pt x="353" y="29"/>
                    </a:lnTo>
                    <a:lnTo>
                      <a:pt x="357" y="29"/>
                    </a:lnTo>
                    <a:lnTo>
                      <a:pt x="360" y="29"/>
                    </a:lnTo>
                    <a:lnTo>
                      <a:pt x="360" y="29"/>
                    </a:lnTo>
                    <a:lnTo>
                      <a:pt x="360" y="29"/>
                    </a:lnTo>
                    <a:lnTo>
                      <a:pt x="360" y="29"/>
                    </a:lnTo>
                    <a:lnTo>
                      <a:pt x="360" y="26"/>
                    </a:lnTo>
                    <a:close/>
                    <a:moveTo>
                      <a:pt x="282" y="3"/>
                    </a:moveTo>
                    <a:lnTo>
                      <a:pt x="284" y="3"/>
                    </a:lnTo>
                    <a:lnTo>
                      <a:pt x="284" y="5"/>
                    </a:lnTo>
                    <a:lnTo>
                      <a:pt x="286" y="5"/>
                    </a:lnTo>
                    <a:lnTo>
                      <a:pt x="289" y="5"/>
                    </a:lnTo>
                    <a:lnTo>
                      <a:pt x="291" y="3"/>
                    </a:lnTo>
                    <a:lnTo>
                      <a:pt x="291" y="3"/>
                    </a:lnTo>
                    <a:lnTo>
                      <a:pt x="293" y="3"/>
                    </a:lnTo>
                    <a:lnTo>
                      <a:pt x="291" y="3"/>
                    </a:lnTo>
                    <a:lnTo>
                      <a:pt x="289" y="3"/>
                    </a:lnTo>
                    <a:lnTo>
                      <a:pt x="289" y="3"/>
                    </a:lnTo>
                    <a:lnTo>
                      <a:pt x="284" y="0"/>
                    </a:lnTo>
                    <a:lnTo>
                      <a:pt x="282" y="3"/>
                    </a:lnTo>
                    <a:lnTo>
                      <a:pt x="282" y="3"/>
                    </a:lnTo>
                    <a:lnTo>
                      <a:pt x="282" y="3"/>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79"/>
              <p:cNvSpPr>
                <a:spLocks noEditPoints="1"/>
              </p:cNvSpPr>
              <p:nvPr/>
            </p:nvSpPr>
            <p:spPr bwMode="auto">
              <a:xfrm>
                <a:off x="4904" y="1893"/>
                <a:ext cx="82" cy="109"/>
              </a:xfrm>
              <a:custGeom>
                <a:avLst/>
                <a:gdLst>
                  <a:gd name="T0" fmla="*/ 14 w 82"/>
                  <a:gd name="T1" fmla="*/ 69 h 109"/>
                  <a:gd name="T2" fmla="*/ 82 w 82"/>
                  <a:gd name="T3" fmla="*/ 14 h 109"/>
                  <a:gd name="T4" fmla="*/ 78 w 82"/>
                  <a:gd name="T5" fmla="*/ 10 h 109"/>
                  <a:gd name="T6" fmla="*/ 71 w 82"/>
                  <a:gd name="T7" fmla="*/ 5 h 109"/>
                  <a:gd name="T8" fmla="*/ 66 w 82"/>
                  <a:gd name="T9" fmla="*/ 0 h 109"/>
                  <a:gd name="T10" fmla="*/ 61 w 82"/>
                  <a:gd name="T11" fmla="*/ 0 h 109"/>
                  <a:gd name="T12" fmla="*/ 63 w 82"/>
                  <a:gd name="T13" fmla="*/ 10 h 109"/>
                  <a:gd name="T14" fmla="*/ 63 w 82"/>
                  <a:gd name="T15" fmla="*/ 12 h 109"/>
                  <a:gd name="T16" fmla="*/ 59 w 82"/>
                  <a:gd name="T17" fmla="*/ 12 h 109"/>
                  <a:gd name="T18" fmla="*/ 56 w 82"/>
                  <a:gd name="T19" fmla="*/ 17 h 109"/>
                  <a:gd name="T20" fmla="*/ 52 w 82"/>
                  <a:gd name="T21" fmla="*/ 19 h 109"/>
                  <a:gd name="T22" fmla="*/ 42 w 82"/>
                  <a:gd name="T23" fmla="*/ 21 h 109"/>
                  <a:gd name="T24" fmla="*/ 47 w 82"/>
                  <a:gd name="T25" fmla="*/ 26 h 109"/>
                  <a:gd name="T26" fmla="*/ 49 w 82"/>
                  <a:gd name="T27" fmla="*/ 31 h 109"/>
                  <a:gd name="T28" fmla="*/ 45 w 82"/>
                  <a:gd name="T29" fmla="*/ 31 h 109"/>
                  <a:gd name="T30" fmla="*/ 33 w 82"/>
                  <a:gd name="T31" fmla="*/ 31 h 109"/>
                  <a:gd name="T32" fmla="*/ 28 w 82"/>
                  <a:gd name="T33" fmla="*/ 26 h 109"/>
                  <a:gd name="T34" fmla="*/ 23 w 82"/>
                  <a:gd name="T35" fmla="*/ 26 h 109"/>
                  <a:gd name="T36" fmla="*/ 21 w 82"/>
                  <a:gd name="T37" fmla="*/ 29 h 109"/>
                  <a:gd name="T38" fmla="*/ 21 w 82"/>
                  <a:gd name="T39" fmla="*/ 33 h 109"/>
                  <a:gd name="T40" fmla="*/ 19 w 82"/>
                  <a:gd name="T41" fmla="*/ 40 h 109"/>
                  <a:gd name="T42" fmla="*/ 14 w 82"/>
                  <a:gd name="T43" fmla="*/ 45 h 109"/>
                  <a:gd name="T44" fmla="*/ 11 w 82"/>
                  <a:gd name="T45" fmla="*/ 48 h 109"/>
                  <a:gd name="T46" fmla="*/ 7 w 82"/>
                  <a:gd name="T47" fmla="*/ 52 h 109"/>
                  <a:gd name="T48" fmla="*/ 2 w 82"/>
                  <a:gd name="T49" fmla="*/ 55 h 109"/>
                  <a:gd name="T50" fmla="*/ 0 w 82"/>
                  <a:gd name="T51" fmla="*/ 62 h 109"/>
                  <a:gd name="T52" fmla="*/ 9 w 82"/>
                  <a:gd name="T53" fmla="*/ 69 h 109"/>
                  <a:gd name="T54" fmla="*/ 16 w 82"/>
                  <a:gd name="T55" fmla="*/ 69 h 109"/>
                  <a:gd name="T56" fmla="*/ 23 w 82"/>
                  <a:gd name="T57" fmla="*/ 76 h 109"/>
                  <a:gd name="T58" fmla="*/ 30 w 82"/>
                  <a:gd name="T59" fmla="*/ 88 h 109"/>
                  <a:gd name="T60" fmla="*/ 26 w 82"/>
                  <a:gd name="T61" fmla="*/ 90 h 109"/>
                  <a:gd name="T62" fmla="*/ 23 w 82"/>
                  <a:gd name="T63" fmla="*/ 100 h 109"/>
                  <a:gd name="T64" fmla="*/ 33 w 82"/>
                  <a:gd name="T65" fmla="*/ 102 h 109"/>
                  <a:gd name="T66" fmla="*/ 33 w 82"/>
                  <a:gd name="T67" fmla="*/ 104 h 109"/>
                  <a:gd name="T68" fmla="*/ 40 w 82"/>
                  <a:gd name="T69" fmla="*/ 109 h 109"/>
                  <a:gd name="T70" fmla="*/ 47 w 82"/>
                  <a:gd name="T71" fmla="*/ 104 h 109"/>
                  <a:gd name="T72" fmla="*/ 54 w 82"/>
                  <a:gd name="T73" fmla="*/ 104 h 109"/>
                  <a:gd name="T74" fmla="*/ 61 w 82"/>
                  <a:gd name="T75" fmla="*/ 107 h 109"/>
                  <a:gd name="T76" fmla="*/ 61 w 82"/>
                  <a:gd name="T77" fmla="*/ 97 h 109"/>
                  <a:gd name="T78" fmla="*/ 71 w 82"/>
                  <a:gd name="T79" fmla="*/ 95 h 109"/>
                  <a:gd name="T80" fmla="*/ 80 w 82"/>
                  <a:gd name="T81" fmla="*/ 95 h 109"/>
                  <a:gd name="T82" fmla="*/ 82 w 82"/>
                  <a:gd name="T83" fmla="*/ 90 h 109"/>
                  <a:gd name="T84" fmla="*/ 73 w 82"/>
                  <a:gd name="T85" fmla="*/ 83 h 109"/>
                  <a:gd name="T86" fmla="*/ 59 w 82"/>
                  <a:gd name="T87" fmla="*/ 76 h 109"/>
                  <a:gd name="T88" fmla="*/ 59 w 82"/>
                  <a:gd name="T89" fmla="*/ 71 h 109"/>
                  <a:gd name="T90" fmla="*/ 61 w 82"/>
                  <a:gd name="T91" fmla="*/ 59 h 109"/>
                  <a:gd name="T92" fmla="*/ 71 w 82"/>
                  <a:gd name="T93" fmla="*/ 57 h 109"/>
                  <a:gd name="T94" fmla="*/ 75 w 82"/>
                  <a:gd name="T95" fmla="*/ 48 h 109"/>
                  <a:gd name="T96" fmla="*/ 78 w 82"/>
                  <a:gd name="T97" fmla="*/ 36 h 109"/>
                  <a:gd name="T98" fmla="*/ 75 w 82"/>
                  <a:gd name="T99" fmla="*/ 24 h 109"/>
                  <a:gd name="T100" fmla="*/ 78 w 82"/>
                  <a:gd name="T101" fmla="*/ 1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2" h="109">
                    <a:moveTo>
                      <a:pt x="11" y="69"/>
                    </a:moveTo>
                    <a:lnTo>
                      <a:pt x="11" y="69"/>
                    </a:lnTo>
                    <a:lnTo>
                      <a:pt x="14" y="71"/>
                    </a:lnTo>
                    <a:lnTo>
                      <a:pt x="14" y="69"/>
                    </a:lnTo>
                    <a:lnTo>
                      <a:pt x="14" y="69"/>
                    </a:lnTo>
                    <a:lnTo>
                      <a:pt x="11" y="69"/>
                    </a:lnTo>
                    <a:close/>
                    <a:moveTo>
                      <a:pt x="80" y="14"/>
                    </a:moveTo>
                    <a:lnTo>
                      <a:pt x="80" y="14"/>
                    </a:lnTo>
                    <a:lnTo>
                      <a:pt x="82" y="14"/>
                    </a:lnTo>
                    <a:lnTo>
                      <a:pt x="82" y="14"/>
                    </a:lnTo>
                    <a:lnTo>
                      <a:pt x="82" y="14"/>
                    </a:lnTo>
                    <a:lnTo>
                      <a:pt x="82" y="12"/>
                    </a:lnTo>
                    <a:lnTo>
                      <a:pt x="80" y="12"/>
                    </a:lnTo>
                    <a:lnTo>
                      <a:pt x="78" y="10"/>
                    </a:lnTo>
                    <a:lnTo>
                      <a:pt x="78" y="10"/>
                    </a:lnTo>
                    <a:lnTo>
                      <a:pt x="78" y="10"/>
                    </a:lnTo>
                    <a:lnTo>
                      <a:pt x="75" y="7"/>
                    </a:lnTo>
                    <a:lnTo>
                      <a:pt x="73" y="7"/>
                    </a:lnTo>
                    <a:lnTo>
                      <a:pt x="73" y="7"/>
                    </a:lnTo>
                    <a:lnTo>
                      <a:pt x="71" y="5"/>
                    </a:lnTo>
                    <a:lnTo>
                      <a:pt x="68" y="3"/>
                    </a:lnTo>
                    <a:lnTo>
                      <a:pt x="68" y="3"/>
                    </a:lnTo>
                    <a:lnTo>
                      <a:pt x="66" y="3"/>
                    </a:lnTo>
                    <a:lnTo>
                      <a:pt x="66" y="0"/>
                    </a:lnTo>
                    <a:lnTo>
                      <a:pt x="66" y="0"/>
                    </a:lnTo>
                    <a:lnTo>
                      <a:pt x="63" y="0"/>
                    </a:lnTo>
                    <a:lnTo>
                      <a:pt x="63" y="0"/>
                    </a:lnTo>
                    <a:lnTo>
                      <a:pt x="63" y="0"/>
                    </a:lnTo>
                    <a:lnTo>
                      <a:pt x="61" y="0"/>
                    </a:lnTo>
                    <a:lnTo>
                      <a:pt x="61" y="0"/>
                    </a:lnTo>
                    <a:lnTo>
                      <a:pt x="61" y="3"/>
                    </a:lnTo>
                    <a:lnTo>
                      <a:pt x="61" y="5"/>
                    </a:lnTo>
                    <a:lnTo>
                      <a:pt x="63" y="5"/>
                    </a:lnTo>
                    <a:lnTo>
                      <a:pt x="63" y="7"/>
                    </a:lnTo>
                    <a:lnTo>
                      <a:pt x="63" y="10"/>
                    </a:lnTo>
                    <a:lnTo>
                      <a:pt x="63" y="12"/>
                    </a:lnTo>
                    <a:lnTo>
                      <a:pt x="63" y="12"/>
                    </a:lnTo>
                    <a:lnTo>
                      <a:pt x="63" y="12"/>
                    </a:lnTo>
                    <a:lnTo>
                      <a:pt x="63" y="12"/>
                    </a:lnTo>
                    <a:lnTo>
                      <a:pt x="63" y="12"/>
                    </a:lnTo>
                    <a:lnTo>
                      <a:pt x="61" y="12"/>
                    </a:lnTo>
                    <a:lnTo>
                      <a:pt x="61" y="12"/>
                    </a:lnTo>
                    <a:lnTo>
                      <a:pt x="59" y="12"/>
                    </a:lnTo>
                    <a:lnTo>
                      <a:pt x="59" y="12"/>
                    </a:lnTo>
                    <a:lnTo>
                      <a:pt x="59" y="12"/>
                    </a:lnTo>
                    <a:lnTo>
                      <a:pt x="59" y="14"/>
                    </a:lnTo>
                    <a:lnTo>
                      <a:pt x="59" y="14"/>
                    </a:lnTo>
                    <a:lnTo>
                      <a:pt x="59" y="17"/>
                    </a:lnTo>
                    <a:lnTo>
                      <a:pt x="59" y="17"/>
                    </a:lnTo>
                    <a:lnTo>
                      <a:pt x="56" y="17"/>
                    </a:lnTo>
                    <a:lnTo>
                      <a:pt x="56" y="19"/>
                    </a:lnTo>
                    <a:lnTo>
                      <a:pt x="56" y="19"/>
                    </a:lnTo>
                    <a:lnTo>
                      <a:pt x="54" y="19"/>
                    </a:lnTo>
                    <a:lnTo>
                      <a:pt x="54" y="19"/>
                    </a:lnTo>
                    <a:lnTo>
                      <a:pt x="52" y="19"/>
                    </a:lnTo>
                    <a:lnTo>
                      <a:pt x="47" y="19"/>
                    </a:lnTo>
                    <a:lnTo>
                      <a:pt x="45" y="19"/>
                    </a:lnTo>
                    <a:lnTo>
                      <a:pt x="42" y="19"/>
                    </a:lnTo>
                    <a:lnTo>
                      <a:pt x="42" y="21"/>
                    </a:lnTo>
                    <a:lnTo>
                      <a:pt x="42" y="21"/>
                    </a:lnTo>
                    <a:lnTo>
                      <a:pt x="42" y="21"/>
                    </a:lnTo>
                    <a:lnTo>
                      <a:pt x="42" y="24"/>
                    </a:lnTo>
                    <a:lnTo>
                      <a:pt x="45" y="24"/>
                    </a:lnTo>
                    <a:lnTo>
                      <a:pt x="45" y="26"/>
                    </a:lnTo>
                    <a:lnTo>
                      <a:pt x="47" y="26"/>
                    </a:lnTo>
                    <a:lnTo>
                      <a:pt x="49" y="29"/>
                    </a:lnTo>
                    <a:lnTo>
                      <a:pt x="49" y="29"/>
                    </a:lnTo>
                    <a:lnTo>
                      <a:pt x="49" y="29"/>
                    </a:lnTo>
                    <a:lnTo>
                      <a:pt x="49" y="31"/>
                    </a:lnTo>
                    <a:lnTo>
                      <a:pt x="49" y="31"/>
                    </a:lnTo>
                    <a:lnTo>
                      <a:pt x="49" y="33"/>
                    </a:lnTo>
                    <a:lnTo>
                      <a:pt x="49" y="33"/>
                    </a:lnTo>
                    <a:lnTo>
                      <a:pt x="47" y="33"/>
                    </a:lnTo>
                    <a:lnTo>
                      <a:pt x="47" y="31"/>
                    </a:lnTo>
                    <a:lnTo>
                      <a:pt x="45" y="31"/>
                    </a:lnTo>
                    <a:lnTo>
                      <a:pt x="42" y="31"/>
                    </a:lnTo>
                    <a:lnTo>
                      <a:pt x="40" y="31"/>
                    </a:lnTo>
                    <a:lnTo>
                      <a:pt x="37" y="31"/>
                    </a:lnTo>
                    <a:lnTo>
                      <a:pt x="37" y="31"/>
                    </a:lnTo>
                    <a:lnTo>
                      <a:pt x="33" y="31"/>
                    </a:lnTo>
                    <a:lnTo>
                      <a:pt x="33" y="31"/>
                    </a:lnTo>
                    <a:lnTo>
                      <a:pt x="30" y="29"/>
                    </a:lnTo>
                    <a:lnTo>
                      <a:pt x="30" y="29"/>
                    </a:lnTo>
                    <a:lnTo>
                      <a:pt x="28" y="29"/>
                    </a:lnTo>
                    <a:lnTo>
                      <a:pt x="28" y="26"/>
                    </a:lnTo>
                    <a:lnTo>
                      <a:pt x="26" y="26"/>
                    </a:lnTo>
                    <a:lnTo>
                      <a:pt x="26" y="26"/>
                    </a:lnTo>
                    <a:lnTo>
                      <a:pt x="23" y="24"/>
                    </a:lnTo>
                    <a:lnTo>
                      <a:pt x="23" y="26"/>
                    </a:lnTo>
                    <a:lnTo>
                      <a:pt x="23" y="26"/>
                    </a:lnTo>
                    <a:lnTo>
                      <a:pt x="23" y="26"/>
                    </a:lnTo>
                    <a:lnTo>
                      <a:pt x="21" y="26"/>
                    </a:lnTo>
                    <a:lnTo>
                      <a:pt x="21" y="26"/>
                    </a:lnTo>
                    <a:lnTo>
                      <a:pt x="21" y="29"/>
                    </a:lnTo>
                    <a:lnTo>
                      <a:pt x="21" y="29"/>
                    </a:lnTo>
                    <a:lnTo>
                      <a:pt x="21" y="31"/>
                    </a:lnTo>
                    <a:lnTo>
                      <a:pt x="21" y="33"/>
                    </a:lnTo>
                    <a:lnTo>
                      <a:pt x="21" y="33"/>
                    </a:lnTo>
                    <a:lnTo>
                      <a:pt x="21" y="33"/>
                    </a:lnTo>
                    <a:lnTo>
                      <a:pt x="21" y="33"/>
                    </a:lnTo>
                    <a:lnTo>
                      <a:pt x="21" y="36"/>
                    </a:lnTo>
                    <a:lnTo>
                      <a:pt x="21" y="38"/>
                    </a:lnTo>
                    <a:lnTo>
                      <a:pt x="19" y="40"/>
                    </a:lnTo>
                    <a:lnTo>
                      <a:pt x="19" y="40"/>
                    </a:lnTo>
                    <a:lnTo>
                      <a:pt x="19" y="40"/>
                    </a:lnTo>
                    <a:lnTo>
                      <a:pt x="19" y="43"/>
                    </a:lnTo>
                    <a:lnTo>
                      <a:pt x="16" y="43"/>
                    </a:lnTo>
                    <a:lnTo>
                      <a:pt x="14" y="43"/>
                    </a:lnTo>
                    <a:lnTo>
                      <a:pt x="14" y="43"/>
                    </a:lnTo>
                    <a:lnTo>
                      <a:pt x="14" y="45"/>
                    </a:lnTo>
                    <a:lnTo>
                      <a:pt x="14" y="45"/>
                    </a:lnTo>
                    <a:lnTo>
                      <a:pt x="14" y="45"/>
                    </a:lnTo>
                    <a:lnTo>
                      <a:pt x="14" y="45"/>
                    </a:lnTo>
                    <a:lnTo>
                      <a:pt x="11" y="45"/>
                    </a:lnTo>
                    <a:lnTo>
                      <a:pt x="11" y="48"/>
                    </a:lnTo>
                    <a:lnTo>
                      <a:pt x="9" y="48"/>
                    </a:lnTo>
                    <a:lnTo>
                      <a:pt x="7" y="50"/>
                    </a:lnTo>
                    <a:lnTo>
                      <a:pt x="7" y="50"/>
                    </a:lnTo>
                    <a:lnTo>
                      <a:pt x="7" y="50"/>
                    </a:lnTo>
                    <a:lnTo>
                      <a:pt x="7" y="52"/>
                    </a:lnTo>
                    <a:lnTo>
                      <a:pt x="7" y="52"/>
                    </a:lnTo>
                    <a:lnTo>
                      <a:pt x="4" y="52"/>
                    </a:lnTo>
                    <a:lnTo>
                      <a:pt x="4" y="52"/>
                    </a:lnTo>
                    <a:lnTo>
                      <a:pt x="2" y="55"/>
                    </a:lnTo>
                    <a:lnTo>
                      <a:pt x="2" y="55"/>
                    </a:lnTo>
                    <a:lnTo>
                      <a:pt x="0" y="57"/>
                    </a:lnTo>
                    <a:lnTo>
                      <a:pt x="0" y="59"/>
                    </a:lnTo>
                    <a:lnTo>
                      <a:pt x="0" y="62"/>
                    </a:lnTo>
                    <a:lnTo>
                      <a:pt x="0" y="59"/>
                    </a:lnTo>
                    <a:lnTo>
                      <a:pt x="0" y="62"/>
                    </a:lnTo>
                    <a:lnTo>
                      <a:pt x="2" y="64"/>
                    </a:lnTo>
                    <a:lnTo>
                      <a:pt x="4" y="64"/>
                    </a:lnTo>
                    <a:lnTo>
                      <a:pt x="7" y="66"/>
                    </a:lnTo>
                    <a:lnTo>
                      <a:pt x="9" y="69"/>
                    </a:lnTo>
                    <a:lnTo>
                      <a:pt x="9" y="69"/>
                    </a:lnTo>
                    <a:lnTo>
                      <a:pt x="9" y="66"/>
                    </a:lnTo>
                    <a:lnTo>
                      <a:pt x="9" y="66"/>
                    </a:lnTo>
                    <a:lnTo>
                      <a:pt x="9" y="64"/>
                    </a:lnTo>
                    <a:lnTo>
                      <a:pt x="11" y="66"/>
                    </a:lnTo>
                    <a:lnTo>
                      <a:pt x="16" y="69"/>
                    </a:lnTo>
                    <a:lnTo>
                      <a:pt x="19" y="69"/>
                    </a:lnTo>
                    <a:lnTo>
                      <a:pt x="21" y="71"/>
                    </a:lnTo>
                    <a:lnTo>
                      <a:pt x="23" y="71"/>
                    </a:lnTo>
                    <a:lnTo>
                      <a:pt x="23" y="74"/>
                    </a:lnTo>
                    <a:lnTo>
                      <a:pt x="23" y="76"/>
                    </a:lnTo>
                    <a:lnTo>
                      <a:pt x="23" y="83"/>
                    </a:lnTo>
                    <a:lnTo>
                      <a:pt x="26" y="85"/>
                    </a:lnTo>
                    <a:lnTo>
                      <a:pt x="28" y="88"/>
                    </a:lnTo>
                    <a:lnTo>
                      <a:pt x="30" y="88"/>
                    </a:lnTo>
                    <a:lnTo>
                      <a:pt x="30" y="88"/>
                    </a:lnTo>
                    <a:lnTo>
                      <a:pt x="33" y="88"/>
                    </a:lnTo>
                    <a:lnTo>
                      <a:pt x="33" y="88"/>
                    </a:lnTo>
                    <a:lnTo>
                      <a:pt x="30" y="88"/>
                    </a:lnTo>
                    <a:lnTo>
                      <a:pt x="28" y="88"/>
                    </a:lnTo>
                    <a:lnTo>
                      <a:pt x="26" y="90"/>
                    </a:lnTo>
                    <a:lnTo>
                      <a:pt x="26" y="92"/>
                    </a:lnTo>
                    <a:lnTo>
                      <a:pt x="23" y="95"/>
                    </a:lnTo>
                    <a:lnTo>
                      <a:pt x="26" y="97"/>
                    </a:lnTo>
                    <a:lnTo>
                      <a:pt x="26" y="97"/>
                    </a:lnTo>
                    <a:lnTo>
                      <a:pt x="23" y="100"/>
                    </a:lnTo>
                    <a:lnTo>
                      <a:pt x="26" y="100"/>
                    </a:lnTo>
                    <a:lnTo>
                      <a:pt x="26" y="100"/>
                    </a:lnTo>
                    <a:lnTo>
                      <a:pt x="28" y="102"/>
                    </a:lnTo>
                    <a:lnTo>
                      <a:pt x="30" y="100"/>
                    </a:lnTo>
                    <a:lnTo>
                      <a:pt x="33" y="102"/>
                    </a:lnTo>
                    <a:lnTo>
                      <a:pt x="33" y="102"/>
                    </a:lnTo>
                    <a:lnTo>
                      <a:pt x="33" y="102"/>
                    </a:lnTo>
                    <a:lnTo>
                      <a:pt x="30" y="104"/>
                    </a:lnTo>
                    <a:lnTo>
                      <a:pt x="30" y="104"/>
                    </a:lnTo>
                    <a:lnTo>
                      <a:pt x="33" y="104"/>
                    </a:lnTo>
                    <a:lnTo>
                      <a:pt x="35" y="107"/>
                    </a:lnTo>
                    <a:lnTo>
                      <a:pt x="37" y="109"/>
                    </a:lnTo>
                    <a:lnTo>
                      <a:pt x="37" y="109"/>
                    </a:lnTo>
                    <a:lnTo>
                      <a:pt x="40" y="109"/>
                    </a:lnTo>
                    <a:lnTo>
                      <a:pt x="40" y="109"/>
                    </a:lnTo>
                    <a:lnTo>
                      <a:pt x="42" y="107"/>
                    </a:lnTo>
                    <a:lnTo>
                      <a:pt x="42" y="104"/>
                    </a:lnTo>
                    <a:lnTo>
                      <a:pt x="42" y="104"/>
                    </a:lnTo>
                    <a:lnTo>
                      <a:pt x="42" y="102"/>
                    </a:lnTo>
                    <a:lnTo>
                      <a:pt x="47" y="104"/>
                    </a:lnTo>
                    <a:lnTo>
                      <a:pt x="49" y="104"/>
                    </a:lnTo>
                    <a:lnTo>
                      <a:pt x="52" y="109"/>
                    </a:lnTo>
                    <a:lnTo>
                      <a:pt x="52" y="107"/>
                    </a:lnTo>
                    <a:lnTo>
                      <a:pt x="52" y="107"/>
                    </a:lnTo>
                    <a:lnTo>
                      <a:pt x="54" y="104"/>
                    </a:lnTo>
                    <a:lnTo>
                      <a:pt x="59" y="107"/>
                    </a:lnTo>
                    <a:lnTo>
                      <a:pt x="59" y="107"/>
                    </a:lnTo>
                    <a:lnTo>
                      <a:pt x="59" y="107"/>
                    </a:lnTo>
                    <a:lnTo>
                      <a:pt x="61" y="107"/>
                    </a:lnTo>
                    <a:lnTo>
                      <a:pt x="61" y="107"/>
                    </a:lnTo>
                    <a:lnTo>
                      <a:pt x="59" y="104"/>
                    </a:lnTo>
                    <a:lnTo>
                      <a:pt x="61" y="102"/>
                    </a:lnTo>
                    <a:lnTo>
                      <a:pt x="61" y="100"/>
                    </a:lnTo>
                    <a:lnTo>
                      <a:pt x="61" y="100"/>
                    </a:lnTo>
                    <a:lnTo>
                      <a:pt x="61" y="97"/>
                    </a:lnTo>
                    <a:lnTo>
                      <a:pt x="63" y="97"/>
                    </a:lnTo>
                    <a:lnTo>
                      <a:pt x="63" y="97"/>
                    </a:lnTo>
                    <a:lnTo>
                      <a:pt x="66" y="95"/>
                    </a:lnTo>
                    <a:lnTo>
                      <a:pt x="71" y="97"/>
                    </a:lnTo>
                    <a:lnTo>
                      <a:pt x="71" y="95"/>
                    </a:lnTo>
                    <a:lnTo>
                      <a:pt x="73" y="95"/>
                    </a:lnTo>
                    <a:lnTo>
                      <a:pt x="75" y="95"/>
                    </a:lnTo>
                    <a:lnTo>
                      <a:pt x="78" y="97"/>
                    </a:lnTo>
                    <a:lnTo>
                      <a:pt x="80" y="95"/>
                    </a:lnTo>
                    <a:lnTo>
                      <a:pt x="80" y="95"/>
                    </a:lnTo>
                    <a:lnTo>
                      <a:pt x="80" y="95"/>
                    </a:lnTo>
                    <a:lnTo>
                      <a:pt x="82" y="95"/>
                    </a:lnTo>
                    <a:lnTo>
                      <a:pt x="82" y="92"/>
                    </a:lnTo>
                    <a:lnTo>
                      <a:pt x="82" y="90"/>
                    </a:lnTo>
                    <a:lnTo>
                      <a:pt x="82" y="90"/>
                    </a:lnTo>
                    <a:lnTo>
                      <a:pt x="80" y="88"/>
                    </a:lnTo>
                    <a:lnTo>
                      <a:pt x="78" y="88"/>
                    </a:lnTo>
                    <a:lnTo>
                      <a:pt x="78" y="85"/>
                    </a:lnTo>
                    <a:lnTo>
                      <a:pt x="75" y="85"/>
                    </a:lnTo>
                    <a:lnTo>
                      <a:pt x="73" y="83"/>
                    </a:lnTo>
                    <a:lnTo>
                      <a:pt x="68" y="78"/>
                    </a:lnTo>
                    <a:lnTo>
                      <a:pt x="66" y="78"/>
                    </a:lnTo>
                    <a:lnTo>
                      <a:pt x="63" y="78"/>
                    </a:lnTo>
                    <a:lnTo>
                      <a:pt x="61" y="78"/>
                    </a:lnTo>
                    <a:lnTo>
                      <a:pt x="59" y="76"/>
                    </a:lnTo>
                    <a:lnTo>
                      <a:pt x="59" y="76"/>
                    </a:lnTo>
                    <a:lnTo>
                      <a:pt x="59" y="74"/>
                    </a:lnTo>
                    <a:lnTo>
                      <a:pt x="59" y="74"/>
                    </a:lnTo>
                    <a:lnTo>
                      <a:pt x="61" y="74"/>
                    </a:lnTo>
                    <a:lnTo>
                      <a:pt x="59" y="71"/>
                    </a:lnTo>
                    <a:lnTo>
                      <a:pt x="59" y="69"/>
                    </a:lnTo>
                    <a:lnTo>
                      <a:pt x="56" y="66"/>
                    </a:lnTo>
                    <a:lnTo>
                      <a:pt x="56" y="64"/>
                    </a:lnTo>
                    <a:lnTo>
                      <a:pt x="61" y="62"/>
                    </a:lnTo>
                    <a:lnTo>
                      <a:pt x="61" y="59"/>
                    </a:lnTo>
                    <a:lnTo>
                      <a:pt x="63" y="62"/>
                    </a:lnTo>
                    <a:lnTo>
                      <a:pt x="66" y="62"/>
                    </a:lnTo>
                    <a:lnTo>
                      <a:pt x="68" y="59"/>
                    </a:lnTo>
                    <a:lnTo>
                      <a:pt x="71" y="59"/>
                    </a:lnTo>
                    <a:lnTo>
                      <a:pt x="71" y="57"/>
                    </a:lnTo>
                    <a:lnTo>
                      <a:pt x="71" y="55"/>
                    </a:lnTo>
                    <a:lnTo>
                      <a:pt x="73" y="55"/>
                    </a:lnTo>
                    <a:lnTo>
                      <a:pt x="73" y="52"/>
                    </a:lnTo>
                    <a:lnTo>
                      <a:pt x="75" y="52"/>
                    </a:lnTo>
                    <a:lnTo>
                      <a:pt x="75" y="48"/>
                    </a:lnTo>
                    <a:lnTo>
                      <a:pt x="78" y="48"/>
                    </a:lnTo>
                    <a:lnTo>
                      <a:pt x="82" y="43"/>
                    </a:lnTo>
                    <a:lnTo>
                      <a:pt x="82" y="43"/>
                    </a:lnTo>
                    <a:lnTo>
                      <a:pt x="80" y="38"/>
                    </a:lnTo>
                    <a:lnTo>
                      <a:pt x="78" y="36"/>
                    </a:lnTo>
                    <a:lnTo>
                      <a:pt x="78" y="33"/>
                    </a:lnTo>
                    <a:lnTo>
                      <a:pt x="75" y="31"/>
                    </a:lnTo>
                    <a:lnTo>
                      <a:pt x="73" y="29"/>
                    </a:lnTo>
                    <a:lnTo>
                      <a:pt x="73" y="26"/>
                    </a:lnTo>
                    <a:lnTo>
                      <a:pt x="75" y="24"/>
                    </a:lnTo>
                    <a:lnTo>
                      <a:pt x="75" y="21"/>
                    </a:lnTo>
                    <a:lnTo>
                      <a:pt x="75" y="21"/>
                    </a:lnTo>
                    <a:lnTo>
                      <a:pt x="75" y="19"/>
                    </a:lnTo>
                    <a:lnTo>
                      <a:pt x="78" y="19"/>
                    </a:lnTo>
                    <a:lnTo>
                      <a:pt x="78" y="17"/>
                    </a:lnTo>
                    <a:lnTo>
                      <a:pt x="78" y="17"/>
                    </a:lnTo>
                    <a:lnTo>
                      <a:pt x="80" y="14"/>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80"/>
              <p:cNvSpPr>
                <a:spLocks noEditPoints="1"/>
              </p:cNvSpPr>
              <p:nvPr/>
            </p:nvSpPr>
            <p:spPr bwMode="auto">
              <a:xfrm>
                <a:off x="2798" y="2506"/>
                <a:ext cx="223" cy="204"/>
              </a:xfrm>
              <a:custGeom>
                <a:avLst/>
                <a:gdLst>
                  <a:gd name="T0" fmla="*/ 85 w 223"/>
                  <a:gd name="T1" fmla="*/ 199 h 204"/>
                  <a:gd name="T2" fmla="*/ 218 w 223"/>
                  <a:gd name="T3" fmla="*/ 34 h 204"/>
                  <a:gd name="T4" fmla="*/ 213 w 223"/>
                  <a:gd name="T5" fmla="*/ 26 h 204"/>
                  <a:gd name="T6" fmla="*/ 199 w 223"/>
                  <a:gd name="T7" fmla="*/ 5 h 204"/>
                  <a:gd name="T8" fmla="*/ 185 w 223"/>
                  <a:gd name="T9" fmla="*/ 15 h 204"/>
                  <a:gd name="T10" fmla="*/ 166 w 223"/>
                  <a:gd name="T11" fmla="*/ 12 h 204"/>
                  <a:gd name="T12" fmla="*/ 138 w 223"/>
                  <a:gd name="T13" fmla="*/ 15 h 204"/>
                  <a:gd name="T14" fmla="*/ 109 w 223"/>
                  <a:gd name="T15" fmla="*/ 17 h 204"/>
                  <a:gd name="T16" fmla="*/ 88 w 223"/>
                  <a:gd name="T17" fmla="*/ 17 h 204"/>
                  <a:gd name="T18" fmla="*/ 78 w 223"/>
                  <a:gd name="T19" fmla="*/ 19 h 204"/>
                  <a:gd name="T20" fmla="*/ 69 w 223"/>
                  <a:gd name="T21" fmla="*/ 5 h 204"/>
                  <a:gd name="T22" fmla="*/ 52 w 223"/>
                  <a:gd name="T23" fmla="*/ 0 h 204"/>
                  <a:gd name="T24" fmla="*/ 36 w 223"/>
                  <a:gd name="T25" fmla="*/ 5 h 204"/>
                  <a:gd name="T26" fmla="*/ 26 w 223"/>
                  <a:gd name="T27" fmla="*/ 22 h 204"/>
                  <a:gd name="T28" fmla="*/ 19 w 223"/>
                  <a:gd name="T29" fmla="*/ 38 h 204"/>
                  <a:gd name="T30" fmla="*/ 19 w 223"/>
                  <a:gd name="T31" fmla="*/ 45 h 204"/>
                  <a:gd name="T32" fmla="*/ 19 w 223"/>
                  <a:gd name="T33" fmla="*/ 57 h 204"/>
                  <a:gd name="T34" fmla="*/ 22 w 223"/>
                  <a:gd name="T35" fmla="*/ 67 h 204"/>
                  <a:gd name="T36" fmla="*/ 19 w 223"/>
                  <a:gd name="T37" fmla="*/ 74 h 204"/>
                  <a:gd name="T38" fmla="*/ 19 w 223"/>
                  <a:gd name="T39" fmla="*/ 83 h 204"/>
                  <a:gd name="T40" fmla="*/ 12 w 223"/>
                  <a:gd name="T41" fmla="*/ 90 h 204"/>
                  <a:gd name="T42" fmla="*/ 7 w 223"/>
                  <a:gd name="T43" fmla="*/ 102 h 204"/>
                  <a:gd name="T44" fmla="*/ 0 w 223"/>
                  <a:gd name="T45" fmla="*/ 116 h 204"/>
                  <a:gd name="T46" fmla="*/ 3 w 223"/>
                  <a:gd name="T47" fmla="*/ 133 h 204"/>
                  <a:gd name="T48" fmla="*/ 3 w 223"/>
                  <a:gd name="T49" fmla="*/ 142 h 204"/>
                  <a:gd name="T50" fmla="*/ 3 w 223"/>
                  <a:gd name="T51" fmla="*/ 152 h 204"/>
                  <a:gd name="T52" fmla="*/ 12 w 223"/>
                  <a:gd name="T53" fmla="*/ 159 h 204"/>
                  <a:gd name="T54" fmla="*/ 17 w 223"/>
                  <a:gd name="T55" fmla="*/ 157 h 204"/>
                  <a:gd name="T56" fmla="*/ 41 w 223"/>
                  <a:gd name="T57" fmla="*/ 166 h 204"/>
                  <a:gd name="T58" fmla="*/ 50 w 223"/>
                  <a:gd name="T59" fmla="*/ 176 h 204"/>
                  <a:gd name="T60" fmla="*/ 52 w 223"/>
                  <a:gd name="T61" fmla="*/ 176 h 204"/>
                  <a:gd name="T62" fmla="*/ 50 w 223"/>
                  <a:gd name="T63" fmla="*/ 180 h 204"/>
                  <a:gd name="T64" fmla="*/ 50 w 223"/>
                  <a:gd name="T65" fmla="*/ 183 h 204"/>
                  <a:gd name="T66" fmla="*/ 50 w 223"/>
                  <a:gd name="T67" fmla="*/ 185 h 204"/>
                  <a:gd name="T68" fmla="*/ 62 w 223"/>
                  <a:gd name="T69" fmla="*/ 202 h 204"/>
                  <a:gd name="T70" fmla="*/ 67 w 223"/>
                  <a:gd name="T71" fmla="*/ 199 h 204"/>
                  <a:gd name="T72" fmla="*/ 71 w 223"/>
                  <a:gd name="T73" fmla="*/ 202 h 204"/>
                  <a:gd name="T74" fmla="*/ 76 w 223"/>
                  <a:gd name="T75" fmla="*/ 202 h 204"/>
                  <a:gd name="T76" fmla="*/ 76 w 223"/>
                  <a:gd name="T77" fmla="*/ 195 h 204"/>
                  <a:gd name="T78" fmla="*/ 81 w 223"/>
                  <a:gd name="T79" fmla="*/ 202 h 204"/>
                  <a:gd name="T80" fmla="*/ 85 w 223"/>
                  <a:gd name="T81" fmla="*/ 197 h 204"/>
                  <a:gd name="T82" fmla="*/ 93 w 223"/>
                  <a:gd name="T83" fmla="*/ 197 h 204"/>
                  <a:gd name="T84" fmla="*/ 104 w 223"/>
                  <a:gd name="T85" fmla="*/ 190 h 204"/>
                  <a:gd name="T86" fmla="*/ 109 w 223"/>
                  <a:gd name="T87" fmla="*/ 195 h 204"/>
                  <a:gd name="T88" fmla="*/ 116 w 223"/>
                  <a:gd name="T89" fmla="*/ 178 h 204"/>
                  <a:gd name="T90" fmla="*/ 126 w 223"/>
                  <a:gd name="T91" fmla="*/ 161 h 204"/>
                  <a:gd name="T92" fmla="*/ 133 w 223"/>
                  <a:gd name="T93" fmla="*/ 152 h 204"/>
                  <a:gd name="T94" fmla="*/ 140 w 223"/>
                  <a:gd name="T95" fmla="*/ 147 h 204"/>
                  <a:gd name="T96" fmla="*/ 147 w 223"/>
                  <a:gd name="T97" fmla="*/ 145 h 204"/>
                  <a:gd name="T98" fmla="*/ 156 w 223"/>
                  <a:gd name="T99" fmla="*/ 152 h 204"/>
                  <a:gd name="T100" fmla="*/ 161 w 223"/>
                  <a:gd name="T101" fmla="*/ 157 h 204"/>
                  <a:gd name="T102" fmla="*/ 166 w 223"/>
                  <a:gd name="T103" fmla="*/ 150 h 204"/>
                  <a:gd name="T104" fmla="*/ 171 w 223"/>
                  <a:gd name="T105" fmla="*/ 140 h 204"/>
                  <a:gd name="T106" fmla="*/ 178 w 223"/>
                  <a:gd name="T107" fmla="*/ 126 h 204"/>
                  <a:gd name="T108" fmla="*/ 187 w 223"/>
                  <a:gd name="T109" fmla="*/ 112 h 204"/>
                  <a:gd name="T110" fmla="*/ 190 w 223"/>
                  <a:gd name="T111" fmla="*/ 97 h 204"/>
                  <a:gd name="T112" fmla="*/ 197 w 223"/>
                  <a:gd name="T113" fmla="*/ 86 h 204"/>
                  <a:gd name="T114" fmla="*/ 204 w 223"/>
                  <a:gd name="T115" fmla="*/ 69 h 204"/>
                  <a:gd name="T116" fmla="*/ 216 w 223"/>
                  <a:gd name="T117" fmla="*/ 55 h 204"/>
                  <a:gd name="T118" fmla="*/ 223 w 223"/>
                  <a:gd name="T119" fmla="*/ 45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3" h="204">
                    <a:moveTo>
                      <a:pt x="85" y="199"/>
                    </a:moveTo>
                    <a:lnTo>
                      <a:pt x="83" y="202"/>
                    </a:lnTo>
                    <a:lnTo>
                      <a:pt x="85" y="202"/>
                    </a:lnTo>
                    <a:lnTo>
                      <a:pt x="88" y="202"/>
                    </a:lnTo>
                    <a:lnTo>
                      <a:pt x="88" y="199"/>
                    </a:lnTo>
                    <a:lnTo>
                      <a:pt x="85" y="199"/>
                    </a:lnTo>
                    <a:lnTo>
                      <a:pt x="85" y="199"/>
                    </a:lnTo>
                    <a:close/>
                    <a:moveTo>
                      <a:pt x="223" y="38"/>
                    </a:moveTo>
                    <a:lnTo>
                      <a:pt x="223" y="36"/>
                    </a:lnTo>
                    <a:lnTo>
                      <a:pt x="223" y="36"/>
                    </a:lnTo>
                    <a:lnTo>
                      <a:pt x="220" y="34"/>
                    </a:lnTo>
                    <a:lnTo>
                      <a:pt x="218" y="34"/>
                    </a:lnTo>
                    <a:lnTo>
                      <a:pt x="216" y="34"/>
                    </a:lnTo>
                    <a:lnTo>
                      <a:pt x="216" y="31"/>
                    </a:lnTo>
                    <a:lnTo>
                      <a:pt x="216" y="31"/>
                    </a:lnTo>
                    <a:lnTo>
                      <a:pt x="216" y="31"/>
                    </a:lnTo>
                    <a:lnTo>
                      <a:pt x="216" y="29"/>
                    </a:lnTo>
                    <a:lnTo>
                      <a:pt x="213" y="26"/>
                    </a:lnTo>
                    <a:lnTo>
                      <a:pt x="213" y="17"/>
                    </a:lnTo>
                    <a:lnTo>
                      <a:pt x="211" y="15"/>
                    </a:lnTo>
                    <a:lnTo>
                      <a:pt x="206" y="10"/>
                    </a:lnTo>
                    <a:lnTo>
                      <a:pt x="204" y="5"/>
                    </a:lnTo>
                    <a:lnTo>
                      <a:pt x="201" y="5"/>
                    </a:lnTo>
                    <a:lnTo>
                      <a:pt x="199" y="5"/>
                    </a:lnTo>
                    <a:lnTo>
                      <a:pt x="197" y="8"/>
                    </a:lnTo>
                    <a:lnTo>
                      <a:pt x="194" y="8"/>
                    </a:lnTo>
                    <a:lnTo>
                      <a:pt x="190" y="10"/>
                    </a:lnTo>
                    <a:lnTo>
                      <a:pt x="187" y="12"/>
                    </a:lnTo>
                    <a:lnTo>
                      <a:pt x="187" y="12"/>
                    </a:lnTo>
                    <a:lnTo>
                      <a:pt x="185" y="15"/>
                    </a:lnTo>
                    <a:lnTo>
                      <a:pt x="182" y="17"/>
                    </a:lnTo>
                    <a:lnTo>
                      <a:pt x="180" y="17"/>
                    </a:lnTo>
                    <a:lnTo>
                      <a:pt x="175" y="17"/>
                    </a:lnTo>
                    <a:lnTo>
                      <a:pt x="173" y="15"/>
                    </a:lnTo>
                    <a:lnTo>
                      <a:pt x="168" y="12"/>
                    </a:lnTo>
                    <a:lnTo>
                      <a:pt x="166" y="12"/>
                    </a:lnTo>
                    <a:lnTo>
                      <a:pt x="164" y="12"/>
                    </a:lnTo>
                    <a:lnTo>
                      <a:pt x="154" y="12"/>
                    </a:lnTo>
                    <a:lnTo>
                      <a:pt x="147" y="12"/>
                    </a:lnTo>
                    <a:lnTo>
                      <a:pt x="142" y="12"/>
                    </a:lnTo>
                    <a:lnTo>
                      <a:pt x="140" y="15"/>
                    </a:lnTo>
                    <a:lnTo>
                      <a:pt x="138" y="15"/>
                    </a:lnTo>
                    <a:lnTo>
                      <a:pt x="135" y="17"/>
                    </a:lnTo>
                    <a:lnTo>
                      <a:pt x="130" y="24"/>
                    </a:lnTo>
                    <a:lnTo>
                      <a:pt x="123" y="24"/>
                    </a:lnTo>
                    <a:lnTo>
                      <a:pt x="119" y="22"/>
                    </a:lnTo>
                    <a:lnTo>
                      <a:pt x="114" y="22"/>
                    </a:lnTo>
                    <a:lnTo>
                      <a:pt x="109" y="17"/>
                    </a:lnTo>
                    <a:lnTo>
                      <a:pt x="102" y="12"/>
                    </a:lnTo>
                    <a:lnTo>
                      <a:pt x="100" y="12"/>
                    </a:lnTo>
                    <a:lnTo>
                      <a:pt x="97" y="12"/>
                    </a:lnTo>
                    <a:lnTo>
                      <a:pt x="97" y="12"/>
                    </a:lnTo>
                    <a:lnTo>
                      <a:pt x="88" y="17"/>
                    </a:lnTo>
                    <a:lnTo>
                      <a:pt x="88" y="17"/>
                    </a:lnTo>
                    <a:lnTo>
                      <a:pt x="85" y="17"/>
                    </a:lnTo>
                    <a:lnTo>
                      <a:pt x="83" y="19"/>
                    </a:lnTo>
                    <a:lnTo>
                      <a:pt x="83" y="19"/>
                    </a:lnTo>
                    <a:lnTo>
                      <a:pt x="81" y="19"/>
                    </a:lnTo>
                    <a:lnTo>
                      <a:pt x="81" y="19"/>
                    </a:lnTo>
                    <a:lnTo>
                      <a:pt x="78" y="19"/>
                    </a:lnTo>
                    <a:lnTo>
                      <a:pt x="78" y="17"/>
                    </a:lnTo>
                    <a:lnTo>
                      <a:pt x="74" y="12"/>
                    </a:lnTo>
                    <a:lnTo>
                      <a:pt x="74" y="10"/>
                    </a:lnTo>
                    <a:lnTo>
                      <a:pt x="74" y="10"/>
                    </a:lnTo>
                    <a:lnTo>
                      <a:pt x="71" y="8"/>
                    </a:lnTo>
                    <a:lnTo>
                      <a:pt x="69" y="5"/>
                    </a:lnTo>
                    <a:lnTo>
                      <a:pt x="69" y="5"/>
                    </a:lnTo>
                    <a:lnTo>
                      <a:pt x="67" y="5"/>
                    </a:lnTo>
                    <a:lnTo>
                      <a:pt x="59" y="3"/>
                    </a:lnTo>
                    <a:lnTo>
                      <a:pt x="55" y="0"/>
                    </a:lnTo>
                    <a:lnTo>
                      <a:pt x="52" y="0"/>
                    </a:lnTo>
                    <a:lnTo>
                      <a:pt x="52" y="0"/>
                    </a:lnTo>
                    <a:lnTo>
                      <a:pt x="50" y="3"/>
                    </a:lnTo>
                    <a:lnTo>
                      <a:pt x="48" y="3"/>
                    </a:lnTo>
                    <a:lnTo>
                      <a:pt x="43" y="3"/>
                    </a:lnTo>
                    <a:lnTo>
                      <a:pt x="41" y="3"/>
                    </a:lnTo>
                    <a:lnTo>
                      <a:pt x="38" y="3"/>
                    </a:lnTo>
                    <a:lnTo>
                      <a:pt x="36" y="5"/>
                    </a:lnTo>
                    <a:lnTo>
                      <a:pt x="33" y="5"/>
                    </a:lnTo>
                    <a:lnTo>
                      <a:pt x="31" y="8"/>
                    </a:lnTo>
                    <a:lnTo>
                      <a:pt x="29" y="10"/>
                    </a:lnTo>
                    <a:lnTo>
                      <a:pt x="29" y="10"/>
                    </a:lnTo>
                    <a:lnTo>
                      <a:pt x="29" y="17"/>
                    </a:lnTo>
                    <a:lnTo>
                      <a:pt x="26" y="22"/>
                    </a:lnTo>
                    <a:lnTo>
                      <a:pt x="24" y="24"/>
                    </a:lnTo>
                    <a:lnTo>
                      <a:pt x="22" y="26"/>
                    </a:lnTo>
                    <a:lnTo>
                      <a:pt x="19" y="29"/>
                    </a:lnTo>
                    <a:lnTo>
                      <a:pt x="19" y="31"/>
                    </a:lnTo>
                    <a:lnTo>
                      <a:pt x="19" y="36"/>
                    </a:lnTo>
                    <a:lnTo>
                      <a:pt x="19" y="38"/>
                    </a:lnTo>
                    <a:lnTo>
                      <a:pt x="19" y="41"/>
                    </a:lnTo>
                    <a:lnTo>
                      <a:pt x="19" y="43"/>
                    </a:lnTo>
                    <a:lnTo>
                      <a:pt x="19" y="43"/>
                    </a:lnTo>
                    <a:lnTo>
                      <a:pt x="19" y="43"/>
                    </a:lnTo>
                    <a:lnTo>
                      <a:pt x="19" y="45"/>
                    </a:lnTo>
                    <a:lnTo>
                      <a:pt x="19" y="45"/>
                    </a:lnTo>
                    <a:lnTo>
                      <a:pt x="19" y="45"/>
                    </a:lnTo>
                    <a:lnTo>
                      <a:pt x="19" y="48"/>
                    </a:lnTo>
                    <a:lnTo>
                      <a:pt x="17" y="48"/>
                    </a:lnTo>
                    <a:lnTo>
                      <a:pt x="17" y="50"/>
                    </a:lnTo>
                    <a:lnTo>
                      <a:pt x="17" y="53"/>
                    </a:lnTo>
                    <a:lnTo>
                      <a:pt x="19" y="57"/>
                    </a:lnTo>
                    <a:lnTo>
                      <a:pt x="19" y="57"/>
                    </a:lnTo>
                    <a:lnTo>
                      <a:pt x="19" y="60"/>
                    </a:lnTo>
                    <a:lnTo>
                      <a:pt x="22" y="60"/>
                    </a:lnTo>
                    <a:lnTo>
                      <a:pt x="22" y="62"/>
                    </a:lnTo>
                    <a:lnTo>
                      <a:pt x="22" y="64"/>
                    </a:lnTo>
                    <a:lnTo>
                      <a:pt x="22" y="67"/>
                    </a:lnTo>
                    <a:lnTo>
                      <a:pt x="22" y="69"/>
                    </a:lnTo>
                    <a:lnTo>
                      <a:pt x="22" y="69"/>
                    </a:lnTo>
                    <a:lnTo>
                      <a:pt x="22" y="74"/>
                    </a:lnTo>
                    <a:lnTo>
                      <a:pt x="22" y="74"/>
                    </a:lnTo>
                    <a:lnTo>
                      <a:pt x="22" y="74"/>
                    </a:lnTo>
                    <a:lnTo>
                      <a:pt x="19" y="74"/>
                    </a:lnTo>
                    <a:lnTo>
                      <a:pt x="19" y="74"/>
                    </a:lnTo>
                    <a:lnTo>
                      <a:pt x="19" y="76"/>
                    </a:lnTo>
                    <a:lnTo>
                      <a:pt x="17" y="76"/>
                    </a:lnTo>
                    <a:lnTo>
                      <a:pt x="17" y="76"/>
                    </a:lnTo>
                    <a:lnTo>
                      <a:pt x="19" y="79"/>
                    </a:lnTo>
                    <a:lnTo>
                      <a:pt x="19" y="83"/>
                    </a:lnTo>
                    <a:lnTo>
                      <a:pt x="17" y="86"/>
                    </a:lnTo>
                    <a:lnTo>
                      <a:pt x="17" y="86"/>
                    </a:lnTo>
                    <a:lnTo>
                      <a:pt x="14" y="86"/>
                    </a:lnTo>
                    <a:lnTo>
                      <a:pt x="14" y="86"/>
                    </a:lnTo>
                    <a:lnTo>
                      <a:pt x="12" y="88"/>
                    </a:lnTo>
                    <a:lnTo>
                      <a:pt x="12" y="90"/>
                    </a:lnTo>
                    <a:lnTo>
                      <a:pt x="12" y="93"/>
                    </a:lnTo>
                    <a:lnTo>
                      <a:pt x="10" y="93"/>
                    </a:lnTo>
                    <a:lnTo>
                      <a:pt x="10" y="95"/>
                    </a:lnTo>
                    <a:lnTo>
                      <a:pt x="10" y="97"/>
                    </a:lnTo>
                    <a:lnTo>
                      <a:pt x="10" y="100"/>
                    </a:lnTo>
                    <a:lnTo>
                      <a:pt x="7" y="102"/>
                    </a:lnTo>
                    <a:lnTo>
                      <a:pt x="5" y="102"/>
                    </a:lnTo>
                    <a:lnTo>
                      <a:pt x="3" y="102"/>
                    </a:lnTo>
                    <a:lnTo>
                      <a:pt x="3" y="109"/>
                    </a:lnTo>
                    <a:lnTo>
                      <a:pt x="3" y="112"/>
                    </a:lnTo>
                    <a:lnTo>
                      <a:pt x="3" y="116"/>
                    </a:lnTo>
                    <a:lnTo>
                      <a:pt x="0" y="116"/>
                    </a:lnTo>
                    <a:lnTo>
                      <a:pt x="3" y="119"/>
                    </a:lnTo>
                    <a:lnTo>
                      <a:pt x="0" y="124"/>
                    </a:lnTo>
                    <a:lnTo>
                      <a:pt x="0" y="128"/>
                    </a:lnTo>
                    <a:lnTo>
                      <a:pt x="0" y="128"/>
                    </a:lnTo>
                    <a:lnTo>
                      <a:pt x="3" y="131"/>
                    </a:lnTo>
                    <a:lnTo>
                      <a:pt x="3" y="133"/>
                    </a:lnTo>
                    <a:lnTo>
                      <a:pt x="3" y="135"/>
                    </a:lnTo>
                    <a:lnTo>
                      <a:pt x="3" y="135"/>
                    </a:lnTo>
                    <a:lnTo>
                      <a:pt x="3" y="138"/>
                    </a:lnTo>
                    <a:lnTo>
                      <a:pt x="3" y="138"/>
                    </a:lnTo>
                    <a:lnTo>
                      <a:pt x="3" y="138"/>
                    </a:lnTo>
                    <a:lnTo>
                      <a:pt x="3" y="142"/>
                    </a:lnTo>
                    <a:lnTo>
                      <a:pt x="3" y="145"/>
                    </a:lnTo>
                    <a:lnTo>
                      <a:pt x="3" y="145"/>
                    </a:lnTo>
                    <a:lnTo>
                      <a:pt x="3" y="147"/>
                    </a:lnTo>
                    <a:lnTo>
                      <a:pt x="3" y="150"/>
                    </a:lnTo>
                    <a:lnTo>
                      <a:pt x="3" y="152"/>
                    </a:lnTo>
                    <a:lnTo>
                      <a:pt x="3" y="152"/>
                    </a:lnTo>
                    <a:lnTo>
                      <a:pt x="3" y="154"/>
                    </a:lnTo>
                    <a:lnTo>
                      <a:pt x="3" y="154"/>
                    </a:lnTo>
                    <a:lnTo>
                      <a:pt x="0" y="159"/>
                    </a:lnTo>
                    <a:lnTo>
                      <a:pt x="0" y="159"/>
                    </a:lnTo>
                    <a:lnTo>
                      <a:pt x="3" y="159"/>
                    </a:lnTo>
                    <a:lnTo>
                      <a:pt x="12" y="159"/>
                    </a:lnTo>
                    <a:lnTo>
                      <a:pt x="14" y="157"/>
                    </a:lnTo>
                    <a:lnTo>
                      <a:pt x="17" y="157"/>
                    </a:lnTo>
                    <a:lnTo>
                      <a:pt x="19" y="154"/>
                    </a:lnTo>
                    <a:lnTo>
                      <a:pt x="22" y="154"/>
                    </a:lnTo>
                    <a:lnTo>
                      <a:pt x="17" y="157"/>
                    </a:lnTo>
                    <a:lnTo>
                      <a:pt x="17" y="157"/>
                    </a:lnTo>
                    <a:lnTo>
                      <a:pt x="14" y="159"/>
                    </a:lnTo>
                    <a:lnTo>
                      <a:pt x="17" y="159"/>
                    </a:lnTo>
                    <a:lnTo>
                      <a:pt x="29" y="159"/>
                    </a:lnTo>
                    <a:lnTo>
                      <a:pt x="33" y="159"/>
                    </a:lnTo>
                    <a:lnTo>
                      <a:pt x="38" y="164"/>
                    </a:lnTo>
                    <a:lnTo>
                      <a:pt x="41" y="166"/>
                    </a:lnTo>
                    <a:lnTo>
                      <a:pt x="45" y="171"/>
                    </a:lnTo>
                    <a:lnTo>
                      <a:pt x="45" y="173"/>
                    </a:lnTo>
                    <a:lnTo>
                      <a:pt x="45" y="173"/>
                    </a:lnTo>
                    <a:lnTo>
                      <a:pt x="45" y="176"/>
                    </a:lnTo>
                    <a:lnTo>
                      <a:pt x="48" y="176"/>
                    </a:lnTo>
                    <a:lnTo>
                      <a:pt x="50" y="176"/>
                    </a:lnTo>
                    <a:lnTo>
                      <a:pt x="50" y="173"/>
                    </a:lnTo>
                    <a:lnTo>
                      <a:pt x="50" y="173"/>
                    </a:lnTo>
                    <a:lnTo>
                      <a:pt x="50" y="176"/>
                    </a:lnTo>
                    <a:lnTo>
                      <a:pt x="50" y="176"/>
                    </a:lnTo>
                    <a:lnTo>
                      <a:pt x="52" y="176"/>
                    </a:lnTo>
                    <a:lnTo>
                      <a:pt x="52" y="176"/>
                    </a:lnTo>
                    <a:lnTo>
                      <a:pt x="52" y="176"/>
                    </a:lnTo>
                    <a:lnTo>
                      <a:pt x="50" y="176"/>
                    </a:lnTo>
                    <a:lnTo>
                      <a:pt x="48" y="176"/>
                    </a:lnTo>
                    <a:lnTo>
                      <a:pt x="48" y="178"/>
                    </a:lnTo>
                    <a:lnTo>
                      <a:pt x="48" y="178"/>
                    </a:lnTo>
                    <a:lnTo>
                      <a:pt x="50" y="180"/>
                    </a:lnTo>
                    <a:lnTo>
                      <a:pt x="55" y="178"/>
                    </a:lnTo>
                    <a:lnTo>
                      <a:pt x="55" y="180"/>
                    </a:lnTo>
                    <a:lnTo>
                      <a:pt x="52" y="180"/>
                    </a:lnTo>
                    <a:lnTo>
                      <a:pt x="52" y="180"/>
                    </a:lnTo>
                    <a:lnTo>
                      <a:pt x="50" y="180"/>
                    </a:lnTo>
                    <a:lnTo>
                      <a:pt x="50" y="183"/>
                    </a:lnTo>
                    <a:lnTo>
                      <a:pt x="50" y="185"/>
                    </a:lnTo>
                    <a:lnTo>
                      <a:pt x="52" y="185"/>
                    </a:lnTo>
                    <a:lnTo>
                      <a:pt x="52" y="185"/>
                    </a:lnTo>
                    <a:lnTo>
                      <a:pt x="52" y="185"/>
                    </a:lnTo>
                    <a:lnTo>
                      <a:pt x="52" y="185"/>
                    </a:lnTo>
                    <a:lnTo>
                      <a:pt x="50" y="185"/>
                    </a:lnTo>
                    <a:lnTo>
                      <a:pt x="52" y="190"/>
                    </a:lnTo>
                    <a:lnTo>
                      <a:pt x="52" y="192"/>
                    </a:lnTo>
                    <a:lnTo>
                      <a:pt x="55" y="195"/>
                    </a:lnTo>
                    <a:lnTo>
                      <a:pt x="55" y="197"/>
                    </a:lnTo>
                    <a:lnTo>
                      <a:pt x="59" y="199"/>
                    </a:lnTo>
                    <a:lnTo>
                      <a:pt x="62" y="202"/>
                    </a:lnTo>
                    <a:lnTo>
                      <a:pt x="62" y="202"/>
                    </a:lnTo>
                    <a:lnTo>
                      <a:pt x="64" y="204"/>
                    </a:lnTo>
                    <a:lnTo>
                      <a:pt x="67" y="204"/>
                    </a:lnTo>
                    <a:lnTo>
                      <a:pt x="67" y="204"/>
                    </a:lnTo>
                    <a:lnTo>
                      <a:pt x="67" y="202"/>
                    </a:lnTo>
                    <a:lnTo>
                      <a:pt x="67" y="199"/>
                    </a:lnTo>
                    <a:lnTo>
                      <a:pt x="67" y="202"/>
                    </a:lnTo>
                    <a:lnTo>
                      <a:pt x="67" y="202"/>
                    </a:lnTo>
                    <a:lnTo>
                      <a:pt x="67" y="204"/>
                    </a:lnTo>
                    <a:lnTo>
                      <a:pt x="69" y="204"/>
                    </a:lnTo>
                    <a:lnTo>
                      <a:pt x="71" y="202"/>
                    </a:lnTo>
                    <a:lnTo>
                      <a:pt x="71" y="202"/>
                    </a:lnTo>
                    <a:lnTo>
                      <a:pt x="74" y="202"/>
                    </a:lnTo>
                    <a:lnTo>
                      <a:pt x="74" y="199"/>
                    </a:lnTo>
                    <a:lnTo>
                      <a:pt x="74" y="199"/>
                    </a:lnTo>
                    <a:lnTo>
                      <a:pt x="74" y="202"/>
                    </a:lnTo>
                    <a:lnTo>
                      <a:pt x="74" y="202"/>
                    </a:lnTo>
                    <a:lnTo>
                      <a:pt x="76" y="202"/>
                    </a:lnTo>
                    <a:lnTo>
                      <a:pt x="76" y="202"/>
                    </a:lnTo>
                    <a:lnTo>
                      <a:pt x="78" y="202"/>
                    </a:lnTo>
                    <a:lnTo>
                      <a:pt x="78" y="199"/>
                    </a:lnTo>
                    <a:lnTo>
                      <a:pt x="78" y="197"/>
                    </a:lnTo>
                    <a:lnTo>
                      <a:pt x="78" y="195"/>
                    </a:lnTo>
                    <a:lnTo>
                      <a:pt x="76" y="195"/>
                    </a:lnTo>
                    <a:lnTo>
                      <a:pt x="78" y="195"/>
                    </a:lnTo>
                    <a:lnTo>
                      <a:pt x="78" y="197"/>
                    </a:lnTo>
                    <a:lnTo>
                      <a:pt x="78" y="199"/>
                    </a:lnTo>
                    <a:lnTo>
                      <a:pt x="78" y="199"/>
                    </a:lnTo>
                    <a:lnTo>
                      <a:pt x="81" y="202"/>
                    </a:lnTo>
                    <a:lnTo>
                      <a:pt x="81" y="202"/>
                    </a:lnTo>
                    <a:lnTo>
                      <a:pt x="83" y="199"/>
                    </a:lnTo>
                    <a:lnTo>
                      <a:pt x="83" y="197"/>
                    </a:lnTo>
                    <a:lnTo>
                      <a:pt x="83" y="195"/>
                    </a:lnTo>
                    <a:lnTo>
                      <a:pt x="83" y="195"/>
                    </a:lnTo>
                    <a:lnTo>
                      <a:pt x="83" y="195"/>
                    </a:lnTo>
                    <a:lnTo>
                      <a:pt x="85" y="197"/>
                    </a:lnTo>
                    <a:lnTo>
                      <a:pt x="85" y="197"/>
                    </a:lnTo>
                    <a:lnTo>
                      <a:pt x="90" y="197"/>
                    </a:lnTo>
                    <a:lnTo>
                      <a:pt x="90" y="197"/>
                    </a:lnTo>
                    <a:lnTo>
                      <a:pt x="90" y="197"/>
                    </a:lnTo>
                    <a:lnTo>
                      <a:pt x="90" y="195"/>
                    </a:lnTo>
                    <a:lnTo>
                      <a:pt x="93" y="197"/>
                    </a:lnTo>
                    <a:lnTo>
                      <a:pt x="93" y="199"/>
                    </a:lnTo>
                    <a:lnTo>
                      <a:pt x="97" y="199"/>
                    </a:lnTo>
                    <a:lnTo>
                      <a:pt x="100" y="197"/>
                    </a:lnTo>
                    <a:lnTo>
                      <a:pt x="104" y="197"/>
                    </a:lnTo>
                    <a:lnTo>
                      <a:pt x="107" y="195"/>
                    </a:lnTo>
                    <a:lnTo>
                      <a:pt x="104" y="190"/>
                    </a:lnTo>
                    <a:lnTo>
                      <a:pt x="104" y="190"/>
                    </a:lnTo>
                    <a:lnTo>
                      <a:pt x="107" y="192"/>
                    </a:lnTo>
                    <a:lnTo>
                      <a:pt x="107" y="192"/>
                    </a:lnTo>
                    <a:lnTo>
                      <a:pt x="107" y="195"/>
                    </a:lnTo>
                    <a:lnTo>
                      <a:pt x="109" y="195"/>
                    </a:lnTo>
                    <a:lnTo>
                      <a:pt x="109" y="195"/>
                    </a:lnTo>
                    <a:lnTo>
                      <a:pt x="109" y="195"/>
                    </a:lnTo>
                    <a:lnTo>
                      <a:pt x="111" y="192"/>
                    </a:lnTo>
                    <a:lnTo>
                      <a:pt x="111" y="190"/>
                    </a:lnTo>
                    <a:lnTo>
                      <a:pt x="114" y="187"/>
                    </a:lnTo>
                    <a:lnTo>
                      <a:pt x="114" y="185"/>
                    </a:lnTo>
                    <a:lnTo>
                      <a:pt x="116" y="178"/>
                    </a:lnTo>
                    <a:lnTo>
                      <a:pt x="116" y="176"/>
                    </a:lnTo>
                    <a:lnTo>
                      <a:pt x="116" y="171"/>
                    </a:lnTo>
                    <a:lnTo>
                      <a:pt x="119" y="169"/>
                    </a:lnTo>
                    <a:lnTo>
                      <a:pt x="119" y="166"/>
                    </a:lnTo>
                    <a:lnTo>
                      <a:pt x="123" y="164"/>
                    </a:lnTo>
                    <a:lnTo>
                      <a:pt x="126" y="161"/>
                    </a:lnTo>
                    <a:lnTo>
                      <a:pt x="126" y="159"/>
                    </a:lnTo>
                    <a:lnTo>
                      <a:pt x="128" y="159"/>
                    </a:lnTo>
                    <a:lnTo>
                      <a:pt x="128" y="157"/>
                    </a:lnTo>
                    <a:lnTo>
                      <a:pt x="130" y="157"/>
                    </a:lnTo>
                    <a:lnTo>
                      <a:pt x="133" y="154"/>
                    </a:lnTo>
                    <a:lnTo>
                      <a:pt x="133" y="152"/>
                    </a:lnTo>
                    <a:lnTo>
                      <a:pt x="133" y="150"/>
                    </a:lnTo>
                    <a:lnTo>
                      <a:pt x="135" y="150"/>
                    </a:lnTo>
                    <a:lnTo>
                      <a:pt x="138" y="147"/>
                    </a:lnTo>
                    <a:lnTo>
                      <a:pt x="140" y="147"/>
                    </a:lnTo>
                    <a:lnTo>
                      <a:pt x="140" y="147"/>
                    </a:lnTo>
                    <a:lnTo>
                      <a:pt x="140" y="147"/>
                    </a:lnTo>
                    <a:lnTo>
                      <a:pt x="140" y="147"/>
                    </a:lnTo>
                    <a:lnTo>
                      <a:pt x="142" y="150"/>
                    </a:lnTo>
                    <a:lnTo>
                      <a:pt x="145" y="150"/>
                    </a:lnTo>
                    <a:lnTo>
                      <a:pt x="147" y="150"/>
                    </a:lnTo>
                    <a:lnTo>
                      <a:pt x="147" y="147"/>
                    </a:lnTo>
                    <a:lnTo>
                      <a:pt x="147" y="145"/>
                    </a:lnTo>
                    <a:lnTo>
                      <a:pt x="147" y="145"/>
                    </a:lnTo>
                    <a:lnTo>
                      <a:pt x="149" y="145"/>
                    </a:lnTo>
                    <a:lnTo>
                      <a:pt x="152" y="147"/>
                    </a:lnTo>
                    <a:lnTo>
                      <a:pt x="154" y="150"/>
                    </a:lnTo>
                    <a:lnTo>
                      <a:pt x="154" y="152"/>
                    </a:lnTo>
                    <a:lnTo>
                      <a:pt x="156" y="152"/>
                    </a:lnTo>
                    <a:lnTo>
                      <a:pt x="156" y="152"/>
                    </a:lnTo>
                    <a:lnTo>
                      <a:pt x="156" y="157"/>
                    </a:lnTo>
                    <a:lnTo>
                      <a:pt x="159" y="157"/>
                    </a:lnTo>
                    <a:lnTo>
                      <a:pt x="159" y="159"/>
                    </a:lnTo>
                    <a:lnTo>
                      <a:pt x="161" y="157"/>
                    </a:lnTo>
                    <a:lnTo>
                      <a:pt x="161" y="157"/>
                    </a:lnTo>
                    <a:lnTo>
                      <a:pt x="164" y="157"/>
                    </a:lnTo>
                    <a:lnTo>
                      <a:pt x="164" y="154"/>
                    </a:lnTo>
                    <a:lnTo>
                      <a:pt x="166" y="154"/>
                    </a:lnTo>
                    <a:lnTo>
                      <a:pt x="166" y="152"/>
                    </a:lnTo>
                    <a:lnTo>
                      <a:pt x="166" y="150"/>
                    </a:lnTo>
                    <a:lnTo>
                      <a:pt x="166" y="150"/>
                    </a:lnTo>
                    <a:lnTo>
                      <a:pt x="168" y="147"/>
                    </a:lnTo>
                    <a:lnTo>
                      <a:pt x="171" y="145"/>
                    </a:lnTo>
                    <a:lnTo>
                      <a:pt x="171" y="142"/>
                    </a:lnTo>
                    <a:lnTo>
                      <a:pt x="171" y="142"/>
                    </a:lnTo>
                    <a:lnTo>
                      <a:pt x="171" y="142"/>
                    </a:lnTo>
                    <a:lnTo>
                      <a:pt x="171" y="140"/>
                    </a:lnTo>
                    <a:lnTo>
                      <a:pt x="171" y="138"/>
                    </a:lnTo>
                    <a:lnTo>
                      <a:pt x="171" y="138"/>
                    </a:lnTo>
                    <a:lnTo>
                      <a:pt x="175" y="133"/>
                    </a:lnTo>
                    <a:lnTo>
                      <a:pt x="175" y="133"/>
                    </a:lnTo>
                    <a:lnTo>
                      <a:pt x="175" y="131"/>
                    </a:lnTo>
                    <a:lnTo>
                      <a:pt x="178" y="126"/>
                    </a:lnTo>
                    <a:lnTo>
                      <a:pt x="178" y="121"/>
                    </a:lnTo>
                    <a:lnTo>
                      <a:pt x="178" y="119"/>
                    </a:lnTo>
                    <a:lnTo>
                      <a:pt x="180" y="116"/>
                    </a:lnTo>
                    <a:lnTo>
                      <a:pt x="182" y="112"/>
                    </a:lnTo>
                    <a:lnTo>
                      <a:pt x="185" y="112"/>
                    </a:lnTo>
                    <a:lnTo>
                      <a:pt x="187" y="112"/>
                    </a:lnTo>
                    <a:lnTo>
                      <a:pt x="187" y="109"/>
                    </a:lnTo>
                    <a:lnTo>
                      <a:pt x="190" y="107"/>
                    </a:lnTo>
                    <a:lnTo>
                      <a:pt x="190" y="107"/>
                    </a:lnTo>
                    <a:lnTo>
                      <a:pt x="190" y="105"/>
                    </a:lnTo>
                    <a:lnTo>
                      <a:pt x="190" y="100"/>
                    </a:lnTo>
                    <a:lnTo>
                      <a:pt x="190" y="97"/>
                    </a:lnTo>
                    <a:lnTo>
                      <a:pt x="192" y="95"/>
                    </a:lnTo>
                    <a:lnTo>
                      <a:pt x="194" y="93"/>
                    </a:lnTo>
                    <a:lnTo>
                      <a:pt x="197" y="93"/>
                    </a:lnTo>
                    <a:lnTo>
                      <a:pt x="197" y="93"/>
                    </a:lnTo>
                    <a:lnTo>
                      <a:pt x="197" y="90"/>
                    </a:lnTo>
                    <a:lnTo>
                      <a:pt x="197" y="86"/>
                    </a:lnTo>
                    <a:lnTo>
                      <a:pt x="197" y="83"/>
                    </a:lnTo>
                    <a:lnTo>
                      <a:pt x="197" y="83"/>
                    </a:lnTo>
                    <a:lnTo>
                      <a:pt x="199" y="81"/>
                    </a:lnTo>
                    <a:lnTo>
                      <a:pt x="201" y="79"/>
                    </a:lnTo>
                    <a:lnTo>
                      <a:pt x="201" y="74"/>
                    </a:lnTo>
                    <a:lnTo>
                      <a:pt x="204" y="69"/>
                    </a:lnTo>
                    <a:lnTo>
                      <a:pt x="206" y="64"/>
                    </a:lnTo>
                    <a:lnTo>
                      <a:pt x="208" y="60"/>
                    </a:lnTo>
                    <a:lnTo>
                      <a:pt x="211" y="57"/>
                    </a:lnTo>
                    <a:lnTo>
                      <a:pt x="213" y="57"/>
                    </a:lnTo>
                    <a:lnTo>
                      <a:pt x="213" y="57"/>
                    </a:lnTo>
                    <a:lnTo>
                      <a:pt x="216" y="55"/>
                    </a:lnTo>
                    <a:lnTo>
                      <a:pt x="218" y="53"/>
                    </a:lnTo>
                    <a:lnTo>
                      <a:pt x="220" y="53"/>
                    </a:lnTo>
                    <a:lnTo>
                      <a:pt x="223" y="50"/>
                    </a:lnTo>
                    <a:lnTo>
                      <a:pt x="223" y="50"/>
                    </a:lnTo>
                    <a:lnTo>
                      <a:pt x="223" y="50"/>
                    </a:lnTo>
                    <a:lnTo>
                      <a:pt x="223" y="45"/>
                    </a:lnTo>
                    <a:lnTo>
                      <a:pt x="223" y="43"/>
                    </a:lnTo>
                    <a:lnTo>
                      <a:pt x="223" y="41"/>
                    </a:lnTo>
                    <a:lnTo>
                      <a:pt x="223" y="38"/>
                    </a:lnTo>
                    <a:lnTo>
                      <a:pt x="223" y="38"/>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81"/>
              <p:cNvSpPr>
                <a:spLocks/>
              </p:cNvSpPr>
              <p:nvPr/>
            </p:nvSpPr>
            <p:spPr bwMode="auto">
              <a:xfrm>
                <a:off x="2753" y="2303"/>
                <a:ext cx="291" cy="251"/>
              </a:xfrm>
              <a:custGeom>
                <a:avLst/>
                <a:gdLst>
                  <a:gd name="T0" fmla="*/ 284 w 291"/>
                  <a:gd name="T1" fmla="*/ 57 h 251"/>
                  <a:gd name="T2" fmla="*/ 277 w 291"/>
                  <a:gd name="T3" fmla="*/ 42 h 251"/>
                  <a:gd name="T4" fmla="*/ 272 w 291"/>
                  <a:gd name="T5" fmla="*/ 12 h 251"/>
                  <a:gd name="T6" fmla="*/ 261 w 291"/>
                  <a:gd name="T7" fmla="*/ 19 h 251"/>
                  <a:gd name="T8" fmla="*/ 246 w 291"/>
                  <a:gd name="T9" fmla="*/ 7 h 251"/>
                  <a:gd name="T10" fmla="*/ 209 w 291"/>
                  <a:gd name="T11" fmla="*/ 7 h 251"/>
                  <a:gd name="T12" fmla="*/ 171 w 291"/>
                  <a:gd name="T13" fmla="*/ 33 h 251"/>
                  <a:gd name="T14" fmla="*/ 135 w 291"/>
                  <a:gd name="T15" fmla="*/ 57 h 251"/>
                  <a:gd name="T16" fmla="*/ 119 w 291"/>
                  <a:gd name="T17" fmla="*/ 73 h 251"/>
                  <a:gd name="T18" fmla="*/ 104 w 291"/>
                  <a:gd name="T19" fmla="*/ 87 h 251"/>
                  <a:gd name="T20" fmla="*/ 81 w 291"/>
                  <a:gd name="T21" fmla="*/ 92 h 251"/>
                  <a:gd name="T22" fmla="*/ 76 w 291"/>
                  <a:gd name="T23" fmla="*/ 109 h 251"/>
                  <a:gd name="T24" fmla="*/ 76 w 291"/>
                  <a:gd name="T25" fmla="*/ 132 h 251"/>
                  <a:gd name="T26" fmla="*/ 76 w 291"/>
                  <a:gd name="T27" fmla="*/ 147 h 251"/>
                  <a:gd name="T28" fmla="*/ 71 w 291"/>
                  <a:gd name="T29" fmla="*/ 161 h 251"/>
                  <a:gd name="T30" fmla="*/ 69 w 291"/>
                  <a:gd name="T31" fmla="*/ 166 h 251"/>
                  <a:gd name="T32" fmla="*/ 62 w 291"/>
                  <a:gd name="T33" fmla="*/ 173 h 251"/>
                  <a:gd name="T34" fmla="*/ 52 w 291"/>
                  <a:gd name="T35" fmla="*/ 170 h 251"/>
                  <a:gd name="T36" fmla="*/ 36 w 291"/>
                  <a:gd name="T37" fmla="*/ 173 h 251"/>
                  <a:gd name="T38" fmla="*/ 19 w 291"/>
                  <a:gd name="T39" fmla="*/ 177 h 251"/>
                  <a:gd name="T40" fmla="*/ 5 w 291"/>
                  <a:gd name="T41" fmla="*/ 180 h 251"/>
                  <a:gd name="T42" fmla="*/ 0 w 291"/>
                  <a:gd name="T43" fmla="*/ 182 h 251"/>
                  <a:gd name="T44" fmla="*/ 3 w 291"/>
                  <a:gd name="T45" fmla="*/ 192 h 251"/>
                  <a:gd name="T46" fmla="*/ 5 w 291"/>
                  <a:gd name="T47" fmla="*/ 199 h 251"/>
                  <a:gd name="T48" fmla="*/ 10 w 291"/>
                  <a:gd name="T49" fmla="*/ 208 h 251"/>
                  <a:gd name="T50" fmla="*/ 15 w 291"/>
                  <a:gd name="T51" fmla="*/ 211 h 251"/>
                  <a:gd name="T52" fmla="*/ 17 w 291"/>
                  <a:gd name="T53" fmla="*/ 213 h 251"/>
                  <a:gd name="T54" fmla="*/ 15 w 291"/>
                  <a:gd name="T55" fmla="*/ 215 h 251"/>
                  <a:gd name="T56" fmla="*/ 15 w 291"/>
                  <a:gd name="T57" fmla="*/ 222 h 251"/>
                  <a:gd name="T58" fmla="*/ 26 w 291"/>
                  <a:gd name="T59" fmla="*/ 229 h 251"/>
                  <a:gd name="T60" fmla="*/ 33 w 291"/>
                  <a:gd name="T61" fmla="*/ 229 h 251"/>
                  <a:gd name="T62" fmla="*/ 36 w 291"/>
                  <a:gd name="T63" fmla="*/ 229 h 251"/>
                  <a:gd name="T64" fmla="*/ 38 w 291"/>
                  <a:gd name="T65" fmla="*/ 234 h 251"/>
                  <a:gd name="T66" fmla="*/ 36 w 291"/>
                  <a:gd name="T67" fmla="*/ 237 h 251"/>
                  <a:gd name="T68" fmla="*/ 41 w 291"/>
                  <a:gd name="T69" fmla="*/ 246 h 251"/>
                  <a:gd name="T70" fmla="*/ 43 w 291"/>
                  <a:gd name="T71" fmla="*/ 239 h 251"/>
                  <a:gd name="T72" fmla="*/ 48 w 291"/>
                  <a:gd name="T73" fmla="*/ 237 h 251"/>
                  <a:gd name="T74" fmla="*/ 55 w 291"/>
                  <a:gd name="T75" fmla="*/ 241 h 251"/>
                  <a:gd name="T76" fmla="*/ 62 w 291"/>
                  <a:gd name="T77" fmla="*/ 246 h 251"/>
                  <a:gd name="T78" fmla="*/ 64 w 291"/>
                  <a:gd name="T79" fmla="*/ 248 h 251"/>
                  <a:gd name="T80" fmla="*/ 64 w 291"/>
                  <a:gd name="T81" fmla="*/ 246 h 251"/>
                  <a:gd name="T82" fmla="*/ 64 w 291"/>
                  <a:gd name="T83" fmla="*/ 234 h 251"/>
                  <a:gd name="T84" fmla="*/ 71 w 291"/>
                  <a:gd name="T85" fmla="*/ 225 h 251"/>
                  <a:gd name="T86" fmla="*/ 76 w 291"/>
                  <a:gd name="T87" fmla="*/ 211 h 251"/>
                  <a:gd name="T88" fmla="*/ 86 w 291"/>
                  <a:gd name="T89" fmla="*/ 206 h 251"/>
                  <a:gd name="T90" fmla="*/ 97 w 291"/>
                  <a:gd name="T91" fmla="*/ 203 h 251"/>
                  <a:gd name="T92" fmla="*/ 112 w 291"/>
                  <a:gd name="T93" fmla="*/ 208 h 251"/>
                  <a:gd name="T94" fmla="*/ 119 w 291"/>
                  <a:gd name="T95" fmla="*/ 213 h 251"/>
                  <a:gd name="T96" fmla="*/ 123 w 291"/>
                  <a:gd name="T97" fmla="*/ 222 h 251"/>
                  <a:gd name="T98" fmla="*/ 128 w 291"/>
                  <a:gd name="T99" fmla="*/ 222 h 251"/>
                  <a:gd name="T100" fmla="*/ 142 w 291"/>
                  <a:gd name="T101" fmla="*/ 215 h 251"/>
                  <a:gd name="T102" fmla="*/ 154 w 291"/>
                  <a:gd name="T103" fmla="*/ 220 h 251"/>
                  <a:gd name="T104" fmla="*/ 175 w 291"/>
                  <a:gd name="T105" fmla="*/ 227 h 251"/>
                  <a:gd name="T106" fmla="*/ 187 w 291"/>
                  <a:gd name="T107" fmla="*/ 215 h 251"/>
                  <a:gd name="T108" fmla="*/ 211 w 291"/>
                  <a:gd name="T109" fmla="*/ 215 h 251"/>
                  <a:gd name="T110" fmla="*/ 225 w 291"/>
                  <a:gd name="T111" fmla="*/ 220 h 251"/>
                  <a:gd name="T112" fmla="*/ 232 w 291"/>
                  <a:gd name="T113" fmla="*/ 215 h 251"/>
                  <a:gd name="T114" fmla="*/ 244 w 291"/>
                  <a:gd name="T115" fmla="*/ 208 h 251"/>
                  <a:gd name="T116" fmla="*/ 246 w 291"/>
                  <a:gd name="T117" fmla="*/ 194 h 251"/>
                  <a:gd name="T118" fmla="*/ 261 w 291"/>
                  <a:gd name="T119" fmla="*/ 170 h 251"/>
                  <a:gd name="T120" fmla="*/ 284 w 291"/>
                  <a:gd name="T121" fmla="*/ 139 h 251"/>
                  <a:gd name="T122" fmla="*/ 287 w 291"/>
                  <a:gd name="T123" fmla="*/ 99 h 251"/>
                  <a:gd name="T124" fmla="*/ 289 w 291"/>
                  <a:gd name="T125" fmla="*/ 76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91" h="251">
                    <a:moveTo>
                      <a:pt x="291" y="66"/>
                    </a:moveTo>
                    <a:lnTo>
                      <a:pt x="287" y="59"/>
                    </a:lnTo>
                    <a:lnTo>
                      <a:pt x="284" y="59"/>
                    </a:lnTo>
                    <a:lnTo>
                      <a:pt x="284" y="57"/>
                    </a:lnTo>
                    <a:lnTo>
                      <a:pt x="284" y="54"/>
                    </a:lnTo>
                    <a:lnTo>
                      <a:pt x="279" y="45"/>
                    </a:lnTo>
                    <a:lnTo>
                      <a:pt x="277" y="42"/>
                    </a:lnTo>
                    <a:lnTo>
                      <a:pt x="277" y="42"/>
                    </a:lnTo>
                    <a:lnTo>
                      <a:pt x="277" y="40"/>
                    </a:lnTo>
                    <a:lnTo>
                      <a:pt x="277" y="33"/>
                    </a:lnTo>
                    <a:lnTo>
                      <a:pt x="275" y="23"/>
                    </a:lnTo>
                    <a:lnTo>
                      <a:pt x="272" y="12"/>
                    </a:lnTo>
                    <a:lnTo>
                      <a:pt x="272" y="12"/>
                    </a:lnTo>
                    <a:lnTo>
                      <a:pt x="265" y="16"/>
                    </a:lnTo>
                    <a:lnTo>
                      <a:pt x="261" y="19"/>
                    </a:lnTo>
                    <a:lnTo>
                      <a:pt x="261" y="19"/>
                    </a:lnTo>
                    <a:lnTo>
                      <a:pt x="258" y="19"/>
                    </a:lnTo>
                    <a:lnTo>
                      <a:pt x="253" y="14"/>
                    </a:lnTo>
                    <a:lnTo>
                      <a:pt x="249" y="9"/>
                    </a:lnTo>
                    <a:lnTo>
                      <a:pt x="246" y="7"/>
                    </a:lnTo>
                    <a:lnTo>
                      <a:pt x="237" y="5"/>
                    </a:lnTo>
                    <a:lnTo>
                      <a:pt x="227" y="2"/>
                    </a:lnTo>
                    <a:lnTo>
                      <a:pt x="218" y="0"/>
                    </a:lnTo>
                    <a:lnTo>
                      <a:pt x="209" y="7"/>
                    </a:lnTo>
                    <a:lnTo>
                      <a:pt x="199" y="14"/>
                    </a:lnTo>
                    <a:lnTo>
                      <a:pt x="190" y="19"/>
                    </a:lnTo>
                    <a:lnTo>
                      <a:pt x="180" y="26"/>
                    </a:lnTo>
                    <a:lnTo>
                      <a:pt x="171" y="33"/>
                    </a:lnTo>
                    <a:lnTo>
                      <a:pt x="161" y="38"/>
                    </a:lnTo>
                    <a:lnTo>
                      <a:pt x="152" y="45"/>
                    </a:lnTo>
                    <a:lnTo>
                      <a:pt x="142" y="52"/>
                    </a:lnTo>
                    <a:lnTo>
                      <a:pt x="135" y="57"/>
                    </a:lnTo>
                    <a:lnTo>
                      <a:pt x="133" y="59"/>
                    </a:lnTo>
                    <a:lnTo>
                      <a:pt x="128" y="64"/>
                    </a:lnTo>
                    <a:lnTo>
                      <a:pt x="123" y="68"/>
                    </a:lnTo>
                    <a:lnTo>
                      <a:pt x="119" y="73"/>
                    </a:lnTo>
                    <a:lnTo>
                      <a:pt x="114" y="78"/>
                    </a:lnTo>
                    <a:lnTo>
                      <a:pt x="112" y="80"/>
                    </a:lnTo>
                    <a:lnTo>
                      <a:pt x="107" y="85"/>
                    </a:lnTo>
                    <a:lnTo>
                      <a:pt x="104" y="87"/>
                    </a:lnTo>
                    <a:lnTo>
                      <a:pt x="97" y="87"/>
                    </a:lnTo>
                    <a:lnTo>
                      <a:pt x="90" y="90"/>
                    </a:lnTo>
                    <a:lnTo>
                      <a:pt x="86" y="90"/>
                    </a:lnTo>
                    <a:lnTo>
                      <a:pt x="81" y="92"/>
                    </a:lnTo>
                    <a:lnTo>
                      <a:pt x="76" y="92"/>
                    </a:lnTo>
                    <a:lnTo>
                      <a:pt x="76" y="97"/>
                    </a:lnTo>
                    <a:lnTo>
                      <a:pt x="76" y="102"/>
                    </a:lnTo>
                    <a:lnTo>
                      <a:pt x="76" y="109"/>
                    </a:lnTo>
                    <a:lnTo>
                      <a:pt x="76" y="113"/>
                    </a:lnTo>
                    <a:lnTo>
                      <a:pt x="76" y="121"/>
                    </a:lnTo>
                    <a:lnTo>
                      <a:pt x="76" y="125"/>
                    </a:lnTo>
                    <a:lnTo>
                      <a:pt x="76" y="132"/>
                    </a:lnTo>
                    <a:lnTo>
                      <a:pt x="76" y="137"/>
                    </a:lnTo>
                    <a:lnTo>
                      <a:pt x="76" y="139"/>
                    </a:lnTo>
                    <a:lnTo>
                      <a:pt x="76" y="142"/>
                    </a:lnTo>
                    <a:lnTo>
                      <a:pt x="76" y="147"/>
                    </a:lnTo>
                    <a:lnTo>
                      <a:pt x="74" y="151"/>
                    </a:lnTo>
                    <a:lnTo>
                      <a:pt x="71" y="154"/>
                    </a:lnTo>
                    <a:lnTo>
                      <a:pt x="71" y="158"/>
                    </a:lnTo>
                    <a:lnTo>
                      <a:pt x="71" y="161"/>
                    </a:lnTo>
                    <a:lnTo>
                      <a:pt x="69" y="161"/>
                    </a:lnTo>
                    <a:lnTo>
                      <a:pt x="69" y="163"/>
                    </a:lnTo>
                    <a:lnTo>
                      <a:pt x="69" y="163"/>
                    </a:lnTo>
                    <a:lnTo>
                      <a:pt x="69" y="166"/>
                    </a:lnTo>
                    <a:lnTo>
                      <a:pt x="69" y="166"/>
                    </a:lnTo>
                    <a:lnTo>
                      <a:pt x="67" y="166"/>
                    </a:lnTo>
                    <a:lnTo>
                      <a:pt x="62" y="170"/>
                    </a:lnTo>
                    <a:lnTo>
                      <a:pt x="62" y="173"/>
                    </a:lnTo>
                    <a:lnTo>
                      <a:pt x="59" y="173"/>
                    </a:lnTo>
                    <a:lnTo>
                      <a:pt x="55" y="170"/>
                    </a:lnTo>
                    <a:lnTo>
                      <a:pt x="55" y="170"/>
                    </a:lnTo>
                    <a:lnTo>
                      <a:pt x="52" y="170"/>
                    </a:lnTo>
                    <a:lnTo>
                      <a:pt x="52" y="173"/>
                    </a:lnTo>
                    <a:lnTo>
                      <a:pt x="48" y="173"/>
                    </a:lnTo>
                    <a:lnTo>
                      <a:pt x="43" y="173"/>
                    </a:lnTo>
                    <a:lnTo>
                      <a:pt x="36" y="173"/>
                    </a:lnTo>
                    <a:lnTo>
                      <a:pt x="31" y="173"/>
                    </a:lnTo>
                    <a:lnTo>
                      <a:pt x="26" y="175"/>
                    </a:lnTo>
                    <a:lnTo>
                      <a:pt x="22" y="175"/>
                    </a:lnTo>
                    <a:lnTo>
                      <a:pt x="19" y="177"/>
                    </a:lnTo>
                    <a:lnTo>
                      <a:pt x="15" y="180"/>
                    </a:lnTo>
                    <a:lnTo>
                      <a:pt x="15" y="180"/>
                    </a:lnTo>
                    <a:lnTo>
                      <a:pt x="10" y="182"/>
                    </a:lnTo>
                    <a:lnTo>
                      <a:pt x="5" y="180"/>
                    </a:lnTo>
                    <a:lnTo>
                      <a:pt x="3" y="180"/>
                    </a:lnTo>
                    <a:lnTo>
                      <a:pt x="3" y="180"/>
                    </a:lnTo>
                    <a:lnTo>
                      <a:pt x="0" y="182"/>
                    </a:lnTo>
                    <a:lnTo>
                      <a:pt x="0" y="182"/>
                    </a:lnTo>
                    <a:lnTo>
                      <a:pt x="0" y="184"/>
                    </a:lnTo>
                    <a:lnTo>
                      <a:pt x="0" y="187"/>
                    </a:lnTo>
                    <a:lnTo>
                      <a:pt x="0" y="192"/>
                    </a:lnTo>
                    <a:lnTo>
                      <a:pt x="3" y="192"/>
                    </a:lnTo>
                    <a:lnTo>
                      <a:pt x="3" y="194"/>
                    </a:lnTo>
                    <a:lnTo>
                      <a:pt x="5" y="196"/>
                    </a:lnTo>
                    <a:lnTo>
                      <a:pt x="3" y="199"/>
                    </a:lnTo>
                    <a:lnTo>
                      <a:pt x="5" y="199"/>
                    </a:lnTo>
                    <a:lnTo>
                      <a:pt x="5" y="201"/>
                    </a:lnTo>
                    <a:lnTo>
                      <a:pt x="7" y="203"/>
                    </a:lnTo>
                    <a:lnTo>
                      <a:pt x="10" y="208"/>
                    </a:lnTo>
                    <a:lnTo>
                      <a:pt x="10" y="208"/>
                    </a:lnTo>
                    <a:lnTo>
                      <a:pt x="12" y="208"/>
                    </a:lnTo>
                    <a:lnTo>
                      <a:pt x="12" y="208"/>
                    </a:lnTo>
                    <a:lnTo>
                      <a:pt x="12" y="208"/>
                    </a:lnTo>
                    <a:lnTo>
                      <a:pt x="15" y="211"/>
                    </a:lnTo>
                    <a:lnTo>
                      <a:pt x="15" y="211"/>
                    </a:lnTo>
                    <a:lnTo>
                      <a:pt x="15" y="211"/>
                    </a:lnTo>
                    <a:lnTo>
                      <a:pt x="17" y="213"/>
                    </a:lnTo>
                    <a:lnTo>
                      <a:pt x="17" y="213"/>
                    </a:lnTo>
                    <a:lnTo>
                      <a:pt x="19" y="215"/>
                    </a:lnTo>
                    <a:lnTo>
                      <a:pt x="19" y="215"/>
                    </a:lnTo>
                    <a:lnTo>
                      <a:pt x="17" y="215"/>
                    </a:lnTo>
                    <a:lnTo>
                      <a:pt x="15" y="215"/>
                    </a:lnTo>
                    <a:lnTo>
                      <a:pt x="15" y="215"/>
                    </a:lnTo>
                    <a:lnTo>
                      <a:pt x="15" y="218"/>
                    </a:lnTo>
                    <a:lnTo>
                      <a:pt x="15" y="222"/>
                    </a:lnTo>
                    <a:lnTo>
                      <a:pt x="15" y="222"/>
                    </a:lnTo>
                    <a:lnTo>
                      <a:pt x="17" y="222"/>
                    </a:lnTo>
                    <a:lnTo>
                      <a:pt x="22" y="225"/>
                    </a:lnTo>
                    <a:lnTo>
                      <a:pt x="24" y="229"/>
                    </a:lnTo>
                    <a:lnTo>
                      <a:pt x="26" y="229"/>
                    </a:lnTo>
                    <a:lnTo>
                      <a:pt x="29" y="229"/>
                    </a:lnTo>
                    <a:lnTo>
                      <a:pt x="31" y="229"/>
                    </a:lnTo>
                    <a:lnTo>
                      <a:pt x="31" y="229"/>
                    </a:lnTo>
                    <a:lnTo>
                      <a:pt x="33" y="229"/>
                    </a:lnTo>
                    <a:lnTo>
                      <a:pt x="33" y="227"/>
                    </a:lnTo>
                    <a:lnTo>
                      <a:pt x="36" y="229"/>
                    </a:lnTo>
                    <a:lnTo>
                      <a:pt x="36" y="229"/>
                    </a:lnTo>
                    <a:lnTo>
                      <a:pt x="36" y="229"/>
                    </a:lnTo>
                    <a:lnTo>
                      <a:pt x="38" y="232"/>
                    </a:lnTo>
                    <a:lnTo>
                      <a:pt x="38" y="234"/>
                    </a:lnTo>
                    <a:lnTo>
                      <a:pt x="38" y="234"/>
                    </a:lnTo>
                    <a:lnTo>
                      <a:pt x="38" y="234"/>
                    </a:lnTo>
                    <a:lnTo>
                      <a:pt x="36" y="234"/>
                    </a:lnTo>
                    <a:lnTo>
                      <a:pt x="36" y="237"/>
                    </a:lnTo>
                    <a:lnTo>
                      <a:pt x="36" y="237"/>
                    </a:lnTo>
                    <a:lnTo>
                      <a:pt x="36" y="237"/>
                    </a:lnTo>
                    <a:lnTo>
                      <a:pt x="36" y="237"/>
                    </a:lnTo>
                    <a:lnTo>
                      <a:pt x="38" y="241"/>
                    </a:lnTo>
                    <a:lnTo>
                      <a:pt x="41" y="244"/>
                    </a:lnTo>
                    <a:lnTo>
                      <a:pt x="41" y="246"/>
                    </a:lnTo>
                    <a:lnTo>
                      <a:pt x="41" y="244"/>
                    </a:lnTo>
                    <a:lnTo>
                      <a:pt x="41" y="239"/>
                    </a:lnTo>
                    <a:lnTo>
                      <a:pt x="41" y="239"/>
                    </a:lnTo>
                    <a:lnTo>
                      <a:pt x="43" y="239"/>
                    </a:lnTo>
                    <a:lnTo>
                      <a:pt x="45" y="237"/>
                    </a:lnTo>
                    <a:lnTo>
                      <a:pt x="45" y="237"/>
                    </a:lnTo>
                    <a:lnTo>
                      <a:pt x="48" y="237"/>
                    </a:lnTo>
                    <a:lnTo>
                      <a:pt x="48" y="237"/>
                    </a:lnTo>
                    <a:lnTo>
                      <a:pt x="50" y="234"/>
                    </a:lnTo>
                    <a:lnTo>
                      <a:pt x="50" y="237"/>
                    </a:lnTo>
                    <a:lnTo>
                      <a:pt x="50" y="237"/>
                    </a:lnTo>
                    <a:lnTo>
                      <a:pt x="55" y="241"/>
                    </a:lnTo>
                    <a:lnTo>
                      <a:pt x="57" y="244"/>
                    </a:lnTo>
                    <a:lnTo>
                      <a:pt x="57" y="246"/>
                    </a:lnTo>
                    <a:lnTo>
                      <a:pt x="59" y="246"/>
                    </a:lnTo>
                    <a:lnTo>
                      <a:pt x="62" y="246"/>
                    </a:lnTo>
                    <a:lnTo>
                      <a:pt x="62" y="248"/>
                    </a:lnTo>
                    <a:lnTo>
                      <a:pt x="64" y="251"/>
                    </a:lnTo>
                    <a:lnTo>
                      <a:pt x="64" y="248"/>
                    </a:lnTo>
                    <a:lnTo>
                      <a:pt x="64" y="248"/>
                    </a:lnTo>
                    <a:lnTo>
                      <a:pt x="64" y="248"/>
                    </a:lnTo>
                    <a:lnTo>
                      <a:pt x="64" y="246"/>
                    </a:lnTo>
                    <a:lnTo>
                      <a:pt x="64" y="246"/>
                    </a:lnTo>
                    <a:lnTo>
                      <a:pt x="64" y="246"/>
                    </a:lnTo>
                    <a:lnTo>
                      <a:pt x="64" y="244"/>
                    </a:lnTo>
                    <a:lnTo>
                      <a:pt x="64" y="241"/>
                    </a:lnTo>
                    <a:lnTo>
                      <a:pt x="64" y="239"/>
                    </a:lnTo>
                    <a:lnTo>
                      <a:pt x="64" y="234"/>
                    </a:lnTo>
                    <a:lnTo>
                      <a:pt x="64" y="232"/>
                    </a:lnTo>
                    <a:lnTo>
                      <a:pt x="67" y="229"/>
                    </a:lnTo>
                    <a:lnTo>
                      <a:pt x="69" y="227"/>
                    </a:lnTo>
                    <a:lnTo>
                      <a:pt x="71" y="225"/>
                    </a:lnTo>
                    <a:lnTo>
                      <a:pt x="74" y="220"/>
                    </a:lnTo>
                    <a:lnTo>
                      <a:pt x="74" y="213"/>
                    </a:lnTo>
                    <a:lnTo>
                      <a:pt x="74" y="213"/>
                    </a:lnTo>
                    <a:lnTo>
                      <a:pt x="76" y="211"/>
                    </a:lnTo>
                    <a:lnTo>
                      <a:pt x="78" y="208"/>
                    </a:lnTo>
                    <a:lnTo>
                      <a:pt x="81" y="208"/>
                    </a:lnTo>
                    <a:lnTo>
                      <a:pt x="83" y="206"/>
                    </a:lnTo>
                    <a:lnTo>
                      <a:pt x="86" y="206"/>
                    </a:lnTo>
                    <a:lnTo>
                      <a:pt x="88" y="206"/>
                    </a:lnTo>
                    <a:lnTo>
                      <a:pt x="93" y="206"/>
                    </a:lnTo>
                    <a:lnTo>
                      <a:pt x="95" y="206"/>
                    </a:lnTo>
                    <a:lnTo>
                      <a:pt x="97" y="203"/>
                    </a:lnTo>
                    <a:lnTo>
                      <a:pt x="97" y="203"/>
                    </a:lnTo>
                    <a:lnTo>
                      <a:pt x="100" y="203"/>
                    </a:lnTo>
                    <a:lnTo>
                      <a:pt x="104" y="206"/>
                    </a:lnTo>
                    <a:lnTo>
                      <a:pt x="112" y="208"/>
                    </a:lnTo>
                    <a:lnTo>
                      <a:pt x="114" y="208"/>
                    </a:lnTo>
                    <a:lnTo>
                      <a:pt x="114" y="208"/>
                    </a:lnTo>
                    <a:lnTo>
                      <a:pt x="116" y="211"/>
                    </a:lnTo>
                    <a:lnTo>
                      <a:pt x="119" y="213"/>
                    </a:lnTo>
                    <a:lnTo>
                      <a:pt x="119" y="213"/>
                    </a:lnTo>
                    <a:lnTo>
                      <a:pt x="119" y="215"/>
                    </a:lnTo>
                    <a:lnTo>
                      <a:pt x="123" y="220"/>
                    </a:lnTo>
                    <a:lnTo>
                      <a:pt x="123" y="222"/>
                    </a:lnTo>
                    <a:lnTo>
                      <a:pt x="126" y="222"/>
                    </a:lnTo>
                    <a:lnTo>
                      <a:pt x="126" y="222"/>
                    </a:lnTo>
                    <a:lnTo>
                      <a:pt x="128" y="222"/>
                    </a:lnTo>
                    <a:lnTo>
                      <a:pt x="128" y="222"/>
                    </a:lnTo>
                    <a:lnTo>
                      <a:pt x="130" y="220"/>
                    </a:lnTo>
                    <a:lnTo>
                      <a:pt x="133" y="220"/>
                    </a:lnTo>
                    <a:lnTo>
                      <a:pt x="133" y="220"/>
                    </a:lnTo>
                    <a:lnTo>
                      <a:pt x="142" y="215"/>
                    </a:lnTo>
                    <a:lnTo>
                      <a:pt x="142" y="215"/>
                    </a:lnTo>
                    <a:lnTo>
                      <a:pt x="145" y="215"/>
                    </a:lnTo>
                    <a:lnTo>
                      <a:pt x="147" y="215"/>
                    </a:lnTo>
                    <a:lnTo>
                      <a:pt x="154" y="220"/>
                    </a:lnTo>
                    <a:lnTo>
                      <a:pt x="159" y="225"/>
                    </a:lnTo>
                    <a:lnTo>
                      <a:pt x="164" y="225"/>
                    </a:lnTo>
                    <a:lnTo>
                      <a:pt x="168" y="227"/>
                    </a:lnTo>
                    <a:lnTo>
                      <a:pt x="175" y="227"/>
                    </a:lnTo>
                    <a:lnTo>
                      <a:pt x="180" y="220"/>
                    </a:lnTo>
                    <a:lnTo>
                      <a:pt x="183" y="218"/>
                    </a:lnTo>
                    <a:lnTo>
                      <a:pt x="185" y="218"/>
                    </a:lnTo>
                    <a:lnTo>
                      <a:pt x="187" y="215"/>
                    </a:lnTo>
                    <a:lnTo>
                      <a:pt x="192" y="215"/>
                    </a:lnTo>
                    <a:lnTo>
                      <a:pt x="199" y="215"/>
                    </a:lnTo>
                    <a:lnTo>
                      <a:pt x="209" y="215"/>
                    </a:lnTo>
                    <a:lnTo>
                      <a:pt x="211" y="215"/>
                    </a:lnTo>
                    <a:lnTo>
                      <a:pt x="213" y="215"/>
                    </a:lnTo>
                    <a:lnTo>
                      <a:pt x="218" y="218"/>
                    </a:lnTo>
                    <a:lnTo>
                      <a:pt x="220" y="220"/>
                    </a:lnTo>
                    <a:lnTo>
                      <a:pt x="225" y="220"/>
                    </a:lnTo>
                    <a:lnTo>
                      <a:pt x="227" y="220"/>
                    </a:lnTo>
                    <a:lnTo>
                      <a:pt x="230" y="218"/>
                    </a:lnTo>
                    <a:lnTo>
                      <a:pt x="232" y="215"/>
                    </a:lnTo>
                    <a:lnTo>
                      <a:pt x="232" y="215"/>
                    </a:lnTo>
                    <a:lnTo>
                      <a:pt x="235" y="213"/>
                    </a:lnTo>
                    <a:lnTo>
                      <a:pt x="239" y="211"/>
                    </a:lnTo>
                    <a:lnTo>
                      <a:pt x="242" y="211"/>
                    </a:lnTo>
                    <a:lnTo>
                      <a:pt x="244" y="208"/>
                    </a:lnTo>
                    <a:lnTo>
                      <a:pt x="246" y="208"/>
                    </a:lnTo>
                    <a:lnTo>
                      <a:pt x="249" y="208"/>
                    </a:lnTo>
                    <a:lnTo>
                      <a:pt x="246" y="199"/>
                    </a:lnTo>
                    <a:lnTo>
                      <a:pt x="246" y="194"/>
                    </a:lnTo>
                    <a:lnTo>
                      <a:pt x="246" y="192"/>
                    </a:lnTo>
                    <a:lnTo>
                      <a:pt x="249" y="187"/>
                    </a:lnTo>
                    <a:lnTo>
                      <a:pt x="253" y="180"/>
                    </a:lnTo>
                    <a:lnTo>
                      <a:pt x="261" y="170"/>
                    </a:lnTo>
                    <a:lnTo>
                      <a:pt x="263" y="163"/>
                    </a:lnTo>
                    <a:lnTo>
                      <a:pt x="270" y="156"/>
                    </a:lnTo>
                    <a:lnTo>
                      <a:pt x="279" y="147"/>
                    </a:lnTo>
                    <a:lnTo>
                      <a:pt x="284" y="139"/>
                    </a:lnTo>
                    <a:lnTo>
                      <a:pt x="284" y="130"/>
                    </a:lnTo>
                    <a:lnTo>
                      <a:pt x="284" y="118"/>
                    </a:lnTo>
                    <a:lnTo>
                      <a:pt x="284" y="109"/>
                    </a:lnTo>
                    <a:lnTo>
                      <a:pt x="287" y="99"/>
                    </a:lnTo>
                    <a:lnTo>
                      <a:pt x="287" y="92"/>
                    </a:lnTo>
                    <a:lnTo>
                      <a:pt x="287" y="85"/>
                    </a:lnTo>
                    <a:lnTo>
                      <a:pt x="287" y="76"/>
                    </a:lnTo>
                    <a:lnTo>
                      <a:pt x="289" y="76"/>
                    </a:lnTo>
                    <a:lnTo>
                      <a:pt x="291" y="68"/>
                    </a:lnTo>
                    <a:lnTo>
                      <a:pt x="291" y="66"/>
                    </a:lnTo>
                    <a:lnTo>
                      <a:pt x="291" y="66"/>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82"/>
              <p:cNvSpPr>
                <a:spLocks/>
              </p:cNvSpPr>
              <p:nvPr/>
            </p:nvSpPr>
            <p:spPr bwMode="auto">
              <a:xfrm>
                <a:off x="1126" y="2483"/>
                <a:ext cx="87" cy="90"/>
              </a:xfrm>
              <a:custGeom>
                <a:avLst/>
                <a:gdLst>
                  <a:gd name="T0" fmla="*/ 80 w 87"/>
                  <a:gd name="T1" fmla="*/ 2 h 90"/>
                  <a:gd name="T2" fmla="*/ 78 w 87"/>
                  <a:gd name="T3" fmla="*/ 2 h 90"/>
                  <a:gd name="T4" fmla="*/ 71 w 87"/>
                  <a:gd name="T5" fmla="*/ 4 h 90"/>
                  <a:gd name="T6" fmla="*/ 71 w 87"/>
                  <a:gd name="T7" fmla="*/ 7 h 90"/>
                  <a:gd name="T8" fmla="*/ 68 w 87"/>
                  <a:gd name="T9" fmla="*/ 4 h 90"/>
                  <a:gd name="T10" fmla="*/ 66 w 87"/>
                  <a:gd name="T11" fmla="*/ 7 h 90"/>
                  <a:gd name="T12" fmla="*/ 64 w 87"/>
                  <a:gd name="T13" fmla="*/ 7 h 90"/>
                  <a:gd name="T14" fmla="*/ 59 w 87"/>
                  <a:gd name="T15" fmla="*/ 7 h 90"/>
                  <a:gd name="T16" fmla="*/ 54 w 87"/>
                  <a:gd name="T17" fmla="*/ 4 h 90"/>
                  <a:gd name="T18" fmla="*/ 52 w 87"/>
                  <a:gd name="T19" fmla="*/ 9 h 90"/>
                  <a:gd name="T20" fmla="*/ 50 w 87"/>
                  <a:gd name="T21" fmla="*/ 9 h 90"/>
                  <a:gd name="T22" fmla="*/ 50 w 87"/>
                  <a:gd name="T23" fmla="*/ 14 h 90"/>
                  <a:gd name="T24" fmla="*/ 45 w 87"/>
                  <a:gd name="T25" fmla="*/ 16 h 90"/>
                  <a:gd name="T26" fmla="*/ 40 w 87"/>
                  <a:gd name="T27" fmla="*/ 21 h 90"/>
                  <a:gd name="T28" fmla="*/ 38 w 87"/>
                  <a:gd name="T29" fmla="*/ 23 h 90"/>
                  <a:gd name="T30" fmla="*/ 33 w 87"/>
                  <a:gd name="T31" fmla="*/ 21 h 90"/>
                  <a:gd name="T32" fmla="*/ 31 w 87"/>
                  <a:gd name="T33" fmla="*/ 21 h 90"/>
                  <a:gd name="T34" fmla="*/ 26 w 87"/>
                  <a:gd name="T35" fmla="*/ 26 h 90"/>
                  <a:gd name="T36" fmla="*/ 19 w 87"/>
                  <a:gd name="T37" fmla="*/ 26 h 90"/>
                  <a:gd name="T38" fmla="*/ 19 w 87"/>
                  <a:gd name="T39" fmla="*/ 33 h 90"/>
                  <a:gd name="T40" fmla="*/ 16 w 87"/>
                  <a:gd name="T41" fmla="*/ 35 h 90"/>
                  <a:gd name="T42" fmla="*/ 14 w 87"/>
                  <a:gd name="T43" fmla="*/ 38 h 90"/>
                  <a:gd name="T44" fmla="*/ 12 w 87"/>
                  <a:gd name="T45" fmla="*/ 42 h 90"/>
                  <a:gd name="T46" fmla="*/ 7 w 87"/>
                  <a:gd name="T47" fmla="*/ 42 h 90"/>
                  <a:gd name="T48" fmla="*/ 5 w 87"/>
                  <a:gd name="T49" fmla="*/ 42 h 90"/>
                  <a:gd name="T50" fmla="*/ 0 w 87"/>
                  <a:gd name="T51" fmla="*/ 42 h 90"/>
                  <a:gd name="T52" fmla="*/ 9 w 87"/>
                  <a:gd name="T53" fmla="*/ 52 h 90"/>
                  <a:gd name="T54" fmla="*/ 16 w 87"/>
                  <a:gd name="T55" fmla="*/ 59 h 90"/>
                  <a:gd name="T56" fmla="*/ 28 w 87"/>
                  <a:gd name="T57" fmla="*/ 78 h 90"/>
                  <a:gd name="T58" fmla="*/ 33 w 87"/>
                  <a:gd name="T59" fmla="*/ 83 h 90"/>
                  <a:gd name="T60" fmla="*/ 33 w 87"/>
                  <a:gd name="T61" fmla="*/ 83 h 90"/>
                  <a:gd name="T62" fmla="*/ 35 w 87"/>
                  <a:gd name="T63" fmla="*/ 80 h 90"/>
                  <a:gd name="T64" fmla="*/ 42 w 87"/>
                  <a:gd name="T65" fmla="*/ 83 h 90"/>
                  <a:gd name="T66" fmla="*/ 52 w 87"/>
                  <a:gd name="T67" fmla="*/ 83 h 90"/>
                  <a:gd name="T68" fmla="*/ 57 w 87"/>
                  <a:gd name="T69" fmla="*/ 85 h 90"/>
                  <a:gd name="T70" fmla="*/ 61 w 87"/>
                  <a:gd name="T71" fmla="*/ 87 h 90"/>
                  <a:gd name="T72" fmla="*/ 61 w 87"/>
                  <a:gd name="T73" fmla="*/ 90 h 90"/>
                  <a:gd name="T74" fmla="*/ 68 w 87"/>
                  <a:gd name="T75" fmla="*/ 90 h 90"/>
                  <a:gd name="T76" fmla="*/ 71 w 87"/>
                  <a:gd name="T77" fmla="*/ 85 h 90"/>
                  <a:gd name="T78" fmla="*/ 68 w 87"/>
                  <a:gd name="T79" fmla="*/ 78 h 90"/>
                  <a:gd name="T80" fmla="*/ 68 w 87"/>
                  <a:gd name="T81" fmla="*/ 73 h 90"/>
                  <a:gd name="T82" fmla="*/ 73 w 87"/>
                  <a:gd name="T83" fmla="*/ 68 h 90"/>
                  <a:gd name="T84" fmla="*/ 71 w 87"/>
                  <a:gd name="T85" fmla="*/ 66 h 90"/>
                  <a:gd name="T86" fmla="*/ 71 w 87"/>
                  <a:gd name="T87" fmla="*/ 66 h 90"/>
                  <a:gd name="T88" fmla="*/ 71 w 87"/>
                  <a:gd name="T89" fmla="*/ 61 h 90"/>
                  <a:gd name="T90" fmla="*/ 73 w 87"/>
                  <a:gd name="T91" fmla="*/ 59 h 90"/>
                  <a:gd name="T92" fmla="*/ 73 w 87"/>
                  <a:gd name="T93" fmla="*/ 54 h 90"/>
                  <a:gd name="T94" fmla="*/ 73 w 87"/>
                  <a:gd name="T95" fmla="*/ 52 h 90"/>
                  <a:gd name="T96" fmla="*/ 76 w 87"/>
                  <a:gd name="T97" fmla="*/ 49 h 90"/>
                  <a:gd name="T98" fmla="*/ 73 w 87"/>
                  <a:gd name="T99" fmla="*/ 54 h 90"/>
                  <a:gd name="T100" fmla="*/ 76 w 87"/>
                  <a:gd name="T101" fmla="*/ 54 h 90"/>
                  <a:gd name="T102" fmla="*/ 78 w 87"/>
                  <a:gd name="T103" fmla="*/ 42 h 90"/>
                  <a:gd name="T104" fmla="*/ 80 w 87"/>
                  <a:gd name="T105" fmla="*/ 21 h 90"/>
                  <a:gd name="T106" fmla="*/ 85 w 87"/>
                  <a:gd name="T107" fmla="*/ 16 h 90"/>
                  <a:gd name="T108" fmla="*/ 85 w 87"/>
                  <a:gd name="T109" fmla="*/ 4 h 90"/>
                  <a:gd name="T110" fmla="*/ 83 w 87"/>
                  <a:gd name="T111" fmla="*/ 2 h 90"/>
                  <a:gd name="T112" fmla="*/ 85 w 87"/>
                  <a:gd name="T113" fmla="*/ 4 h 90"/>
                  <a:gd name="T114" fmla="*/ 87 w 87"/>
                  <a:gd name="T115"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7" h="90">
                    <a:moveTo>
                      <a:pt x="83" y="0"/>
                    </a:moveTo>
                    <a:lnTo>
                      <a:pt x="80" y="0"/>
                    </a:lnTo>
                    <a:lnTo>
                      <a:pt x="80" y="2"/>
                    </a:lnTo>
                    <a:lnTo>
                      <a:pt x="78" y="2"/>
                    </a:lnTo>
                    <a:lnTo>
                      <a:pt x="78" y="2"/>
                    </a:lnTo>
                    <a:lnTo>
                      <a:pt x="78" y="2"/>
                    </a:lnTo>
                    <a:lnTo>
                      <a:pt x="76" y="4"/>
                    </a:lnTo>
                    <a:lnTo>
                      <a:pt x="73" y="4"/>
                    </a:lnTo>
                    <a:lnTo>
                      <a:pt x="71" y="4"/>
                    </a:lnTo>
                    <a:lnTo>
                      <a:pt x="71" y="4"/>
                    </a:lnTo>
                    <a:lnTo>
                      <a:pt x="71" y="4"/>
                    </a:lnTo>
                    <a:lnTo>
                      <a:pt x="71" y="7"/>
                    </a:lnTo>
                    <a:lnTo>
                      <a:pt x="68" y="7"/>
                    </a:lnTo>
                    <a:lnTo>
                      <a:pt x="68" y="7"/>
                    </a:lnTo>
                    <a:lnTo>
                      <a:pt x="68" y="4"/>
                    </a:lnTo>
                    <a:lnTo>
                      <a:pt x="66" y="4"/>
                    </a:lnTo>
                    <a:lnTo>
                      <a:pt x="66" y="7"/>
                    </a:lnTo>
                    <a:lnTo>
                      <a:pt x="66" y="7"/>
                    </a:lnTo>
                    <a:lnTo>
                      <a:pt x="66" y="7"/>
                    </a:lnTo>
                    <a:lnTo>
                      <a:pt x="64" y="7"/>
                    </a:lnTo>
                    <a:lnTo>
                      <a:pt x="64" y="7"/>
                    </a:lnTo>
                    <a:lnTo>
                      <a:pt x="61" y="7"/>
                    </a:lnTo>
                    <a:lnTo>
                      <a:pt x="59" y="7"/>
                    </a:lnTo>
                    <a:lnTo>
                      <a:pt x="59" y="7"/>
                    </a:lnTo>
                    <a:lnTo>
                      <a:pt x="57" y="4"/>
                    </a:lnTo>
                    <a:lnTo>
                      <a:pt x="57" y="4"/>
                    </a:lnTo>
                    <a:lnTo>
                      <a:pt x="54" y="4"/>
                    </a:lnTo>
                    <a:lnTo>
                      <a:pt x="52" y="7"/>
                    </a:lnTo>
                    <a:lnTo>
                      <a:pt x="52" y="7"/>
                    </a:lnTo>
                    <a:lnTo>
                      <a:pt x="52" y="9"/>
                    </a:lnTo>
                    <a:lnTo>
                      <a:pt x="52" y="9"/>
                    </a:lnTo>
                    <a:lnTo>
                      <a:pt x="52" y="9"/>
                    </a:lnTo>
                    <a:lnTo>
                      <a:pt x="50" y="9"/>
                    </a:lnTo>
                    <a:lnTo>
                      <a:pt x="50" y="12"/>
                    </a:lnTo>
                    <a:lnTo>
                      <a:pt x="50" y="14"/>
                    </a:lnTo>
                    <a:lnTo>
                      <a:pt x="50" y="14"/>
                    </a:lnTo>
                    <a:lnTo>
                      <a:pt x="50" y="14"/>
                    </a:lnTo>
                    <a:lnTo>
                      <a:pt x="47" y="14"/>
                    </a:lnTo>
                    <a:lnTo>
                      <a:pt x="45" y="16"/>
                    </a:lnTo>
                    <a:lnTo>
                      <a:pt x="42" y="19"/>
                    </a:lnTo>
                    <a:lnTo>
                      <a:pt x="40" y="21"/>
                    </a:lnTo>
                    <a:lnTo>
                      <a:pt x="40" y="21"/>
                    </a:lnTo>
                    <a:lnTo>
                      <a:pt x="38" y="23"/>
                    </a:lnTo>
                    <a:lnTo>
                      <a:pt x="38" y="23"/>
                    </a:lnTo>
                    <a:lnTo>
                      <a:pt x="38" y="23"/>
                    </a:lnTo>
                    <a:lnTo>
                      <a:pt x="38" y="23"/>
                    </a:lnTo>
                    <a:lnTo>
                      <a:pt x="38" y="23"/>
                    </a:lnTo>
                    <a:lnTo>
                      <a:pt x="33" y="21"/>
                    </a:lnTo>
                    <a:lnTo>
                      <a:pt x="33" y="21"/>
                    </a:lnTo>
                    <a:lnTo>
                      <a:pt x="31" y="21"/>
                    </a:lnTo>
                    <a:lnTo>
                      <a:pt x="31" y="21"/>
                    </a:lnTo>
                    <a:lnTo>
                      <a:pt x="28" y="23"/>
                    </a:lnTo>
                    <a:lnTo>
                      <a:pt x="26" y="26"/>
                    </a:lnTo>
                    <a:lnTo>
                      <a:pt x="26" y="26"/>
                    </a:lnTo>
                    <a:lnTo>
                      <a:pt x="21" y="26"/>
                    </a:lnTo>
                    <a:lnTo>
                      <a:pt x="19" y="26"/>
                    </a:lnTo>
                    <a:lnTo>
                      <a:pt x="19" y="26"/>
                    </a:lnTo>
                    <a:lnTo>
                      <a:pt x="19" y="28"/>
                    </a:lnTo>
                    <a:lnTo>
                      <a:pt x="19" y="28"/>
                    </a:lnTo>
                    <a:lnTo>
                      <a:pt x="19" y="33"/>
                    </a:lnTo>
                    <a:lnTo>
                      <a:pt x="19" y="35"/>
                    </a:lnTo>
                    <a:lnTo>
                      <a:pt x="19" y="35"/>
                    </a:lnTo>
                    <a:lnTo>
                      <a:pt x="16" y="35"/>
                    </a:lnTo>
                    <a:lnTo>
                      <a:pt x="16" y="38"/>
                    </a:lnTo>
                    <a:lnTo>
                      <a:pt x="14" y="38"/>
                    </a:lnTo>
                    <a:lnTo>
                      <a:pt x="14" y="38"/>
                    </a:lnTo>
                    <a:lnTo>
                      <a:pt x="14" y="40"/>
                    </a:lnTo>
                    <a:lnTo>
                      <a:pt x="14" y="40"/>
                    </a:lnTo>
                    <a:lnTo>
                      <a:pt x="12" y="42"/>
                    </a:lnTo>
                    <a:lnTo>
                      <a:pt x="12" y="42"/>
                    </a:lnTo>
                    <a:lnTo>
                      <a:pt x="7" y="42"/>
                    </a:lnTo>
                    <a:lnTo>
                      <a:pt x="7" y="42"/>
                    </a:lnTo>
                    <a:lnTo>
                      <a:pt x="5" y="45"/>
                    </a:lnTo>
                    <a:lnTo>
                      <a:pt x="5" y="45"/>
                    </a:lnTo>
                    <a:lnTo>
                      <a:pt x="5" y="42"/>
                    </a:lnTo>
                    <a:lnTo>
                      <a:pt x="2" y="42"/>
                    </a:lnTo>
                    <a:lnTo>
                      <a:pt x="2" y="42"/>
                    </a:lnTo>
                    <a:lnTo>
                      <a:pt x="0" y="42"/>
                    </a:lnTo>
                    <a:lnTo>
                      <a:pt x="0" y="45"/>
                    </a:lnTo>
                    <a:lnTo>
                      <a:pt x="5" y="47"/>
                    </a:lnTo>
                    <a:lnTo>
                      <a:pt x="9" y="52"/>
                    </a:lnTo>
                    <a:lnTo>
                      <a:pt x="9" y="54"/>
                    </a:lnTo>
                    <a:lnTo>
                      <a:pt x="14" y="59"/>
                    </a:lnTo>
                    <a:lnTo>
                      <a:pt x="16" y="59"/>
                    </a:lnTo>
                    <a:lnTo>
                      <a:pt x="16" y="64"/>
                    </a:lnTo>
                    <a:lnTo>
                      <a:pt x="21" y="68"/>
                    </a:lnTo>
                    <a:lnTo>
                      <a:pt x="28" y="78"/>
                    </a:lnTo>
                    <a:lnTo>
                      <a:pt x="31" y="80"/>
                    </a:lnTo>
                    <a:lnTo>
                      <a:pt x="33" y="83"/>
                    </a:lnTo>
                    <a:lnTo>
                      <a:pt x="33" y="83"/>
                    </a:lnTo>
                    <a:lnTo>
                      <a:pt x="33" y="83"/>
                    </a:lnTo>
                    <a:lnTo>
                      <a:pt x="33" y="83"/>
                    </a:lnTo>
                    <a:lnTo>
                      <a:pt x="33" y="83"/>
                    </a:lnTo>
                    <a:lnTo>
                      <a:pt x="35" y="80"/>
                    </a:lnTo>
                    <a:lnTo>
                      <a:pt x="35" y="80"/>
                    </a:lnTo>
                    <a:lnTo>
                      <a:pt x="35" y="80"/>
                    </a:lnTo>
                    <a:lnTo>
                      <a:pt x="35" y="80"/>
                    </a:lnTo>
                    <a:lnTo>
                      <a:pt x="40" y="83"/>
                    </a:lnTo>
                    <a:lnTo>
                      <a:pt x="42" y="83"/>
                    </a:lnTo>
                    <a:lnTo>
                      <a:pt x="47" y="85"/>
                    </a:lnTo>
                    <a:lnTo>
                      <a:pt x="50" y="85"/>
                    </a:lnTo>
                    <a:lnTo>
                      <a:pt x="52" y="83"/>
                    </a:lnTo>
                    <a:lnTo>
                      <a:pt x="52" y="83"/>
                    </a:lnTo>
                    <a:lnTo>
                      <a:pt x="57" y="85"/>
                    </a:lnTo>
                    <a:lnTo>
                      <a:pt x="57" y="85"/>
                    </a:lnTo>
                    <a:lnTo>
                      <a:pt x="59" y="85"/>
                    </a:lnTo>
                    <a:lnTo>
                      <a:pt x="59" y="87"/>
                    </a:lnTo>
                    <a:lnTo>
                      <a:pt x="61" y="87"/>
                    </a:lnTo>
                    <a:lnTo>
                      <a:pt x="61" y="90"/>
                    </a:lnTo>
                    <a:lnTo>
                      <a:pt x="61" y="90"/>
                    </a:lnTo>
                    <a:lnTo>
                      <a:pt x="61" y="90"/>
                    </a:lnTo>
                    <a:lnTo>
                      <a:pt x="66" y="90"/>
                    </a:lnTo>
                    <a:lnTo>
                      <a:pt x="68" y="90"/>
                    </a:lnTo>
                    <a:lnTo>
                      <a:pt x="68" y="90"/>
                    </a:lnTo>
                    <a:lnTo>
                      <a:pt x="71" y="87"/>
                    </a:lnTo>
                    <a:lnTo>
                      <a:pt x="71" y="87"/>
                    </a:lnTo>
                    <a:lnTo>
                      <a:pt x="71" y="85"/>
                    </a:lnTo>
                    <a:lnTo>
                      <a:pt x="68" y="85"/>
                    </a:lnTo>
                    <a:lnTo>
                      <a:pt x="68" y="83"/>
                    </a:lnTo>
                    <a:lnTo>
                      <a:pt x="68" y="78"/>
                    </a:lnTo>
                    <a:lnTo>
                      <a:pt x="68" y="78"/>
                    </a:lnTo>
                    <a:lnTo>
                      <a:pt x="68" y="76"/>
                    </a:lnTo>
                    <a:lnTo>
                      <a:pt x="68" y="73"/>
                    </a:lnTo>
                    <a:lnTo>
                      <a:pt x="71" y="73"/>
                    </a:lnTo>
                    <a:lnTo>
                      <a:pt x="73" y="71"/>
                    </a:lnTo>
                    <a:lnTo>
                      <a:pt x="73" y="68"/>
                    </a:lnTo>
                    <a:lnTo>
                      <a:pt x="71" y="66"/>
                    </a:lnTo>
                    <a:lnTo>
                      <a:pt x="71" y="66"/>
                    </a:lnTo>
                    <a:lnTo>
                      <a:pt x="71" y="66"/>
                    </a:lnTo>
                    <a:lnTo>
                      <a:pt x="68" y="66"/>
                    </a:lnTo>
                    <a:lnTo>
                      <a:pt x="68" y="66"/>
                    </a:lnTo>
                    <a:lnTo>
                      <a:pt x="71" y="66"/>
                    </a:lnTo>
                    <a:lnTo>
                      <a:pt x="71" y="64"/>
                    </a:lnTo>
                    <a:lnTo>
                      <a:pt x="71" y="61"/>
                    </a:lnTo>
                    <a:lnTo>
                      <a:pt x="71" y="61"/>
                    </a:lnTo>
                    <a:lnTo>
                      <a:pt x="71" y="64"/>
                    </a:lnTo>
                    <a:lnTo>
                      <a:pt x="73" y="64"/>
                    </a:lnTo>
                    <a:lnTo>
                      <a:pt x="73" y="59"/>
                    </a:lnTo>
                    <a:lnTo>
                      <a:pt x="73" y="57"/>
                    </a:lnTo>
                    <a:lnTo>
                      <a:pt x="73" y="57"/>
                    </a:lnTo>
                    <a:lnTo>
                      <a:pt x="73" y="54"/>
                    </a:lnTo>
                    <a:lnTo>
                      <a:pt x="71" y="52"/>
                    </a:lnTo>
                    <a:lnTo>
                      <a:pt x="73" y="52"/>
                    </a:lnTo>
                    <a:lnTo>
                      <a:pt x="73" y="52"/>
                    </a:lnTo>
                    <a:lnTo>
                      <a:pt x="76" y="49"/>
                    </a:lnTo>
                    <a:lnTo>
                      <a:pt x="76" y="49"/>
                    </a:lnTo>
                    <a:lnTo>
                      <a:pt x="76" y="49"/>
                    </a:lnTo>
                    <a:lnTo>
                      <a:pt x="76" y="52"/>
                    </a:lnTo>
                    <a:lnTo>
                      <a:pt x="73" y="52"/>
                    </a:lnTo>
                    <a:lnTo>
                      <a:pt x="73" y="54"/>
                    </a:lnTo>
                    <a:lnTo>
                      <a:pt x="76" y="54"/>
                    </a:lnTo>
                    <a:lnTo>
                      <a:pt x="76" y="54"/>
                    </a:lnTo>
                    <a:lnTo>
                      <a:pt x="76" y="54"/>
                    </a:lnTo>
                    <a:lnTo>
                      <a:pt x="76" y="52"/>
                    </a:lnTo>
                    <a:lnTo>
                      <a:pt x="76" y="52"/>
                    </a:lnTo>
                    <a:lnTo>
                      <a:pt x="78" y="42"/>
                    </a:lnTo>
                    <a:lnTo>
                      <a:pt x="78" y="35"/>
                    </a:lnTo>
                    <a:lnTo>
                      <a:pt x="80" y="26"/>
                    </a:lnTo>
                    <a:lnTo>
                      <a:pt x="80" y="21"/>
                    </a:lnTo>
                    <a:lnTo>
                      <a:pt x="83" y="21"/>
                    </a:lnTo>
                    <a:lnTo>
                      <a:pt x="85" y="19"/>
                    </a:lnTo>
                    <a:lnTo>
                      <a:pt x="85" y="16"/>
                    </a:lnTo>
                    <a:lnTo>
                      <a:pt x="85" y="14"/>
                    </a:lnTo>
                    <a:lnTo>
                      <a:pt x="85" y="4"/>
                    </a:lnTo>
                    <a:lnTo>
                      <a:pt x="85" y="4"/>
                    </a:lnTo>
                    <a:lnTo>
                      <a:pt x="83" y="4"/>
                    </a:lnTo>
                    <a:lnTo>
                      <a:pt x="83" y="4"/>
                    </a:lnTo>
                    <a:lnTo>
                      <a:pt x="83" y="2"/>
                    </a:lnTo>
                    <a:lnTo>
                      <a:pt x="85" y="2"/>
                    </a:lnTo>
                    <a:lnTo>
                      <a:pt x="85" y="2"/>
                    </a:lnTo>
                    <a:lnTo>
                      <a:pt x="85" y="4"/>
                    </a:lnTo>
                    <a:lnTo>
                      <a:pt x="85" y="4"/>
                    </a:lnTo>
                    <a:lnTo>
                      <a:pt x="87" y="2"/>
                    </a:lnTo>
                    <a:lnTo>
                      <a:pt x="87" y="0"/>
                    </a:lnTo>
                    <a:lnTo>
                      <a:pt x="87" y="0"/>
                    </a:lnTo>
                    <a:lnTo>
                      <a:pt x="83" y="0"/>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83"/>
              <p:cNvSpPr>
                <a:spLocks noEditPoints="1"/>
              </p:cNvSpPr>
              <p:nvPr/>
            </p:nvSpPr>
            <p:spPr bwMode="auto">
              <a:xfrm>
                <a:off x="2831" y="1673"/>
                <a:ext cx="62" cy="59"/>
              </a:xfrm>
              <a:custGeom>
                <a:avLst/>
                <a:gdLst>
                  <a:gd name="T0" fmla="*/ 34 w 62"/>
                  <a:gd name="T1" fmla="*/ 5 h 59"/>
                  <a:gd name="T2" fmla="*/ 41 w 62"/>
                  <a:gd name="T3" fmla="*/ 5 h 59"/>
                  <a:gd name="T4" fmla="*/ 38 w 62"/>
                  <a:gd name="T5" fmla="*/ 5 h 59"/>
                  <a:gd name="T6" fmla="*/ 50 w 62"/>
                  <a:gd name="T7" fmla="*/ 2 h 59"/>
                  <a:gd name="T8" fmla="*/ 48 w 62"/>
                  <a:gd name="T9" fmla="*/ 5 h 59"/>
                  <a:gd name="T10" fmla="*/ 55 w 62"/>
                  <a:gd name="T11" fmla="*/ 0 h 59"/>
                  <a:gd name="T12" fmla="*/ 10 w 62"/>
                  <a:gd name="T13" fmla="*/ 45 h 59"/>
                  <a:gd name="T14" fmla="*/ 0 w 62"/>
                  <a:gd name="T15" fmla="*/ 45 h 59"/>
                  <a:gd name="T16" fmla="*/ 0 w 62"/>
                  <a:gd name="T17" fmla="*/ 50 h 59"/>
                  <a:gd name="T18" fmla="*/ 5 w 62"/>
                  <a:gd name="T19" fmla="*/ 47 h 59"/>
                  <a:gd name="T20" fmla="*/ 10 w 62"/>
                  <a:gd name="T21" fmla="*/ 50 h 59"/>
                  <a:gd name="T22" fmla="*/ 15 w 62"/>
                  <a:gd name="T23" fmla="*/ 45 h 59"/>
                  <a:gd name="T24" fmla="*/ 29 w 62"/>
                  <a:gd name="T25" fmla="*/ 7 h 59"/>
                  <a:gd name="T26" fmla="*/ 60 w 62"/>
                  <a:gd name="T27" fmla="*/ 7 h 59"/>
                  <a:gd name="T28" fmla="*/ 52 w 62"/>
                  <a:gd name="T29" fmla="*/ 5 h 59"/>
                  <a:gd name="T30" fmla="*/ 36 w 62"/>
                  <a:gd name="T31" fmla="*/ 7 h 59"/>
                  <a:gd name="T32" fmla="*/ 26 w 62"/>
                  <a:gd name="T33" fmla="*/ 14 h 59"/>
                  <a:gd name="T34" fmla="*/ 22 w 62"/>
                  <a:gd name="T35" fmla="*/ 17 h 59"/>
                  <a:gd name="T36" fmla="*/ 15 w 62"/>
                  <a:gd name="T37" fmla="*/ 33 h 59"/>
                  <a:gd name="T38" fmla="*/ 10 w 62"/>
                  <a:gd name="T39" fmla="*/ 35 h 59"/>
                  <a:gd name="T40" fmla="*/ 15 w 62"/>
                  <a:gd name="T41" fmla="*/ 40 h 59"/>
                  <a:gd name="T42" fmla="*/ 15 w 62"/>
                  <a:gd name="T43" fmla="*/ 43 h 59"/>
                  <a:gd name="T44" fmla="*/ 10 w 62"/>
                  <a:gd name="T45" fmla="*/ 43 h 59"/>
                  <a:gd name="T46" fmla="*/ 3 w 62"/>
                  <a:gd name="T47" fmla="*/ 43 h 59"/>
                  <a:gd name="T48" fmla="*/ 8 w 62"/>
                  <a:gd name="T49" fmla="*/ 45 h 59"/>
                  <a:gd name="T50" fmla="*/ 15 w 62"/>
                  <a:gd name="T51" fmla="*/ 47 h 59"/>
                  <a:gd name="T52" fmla="*/ 17 w 62"/>
                  <a:gd name="T53" fmla="*/ 45 h 59"/>
                  <a:gd name="T54" fmla="*/ 22 w 62"/>
                  <a:gd name="T55" fmla="*/ 45 h 59"/>
                  <a:gd name="T56" fmla="*/ 24 w 62"/>
                  <a:gd name="T57" fmla="*/ 45 h 59"/>
                  <a:gd name="T58" fmla="*/ 26 w 62"/>
                  <a:gd name="T59" fmla="*/ 45 h 59"/>
                  <a:gd name="T60" fmla="*/ 29 w 62"/>
                  <a:gd name="T61" fmla="*/ 47 h 59"/>
                  <a:gd name="T62" fmla="*/ 34 w 62"/>
                  <a:gd name="T63" fmla="*/ 47 h 59"/>
                  <a:gd name="T64" fmla="*/ 38 w 62"/>
                  <a:gd name="T65" fmla="*/ 50 h 59"/>
                  <a:gd name="T66" fmla="*/ 38 w 62"/>
                  <a:gd name="T67" fmla="*/ 54 h 59"/>
                  <a:gd name="T68" fmla="*/ 36 w 62"/>
                  <a:gd name="T69" fmla="*/ 57 h 59"/>
                  <a:gd name="T70" fmla="*/ 38 w 62"/>
                  <a:gd name="T71" fmla="*/ 59 h 59"/>
                  <a:gd name="T72" fmla="*/ 43 w 62"/>
                  <a:gd name="T73" fmla="*/ 57 h 59"/>
                  <a:gd name="T74" fmla="*/ 41 w 62"/>
                  <a:gd name="T75" fmla="*/ 54 h 59"/>
                  <a:gd name="T76" fmla="*/ 41 w 62"/>
                  <a:gd name="T77" fmla="*/ 52 h 59"/>
                  <a:gd name="T78" fmla="*/ 43 w 62"/>
                  <a:gd name="T79" fmla="*/ 50 h 59"/>
                  <a:gd name="T80" fmla="*/ 45 w 62"/>
                  <a:gd name="T81" fmla="*/ 45 h 59"/>
                  <a:gd name="T82" fmla="*/ 43 w 62"/>
                  <a:gd name="T83" fmla="*/ 43 h 59"/>
                  <a:gd name="T84" fmla="*/ 43 w 62"/>
                  <a:gd name="T85" fmla="*/ 38 h 59"/>
                  <a:gd name="T86" fmla="*/ 45 w 62"/>
                  <a:gd name="T87" fmla="*/ 35 h 59"/>
                  <a:gd name="T88" fmla="*/ 50 w 62"/>
                  <a:gd name="T89" fmla="*/ 35 h 59"/>
                  <a:gd name="T90" fmla="*/ 55 w 62"/>
                  <a:gd name="T91" fmla="*/ 33 h 59"/>
                  <a:gd name="T92" fmla="*/ 55 w 62"/>
                  <a:gd name="T93" fmla="*/ 31 h 59"/>
                  <a:gd name="T94" fmla="*/ 60 w 62"/>
                  <a:gd name="T95" fmla="*/ 28 h 59"/>
                  <a:gd name="T96" fmla="*/ 60 w 62"/>
                  <a:gd name="T97" fmla="*/ 26 h 59"/>
                  <a:gd name="T98" fmla="*/ 55 w 62"/>
                  <a:gd name="T99" fmla="*/ 24 h 59"/>
                  <a:gd name="T100" fmla="*/ 55 w 62"/>
                  <a:gd name="T101" fmla="*/ 21 h 59"/>
                  <a:gd name="T102" fmla="*/ 60 w 62"/>
                  <a:gd name="T103" fmla="*/ 21 h 59"/>
                  <a:gd name="T104" fmla="*/ 62 w 62"/>
                  <a:gd name="T105" fmla="*/ 14 h 59"/>
                  <a:gd name="T106" fmla="*/ 60 w 62"/>
                  <a:gd name="T107" fmla="*/ 7 h 59"/>
                  <a:gd name="T108" fmla="*/ 12 w 62"/>
                  <a:gd name="T109" fmla="*/ 40 h 59"/>
                  <a:gd name="T110" fmla="*/ 5 w 62"/>
                  <a:gd name="T111" fmla="*/ 38 h 59"/>
                  <a:gd name="T112" fmla="*/ 24 w 62"/>
                  <a:gd name="T113" fmla="*/ 14 h 59"/>
                  <a:gd name="T114" fmla="*/ 24 w 62"/>
                  <a:gd name="T115" fmla="*/ 12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2" h="59">
                    <a:moveTo>
                      <a:pt x="34" y="5"/>
                    </a:moveTo>
                    <a:lnTo>
                      <a:pt x="38" y="5"/>
                    </a:lnTo>
                    <a:lnTo>
                      <a:pt x="36" y="5"/>
                    </a:lnTo>
                    <a:lnTo>
                      <a:pt x="34" y="5"/>
                    </a:lnTo>
                    <a:lnTo>
                      <a:pt x="31" y="5"/>
                    </a:lnTo>
                    <a:lnTo>
                      <a:pt x="31" y="5"/>
                    </a:lnTo>
                    <a:lnTo>
                      <a:pt x="34" y="5"/>
                    </a:lnTo>
                    <a:close/>
                    <a:moveTo>
                      <a:pt x="41" y="5"/>
                    </a:moveTo>
                    <a:lnTo>
                      <a:pt x="43" y="5"/>
                    </a:lnTo>
                    <a:lnTo>
                      <a:pt x="43" y="5"/>
                    </a:lnTo>
                    <a:lnTo>
                      <a:pt x="43" y="5"/>
                    </a:lnTo>
                    <a:lnTo>
                      <a:pt x="38" y="5"/>
                    </a:lnTo>
                    <a:lnTo>
                      <a:pt x="38" y="5"/>
                    </a:lnTo>
                    <a:lnTo>
                      <a:pt x="38" y="5"/>
                    </a:lnTo>
                    <a:lnTo>
                      <a:pt x="41" y="5"/>
                    </a:lnTo>
                    <a:close/>
                    <a:moveTo>
                      <a:pt x="50" y="2"/>
                    </a:moveTo>
                    <a:lnTo>
                      <a:pt x="48" y="2"/>
                    </a:lnTo>
                    <a:lnTo>
                      <a:pt x="45" y="2"/>
                    </a:lnTo>
                    <a:lnTo>
                      <a:pt x="45" y="2"/>
                    </a:lnTo>
                    <a:lnTo>
                      <a:pt x="48" y="5"/>
                    </a:lnTo>
                    <a:lnTo>
                      <a:pt x="50" y="2"/>
                    </a:lnTo>
                    <a:close/>
                    <a:moveTo>
                      <a:pt x="57" y="0"/>
                    </a:moveTo>
                    <a:lnTo>
                      <a:pt x="55" y="0"/>
                    </a:lnTo>
                    <a:lnTo>
                      <a:pt x="55" y="0"/>
                    </a:lnTo>
                    <a:lnTo>
                      <a:pt x="55" y="2"/>
                    </a:lnTo>
                    <a:lnTo>
                      <a:pt x="55" y="2"/>
                    </a:lnTo>
                    <a:lnTo>
                      <a:pt x="57" y="0"/>
                    </a:lnTo>
                    <a:close/>
                    <a:moveTo>
                      <a:pt x="10" y="45"/>
                    </a:moveTo>
                    <a:lnTo>
                      <a:pt x="8" y="47"/>
                    </a:lnTo>
                    <a:lnTo>
                      <a:pt x="5" y="47"/>
                    </a:lnTo>
                    <a:lnTo>
                      <a:pt x="3" y="45"/>
                    </a:lnTo>
                    <a:lnTo>
                      <a:pt x="0" y="45"/>
                    </a:lnTo>
                    <a:lnTo>
                      <a:pt x="0" y="45"/>
                    </a:lnTo>
                    <a:lnTo>
                      <a:pt x="0" y="47"/>
                    </a:lnTo>
                    <a:lnTo>
                      <a:pt x="0" y="47"/>
                    </a:lnTo>
                    <a:lnTo>
                      <a:pt x="0" y="50"/>
                    </a:lnTo>
                    <a:lnTo>
                      <a:pt x="3" y="50"/>
                    </a:lnTo>
                    <a:lnTo>
                      <a:pt x="3" y="47"/>
                    </a:lnTo>
                    <a:lnTo>
                      <a:pt x="3" y="47"/>
                    </a:lnTo>
                    <a:lnTo>
                      <a:pt x="5" y="47"/>
                    </a:lnTo>
                    <a:lnTo>
                      <a:pt x="8" y="50"/>
                    </a:lnTo>
                    <a:lnTo>
                      <a:pt x="8" y="50"/>
                    </a:lnTo>
                    <a:lnTo>
                      <a:pt x="8" y="50"/>
                    </a:lnTo>
                    <a:lnTo>
                      <a:pt x="10" y="50"/>
                    </a:lnTo>
                    <a:lnTo>
                      <a:pt x="10" y="50"/>
                    </a:lnTo>
                    <a:lnTo>
                      <a:pt x="12" y="47"/>
                    </a:lnTo>
                    <a:lnTo>
                      <a:pt x="15" y="47"/>
                    </a:lnTo>
                    <a:lnTo>
                      <a:pt x="15" y="45"/>
                    </a:lnTo>
                    <a:lnTo>
                      <a:pt x="12" y="47"/>
                    </a:lnTo>
                    <a:lnTo>
                      <a:pt x="10" y="45"/>
                    </a:lnTo>
                    <a:close/>
                    <a:moveTo>
                      <a:pt x="29" y="7"/>
                    </a:moveTo>
                    <a:lnTo>
                      <a:pt x="29" y="7"/>
                    </a:lnTo>
                    <a:lnTo>
                      <a:pt x="26" y="7"/>
                    </a:lnTo>
                    <a:lnTo>
                      <a:pt x="26" y="9"/>
                    </a:lnTo>
                    <a:lnTo>
                      <a:pt x="29" y="7"/>
                    </a:lnTo>
                    <a:close/>
                    <a:moveTo>
                      <a:pt x="60" y="7"/>
                    </a:moveTo>
                    <a:lnTo>
                      <a:pt x="60" y="7"/>
                    </a:lnTo>
                    <a:lnTo>
                      <a:pt x="57" y="5"/>
                    </a:lnTo>
                    <a:lnTo>
                      <a:pt x="57" y="5"/>
                    </a:lnTo>
                    <a:lnTo>
                      <a:pt x="52" y="5"/>
                    </a:lnTo>
                    <a:lnTo>
                      <a:pt x="50" y="5"/>
                    </a:lnTo>
                    <a:lnTo>
                      <a:pt x="45" y="5"/>
                    </a:lnTo>
                    <a:lnTo>
                      <a:pt x="41" y="5"/>
                    </a:lnTo>
                    <a:lnTo>
                      <a:pt x="36" y="7"/>
                    </a:lnTo>
                    <a:lnTo>
                      <a:pt x="36" y="9"/>
                    </a:lnTo>
                    <a:lnTo>
                      <a:pt x="34" y="12"/>
                    </a:lnTo>
                    <a:lnTo>
                      <a:pt x="29" y="14"/>
                    </a:lnTo>
                    <a:lnTo>
                      <a:pt x="26" y="14"/>
                    </a:lnTo>
                    <a:lnTo>
                      <a:pt x="24" y="14"/>
                    </a:lnTo>
                    <a:lnTo>
                      <a:pt x="24" y="14"/>
                    </a:lnTo>
                    <a:lnTo>
                      <a:pt x="24" y="17"/>
                    </a:lnTo>
                    <a:lnTo>
                      <a:pt x="22" y="17"/>
                    </a:lnTo>
                    <a:lnTo>
                      <a:pt x="19" y="24"/>
                    </a:lnTo>
                    <a:lnTo>
                      <a:pt x="19" y="26"/>
                    </a:lnTo>
                    <a:lnTo>
                      <a:pt x="17" y="28"/>
                    </a:lnTo>
                    <a:lnTo>
                      <a:pt x="15" y="33"/>
                    </a:lnTo>
                    <a:lnTo>
                      <a:pt x="12" y="33"/>
                    </a:lnTo>
                    <a:lnTo>
                      <a:pt x="12" y="33"/>
                    </a:lnTo>
                    <a:lnTo>
                      <a:pt x="12" y="35"/>
                    </a:lnTo>
                    <a:lnTo>
                      <a:pt x="10" y="35"/>
                    </a:lnTo>
                    <a:lnTo>
                      <a:pt x="10" y="38"/>
                    </a:lnTo>
                    <a:lnTo>
                      <a:pt x="12" y="40"/>
                    </a:lnTo>
                    <a:lnTo>
                      <a:pt x="12" y="40"/>
                    </a:lnTo>
                    <a:lnTo>
                      <a:pt x="15" y="40"/>
                    </a:lnTo>
                    <a:lnTo>
                      <a:pt x="10" y="43"/>
                    </a:lnTo>
                    <a:lnTo>
                      <a:pt x="12" y="43"/>
                    </a:lnTo>
                    <a:lnTo>
                      <a:pt x="15" y="43"/>
                    </a:lnTo>
                    <a:lnTo>
                      <a:pt x="15" y="43"/>
                    </a:lnTo>
                    <a:lnTo>
                      <a:pt x="15" y="45"/>
                    </a:lnTo>
                    <a:lnTo>
                      <a:pt x="15" y="45"/>
                    </a:lnTo>
                    <a:lnTo>
                      <a:pt x="12" y="45"/>
                    </a:lnTo>
                    <a:lnTo>
                      <a:pt x="10" y="43"/>
                    </a:lnTo>
                    <a:lnTo>
                      <a:pt x="8" y="43"/>
                    </a:lnTo>
                    <a:lnTo>
                      <a:pt x="3" y="43"/>
                    </a:lnTo>
                    <a:lnTo>
                      <a:pt x="3" y="43"/>
                    </a:lnTo>
                    <a:lnTo>
                      <a:pt x="3" y="43"/>
                    </a:lnTo>
                    <a:lnTo>
                      <a:pt x="3" y="45"/>
                    </a:lnTo>
                    <a:lnTo>
                      <a:pt x="3" y="45"/>
                    </a:lnTo>
                    <a:lnTo>
                      <a:pt x="5" y="45"/>
                    </a:lnTo>
                    <a:lnTo>
                      <a:pt x="8" y="45"/>
                    </a:lnTo>
                    <a:lnTo>
                      <a:pt x="10" y="45"/>
                    </a:lnTo>
                    <a:lnTo>
                      <a:pt x="12" y="45"/>
                    </a:lnTo>
                    <a:lnTo>
                      <a:pt x="15" y="45"/>
                    </a:lnTo>
                    <a:lnTo>
                      <a:pt x="15" y="47"/>
                    </a:lnTo>
                    <a:lnTo>
                      <a:pt x="17" y="47"/>
                    </a:lnTo>
                    <a:lnTo>
                      <a:pt x="17" y="47"/>
                    </a:lnTo>
                    <a:lnTo>
                      <a:pt x="17" y="45"/>
                    </a:lnTo>
                    <a:lnTo>
                      <a:pt x="17" y="45"/>
                    </a:lnTo>
                    <a:lnTo>
                      <a:pt x="19" y="45"/>
                    </a:lnTo>
                    <a:lnTo>
                      <a:pt x="19" y="45"/>
                    </a:lnTo>
                    <a:lnTo>
                      <a:pt x="19" y="45"/>
                    </a:lnTo>
                    <a:lnTo>
                      <a:pt x="22" y="45"/>
                    </a:lnTo>
                    <a:lnTo>
                      <a:pt x="22" y="43"/>
                    </a:lnTo>
                    <a:lnTo>
                      <a:pt x="24" y="45"/>
                    </a:lnTo>
                    <a:lnTo>
                      <a:pt x="24" y="45"/>
                    </a:lnTo>
                    <a:lnTo>
                      <a:pt x="24" y="45"/>
                    </a:lnTo>
                    <a:lnTo>
                      <a:pt x="24" y="45"/>
                    </a:lnTo>
                    <a:lnTo>
                      <a:pt x="24" y="45"/>
                    </a:lnTo>
                    <a:lnTo>
                      <a:pt x="26" y="45"/>
                    </a:lnTo>
                    <a:lnTo>
                      <a:pt x="26" y="45"/>
                    </a:lnTo>
                    <a:lnTo>
                      <a:pt x="26" y="45"/>
                    </a:lnTo>
                    <a:lnTo>
                      <a:pt x="26" y="45"/>
                    </a:lnTo>
                    <a:lnTo>
                      <a:pt x="29" y="45"/>
                    </a:lnTo>
                    <a:lnTo>
                      <a:pt x="29" y="47"/>
                    </a:lnTo>
                    <a:lnTo>
                      <a:pt x="29" y="47"/>
                    </a:lnTo>
                    <a:lnTo>
                      <a:pt x="31" y="47"/>
                    </a:lnTo>
                    <a:lnTo>
                      <a:pt x="34" y="47"/>
                    </a:lnTo>
                    <a:lnTo>
                      <a:pt x="34" y="47"/>
                    </a:lnTo>
                    <a:lnTo>
                      <a:pt x="34" y="47"/>
                    </a:lnTo>
                    <a:lnTo>
                      <a:pt x="36" y="50"/>
                    </a:lnTo>
                    <a:lnTo>
                      <a:pt x="36" y="50"/>
                    </a:lnTo>
                    <a:lnTo>
                      <a:pt x="38" y="50"/>
                    </a:lnTo>
                    <a:lnTo>
                      <a:pt x="38" y="50"/>
                    </a:lnTo>
                    <a:lnTo>
                      <a:pt x="41" y="52"/>
                    </a:lnTo>
                    <a:lnTo>
                      <a:pt x="41" y="52"/>
                    </a:lnTo>
                    <a:lnTo>
                      <a:pt x="38" y="54"/>
                    </a:lnTo>
                    <a:lnTo>
                      <a:pt x="38" y="54"/>
                    </a:lnTo>
                    <a:lnTo>
                      <a:pt x="38" y="54"/>
                    </a:lnTo>
                    <a:lnTo>
                      <a:pt x="38" y="54"/>
                    </a:lnTo>
                    <a:lnTo>
                      <a:pt x="36" y="57"/>
                    </a:lnTo>
                    <a:lnTo>
                      <a:pt x="36" y="57"/>
                    </a:lnTo>
                    <a:lnTo>
                      <a:pt x="36" y="57"/>
                    </a:lnTo>
                    <a:lnTo>
                      <a:pt x="38" y="59"/>
                    </a:lnTo>
                    <a:lnTo>
                      <a:pt x="38" y="59"/>
                    </a:lnTo>
                    <a:lnTo>
                      <a:pt x="38" y="59"/>
                    </a:lnTo>
                    <a:lnTo>
                      <a:pt x="38" y="59"/>
                    </a:lnTo>
                    <a:lnTo>
                      <a:pt x="43" y="59"/>
                    </a:lnTo>
                    <a:lnTo>
                      <a:pt x="43" y="57"/>
                    </a:lnTo>
                    <a:lnTo>
                      <a:pt x="43" y="54"/>
                    </a:lnTo>
                    <a:lnTo>
                      <a:pt x="41" y="54"/>
                    </a:lnTo>
                    <a:lnTo>
                      <a:pt x="41" y="54"/>
                    </a:lnTo>
                    <a:lnTo>
                      <a:pt x="41" y="54"/>
                    </a:lnTo>
                    <a:lnTo>
                      <a:pt x="41" y="52"/>
                    </a:lnTo>
                    <a:lnTo>
                      <a:pt x="41" y="52"/>
                    </a:lnTo>
                    <a:lnTo>
                      <a:pt x="41" y="52"/>
                    </a:lnTo>
                    <a:lnTo>
                      <a:pt x="41" y="52"/>
                    </a:lnTo>
                    <a:lnTo>
                      <a:pt x="45" y="50"/>
                    </a:lnTo>
                    <a:lnTo>
                      <a:pt x="45" y="50"/>
                    </a:lnTo>
                    <a:lnTo>
                      <a:pt x="45" y="50"/>
                    </a:lnTo>
                    <a:lnTo>
                      <a:pt x="43" y="50"/>
                    </a:lnTo>
                    <a:lnTo>
                      <a:pt x="43" y="50"/>
                    </a:lnTo>
                    <a:lnTo>
                      <a:pt x="43" y="50"/>
                    </a:lnTo>
                    <a:lnTo>
                      <a:pt x="45" y="47"/>
                    </a:lnTo>
                    <a:lnTo>
                      <a:pt x="45" y="45"/>
                    </a:lnTo>
                    <a:lnTo>
                      <a:pt x="45" y="45"/>
                    </a:lnTo>
                    <a:lnTo>
                      <a:pt x="45" y="43"/>
                    </a:lnTo>
                    <a:lnTo>
                      <a:pt x="45" y="43"/>
                    </a:lnTo>
                    <a:lnTo>
                      <a:pt x="43" y="43"/>
                    </a:lnTo>
                    <a:lnTo>
                      <a:pt x="43" y="40"/>
                    </a:lnTo>
                    <a:lnTo>
                      <a:pt x="43" y="40"/>
                    </a:lnTo>
                    <a:lnTo>
                      <a:pt x="43" y="38"/>
                    </a:lnTo>
                    <a:lnTo>
                      <a:pt x="43" y="38"/>
                    </a:lnTo>
                    <a:lnTo>
                      <a:pt x="43" y="38"/>
                    </a:lnTo>
                    <a:lnTo>
                      <a:pt x="45" y="35"/>
                    </a:lnTo>
                    <a:lnTo>
                      <a:pt x="45" y="35"/>
                    </a:lnTo>
                    <a:lnTo>
                      <a:pt x="45" y="35"/>
                    </a:lnTo>
                    <a:lnTo>
                      <a:pt x="48" y="35"/>
                    </a:lnTo>
                    <a:lnTo>
                      <a:pt x="48" y="38"/>
                    </a:lnTo>
                    <a:lnTo>
                      <a:pt x="48" y="38"/>
                    </a:lnTo>
                    <a:lnTo>
                      <a:pt x="50" y="35"/>
                    </a:lnTo>
                    <a:lnTo>
                      <a:pt x="50" y="35"/>
                    </a:lnTo>
                    <a:lnTo>
                      <a:pt x="55" y="35"/>
                    </a:lnTo>
                    <a:lnTo>
                      <a:pt x="55" y="35"/>
                    </a:lnTo>
                    <a:lnTo>
                      <a:pt x="55" y="33"/>
                    </a:lnTo>
                    <a:lnTo>
                      <a:pt x="55" y="33"/>
                    </a:lnTo>
                    <a:lnTo>
                      <a:pt x="55" y="33"/>
                    </a:lnTo>
                    <a:lnTo>
                      <a:pt x="55" y="33"/>
                    </a:lnTo>
                    <a:lnTo>
                      <a:pt x="55" y="31"/>
                    </a:lnTo>
                    <a:lnTo>
                      <a:pt x="55" y="31"/>
                    </a:lnTo>
                    <a:lnTo>
                      <a:pt x="55" y="31"/>
                    </a:lnTo>
                    <a:lnTo>
                      <a:pt x="57" y="31"/>
                    </a:lnTo>
                    <a:lnTo>
                      <a:pt x="60" y="28"/>
                    </a:lnTo>
                    <a:lnTo>
                      <a:pt x="60" y="28"/>
                    </a:lnTo>
                    <a:lnTo>
                      <a:pt x="60" y="26"/>
                    </a:lnTo>
                    <a:lnTo>
                      <a:pt x="60" y="26"/>
                    </a:lnTo>
                    <a:lnTo>
                      <a:pt x="60" y="26"/>
                    </a:lnTo>
                    <a:lnTo>
                      <a:pt x="60" y="24"/>
                    </a:lnTo>
                    <a:lnTo>
                      <a:pt x="57" y="24"/>
                    </a:lnTo>
                    <a:lnTo>
                      <a:pt x="57" y="24"/>
                    </a:lnTo>
                    <a:lnTo>
                      <a:pt x="55" y="24"/>
                    </a:lnTo>
                    <a:lnTo>
                      <a:pt x="55" y="24"/>
                    </a:lnTo>
                    <a:lnTo>
                      <a:pt x="55" y="24"/>
                    </a:lnTo>
                    <a:lnTo>
                      <a:pt x="55" y="21"/>
                    </a:lnTo>
                    <a:lnTo>
                      <a:pt x="55" y="21"/>
                    </a:lnTo>
                    <a:lnTo>
                      <a:pt x="55" y="21"/>
                    </a:lnTo>
                    <a:lnTo>
                      <a:pt x="55" y="21"/>
                    </a:lnTo>
                    <a:lnTo>
                      <a:pt x="55" y="21"/>
                    </a:lnTo>
                    <a:lnTo>
                      <a:pt x="60" y="21"/>
                    </a:lnTo>
                    <a:lnTo>
                      <a:pt x="60" y="21"/>
                    </a:lnTo>
                    <a:lnTo>
                      <a:pt x="60" y="19"/>
                    </a:lnTo>
                    <a:lnTo>
                      <a:pt x="62" y="17"/>
                    </a:lnTo>
                    <a:lnTo>
                      <a:pt x="62" y="14"/>
                    </a:lnTo>
                    <a:lnTo>
                      <a:pt x="62" y="14"/>
                    </a:lnTo>
                    <a:lnTo>
                      <a:pt x="62" y="9"/>
                    </a:lnTo>
                    <a:lnTo>
                      <a:pt x="62" y="7"/>
                    </a:lnTo>
                    <a:lnTo>
                      <a:pt x="60" y="7"/>
                    </a:lnTo>
                    <a:close/>
                    <a:moveTo>
                      <a:pt x="8" y="40"/>
                    </a:moveTo>
                    <a:lnTo>
                      <a:pt x="10" y="40"/>
                    </a:lnTo>
                    <a:lnTo>
                      <a:pt x="12" y="40"/>
                    </a:lnTo>
                    <a:lnTo>
                      <a:pt x="12" y="40"/>
                    </a:lnTo>
                    <a:lnTo>
                      <a:pt x="12" y="40"/>
                    </a:lnTo>
                    <a:lnTo>
                      <a:pt x="10" y="38"/>
                    </a:lnTo>
                    <a:lnTo>
                      <a:pt x="8" y="38"/>
                    </a:lnTo>
                    <a:lnTo>
                      <a:pt x="5" y="38"/>
                    </a:lnTo>
                    <a:lnTo>
                      <a:pt x="5" y="40"/>
                    </a:lnTo>
                    <a:lnTo>
                      <a:pt x="8" y="40"/>
                    </a:lnTo>
                    <a:lnTo>
                      <a:pt x="8" y="40"/>
                    </a:lnTo>
                    <a:close/>
                    <a:moveTo>
                      <a:pt x="24" y="14"/>
                    </a:moveTo>
                    <a:lnTo>
                      <a:pt x="26" y="12"/>
                    </a:lnTo>
                    <a:lnTo>
                      <a:pt x="26" y="9"/>
                    </a:lnTo>
                    <a:lnTo>
                      <a:pt x="24" y="12"/>
                    </a:lnTo>
                    <a:lnTo>
                      <a:pt x="24" y="12"/>
                    </a:lnTo>
                    <a:lnTo>
                      <a:pt x="24" y="12"/>
                    </a:lnTo>
                    <a:lnTo>
                      <a:pt x="24" y="14"/>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84"/>
              <p:cNvSpPr>
                <a:spLocks/>
              </p:cNvSpPr>
              <p:nvPr/>
            </p:nvSpPr>
            <p:spPr bwMode="auto">
              <a:xfrm>
                <a:off x="4194" y="2158"/>
                <a:ext cx="156" cy="86"/>
              </a:xfrm>
              <a:custGeom>
                <a:avLst/>
                <a:gdLst>
                  <a:gd name="T0" fmla="*/ 151 w 156"/>
                  <a:gd name="T1" fmla="*/ 69 h 86"/>
                  <a:gd name="T2" fmla="*/ 151 w 156"/>
                  <a:gd name="T3" fmla="*/ 55 h 86"/>
                  <a:gd name="T4" fmla="*/ 149 w 156"/>
                  <a:gd name="T5" fmla="*/ 52 h 86"/>
                  <a:gd name="T6" fmla="*/ 142 w 156"/>
                  <a:gd name="T7" fmla="*/ 55 h 86"/>
                  <a:gd name="T8" fmla="*/ 132 w 156"/>
                  <a:gd name="T9" fmla="*/ 52 h 86"/>
                  <a:gd name="T10" fmla="*/ 125 w 156"/>
                  <a:gd name="T11" fmla="*/ 50 h 86"/>
                  <a:gd name="T12" fmla="*/ 121 w 156"/>
                  <a:gd name="T13" fmla="*/ 48 h 86"/>
                  <a:gd name="T14" fmla="*/ 118 w 156"/>
                  <a:gd name="T15" fmla="*/ 50 h 86"/>
                  <a:gd name="T16" fmla="*/ 114 w 156"/>
                  <a:gd name="T17" fmla="*/ 48 h 86"/>
                  <a:gd name="T18" fmla="*/ 111 w 156"/>
                  <a:gd name="T19" fmla="*/ 52 h 86"/>
                  <a:gd name="T20" fmla="*/ 104 w 156"/>
                  <a:gd name="T21" fmla="*/ 45 h 86"/>
                  <a:gd name="T22" fmla="*/ 95 w 156"/>
                  <a:gd name="T23" fmla="*/ 43 h 86"/>
                  <a:gd name="T24" fmla="*/ 92 w 156"/>
                  <a:gd name="T25" fmla="*/ 38 h 86"/>
                  <a:gd name="T26" fmla="*/ 87 w 156"/>
                  <a:gd name="T27" fmla="*/ 38 h 86"/>
                  <a:gd name="T28" fmla="*/ 80 w 156"/>
                  <a:gd name="T29" fmla="*/ 33 h 86"/>
                  <a:gd name="T30" fmla="*/ 76 w 156"/>
                  <a:gd name="T31" fmla="*/ 29 h 86"/>
                  <a:gd name="T32" fmla="*/ 69 w 156"/>
                  <a:gd name="T33" fmla="*/ 24 h 86"/>
                  <a:gd name="T34" fmla="*/ 61 w 156"/>
                  <a:gd name="T35" fmla="*/ 22 h 86"/>
                  <a:gd name="T36" fmla="*/ 52 w 156"/>
                  <a:gd name="T37" fmla="*/ 17 h 86"/>
                  <a:gd name="T38" fmla="*/ 35 w 156"/>
                  <a:gd name="T39" fmla="*/ 7 h 86"/>
                  <a:gd name="T40" fmla="*/ 31 w 156"/>
                  <a:gd name="T41" fmla="*/ 0 h 86"/>
                  <a:gd name="T42" fmla="*/ 19 w 156"/>
                  <a:gd name="T43" fmla="*/ 5 h 86"/>
                  <a:gd name="T44" fmla="*/ 14 w 156"/>
                  <a:gd name="T45" fmla="*/ 5 h 86"/>
                  <a:gd name="T46" fmla="*/ 9 w 156"/>
                  <a:gd name="T47" fmla="*/ 5 h 86"/>
                  <a:gd name="T48" fmla="*/ 5 w 156"/>
                  <a:gd name="T49" fmla="*/ 15 h 86"/>
                  <a:gd name="T50" fmla="*/ 2 w 156"/>
                  <a:gd name="T51" fmla="*/ 24 h 86"/>
                  <a:gd name="T52" fmla="*/ 0 w 156"/>
                  <a:gd name="T53" fmla="*/ 31 h 86"/>
                  <a:gd name="T54" fmla="*/ 7 w 156"/>
                  <a:gd name="T55" fmla="*/ 36 h 86"/>
                  <a:gd name="T56" fmla="*/ 9 w 156"/>
                  <a:gd name="T57" fmla="*/ 36 h 86"/>
                  <a:gd name="T58" fmla="*/ 14 w 156"/>
                  <a:gd name="T59" fmla="*/ 38 h 86"/>
                  <a:gd name="T60" fmla="*/ 24 w 156"/>
                  <a:gd name="T61" fmla="*/ 43 h 86"/>
                  <a:gd name="T62" fmla="*/ 33 w 156"/>
                  <a:gd name="T63" fmla="*/ 50 h 86"/>
                  <a:gd name="T64" fmla="*/ 38 w 156"/>
                  <a:gd name="T65" fmla="*/ 52 h 86"/>
                  <a:gd name="T66" fmla="*/ 45 w 156"/>
                  <a:gd name="T67" fmla="*/ 55 h 86"/>
                  <a:gd name="T68" fmla="*/ 54 w 156"/>
                  <a:gd name="T69" fmla="*/ 60 h 86"/>
                  <a:gd name="T70" fmla="*/ 64 w 156"/>
                  <a:gd name="T71" fmla="*/ 62 h 86"/>
                  <a:gd name="T72" fmla="*/ 66 w 156"/>
                  <a:gd name="T73" fmla="*/ 62 h 86"/>
                  <a:gd name="T74" fmla="*/ 76 w 156"/>
                  <a:gd name="T75" fmla="*/ 62 h 86"/>
                  <a:gd name="T76" fmla="*/ 87 w 156"/>
                  <a:gd name="T77" fmla="*/ 64 h 86"/>
                  <a:gd name="T78" fmla="*/ 90 w 156"/>
                  <a:gd name="T79" fmla="*/ 69 h 86"/>
                  <a:gd name="T80" fmla="*/ 99 w 156"/>
                  <a:gd name="T81" fmla="*/ 74 h 86"/>
                  <a:gd name="T82" fmla="*/ 102 w 156"/>
                  <a:gd name="T83" fmla="*/ 76 h 86"/>
                  <a:gd name="T84" fmla="*/ 109 w 156"/>
                  <a:gd name="T85" fmla="*/ 74 h 86"/>
                  <a:gd name="T86" fmla="*/ 111 w 156"/>
                  <a:gd name="T87" fmla="*/ 78 h 86"/>
                  <a:gd name="T88" fmla="*/ 118 w 156"/>
                  <a:gd name="T89" fmla="*/ 78 h 86"/>
                  <a:gd name="T90" fmla="*/ 128 w 156"/>
                  <a:gd name="T91" fmla="*/ 81 h 86"/>
                  <a:gd name="T92" fmla="*/ 135 w 156"/>
                  <a:gd name="T93" fmla="*/ 81 h 86"/>
                  <a:gd name="T94" fmla="*/ 142 w 156"/>
                  <a:gd name="T95" fmla="*/ 83 h 86"/>
                  <a:gd name="T96" fmla="*/ 151 w 156"/>
                  <a:gd name="T97" fmla="*/ 83 h 86"/>
                  <a:gd name="T98" fmla="*/ 154 w 156"/>
                  <a:gd name="T99" fmla="*/ 81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56" h="86">
                    <a:moveTo>
                      <a:pt x="154" y="76"/>
                    </a:moveTo>
                    <a:lnTo>
                      <a:pt x="154" y="74"/>
                    </a:lnTo>
                    <a:lnTo>
                      <a:pt x="151" y="69"/>
                    </a:lnTo>
                    <a:lnTo>
                      <a:pt x="151" y="69"/>
                    </a:lnTo>
                    <a:lnTo>
                      <a:pt x="149" y="62"/>
                    </a:lnTo>
                    <a:lnTo>
                      <a:pt x="151" y="60"/>
                    </a:lnTo>
                    <a:lnTo>
                      <a:pt x="151" y="57"/>
                    </a:lnTo>
                    <a:lnTo>
                      <a:pt x="151" y="55"/>
                    </a:lnTo>
                    <a:lnTo>
                      <a:pt x="151" y="55"/>
                    </a:lnTo>
                    <a:lnTo>
                      <a:pt x="151" y="52"/>
                    </a:lnTo>
                    <a:lnTo>
                      <a:pt x="149" y="52"/>
                    </a:lnTo>
                    <a:lnTo>
                      <a:pt x="149" y="52"/>
                    </a:lnTo>
                    <a:lnTo>
                      <a:pt x="147" y="52"/>
                    </a:lnTo>
                    <a:lnTo>
                      <a:pt x="144" y="52"/>
                    </a:lnTo>
                    <a:lnTo>
                      <a:pt x="142" y="55"/>
                    </a:lnTo>
                    <a:lnTo>
                      <a:pt x="142" y="55"/>
                    </a:lnTo>
                    <a:lnTo>
                      <a:pt x="140" y="55"/>
                    </a:lnTo>
                    <a:lnTo>
                      <a:pt x="140" y="55"/>
                    </a:lnTo>
                    <a:lnTo>
                      <a:pt x="135" y="55"/>
                    </a:lnTo>
                    <a:lnTo>
                      <a:pt x="132" y="52"/>
                    </a:lnTo>
                    <a:lnTo>
                      <a:pt x="130" y="52"/>
                    </a:lnTo>
                    <a:lnTo>
                      <a:pt x="128" y="50"/>
                    </a:lnTo>
                    <a:lnTo>
                      <a:pt x="128" y="50"/>
                    </a:lnTo>
                    <a:lnTo>
                      <a:pt x="125" y="50"/>
                    </a:lnTo>
                    <a:lnTo>
                      <a:pt x="123" y="48"/>
                    </a:lnTo>
                    <a:lnTo>
                      <a:pt x="123" y="48"/>
                    </a:lnTo>
                    <a:lnTo>
                      <a:pt x="123" y="48"/>
                    </a:lnTo>
                    <a:lnTo>
                      <a:pt x="121" y="48"/>
                    </a:lnTo>
                    <a:lnTo>
                      <a:pt x="121" y="50"/>
                    </a:lnTo>
                    <a:lnTo>
                      <a:pt x="121" y="52"/>
                    </a:lnTo>
                    <a:lnTo>
                      <a:pt x="118" y="52"/>
                    </a:lnTo>
                    <a:lnTo>
                      <a:pt x="118" y="50"/>
                    </a:lnTo>
                    <a:lnTo>
                      <a:pt x="116" y="50"/>
                    </a:lnTo>
                    <a:lnTo>
                      <a:pt x="114" y="48"/>
                    </a:lnTo>
                    <a:lnTo>
                      <a:pt x="114" y="48"/>
                    </a:lnTo>
                    <a:lnTo>
                      <a:pt x="114" y="48"/>
                    </a:lnTo>
                    <a:lnTo>
                      <a:pt x="114" y="50"/>
                    </a:lnTo>
                    <a:lnTo>
                      <a:pt x="114" y="52"/>
                    </a:lnTo>
                    <a:lnTo>
                      <a:pt x="111" y="52"/>
                    </a:lnTo>
                    <a:lnTo>
                      <a:pt x="111" y="52"/>
                    </a:lnTo>
                    <a:lnTo>
                      <a:pt x="111" y="50"/>
                    </a:lnTo>
                    <a:lnTo>
                      <a:pt x="109" y="48"/>
                    </a:lnTo>
                    <a:lnTo>
                      <a:pt x="106" y="45"/>
                    </a:lnTo>
                    <a:lnTo>
                      <a:pt x="104" y="45"/>
                    </a:lnTo>
                    <a:lnTo>
                      <a:pt x="99" y="45"/>
                    </a:lnTo>
                    <a:lnTo>
                      <a:pt x="97" y="43"/>
                    </a:lnTo>
                    <a:lnTo>
                      <a:pt x="95" y="43"/>
                    </a:lnTo>
                    <a:lnTo>
                      <a:pt x="95" y="43"/>
                    </a:lnTo>
                    <a:lnTo>
                      <a:pt x="95" y="41"/>
                    </a:lnTo>
                    <a:lnTo>
                      <a:pt x="95" y="38"/>
                    </a:lnTo>
                    <a:lnTo>
                      <a:pt x="95" y="38"/>
                    </a:lnTo>
                    <a:lnTo>
                      <a:pt x="92" y="38"/>
                    </a:lnTo>
                    <a:lnTo>
                      <a:pt x="92" y="38"/>
                    </a:lnTo>
                    <a:lnTo>
                      <a:pt x="90" y="38"/>
                    </a:lnTo>
                    <a:lnTo>
                      <a:pt x="87" y="38"/>
                    </a:lnTo>
                    <a:lnTo>
                      <a:pt x="87" y="38"/>
                    </a:lnTo>
                    <a:lnTo>
                      <a:pt x="85" y="38"/>
                    </a:lnTo>
                    <a:lnTo>
                      <a:pt x="85" y="36"/>
                    </a:lnTo>
                    <a:lnTo>
                      <a:pt x="85" y="36"/>
                    </a:lnTo>
                    <a:lnTo>
                      <a:pt x="80" y="33"/>
                    </a:lnTo>
                    <a:lnTo>
                      <a:pt x="80" y="33"/>
                    </a:lnTo>
                    <a:lnTo>
                      <a:pt x="78" y="31"/>
                    </a:lnTo>
                    <a:lnTo>
                      <a:pt x="76" y="31"/>
                    </a:lnTo>
                    <a:lnTo>
                      <a:pt x="76" y="29"/>
                    </a:lnTo>
                    <a:lnTo>
                      <a:pt x="73" y="26"/>
                    </a:lnTo>
                    <a:lnTo>
                      <a:pt x="73" y="24"/>
                    </a:lnTo>
                    <a:lnTo>
                      <a:pt x="71" y="24"/>
                    </a:lnTo>
                    <a:lnTo>
                      <a:pt x="69" y="24"/>
                    </a:lnTo>
                    <a:lnTo>
                      <a:pt x="66" y="24"/>
                    </a:lnTo>
                    <a:lnTo>
                      <a:pt x="64" y="24"/>
                    </a:lnTo>
                    <a:lnTo>
                      <a:pt x="64" y="24"/>
                    </a:lnTo>
                    <a:lnTo>
                      <a:pt x="61" y="22"/>
                    </a:lnTo>
                    <a:lnTo>
                      <a:pt x="59" y="19"/>
                    </a:lnTo>
                    <a:lnTo>
                      <a:pt x="57" y="17"/>
                    </a:lnTo>
                    <a:lnTo>
                      <a:pt x="54" y="17"/>
                    </a:lnTo>
                    <a:lnTo>
                      <a:pt x="52" y="17"/>
                    </a:lnTo>
                    <a:lnTo>
                      <a:pt x="47" y="15"/>
                    </a:lnTo>
                    <a:lnTo>
                      <a:pt x="45" y="12"/>
                    </a:lnTo>
                    <a:lnTo>
                      <a:pt x="40" y="10"/>
                    </a:lnTo>
                    <a:lnTo>
                      <a:pt x="35" y="7"/>
                    </a:lnTo>
                    <a:lnTo>
                      <a:pt x="33" y="5"/>
                    </a:lnTo>
                    <a:lnTo>
                      <a:pt x="33" y="5"/>
                    </a:lnTo>
                    <a:lnTo>
                      <a:pt x="33" y="3"/>
                    </a:lnTo>
                    <a:lnTo>
                      <a:pt x="31" y="0"/>
                    </a:lnTo>
                    <a:lnTo>
                      <a:pt x="28" y="0"/>
                    </a:lnTo>
                    <a:lnTo>
                      <a:pt x="24" y="0"/>
                    </a:lnTo>
                    <a:lnTo>
                      <a:pt x="19" y="0"/>
                    </a:lnTo>
                    <a:lnTo>
                      <a:pt x="19" y="5"/>
                    </a:lnTo>
                    <a:lnTo>
                      <a:pt x="17" y="7"/>
                    </a:lnTo>
                    <a:lnTo>
                      <a:pt x="17" y="7"/>
                    </a:lnTo>
                    <a:lnTo>
                      <a:pt x="14" y="5"/>
                    </a:lnTo>
                    <a:lnTo>
                      <a:pt x="14" y="5"/>
                    </a:lnTo>
                    <a:lnTo>
                      <a:pt x="12" y="5"/>
                    </a:lnTo>
                    <a:lnTo>
                      <a:pt x="12" y="5"/>
                    </a:lnTo>
                    <a:lnTo>
                      <a:pt x="9" y="5"/>
                    </a:lnTo>
                    <a:lnTo>
                      <a:pt x="9" y="5"/>
                    </a:lnTo>
                    <a:lnTo>
                      <a:pt x="7" y="7"/>
                    </a:lnTo>
                    <a:lnTo>
                      <a:pt x="7" y="10"/>
                    </a:lnTo>
                    <a:lnTo>
                      <a:pt x="7" y="10"/>
                    </a:lnTo>
                    <a:lnTo>
                      <a:pt x="5" y="15"/>
                    </a:lnTo>
                    <a:lnTo>
                      <a:pt x="2" y="17"/>
                    </a:lnTo>
                    <a:lnTo>
                      <a:pt x="2" y="19"/>
                    </a:lnTo>
                    <a:lnTo>
                      <a:pt x="2" y="22"/>
                    </a:lnTo>
                    <a:lnTo>
                      <a:pt x="2" y="24"/>
                    </a:lnTo>
                    <a:lnTo>
                      <a:pt x="2" y="26"/>
                    </a:lnTo>
                    <a:lnTo>
                      <a:pt x="2" y="26"/>
                    </a:lnTo>
                    <a:lnTo>
                      <a:pt x="2" y="29"/>
                    </a:lnTo>
                    <a:lnTo>
                      <a:pt x="0" y="31"/>
                    </a:lnTo>
                    <a:lnTo>
                      <a:pt x="2" y="33"/>
                    </a:lnTo>
                    <a:lnTo>
                      <a:pt x="2" y="33"/>
                    </a:lnTo>
                    <a:lnTo>
                      <a:pt x="5" y="36"/>
                    </a:lnTo>
                    <a:lnTo>
                      <a:pt x="7" y="36"/>
                    </a:lnTo>
                    <a:lnTo>
                      <a:pt x="9" y="38"/>
                    </a:lnTo>
                    <a:lnTo>
                      <a:pt x="9" y="38"/>
                    </a:lnTo>
                    <a:lnTo>
                      <a:pt x="9" y="36"/>
                    </a:lnTo>
                    <a:lnTo>
                      <a:pt x="9" y="36"/>
                    </a:lnTo>
                    <a:lnTo>
                      <a:pt x="12" y="36"/>
                    </a:lnTo>
                    <a:lnTo>
                      <a:pt x="14" y="38"/>
                    </a:lnTo>
                    <a:lnTo>
                      <a:pt x="14" y="38"/>
                    </a:lnTo>
                    <a:lnTo>
                      <a:pt x="14" y="38"/>
                    </a:lnTo>
                    <a:lnTo>
                      <a:pt x="19" y="41"/>
                    </a:lnTo>
                    <a:lnTo>
                      <a:pt x="21" y="41"/>
                    </a:lnTo>
                    <a:lnTo>
                      <a:pt x="24" y="43"/>
                    </a:lnTo>
                    <a:lnTo>
                      <a:pt x="24" y="43"/>
                    </a:lnTo>
                    <a:lnTo>
                      <a:pt x="24" y="45"/>
                    </a:lnTo>
                    <a:lnTo>
                      <a:pt x="26" y="45"/>
                    </a:lnTo>
                    <a:lnTo>
                      <a:pt x="31" y="48"/>
                    </a:lnTo>
                    <a:lnTo>
                      <a:pt x="33" y="50"/>
                    </a:lnTo>
                    <a:lnTo>
                      <a:pt x="35" y="52"/>
                    </a:lnTo>
                    <a:lnTo>
                      <a:pt x="38" y="52"/>
                    </a:lnTo>
                    <a:lnTo>
                      <a:pt x="38" y="52"/>
                    </a:lnTo>
                    <a:lnTo>
                      <a:pt x="38" y="52"/>
                    </a:lnTo>
                    <a:lnTo>
                      <a:pt x="40" y="52"/>
                    </a:lnTo>
                    <a:lnTo>
                      <a:pt x="40" y="52"/>
                    </a:lnTo>
                    <a:lnTo>
                      <a:pt x="43" y="52"/>
                    </a:lnTo>
                    <a:lnTo>
                      <a:pt x="45" y="55"/>
                    </a:lnTo>
                    <a:lnTo>
                      <a:pt x="50" y="57"/>
                    </a:lnTo>
                    <a:lnTo>
                      <a:pt x="52" y="57"/>
                    </a:lnTo>
                    <a:lnTo>
                      <a:pt x="52" y="57"/>
                    </a:lnTo>
                    <a:lnTo>
                      <a:pt x="54" y="60"/>
                    </a:lnTo>
                    <a:lnTo>
                      <a:pt x="54" y="60"/>
                    </a:lnTo>
                    <a:lnTo>
                      <a:pt x="59" y="62"/>
                    </a:lnTo>
                    <a:lnTo>
                      <a:pt x="61" y="62"/>
                    </a:lnTo>
                    <a:lnTo>
                      <a:pt x="64" y="62"/>
                    </a:lnTo>
                    <a:lnTo>
                      <a:pt x="64" y="64"/>
                    </a:lnTo>
                    <a:lnTo>
                      <a:pt x="66" y="62"/>
                    </a:lnTo>
                    <a:lnTo>
                      <a:pt x="66" y="62"/>
                    </a:lnTo>
                    <a:lnTo>
                      <a:pt x="66" y="62"/>
                    </a:lnTo>
                    <a:lnTo>
                      <a:pt x="69" y="62"/>
                    </a:lnTo>
                    <a:lnTo>
                      <a:pt x="73" y="62"/>
                    </a:lnTo>
                    <a:lnTo>
                      <a:pt x="76" y="64"/>
                    </a:lnTo>
                    <a:lnTo>
                      <a:pt x="76" y="62"/>
                    </a:lnTo>
                    <a:lnTo>
                      <a:pt x="78" y="62"/>
                    </a:lnTo>
                    <a:lnTo>
                      <a:pt x="78" y="62"/>
                    </a:lnTo>
                    <a:lnTo>
                      <a:pt x="83" y="62"/>
                    </a:lnTo>
                    <a:lnTo>
                      <a:pt x="87" y="64"/>
                    </a:lnTo>
                    <a:lnTo>
                      <a:pt x="90" y="64"/>
                    </a:lnTo>
                    <a:lnTo>
                      <a:pt x="90" y="67"/>
                    </a:lnTo>
                    <a:lnTo>
                      <a:pt x="90" y="67"/>
                    </a:lnTo>
                    <a:lnTo>
                      <a:pt x="90" y="69"/>
                    </a:lnTo>
                    <a:lnTo>
                      <a:pt x="92" y="71"/>
                    </a:lnTo>
                    <a:lnTo>
                      <a:pt x="97" y="74"/>
                    </a:lnTo>
                    <a:lnTo>
                      <a:pt x="97" y="74"/>
                    </a:lnTo>
                    <a:lnTo>
                      <a:pt x="99" y="74"/>
                    </a:lnTo>
                    <a:lnTo>
                      <a:pt x="99" y="74"/>
                    </a:lnTo>
                    <a:lnTo>
                      <a:pt x="99" y="74"/>
                    </a:lnTo>
                    <a:lnTo>
                      <a:pt x="102" y="76"/>
                    </a:lnTo>
                    <a:lnTo>
                      <a:pt x="102" y="76"/>
                    </a:lnTo>
                    <a:lnTo>
                      <a:pt x="102" y="76"/>
                    </a:lnTo>
                    <a:lnTo>
                      <a:pt x="104" y="76"/>
                    </a:lnTo>
                    <a:lnTo>
                      <a:pt x="106" y="76"/>
                    </a:lnTo>
                    <a:lnTo>
                      <a:pt x="109" y="74"/>
                    </a:lnTo>
                    <a:lnTo>
                      <a:pt x="109" y="74"/>
                    </a:lnTo>
                    <a:lnTo>
                      <a:pt x="111" y="76"/>
                    </a:lnTo>
                    <a:lnTo>
                      <a:pt x="111" y="78"/>
                    </a:lnTo>
                    <a:lnTo>
                      <a:pt x="111" y="78"/>
                    </a:lnTo>
                    <a:lnTo>
                      <a:pt x="114" y="78"/>
                    </a:lnTo>
                    <a:lnTo>
                      <a:pt x="114" y="81"/>
                    </a:lnTo>
                    <a:lnTo>
                      <a:pt x="116" y="78"/>
                    </a:lnTo>
                    <a:lnTo>
                      <a:pt x="118" y="78"/>
                    </a:lnTo>
                    <a:lnTo>
                      <a:pt x="121" y="81"/>
                    </a:lnTo>
                    <a:lnTo>
                      <a:pt x="123" y="81"/>
                    </a:lnTo>
                    <a:lnTo>
                      <a:pt x="123" y="81"/>
                    </a:lnTo>
                    <a:lnTo>
                      <a:pt x="128" y="81"/>
                    </a:lnTo>
                    <a:lnTo>
                      <a:pt x="130" y="83"/>
                    </a:lnTo>
                    <a:lnTo>
                      <a:pt x="130" y="83"/>
                    </a:lnTo>
                    <a:lnTo>
                      <a:pt x="135" y="81"/>
                    </a:lnTo>
                    <a:lnTo>
                      <a:pt x="135" y="81"/>
                    </a:lnTo>
                    <a:lnTo>
                      <a:pt x="137" y="83"/>
                    </a:lnTo>
                    <a:lnTo>
                      <a:pt x="137" y="83"/>
                    </a:lnTo>
                    <a:lnTo>
                      <a:pt x="140" y="86"/>
                    </a:lnTo>
                    <a:lnTo>
                      <a:pt x="142" y="83"/>
                    </a:lnTo>
                    <a:lnTo>
                      <a:pt x="144" y="83"/>
                    </a:lnTo>
                    <a:lnTo>
                      <a:pt x="147" y="83"/>
                    </a:lnTo>
                    <a:lnTo>
                      <a:pt x="149" y="83"/>
                    </a:lnTo>
                    <a:lnTo>
                      <a:pt x="151" y="83"/>
                    </a:lnTo>
                    <a:lnTo>
                      <a:pt x="154" y="83"/>
                    </a:lnTo>
                    <a:lnTo>
                      <a:pt x="154" y="83"/>
                    </a:lnTo>
                    <a:lnTo>
                      <a:pt x="154" y="83"/>
                    </a:lnTo>
                    <a:lnTo>
                      <a:pt x="154" y="81"/>
                    </a:lnTo>
                    <a:lnTo>
                      <a:pt x="156" y="76"/>
                    </a:lnTo>
                    <a:lnTo>
                      <a:pt x="154" y="76"/>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85"/>
              <p:cNvSpPr>
                <a:spLocks/>
              </p:cNvSpPr>
              <p:nvPr/>
            </p:nvSpPr>
            <p:spPr bwMode="auto">
              <a:xfrm>
                <a:off x="2966" y="3160"/>
                <a:ext cx="251" cy="251"/>
              </a:xfrm>
              <a:custGeom>
                <a:avLst/>
                <a:gdLst>
                  <a:gd name="T0" fmla="*/ 242 w 251"/>
                  <a:gd name="T1" fmla="*/ 9 h 251"/>
                  <a:gd name="T2" fmla="*/ 223 w 251"/>
                  <a:gd name="T3" fmla="*/ 12 h 251"/>
                  <a:gd name="T4" fmla="*/ 201 w 251"/>
                  <a:gd name="T5" fmla="*/ 16 h 251"/>
                  <a:gd name="T6" fmla="*/ 180 w 251"/>
                  <a:gd name="T7" fmla="*/ 21 h 251"/>
                  <a:gd name="T8" fmla="*/ 171 w 251"/>
                  <a:gd name="T9" fmla="*/ 21 h 251"/>
                  <a:gd name="T10" fmla="*/ 161 w 251"/>
                  <a:gd name="T11" fmla="*/ 19 h 251"/>
                  <a:gd name="T12" fmla="*/ 142 w 251"/>
                  <a:gd name="T13" fmla="*/ 16 h 251"/>
                  <a:gd name="T14" fmla="*/ 133 w 251"/>
                  <a:gd name="T15" fmla="*/ 16 h 251"/>
                  <a:gd name="T16" fmla="*/ 126 w 251"/>
                  <a:gd name="T17" fmla="*/ 9 h 251"/>
                  <a:gd name="T18" fmla="*/ 114 w 251"/>
                  <a:gd name="T19" fmla="*/ 7 h 251"/>
                  <a:gd name="T20" fmla="*/ 83 w 251"/>
                  <a:gd name="T21" fmla="*/ 7 h 251"/>
                  <a:gd name="T22" fmla="*/ 50 w 251"/>
                  <a:gd name="T23" fmla="*/ 7 h 251"/>
                  <a:gd name="T24" fmla="*/ 43 w 251"/>
                  <a:gd name="T25" fmla="*/ 7 h 251"/>
                  <a:gd name="T26" fmla="*/ 36 w 251"/>
                  <a:gd name="T27" fmla="*/ 2 h 251"/>
                  <a:gd name="T28" fmla="*/ 29 w 251"/>
                  <a:gd name="T29" fmla="*/ 0 h 251"/>
                  <a:gd name="T30" fmla="*/ 22 w 251"/>
                  <a:gd name="T31" fmla="*/ 2 h 251"/>
                  <a:gd name="T32" fmla="*/ 12 w 251"/>
                  <a:gd name="T33" fmla="*/ 5 h 251"/>
                  <a:gd name="T34" fmla="*/ 5 w 251"/>
                  <a:gd name="T35" fmla="*/ 5 h 251"/>
                  <a:gd name="T36" fmla="*/ 3 w 251"/>
                  <a:gd name="T37" fmla="*/ 21 h 251"/>
                  <a:gd name="T38" fmla="*/ 12 w 251"/>
                  <a:gd name="T39" fmla="*/ 35 h 251"/>
                  <a:gd name="T40" fmla="*/ 29 w 251"/>
                  <a:gd name="T41" fmla="*/ 73 h 251"/>
                  <a:gd name="T42" fmla="*/ 43 w 251"/>
                  <a:gd name="T43" fmla="*/ 99 h 251"/>
                  <a:gd name="T44" fmla="*/ 52 w 251"/>
                  <a:gd name="T45" fmla="*/ 123 h 251"/>
                  <a:gd name="T46" fmla="*/ 50 w 251"/>
                  <a:gd name="T47" fmla="*/ 125 h 251"/>
                  <a:gd name="T48" fmla="*/ 52 w 251"/>
                  <a:gd name="T49" fmla="*/ 140 h 251"/>
                  <a:gd name="T50" fmla="*/ 57 w 251"/>
                  <a:gd name="T51" fmla="*/ 163 h 251"/>
                  <a:gd name="T52" fmla="*/ 57 w 251"/>
                  <a:gd name="T53" fmla="*/ 180 h 251"/>
                  <a:gd name="T54" fmla="*/ 62 w 251"/>
                  <a:gd name="T55" fmla="*/ 199 h 251"/>
                  <a:gd name="T56" fmla="*/ 62 w 251"/>
                  <a:gd name="T57" fmla="*/ 206 h 251"/>
                  <a:gd name="T58" fmla="*/ 74 w 251"/>
                  <a:gd name="T59" fmla="*/ 232 h 251"/>
                  <a:gd name="T60" fmla="*/ 85 w 251"/>
                  <a:gd name="T61" fmla="*/ 246 h 251"/>
                  <a:gd name="T62" fmla="*/ 90 w 251"/>
                  <a:gd name="T63" fmla="*/ 241 h 251"/>
                  <a:gd name="T64" fmla="*/ 93 w 251"/>
                  <a:gd name="T65" fmla="*/ 237 h 251"/>
                  <a:gd name="T66" fmla="*/ 97 w 251"/>
                  <a:gd name="T67" fmla="*/ 232 h 251"/>
                  <a:gd name="T68" fmla="*/ 100 w 251"/>
                  <a:gd name="T69" fmla="*/ 237 h 251"/>
                  <a:gd name="T70" fmla="*/ 102 w 251"/>
                  <a:gd name="T71" fmla="*/ 241 h 251"/>
                  <a:gd name="T72" fmla="*/ 104 w 251"/>
                  <a:gd name="T73" fmla="*/ 246 h 251"/>
                  <a:gd name="T74" fmla="*/ 111 w 251"/>
                  <a:gd name="T75" fmla="*/ 249 h 251"/>
                  <a:gd name="T76" fmla="*/ 123 w 251"/>
                  <a:gd name="T77" fmla="*/ 251 h 251"/>
                  <a:gd name="T78" fmla="*/ 135 w 251"/>
                  <a:gd name="T79" fmla="*/ 251 h 251"/>
                  <a:gd name="T80" fmla="*/ 140 w 251"/>
                  <a:gd name="T81" fmla="*/ 246 h 251"/>
                  <a:gd name="T82" fmla="*/ 147 w 251"/>
                  <a:gd name="T83" fmla="*/ 241 h 251"/>
                  <a:gd name="T84" fmla="*/ 149 w 251"/>
                  <a:gd name="T85" fmla="*/ 220 h 251"/>
                  <a:gd name="T86" fmla="*/ 152 w 251"/>
                  <a:gd name="T87" fmla="*/ 182 h 251"/>
                  <a:gd name="T88" fmla="*/ 152 w 251"/>
                  <a:gd name="T89" fmla="*/ 159 h 251"/>
                  <a:gd name="T90" fmla="*/ 152 w 251"/>
                  <a:gd name="T91" fmla="*/ 135 h 251"/>
                  <a:gd name="T92" fmla="*/ 152 w 251"/>
                  <a:gd name="T93" fmla="*/ 111 h 251"/>
                  <a:gd name="T94" fmla="*/ 171 w 251"/>
                  <a:gd name="T95" fmla="*/ 102 h 251"/>
                  <a:gd name="T96" fmla="*/ 171 w 251"/>
                  <a:gd name="T97" fmla="*/ 66 h 251"/>
                  <a:gd name="T98" fmla="*/ 171 w 251"/>
                  <a:gd name="T99" fmla="*/ 31 h 251"/>
                  <a:gd name="T100" fmla="*/ 189 w 251"/>
                  <a:gd name="T101" fmla="*/ 26 h 251"/>
                  <a:gd name="T102" fmla="*/ 213 w 251"/>
                  <a:gd name="T103" fmla="*/ 21 h 251"/>
                  <a:gd name="T104" fmla="*/ 218 w 251"/>
                  <a:gd name="T105" fmla="*/ 28 h 251"/>
                  <a:gd name="T106" fmla="*/ 220 w 251"/>
                  <a:gd name="T107" fmla="*/ 31 h 251"/>
                  <a:gd name="T108" fmla="*/ 230 w 251"/>
                  <a:gd name="T109" fmla="*/ 21 h 251"/>
                  <a:gd name="T110" fmla="*/ 234 w 251"/>
                  <a:gd name="T111" fmla="*/ 21 h 251"/>
                  <a:gd name="T112" fmla="*/ 249 w 251"/>
                  <a:gd name="T113" fmla="*/ 16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51" h="251">
                    <a:moveTo>
                      <a:pt x="246" y="12"/>
                    </a:moveTo>
                    <a:lnTo>
                      <a:pt x="246" y="12"/>
                    </a:lnTo>
                    <a:lnTo>
                      <a:pt x="244" y="12"/>
                    </a:lnTo>
                    <a:lnTo>
                      <a:pt x="242" y="9"/>
                    </a:lnTo>
                    <a:lnTo>
                      <a:pt x="232" y="9"/>
                    </a:lnTo>
                    <a:lnTo>
                      <a:pt x="232" y="9"/>
                    </a:lnTo>
                    <a:lnTo>
                      <a:pt x="227" y="9"/>
                    </a:lnTo>
                    <a:lnTo>
                      <a:pt x="223" y="12"/>
                    </a:lnTo>
                    <a:lnTo>
                      <a:pt x="220" y="12"/>
                    </a:lnTo>
                    <a:lnTo>
                      <a:pt x="216" y="14"/>
                    </a:lnTo>
                    <a:lnTo>
                      <a:pt x="211" y="14"/>
                    </a:lnTo>
                    <a:lnTo>
                      <a:pt x="201" y="16"/>
                    </a:lnTo>
                    <a:lnTo>
                      <a:pt x="197" y="16"/>
                    </a:lnTo>
                    <a:lnTo>
                      <a:pt x="189" y="19"/>
                    </a:lnTo>
                    <a:lnTo>
                      <a:pt x="185" y="19"/>
                    </a:lnTo>
                    <a:lnTo>
                      <a:pt x="180" y="21"/>
                    </a:lnTo>
                    <a:lnTo>
                      <a:pt x="178" y="21"/>
                    </a:lnTo>
                    <a:lnTo>
                      <a:pt x="178" y="19"/>
                    </a:lnTo>
                    <a:lnTo>
                      <a:pt x="173" y="19"/>
                    </a:lnTo>
                    <a:lnTo>
                      <a:pt x="171" y="21"/>
                    </a:lnTo>
                    <a:lnTo>
                      <a:pt x="166" y="21"/>
                    </a:lnTo>
                    <a:lnTo>
                      <a:pt x="166" y="21"/>
                    </a:lnTo>
                    <a:lnTo>
                      <a:pt x="163" y="19"/>
                    </a:lnTo>
                    <a:lnTo>
                      <a:pt x="161" y="19"/>
                    </a:lnTo>
                    <a:lnTo>
                      <a:pt x="156" y="19"/>
                    </a:lnTo>
                    <a:lnTo>
                      <a:pt x="152" y="19"/>
                    </a:lnTo>
                    <a:lnTo>
                      <a:pt x="147" y="19"/>
                    </a:lnTo>
                    <a:lnTo>
                      <a:pt x="142" y="16"/>
                    </a:lnTo>
                    <a:lnTo>
                      <a:pt x="137" y="16"/>
                    </a:lnTo>
                    <a:lnTo>
                      <a:pt x="137" y="16"/>
                    </a:lnTo>
                    <a:lnTo>
                      <a:pt x="135" y="16"/>
                    </a:lnTo>
                    <a:lnTo>
                      <a:pt x="133" y="16"/>
                    </a:lnTo>
                    <a:lnTo>
                      <a:pt x="130" y="14"/>
                    </a:lnTo>
                    <a:lnTo>
                      <a:pt x="128" y="12"/>
                    </a:lnTo>
                    <a:lnTo>
                      <a:pt x="126" y="9"/>
                    </a:lnTo>
                    <a:lnTo>
                      <a:pt x="126" y="9"/>
                    </a:lnTo>
                    <a:lnTo>
                      <a:pt x="126" y="7"/>
                    </a:lnTo>
                    <a:lnTo>
                      <a:pt x="123" y="7"/>
                    </a:lnTo>
                    <a:lnTo>
                      <a:pt x="119" y="7"/>
                    </a:lnTo>
                    <a:lnTo>
                      <a:pt x="114" y="7"/>
                    </a:lnTo>
                    <a:lnTo>
                      <a:pt x="111" y="7"/>
                    </a:lnTo>
                    <a:lnTo>
                      <a:pt x="104" y="7"/>
                    </a:lnTo>
                    <a:lnTo>
                      <a:pt x="97" y="7"/>
                    </a:lnTo>
                    <a:lnTo>
                      <a:pt x="83" y="7"/>
                    </a:lnTo>
                    <a:lnTo>
                      <a:pt x="76" y="7"/>
                    </a:lnTo>
                    <a:lnTo>
                      <a:pt x="69" y="7"/>
                    </a:lnTo>
                    <a:lnTo>
                      <a:pt x="55" y="7"/>
                    </a:lnTo>
                    <a:lnTo>
                      <a:pt x="50" y="7"/>
                    </a:lnTo>
                    <a:lnTo>
                      <a:pt x="48" y="7"/>
                    </a:lnTo>
                    <a:lnTo>
                      <a:pt x="43" y="7"/>
                    </a:lnTo>
                    <a:lnTo>
                      <a:pt x="43" y="7"/>
                    </a:lnTo>
                    <a:lnTo>
                      <a:pt x="43" y="7"/>
                    </a:lnTo>
                    <a:lnTo>
                      <a:pt x="40" y="7"/>
                    </a:lnTo>
                    <a:lnTo>
                      <a:pt x="38" y="5"/>
                    </a:lnTo>
                    <a:lnTo>
                      <a:pt x="38" y="5"/>
                    </a:lnTo>
                    <a:lnTo>
                      <a:pt x="36" y="2"/>
                    </a:lnTo>
                    <a:lnTo>
                      <a:pt x="33" y="0"/>
                    </a:lnTo>
                    <a:lnTo>
                      <a:pt x="31" y="0"/>
                    </a:lnTo>
                    <a:lnTo>
                      <a:pt x="29" y="0"/>
                    </a:lnTo>
                    <a:lnTo>
                      <a:pt x="29" y="0"/>
                    </a:lnTo>
                    <a:lnTo>
                      <a:pt x="26" y="0"/>
                    </a:lnTo>
                    <a:lnTo>
                      <a:pt x="24" y="0"/>
                    </a:lnTo>
                    <a:lnTo>
                      <a:pt x="22" y="0"/>
                    </a:lnTo>
                    <a:lnTo>
                      <a:pt x="22" y="2"/>
                    </a:lnTo>
                    <a:lnTo>
                      <a:pt x="19" y="2"/>
                    </a:lnTo>
                    <a:lnTo>
                      <a:pt x="17" y="5"/>
                    </a:lnTo>
                    <a:lnTo>
                      <a:pt x="12" y="5"/>
                    </a:lnTo>
                    <a:lnTo>
                      <a:pt x="12" y="5"/>
                    </a:lnTo>
                    <a:lnTo>
                      <a:pt x="10" y="5"/>
                    </a:lnTo>
                    <a:lnTo>
                      <a:pt x="7" y="2"/>
                    </a:lnTo>
                    <a:lnTo>
                      <a:pt x="7" y="2"/>
                    </a:lnTo>
                    <a:lnTo>
                      <a:pt x="5" y="5"/>
                    </a:lnTo>
                    <a:lnTo>
                      <a:pt x="3" y="5"/>
                    </a:lnTo>
                    <a:lnTo>
                      <a:pt x="0" y="9"/>
                    </a:lnTo>
                    <a:lnTo>
                      <a:pt x="0" y="16"/>
                    </a:lnTo>
                    <a:lnTo>
                      <a:pt x="3" y="21"/>
                    </a:lnTo>
                    <a:lnTo>
                      <a:pt x="5" y="26"/>
                    </a:lnTo>
                    <a:lnTo>
                      <a:pt x="7" y="31"/>
                    </a:lnTo>
                    <a:lnTo>
                      <a:pt x="7" y="33"/>
                    </a:lnTo>
                    <a:lnTo>
                      <a:pt x="12" y="35"/>
                    </a:lnTo>
                    <a:lnTo>
                      <a:pt x="14" y="40"/>
                    </a:lnTo>
                    <a:lnTo>
                      <a:pt x="26" y="64"/>
                    </a:lnTo>
                    <a:lnTo>
                      <a:pt x="29" y="66"/>
                    </a:lnTo>
                    <a:lnTo>
                      <a:pt x="29" y="73"/>
                    </a:lnTo>
                    <a:lnTo>
                      <a:pt x="33" y="83"/>
                    </a:lnTo>
                    <a:lnTo>
                      <a:pt x="40" y="95"/>
                    </a:lnTo>
                    <a:lnTo>
                      <a:pt x="40" y="97"/>
                    </a:lnTo>
                    <a:lnTo>
                      <a:pt x="43" y="99"/>
                    </a:lnTo>
                    <a:lnTo>
                      <a:pt x="48" y="109"/>
                    </a:lnTo>
                    <a:lnTo>
                      <a:pt x="50" y="114"/>
                    </a:lnTo>
                    <a:lnTo>
                      <a:pt x="52" y="121"/>
                    </a:lnTo>
                    <a:lnTo>
                      <a:pt x="52" y="123"/>
                    </a:lnTo>
                    <a:lnTo>
                      <a:pt x="52" y="125"/>
                    </a:lnTo>
                    <a:lnTo>
                      <a:pt x="50" y="125"/>
                    </a:lnTo>
                    <a:lnTo>
                      <a:pt x="50" y="123"/>
                    </a:lnTo>
                    <a:lnTo>
                      <a:pt x="50" y="125"/>
                    </a:lnTo>
                    <a:lnTo>
                      <a:pt x="50" y="128"/>
                    </a:lnTo>
                    <a:lnTo>
                      <a:pt x="50" y="133"/>
                    </a:lnTo>
                    <a:lnTo>
                      <a:pt x="50" y="137"/>
                    </a:lnTo>
                    <a:lnTo>
                      <a:pt x="52" y="140"/>
                    </a:lnTo>
                    <a:lnTo>
                      <a:pt x="52" y="149"/>
                    </a:lnTo>
                    <a:lnTo>
                      <a:pt x="52" y="151"/>
                    </a:lnTo>
                    <a:lnTo>
                      <a:pt x="55" y="159"/>
                    </a:lnTo>
                    <a:lnTo>
                      <a:pt x="57" y="163"/>
                    </a:lnTo>
                    <a:lnTo>
                      <a:pt x="57" y="170"/>
                    </a:lnTo>
                    <a:lnTo>
                      <a:pt x="57" y="173"/>
                    </a:lnTo>
                    <a:lnTo>
                      <a:pt x="57" y="175"/>
                    </a:lnTo>
                    <a:lnTo>
                      <a:pt x="57" y="180"/>
                    </a:lnTo>
                    <a:lnTo>
                      <a:pt x="57" y="185"/>
                    </a:lnTo>
                    <a:lnTo>
                      <a:pt x="59" y="189"/>
                    </a:lnTo>
                    <a:lnTo>
                      <a:pt x="59" y="196"/>
                    </a:lnTo>
                    <a:lnTo>
                      <a:pt x="62" y="199"/>
                    </a:lnTo>
                    <a:lnTo>
                      <a:pt x="62" y="201"/>
                    </a:lnTo>
                    <a:lnTo>
                      <a:pt x="64" y="204"/>
                    </a:lnTo>
                    <a:lnTo>
                      <a:pt x="62" y="204"/>
                    </a:lnTo>
                    <a:lnTo>
                      <a:pt x="62" y="206"/>
                    </a:lnTo>
                    <a:lnTo>
                      <a:pt x="64" y="211"/>
                    </a:lnTo>
                    <a:lnTo>
                      <a:pt x="64" y="218"/>
                    </a:lnTo>
                    <a:lnTo>
                      <a:pt x="66" y="220"/>
                    </a:lnTo>
                    <a:lnTo>
                      <a:pt x="74" y="232"/>
                    </a:lnTo>
                    <a:lnTo>
                      <a:pt x="76" y="234"/>
                    </a:lnTo>
                    <a:lnTo>
                      <a:pt x="78" y="237"/>
                    </a:lnTo>
                    <a:lnTo>
                      <a:pt x="83" y="244"/>
                    </a:lnTo>
                    <a:lnTo>
                      <a:pt x="85" y="246"/>
                    </a:lnTo>
                    <a:lnTo>
                      <a:pt x="85" y="244"/>
                    </a:lnTo>
                    <a:lnTo>
                      <a:pt x="90" y="241"/>
                    </a:lnTo>
                    <a:lnTo>
                      <a:pt x="90" y="241"/>
                    </a:lnTo>
                    <a:lnTo>
                      <a:pt x="90" y="241"/>
                    </a:lnTo>
                    <a:lnTo>
                      <a:pt x="93" y="241"/>
                    </a:lnTo>
                    <a:lnTo>
                      <a:pt x="93" y="241"/>
                    </a:lnTo>
                    <a:lnTo>
                      <a:pt x="93" y="239"/>
                    </a:lnTo>
                    <a:lnTo>
                      <a:pt x="93" y="237"/>
                    </a:lnTo>
                    <a:lnTo>
                      <a:pt x="93" y="237"/>
                    </a:lnTo>
                    <a:lnTo>
                      <a:pt x="93" y="234"/>
                    </a:lnTo>
                    <a:lnTo>
                      <a:pt x="95" y="234"/>
                    </a:lnTo>
                    <a:lnTo>
                      <a:pt x="97" y="232"/>
                    </a:lnTo>
                    <a:lnTo>
                      <a:pt x="100" y="234"/>
                    </a:lnTo>
                    <a:lnTo>
                      <a:pt x="100" y="234"/>
                    </a:lnTo>
                    <a:lnTo>
                      <a:pt x="100" y="237"/>
                    </a:lnTo>
                    <a:lnTo>
                      <a:pt x="100" y="237"/>
                    </a:lnTo>
                    <a:lnTo>
                      <a:pt x="102" y="237"/>
                    </a:lnTo>
                    <a:lnTo>
                      <a:pt x="102" y="237"/>
                    </a:lnTo>
                    <a:lnTo>
                      <a:pt x="102" y="239"/>
                    </a:lnTo>
                    <a:lnTo>
                      <a:pt x="102" y="241"/>
                    </a:lnTo>
                    <a:lnTo>
                      <a:pt x="102" y="241"/>
                    </a:lnTo>
                    <a:lnTo>
                      <a:pt x="102" y="244"/>
                    </a:lnTo>
                    <a:lnTo>
                      <a:pt x="102" y="244"/>
                    </a:lnTo>
                    <a:lnTo>
                      <a:pt x="104" y="246"/>
                    </a:lnTo>
                    <a:lnTo>
                      <a:pt x="104" y="246"/>
                    </a:lnTo>
                    <a:lnTo>
                      <a:pt x="107" y="249"/>
                    </a:lnTo>
                    <a:lnTo>
                      <a:pt x="109" y="249"/>
                    </a:lnTo>
                    <a:lnTo>
                      <a:pt x="111" y="249"/>
                    </a:lnTo>
                    <a:lnTo>
                      <a:pt x="114" y="249"/>
                    </a:lnTo>
                    <a:lnTo>
                      <a:pt x="116" y="251"/>
                    </a:lnTo>
                    <a:lnTo>
                      <a:pt x="119" y="251"/>
                    </a:lnTo>
                    <a:lnTo>
                      <a:pt x="123" y="251"/>
                    </a:lnTo>
                    <a:lnTo>
                      <a:pt x="128" y="251"/>
                    </a:lnTo>
                    <a:lnTo>
                      <a:pt x="133" y="251"/>
                    </a:lnTo>
                    <a:lnTo>
                      <a:pt x="135" y="251"/>
                    </a:lnTo>
                    <a:lnTo>
                      <a:pt x="135" y="251"/>
                    </a:lnTo>
                    <a:lnTo>
                      <a:pt x="137" y="251"/>
                    </a:lnTo>
                    <a:lnTo>
                      <a:pt x="137" y="249"/>
                    </a:lnTo>
                    <a:lnTo>
                      <a:pt x="137" y="249"/>
                    </a:lnTo>
                    <a:lnTo>
                      <a:pt x="140" y="246"/>
                    </a:lnTo>
                    <a:lnTo>
                      <a:pt x="140" y="246"/>
                    </a:lnTo>
                    <a:lnTo>
                      <a:pt x="142" y="244"/>
                    </a:lnTo>
                    <a:lnTo>
                      <a:pt x="145" y="244"/>
                    </a:lnTo>
                    <a:lnTo>
                      <a:pt x="147" y="241"/>
                    </a:lnTo>
                    <a:lnTo>
                      <a:pt x="149" y="241"/>
                    </a:lnTo>
                    <a:lnTo>
                      <a:pt x="149" y="239"/>
                    </a:lnTo>
                    <a:lnTo>
                      <a:pt x="149" y="230"/>
                    </a:lnTo>
                    <a:lnTo>
                      <a:pt x="149" y="220"/>
                    </a:lnTo>
                    <a:lnTo>
                      <a:pt x="149" y="211"/>
                    </a:lnTo>
                    <a:lnTo>
                      <a:pt x="149" y="201"/>
                    </a:lnTo>
                    <a:lnTo>
                      <a:pt x="149" y="192"/>
                    </a:lnTo>
                    <a:lnTo>
                      <a:pt x="152" y="182"/>
                    </a:lnTo>
                    <a:lnTo>
                      <a:pt x="152" y="173"/>
                    </a:lnTo>
                    <a:lnTo>
                      <a:pt x="152" y="163"/>
                    </a:lnTo>
                    <a:lnTo>
                      <a:pt x="152" y="163"/>
                    </a:lnTo>
                    <a:lnTo>
                      <a:pt x="152" y="159"/>
                    </a:lnTo>
                    <a:lnTo>
                      <a:pt x="152" y="154"/>
                    </a:lnTo>
                    <a:lnTo>
                      <a:pt x="152" y="147"/>
                    </a:lnTo>
                    <a:lnTo>
                      <a:pt x="152" y="140"/>
                    </a:lnTo>
                    <a:lnTo>
                      <a:pt x="152" y="135"/>
                    </a:lnTo>
                    <a:lnTo>
                      <a:pt x="152" y="128"/>
                    </a:lnTo>
                    <a:lnTo>
                      <a:pt x="152" y="123"/>
                    </a:lnTo>
                    <a:lnTo>
                      <a:pt x="152" y="116"/>
                    </a:lnTo>
                    <a:lnTo>
                      <a:pt x="152" y="111"/>
                    </a:lnTo>
                    <a:lnTo>
                      <a:pt x="152" y="104"/>
                    </a:lnTo>
                    <a:lnTo>
                      <a:pt x="171" y="104"/>
                    </a:lnTo>
                    <a:lnTo>
                      <a:pt x="171" y="104"/>
                    </a:lnTo>
                    <a:lnTo>
                      <a:pt x="171" y="102"/>
                    </a:lnTo>
                    <a:lnTo>
                      <a:pt x="171" y="92"/>
                    </a:lnTo>
                    <a:lnTo>
                      <a:pt x="171" y="83"/>
                    </a:lnTo>
                    <a:lnTo>
                      <a:pt x="171" y="76"/>
                    </a:lnTo>
                    <a:lnTo>
                      <a:pt x="171" y="66"/>
                    </a:lnTo>
                    <a:lnTo>
                      <a:pt x="171" y="57"/>
                    </a:lnTo>
                    <a:lnTo>
                      <a:pt x="171" y="50"/>
                    </a:lnTo>
                    <a:lnTo>
                      <a:pt x="171" y="40"/>
                    </a:lnTo>
                    <a:lnTo>
                      <a:pt x="171" y="31"/>
                    </a:lnTo>
                    <a:lnTo>
                      <a:pt x="171" y="28"/>
                    </a:lnTo>
                    <a:lnTo>
                      <a:pt x="175" y="26"/>
                    </a:lnTo>
                    <a:lnTo>
                      <a:pt x="182" y="26"/>
                    </a:lnTo>
                    <a:lnTo>
                      <a:pt x="189" y="26"/>
                    </a:lnTo>
                    <a:lnTo>
                      <a:pt x="199" y="24"/>
                    </a:lnTo>
                    <a:lnTo>
                      <a:pt x="204" y="21"/>
                    </a:lnTo>
                    <a:lnTo>
                      <a:pt x="211" y="21"/>
                    </a:lnTo>
                    <a:lnTo>
                      <a:pt x="213" y="21"/>
                    </a:lnTo>
                    <a:lnTo>
                      <a:pt x="213" y="21"/>
                    </a:lnTo>
                    <a:lnTo>
                      <a:pt x="213" y="21"/>
                    </a:lnTo>
                    <a:lnTo>
                      <a:pt x="218" y="26"/>
                    </a:lnTo>
                    <a:lnTo>
                      <a:pt x="218" y="28"/>
                    </a:lnTo>
                    <a:lnTo>
                      <a:pt x="218" y="31"/>
                    </a:lnTo>
                    <a:lnTo>
                      <a:pt x="220" y="31"/>
                    </a:lnTo>
                    <a:lnTo>
                      <a:pt x="220" y="31"/>
                    </a:lnTo>
                    <a:lnTo>
                      <a:pt x="220" y="31"/>
                    </a:lnTo>
                    <a:lnTo>
                      <a:pt x="225" y="26"/>
                    </a:lnTo>
                    <a:lnTo>
                      <a:pt x="225" y="26"/>
                    </a:lnTo>
                    <a:lnTo>
                      <a:pt x="227" y="24"/>
                    </a:lnTo>
                    <a:lnTo>
                      <a:pt x="230" y="21"/>
                    </a:lnTo>
                    <a:lnTo>
                      <a:pt x="232" y="21"/>
                    </a:lnTo>
                    <a:lnTo>
                      <a:pt x="234" y="21"/>
                    </a:lnTo>
                    <a:lnTo>
                      <a:pt x="234" y="21"/>
                    </a:lnTo>
                    <a:lnTo>
                      <a:pt x="234" y="21"/>
                    </a:lnTo>
                    <a:lnTo>
                      <a:pt x="237" y="21"/>
                    </a:lnTo>
                    <a:lnTo>
                      <a:pt x="242" y="19"/>
                    </a:lnTo>
                    <a:lnTo>
                      <a:pt x="244" y="16"/>
                    </a:lnTo>
                    <a:lnTo>
                      <a:pt x="249" y="16"/>
                    </a:lnTo>
                    <a:lnTo>
                      <a:pt x="251" y="16"/>
                    </a:lnTo>
                    <a:lnTo>
                      <a:pt x="246" y="12"/>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86"/>
              <p:cNvSpPr>
                <a:spLocks noEditPoints="1"/>
              </p:cNvSpPr>
              <p:nvPr/>
            </p:nvSpPr>
            <p:spPr bwMode="auto">
              <a:xfrm>
                <a:off x="4438" y="2196"/>
                <a:ext cx="163" cy="396"/>
              </a:xfrm>
              <a:custGeom>
                <a:avLst/>
                <a:gdLst>
                  <a:gd name="T0" fmla="*/ 134 w 163"/>
                  <a:gd name="T1" fmla="*/ 372 h 396"/>
                  <a:gd name="T2" fmla="*/ 134 w 163"/>
                  <a:gd name="T3" fmla="*/ 363 h 396"/>
                  <a:gd name="T4" fmla="*/ 137 w 163"/>
                  <a:gd name="T5" fmla="*/ 355 h 396"/>
                  <a:gd name="T6" fmla="*/ 139 w 163"/>
                  <a:gd name="T7" fmla="*/ 351 h 396"/>
                  <a:gd name="T8" fmla="*/ 130 w 163"/>
                  <a:gd name="T9" fmla="*/ 346 h 396"/>
                  <a:gd name="T10" fmla="*/ 130 w 163"/>
                  <a:gd name="T11" fmla="*/ 341 h 396"/>
                  <a:gd name="T12" fmla="*/ 132 w 163"/>
                  <a:gd name="T13" fmla="*/ 327 h 396"/>
                  <a:gd name="T14" fmla="*/ 61 w 163"/>
                  <a:gd name="T15" fmla="*/ 270 h 396"/>
                  <a:gd name="T16" fmla="*/ 111 w 163"/>
                  <a:gd name="T17" fmla="*/ 256 h 396"/>
                  <a:gd name="T18" fmla="*/ 35 w 163"/>
                  <a:gd name="T19" fmla="*/ 206 h 396"/>
                  <a:gd name="T20" fmla="*/ 33 w 163"/>
                  <a:gd name="T21" fmla="*/ 194 h 396"/>
                  <a:gd name="T22" fmla="*/ 19 w 163"/>
                  <a:gd name="T23" fmla="*/ 180 h 396"/>
                  <a:gd name="T24" fmla="*/ 144 w 163"/>
                  <a:gd name="T25" fmla="*/ 149 h 396"/>
                  <a:gd name="T26" fmla="*/ 127 w 163"/>
                  <a:gd name="T27" fmla="*/ 138 h 396"/>
                  <a:gd name="T28" fmla="*/ 127 w 163"/>
                  <a:gd name="T29" fmla="*/ 116 h 396"/>
                  <a:gd name="T30" fmla="*/ 111 w 163"/>
                  <a:gd name="T31" fmla="*/ 100 h 396"/>
                  <a:gd name="T32" fmla="*/ 94 w 163"/>
                  <a:gd name="T33" fmla="*/ 97 h 396"/>
                  <a:gd name="T34" fmla="*/ 90 w 163"/>
                  <a:gd name="T35" fmla="*/ 78 h 396"/>
                  <a:gd name="T36" fmla="*/ 99 w 163"/>
                  <a:gd name="T37" fmla="*/ 64 h 396"/>
                  <a:gd name="T38" fmla="*/ 104 w 163"/>
                  <a:gd name="T39" fmla="*/ 45 h 396"/>
                  <a:gd name="T40" fmla="*/ 92 w 163"/>
                  <a:gd name="T41" fmla="*/ 22 h 396"/>
                  <a:gd name="T42" fmla="*/ 78 w 163"/>
                  <a:gd name="T43" fmla="*/ 5 h 396"/>
                  <a:gd name="T44" fmla="*/ 73 w 163"/>
                  <a:gd name="T45" fmla="*/ 12 h 396"/>
                  <a:gd name="T46" fmla="*/ 68 w 163"/>
                  <a:gd name="T47" fmla="*/ 31 h 396"/>
                  <a:gd name="T48" fmla="*/ 40 w 163"/>
                  <a:gd name="T49" fmla="*/ 40 h 396"/>
                  <a:gd name="T50" fmla="*/ 37 w 163"/>
                  <a:gd name="T51" fmla="*/ 62 h 396"/>
                  <a:gd name="T52" fmla="*/ 33 w 163"/>
                  <a:gd name="T53" fmla="*/ 83 h 396"/>
                  <a:gd name="T54" fmla="*/ 16 w 163"/>
                  <a:gd name="T55" fmla="*/ 97 h 396"/>
                  <a:gd name="T56" fmla="*/ 14 w 163"/>
                  <a:gd name="T57" fmla="*/ 116 h 396"/>
                  <a:gd name="T58" fmla="*/ 14 w 163"/>
                  <a:gd name="T59" fmla="*/ 140 h 396"/>
                  <a:gd name="T60" fmla="*/ 9 w 163"/>
                  <a:gd name="T61" fmla="*/ 154 h 396"/>
                  <a:gd name="T62" fmla="*/ 4 w 163"/>
                  <a:gd name="T63" fmla="*/ 161 h 396"/>
                  <a:gd name="T64" fmla="*/ 14 w 163"/>
                  <a:gd name="T65" fmla="*/ 178 h 396"/>
                  <a:gd name="T66" fmla="*/ 23 w 163"/>
                  <a:gd name="T67" fmla="*/ 183 h 396"/>
                  <a:gd name="T68" fmla="*/ 35 w 163"/>
                  <a:gd name="T69" fmla="*/ 192 h 396"/>
                  <a:gd name="T70" fmla="*/ 37 w 163"/>
                  <a:gd name="T71" fmla="*/ 204 h 396"/>
                  <a:gd name="T72" fmla="*/ 49 w 163"/>
                  <a:gd name="T73" fmla="*/ 220 h 396"/>
                  <a:gd name="T74" fmla="*/ 52 w 163"/>
                  <a:gd name="T75" fmla="*/ 265 h 396"/>
                  <a:gd name="T76" fmla="*/ 59 w 163"/>
                  <a:gd name="T77" fmla="*/ 268 h 396"/>
                  <a:gd name="T78" fmla="*/ 71 w 163"/>
                  <a:gd name="T79" fmla="*/ 263 h 396"/>
                  <a:gd name="T80" fmla="*/ 85 w 163"/>
                  <a:gd name="T81" fmla="*/ 258 h 396"/>
                  <a:gd name="T82" fmla="*/ 97 w 163"/>
                  <a:gd name="T83" fmla="*/ 251 h 396"/>
                  <a:gd name="T84" fmla="*/ 106 w 163"/>
                  <a:gd name="T85" fmla="*/ 251 h 396"/>
                  <a:gd name="T86" fmla="*/ 118 w 163"/>
                  <a:gd name="T87" fmla="*/ 280 h 396"/>
                  <a:gd name="T88" fmla="*/ 130 w 163"/>
                  <a:gd name="T89" fmla="*/ 315 h 396"/>
                  <a:gd name="T90" fmla="*/ 142 w 163"/>
                  <a:gd name="T91" fmla="*/ 344 h 396"/>
                  <a:gd name="T92" fmla="*/ 144 w 163"/>
                  <a:gd name="T93" fmla="*/ 355 h 396"/>
                  <a:gd name="T94" fmla="*/ 142 w 163"/>
                  <a:gd name="T95" fmla="*/ 386 h 396"/>
                  <a:gd name="T96" fmla="*/ 149 w 163"/>
                  <a:gd name="T97" fmla="*/ 374 h 396"/>
                  <a:gd name="T98" fmla="*/ 153 w 163"/>
                  <a:gd name="T99" fmla="*/ 339 h 396"/>
                  <a:gd name="T100" fmla="*/ 144 w 163"/>
                  <a:gd name="T101" fmla="*/ 310 h 396"/>
                  <a:gd name="T102" fmla="*/ 130 w 163"/>
                  <a:gd name="T103" fmla="*/ 280 h 396"/>
                  <a:gd name="T104" fmla="*/ 132 w 163"/>
                  <a:gd name="T105" fmla="*/ 258 h 396"/>
                  <a:gd name="T106" fmla="*/ 111 w 163"/>
                  <a:gd name="T107" fmla="*/ 228 h 396"/>
                  <a:gd name="T108" fmla="*/ 106 w 163"/>
                  <a:gd name="T109" fmla="*/ 213 h 396"/>
                  <a:gd name="T110" fmla="*/ 111 w 163"/>
                  <a:gd name="T111" fmla="*/ 187 h 396"/>
                  <a:gd name="T112" fmla="*/ 130 w 163"/>
                  <a:gd name="T113" fmla="*/ 180 h 396"/>
                  <a:gd name="T114" fmla="*/ 139 w 163"/>
                  <a:gd name="T115" fmla="*/ 175 h 396"/>
                  <a:gd name="T116" fmla="*/ 156 w 163"/>
                  <a:gd name="T117" fmla="*/ 164 h 396"/>
                  <a:gd name="T118" fmla="*/ 163 w 163"/>
                  <a:gd name="T119" fmla="*/ 147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3" h="396">
                    <a:moveTo>
                      <a:pt x="134" y="393"/>
                    </a:moveTo>
                    <a:lnTo>
                      <a:pt x="134" y="396"/>
                    </a:lnTo>
                    <a:lnTo>
                      <a:pt x="134" y="396"/>
                    </a:lnTo>
                    <a:lnTo>
                      <a:pt x="134" y="393"/>
                    </a:lnTo>
                    <a:lnTo>
                      <a:pt x="137" y="393"/>
                    </a:lnTo>
                    <a:lnTo>
                      <a:pt x="137" y="393"/>
                    </a:lnTo>
                    <a:lnTo>
                      <a:pt x="137" y="391"/>
                    </a:lnTo>
                    <a:lnTo>
                      <a:pt x="137" y="391"/>
                    </a:lnTo>
                    <a:lnTo>
                      <a:pt x="134" y="393"/>
                    </a:lnTo>
                    <a:close/>
                    <a:moveTo>
                      <a:pt x="134" y="377"/>
                    </a:moveTo>
                    <a:lnTo>
                      <a:pt x="137" y="377"/>
                    </a:lnTo>
                    <a:lnTo>
                      <a:pt x="137" y="377"/>
                    </a:lnTo>
                    <a:lnTo>
                      <a:pt x="137" y="377"/>
                    </a:lnTo>
                    <a:lnTo>
                      <a:pt x="134" y="372"/>
                    </a:lnTo>
                    <a:lnTo>
                      <a:pt x="134" y="372"/>
                    </a:lnTo>
                    <a:lnTo>
                      <a:pt x="132" y="372"/>
                    </a:lnTo>
                    <a:lnTo>
                      <a:pt x="132" y="374"/>
                    </a:lnTo>
                    <a:lnTo>
                      <a:pt x="134" y="374"/>
                    </a:lnTo>
                    <a:lnTo>
                      <a:pt x="134" y="374"/>
                    </a:lnTo>
                    <a:lnTo>
                      <a:pt x="134" y="377"/>
                    </a:lnTo>
                    <a:close/>
                    <a:moveTo>
                      <a:pt x="139" y="372"/>
                    </a:moveTo>
                    <a:lnTo>
                      <a:pt x="142" y="372"/>
                    </a:lnTo>
                    <a:lnTo>
                      <a:pt x="139" y="370"/>
                    </a:lnTo>
                    <a:lnTo>
                      <a:pt x="139" y="372"/>
                    </a:lnTo>
                    <a:lnTo>
                      <a:pt x="139" y="372"/>
                    </a:lnTo>
                    <a:lnTo>
                      <a:pt x="139" y="372"/>
                    </a:lnTo>
                    <a:close/>
                    <a:moveTo>
                      <a:pt x="132" y="363"/>
                    </a:moveTo>
                    <a:lnTo>
                      <a:pt x="134" y="363"/>
                    </a:lnTo>
                    <a:lnTo>
                      <a:pt x="134" y="363"/>
                    </a:lnTo>
                    <a:lnTo>
                      <a:pt x="134" y="363"/>
                    </a:lnTo>
                    <a:lnTo>
                      <a:pt x="134" y="360"/>
                    </a:lnTo>
                    <a:lnTo>
                      <a:pt x="134" y="360"/>
                    </a:lnTo>
                    <a:lnTo>
                      <a:pt x="134" y="355"/>
                    </a:lnTo>
                    <a:lnTo>
                      <a:pt x="134" y="355"/>
                    </a:lnTo>
                    <a:lnTo>
                      <a:pt x="134" y="355"/>
                    </a:lnTo>
                    <a:lnTo>
                      <a:pt x="134" y="358"/>
                    </a:lnTo>
                    <a:lnTo>
                      <a:pt x="134" y="360"/>
                    </a:lnTo>
                    <a:lnTo>
                      <a:pt x="132" y="363"/>
                    </a:lnTo>
                    <a:close/>
                    <a:moveTo>
                      <a:pt x="139" y="355"/>
                    </a:moveTo>
                    <a:lnTo>
                      <a:pt x="139" y="355"/>
                    </a:lnTo>
                    <a:lnTo>
                      <a:pt x="137" y="355"/>
                    </a:lnTo>
                    <a:lnTo>
                      <a:pt x="137" y="355"/>
                    </a:lnTo>
                    <a:lnTo>
                      <a:pt x="137" y="358"/>
                    </a:lnTo>
                    <a:lnTo>
                      <a:pt x="137" y="360"/>
                    </a:lnTo>
                    <a:lnTo>
                      <a:pt x="139" y="360"/>
                    </a:lnTo>
                    <a:lnTo>
                      <a:pt x="139" y="360"/>
                    </a:lnTo>
                    <a:lnTo>
                      <a:pt x="139" y="355"/>
                    </a:lnTo>
                    <a:close/>
                    <a:moveTo>
                      <a:pt x="130" y="355"/>
                    </a:moveTo>
                    <a:lnTo>
                      <a:pt x="130" y="355"/>
                    </a:lnTo>
                    <a:lnTo>
                      <a:pt x="130" y="353"/>
                    </a:lnTo>
                    <a:lnTo>
                      <a:pt x="130" y="358"/>
                    </a:lnTo>
                    <a:lnTo>
                      <a:pt x="132" y="358"/>
                    </a:lnTo>
                    <a:lnTo>
                      <a:pt x="130" y="358"/>
                    </a:lnTo>
                    <a:lnTo>
                      <a:pt x="130" y="355"/>
                    </a:lnTo>
                    <a:close/>
                    <a:moveTo>
                      <a:pt x="139" y="353"/>
                    </a:moveTo>
                    <a:lnTo>
                      <a:pt x="139" y="351"/>
                    </a:lnTo>
                    <a:lnTo>
                      <a:pt x="139" y="351"/>
                    </a:lnTo>
                    <a:lnTo>
                      <a:pt x="137" y="348"/>
                    </a:lnTo>
                    <a:lnTo>
                      <a:pt x="137" y="348"/>
                    </a:lnTo>
                    <a:lnTo>
                      <a:pt x="137" y="353"/>
                    </a:lnTo>
                    <a:lnTo>
                      <a:pt x="139" y="353"/>
                    </a:lnTo>
                    <a:lnTo>
                      <a:pt x="139" y="353"/>
                    </a:lnTo>
                    <a:close/>
                    <a:moveTo>
                      <a:pt x="130" y="346"/>
                    </a:moveTo>
                    <a:lnTo>
                      <a:pt x="130" y="346"/>
                    </a:lnTo>
                    <a:lnTo>
                      <a:pt x="130" y="344"/>
                    </a:lnTo>
                    <a:lnTo>
                      <a:pt x="130" y="344"/>
                    </a:lnTo>
                    <a:lnTo>
                      <a:pt x="130" y="344"/>
                    </a:lnTo>
                    <a:lnTo>
                      <a:pt x="130" y="344"/>
                    </a:lnTo>
                    <a:lnTo>
                      <a:pt x="130" y="346"/>
                    </a:lnTo>
                    <a:lnTo>
                      <a:pt x="130" y="346"/>
                    </a:lnTo>
                    <a:lnTo>
                      <a:pt x="130" y="348"/>
                    </a:lnTo>
                    <a:lnTo>
                      <a:pt x="132" y="348"/>
                    </a:lnTo>
                    <a:lnTo>
                      <a:pt x="132" y="348"/>
                    </a:lnTo>
                    <a:lnTo>
                      <a:pt x="130" y="346"/>
                    </a:lnTo>
                    <a:lnTo>
                      <a:pt x="130" y="346"/>
                    </a:lnTo>
                    <a:close/>
                    <a:moveTo>
                      <a:pt x="130" y="341"/>
                    </a:moveTo>
                    <a:lnTo>
                      <a:pt x="130" y="341"/>
                    </a:lnTo>
                    <a:lnTo>
                      <a:pt x="130" y="341"/>
                    </a:lnTo>
                    <a:lnTo>
                      <a:pt x="127" y="341"/>
                    </a:lnTo>
                    <a:lnTo>
                      <a:pt x="127" y="344"/>
                    </a:lnTo>
                    <a:lnTo>
                      <a:pt x="127" y="344"/>
                    </a:lnTo>
                    <a:lnTo>
                      <a:pt x="127" y="344"/>
                    </a:lnTo>
                    <a:lnTo>
                      <a:pt x="130" y="344"/>
                    </a:lnTo>
                    <a:lnTo>
                      <a:pt x="130" y="341"/>
                    </a:lnTo>
                    <a:close/>
                    <a:moveTo>
                      <a:pt x="134" y="344"/>
                    </a:moveTo>
                    <a:lnTo>
                      <a:pt x="134" y="344"/>
                    </a:lnTo>
                    <a:lnTo>
                      <a:pt x="137" y="341"/>
                    </a:lnTo>
                    <a:lnTo>
                      <a:pt x="137" y="339"/>
                    </a:lnTo>
                    <a:lnTo>
                      <a:pt x="137" y="339"/>
                    </a:lnTo>
                    <a:lnTo>
                      <a:pt x="134" y="339"/>
                    </a:lnTo>
                    <a:lnTo>
                      <a:pt x="134" y="336"/>
                    </a:lnTo>
                    <a:lnTo>
                      <a:pt x="134" y="336"/>
                    </a:lnTo>
                    <a:lnTo>
                      <a:pt x="134" y="336"/>
                    </a:lnTo>
                    <a:lnTo>
                      <a:pt x="134" y="339"/>
                    </a:lnTo>
                    <a:lnTo>
                      <a:pt x="134" y="344"/>
                    </a:lnTo>
                    <a:lnTo>
                      <a:pt x="134" y="344"/>
                    </a:lnTo>
                    <a:close/>
                    <a:moveTo>
                      <a:pt x="132" y="327"/>
                    </a:moveTo>
                    <a:lnTo>
                      <a:pt x="132" y="327"/>
                    </a:lnTo>
                    <a:lnTo>
                      <a:pt x="132" y="325"/>
                    </a:lnTo>
                    <a:lnTo>
                      <a:pt x="132" y="325"/>
                    </a:lnTo>
                    <a:lnTo>
                      <a:pt x="132" y="325"/>
                    </a:lnTo>
                    <a:lnTo>
                      <a:pt x="132" y="327"/>
                    </a:lnTo>
                    <a:lnTo>
                      <a:pt x="132" y="329"/>
                    </a:lnTo>
                    <a:lnTo>
                      <a:pt x="132" y="332"/>
                    </a:lnTo>
                    <a:lnTo>
                      <a:pt x="132" y="327"/>
                    </a:lnTo>
                    <a:close/>
                    <a:moveTo>
                      <a:pt x="61" y="270"/>
                    </a:moveTo>
                    <a:lnTo>
                      <a:pt x="61" y="270"/>
                    </a:lnTo>
                    <a:lnTo>
                      <a:pt x="61" y="270"/>
                    </a:lnTo>
                    <a:lnTo>
                      <a:pt x="61" y="270"/>
                    </a:lnTo>
                    <a:lnTo>
                      <a:pt x="63" y="268"/>
                    </a:lnTo>
                    <a:lnTo>
                      <a:pt x="63" y="268"/>
                    </a:lnTo>
                    <a:lnTo>
                      <a:pt x="61" y="270"/>
                    </a:lnTo>
                    <a:close/>
                    <a:moveTo>
                      <a:pt x="56" y="263"/>
                    </a:moveTo>
                    <a:lnTo>
                      <a:pt x="56" y="265"/>
                    </a:lnTo>
                    <a:lnTo>
                      <a:pt x="54" y="265"/>
                    </a:lnTo>
                    <a:lnTo>
                      <a:pt x="54" y="270"/>
                    </a:lnTo>
                    <a:lnTo>
                      <a:pt x="56" y="268"/>
                    </a:lnTo>
                    <a:lnTo>
                      <a:pt x="56" y="265"/>
                    </a:lnTo>
                    <a:lnTo>
                      <a:pt x="59" y="263"/>
                    </a:lnTo>
                    <a:lnTo>
                      <a:pt x="59" y="261"/>
                    </a:lnTo>
                    <a:lnTo>
                      <a:pt x="56" y="263"/>
                    </a:lnTo>
                    <a:close/>
                    <a:moveTo>
                      <a:pt x="113" y="256"/>
                    </a:moveTo>
                    <a:lnTo>
                      <a:pt x="111" y="256"/>
                    </a:lnTo>
                    <a:lnTo>
                      <a:pt x="111" y="256"/>
                    </a:lnTo>
                    <a:lnTo>
                      <a:pt x="111" y="256"/>
                    </a:lnTo>
                    <a:lnTo>
                      <a:pt x="111" y="256"/>
                    </a:lnTo>
                    <a:lnTo>
                      <a:pt x="111" y="258"/>
                    </a:lnTo>
                    <a:lnTo>
                      <a:pt x="111" y="261"/>
                    </a:lnTo>
                    <a:lnTo>
                      <a:pt x="113" y="261"/>
                    </a:lnTo>
                    <a:lnTo>
                      <a:pt x="113" y="258"/>
                    </a:lnTo>
                    <a:lnTo>
                      <a:pt x="113" y="256"/>
                    </a:lnTo>
                    <a:lnTo>
                      <a:pt x="113" y="256"/>
                    </a:lnTo>
                    <a:close/>
                    <a:moveTo>
                      <a:pt x="33" y="204"/>
                    </a:moveTo>
                    <a:lnTo>
                      <a:pt x="30" y="206"/>
                    </a:lnTo>
                    <a:lnTo>
                      <a:pt x="33" y="209"/>
                    </a:lnTo>
                    <a:lnTo>
                      <a:pt x="35" y="209"/>
                    </a:lnTo>
                    <a:lnTo>
                      <a:pt x="35" y="209"/>
                    </a:lnTo>
                    <a:lnTo>
                      <a:pt x="35" y="209"/>
                    </a:lnTo>
                    <a:lnTo>
                      <a:pt x="35" y="206"/>
                    </a:lnTo>
                    <a:lnTo>
                      <a:pt x="35" y="206"/>
                    </a:lnTo>
                    <a:lnTo>
                      <a:pt x="33" y="204"/>
                    </a:lnTo>
                    <a:close/>
                    <a:moveTo>
                      <a:pt x="35" y="194"/>
                    </a:moveTo>
                    <a:lnTo>
                      <a:pt x="35" y="197"/>
                    </a:lnTo>
                    <a:lnTo>
                      <a:pt x="37" y="194"/>
                    </a:lnTo>
                    <a:lnTo>
                      <a:pt x="37" y="194"/>
                    </a:lnTo>
                    <a:lnTo>
                      <a:pt x="37" y="194"/>
                    </a:lnTo>
                    <a:lnTo>
                      <a:pt x="37" y="194"/>
                    </a:lnTo>
                    <a:lnTo>
                      <a:pt x="35" y="192"/>
                    </a:lnTo>
                    <a:lnTo>
                      <a:pt x="35" y="192"/>
                    </a:lnTo>
                    <a:lnTo>
                      <a:pt x="33" y="190"/>
                    </a:lnTo>
                    <a:lnTo>
                      <a:pt x="33" y="192"/>
                    </a:lnTo>
                    <a:lnTo>
                      <a:pt x="33" y="192"/>
                    </a:lnTo>
                    <a:lnTo>
                      <a:pt x="33" y="192"/>
                    </a:lnTo>
                    <a:lnTo>
                      <a:pt x="33" y="194"/>
                    </a:lnTo>
                    <a:lnTo>
                      <a:pt x="35" y="194"/>
                    </a:lnTo>
                    <a:close/>
                    <a:moveTo>
                      <a:pt x="26" y="183"/>
                    </a:moveTo>
                    <a:lnTo>
                      <a:pt x="26" y="185"/>
                    </a:lnTo>
                    <a:lnTo>
                      <a:pt x="28" y="185"/>
                    </a:lnTo>
                    <a:lnTo>
                      <a:pt x="28" y="187"/>
                    </a:lnTo>
                    <a:lnTo>
                      <a:pt x="28" y="183"/>
                    </a:lnTo>
                    <a:lnTo>
                      <a:pt x="26" y="183"/>
                    </a:lnTo>
                    <a:close/>
                    <a:moveTo>
                      <a:pt x="19" y="180"/>
                    </a:moveTo>
                    <a:lnTo>
                      <a:pt x="16" y="180"/>
                    </a:lnTo>
                    <a:lnTo>
                      <a:pt x="16" y="180"/>
                    </a:lnTo>
                    <a:lnTo>
                      <a:pt x="19" y="185"/>
                    </a:lnTo>
                    <a:lnTo>
                      <a:pt x="19" y="185"/>
                    </a:lnTo>
                    <a:lnTo>
                      <a:pt x="19" y="183"/>
                    </a:lnTo>
                    <a:lnTo>
                      <a:pt x="19" y="180"/>
                    </a:lnTo>
                    <a:close/>
                    <a:moveTo>
                      <a:pt x="163" y="145"/>
                    </a:moveTo>
                    <a:lnTo>
                      <a:pt x="163" y="145"/>
                    </a:lnTo>
                    <a:lnTo>
                      <a:pt x="163" y="145"/>
                    </a:lnTo>
                    <a:lnTo>
                      <a:pt x="163" y="145"/>
                    </a:lnTo>
                    <a:lnTo>
                      <a:pt x="160" y="145"/>
                    </a:lnTo>
                    <a:lnTo>
                      <a:pt x="158" y="147"/>
                    </a:lnTo>
                    <a:lnTo>
                      <a:pt x="156" y="149"/>
                    </a:lnTo>
                    <a:lnTo>
                      <a:pt x="153" y="149"/>
                    </a:lnTo>
                    <a:lnTo>
                      <a:pt x="153" y="149"/>
                    </a:lnTo>
                    <a:lnTo>
                      <a:pt x="151" y="149"/>
                    </a:lnTo>
                    <a:lnTo>
                      <a:pt x="149" y="149"/>
                    </a:lnTo>
                    <a:lnTo>
                      <a:pt x="146" y="149"/>
                    </a:lnTo>
                    <a:lnTo>
                      <a:pt x="146" y="149"/>
                    </a:lnTo>
                    <a:lnTo>
                      <a:pt x="144" y="149"/>
                    </a:lnTo>
                    <a:lnTo>
                      <a:pt x="144" y="149"/>
                    </a:lnTo>
                    <a:lnTo>
                      <a:pt x="144" y="147"/>
                    </a:lnTo>
                    <a:lnTo>
                      <a:pt x="144" y="147"/>
                    </a:lnTo>
                    <a:lnTo>
                      <a:pt x="144" y="145"/>
                    </a:lnTo>
                    <a:lnTo>
                      <a:pt x="142" y="145"/>
                    </a:lnTo>
                    <a:lnTo>
                      <a:pt x="142" y="145"/>
                    </a:lnTo>
                    <a:lnTo>
                      <a:pt x="142" y="142"/>
                    </a:lnTo>
                    <a:lnTo>
                      <a:pt x="142" y="140"/>
                    </a:lnTo>
                    <a:lnTo>
                      <a:pt x="142" y="140"/>
                    </a:lnTo>
                    <a:lnTo>
                      <a:pt x="139" y="138"/>
                    </a:lnTo>
                    <a:lnTo>
                      <a:pt x="139" y="138"/>
                    </a:lnTo>
                    <a:lnTo>
                      <a:pt x="134" y="138"/>
                    </a:lnTo>
                    <a:lnTo>
                      <a:pt x="130" y="138"/>
                    </a:lnTo>
                    <a:lnTo>
                      <a:pt x="127" y="138"/>
                    </a:lnTo>
                    <a:lnTo>
                      <a:pt x="127" y="138"/>
                    </a:lnTo>
                    <a:lnTo>
                      <a:pt x="127" y="135"/>
                    </a:lnTo>
                    <a:lnTo>
                      <a:pt x="125" y="135"/>
                    </a:lnTo>
                    <a:lnTo>
                      <a:pt x="125" y="135"/>
                    </a:lnTo>
                    <a:lnTo>
                      <a:pt x="125" y="133"/>
                    </a:lnTo>
                    <a:lnTo>
                      <a:pt x="127" y="130"/>
                    </a:lnTo>
                    <a:lnTo>
                      <a:pt x="127" y="128"/>
                    </a:lnTo>
                    <a:lnTo>
                      <a:pt x="127" y="126"/>
                    </a:lnTo>
                    <a:lnTo>
                      <a:pt x="127" y="123"/>
                    </a:lnTo>
                    <a:lnTo>
                      <a:pt x="127" y="121"/>
                    </a:lnTo>
                    <a:lnTo>
                      <a:pt x="130" y="119"/>
                    </a:lnTo>
                    <a:lnTo>
                      <a:pt x="130" y="119"/>
                    </a:lnTo>
                    <a:lnTo>
                      <a:pt x="130" y="119"/>
                    </a:lnTo>
                    <a:lnTo>
                      <a:pt x="127" y="116"/>
                    </a:lnTo>
                    <a:lnTo>
                      <a:pt x="127" y="116"/>
                    </a:lnTo>
                    <a:lnTo>
                      <a:pt x="125" y="116"/>
                    </a:lnTo>
                    <a:lnTo>
                      <a:pt x="125" y="116"/>
                    </a:lnTo>
                    <a:lnTo>
                      <a:pt x="120" y="116"/>
                    </a:lnTo>
                    <a:lnTo>
                      <a:pt x="118" y="114"/>
                    </a:lnTo>
                    <a:lnTo>
                      <a:pt x="118" y="112"/>
                    </a:lnTo>
                    <a:lnTo>
                      <a:pt x="118" y="109"/>
                    </a:lnTo>
                    <a:lnTo>
                      <a:pt x="116" y="109"/>
                    </a:lnTo>
                    <a:lnTo>
                      <a:pt x="116" y="107"/>
                    </a:lnTo>
                    <a:lnTo>
                      <a:pt x="116" y="107"/>
                    </a:lnTo>
                    <a:lnTo>
                      <a:pt x="116" y="104"/>
                    </a:lnTo>
                    <a:lnTo>
                      <a:pt x="113" y="102"/>
                    </a:lnTo>
                    <a:lnTo>
                      <a:pt x="113" y="102"/>
                    </a:lnTo>
                    <a:lnTo>
                      <a:pt x="111" y="100"/>
                    </a:lnTo>
                    <a:lnTo>
                      <a:pt x="111" y="100"/>
                    </a:lnTo>
                    <a:lnTo>
                      <a:pt x="111" y="97"/>
                    </a:lnTo>
                    <a:lnTo>
                      <a:pt x="113" y="95"/>
                    </a:lnTo>
                    <a:lnTo>
                      <a:pt x="113" y="95"/>
                    </a:lnTo>
                    <a:lnTo>
                      <a:pt x="113" y="95"/>
                    </a:lnTo>
                    <a:lnTo>
                      <a:pt x="113" y="95"/>
                    </a:lnTo>
                    <a:lnTo>
                      <a:pt x="108" y="95"/>
                    </a:lnTo>
                    <a:lnTo>
                      <a:pt x="108" y="95"/>
                    </a:lnTo>
                    <a:lnTo>
                      <a:pt x="108" y="95"/>
                    </a:lnTo>
                    <a:lnTo>
                      <a:pt x="106" y="95"/>
                    </a:lnTo>
                    <a:lnTo>
                      <a:pt x="101" y="95"/>
                    </a:lnTo>
                    <a:lnTo>
                      <a:pt x="99" y="95"/>
                    </a:lnTo>
                    <a:lnTo>
                      <a:pt x="97" y="97"/>
                    </a:lnTo>
                    <a:lnTo>
                      <a:pt x="94" y="97"/>
                    </a:lnTo>
                    <a:lnTo>
                      <a:pt x="94" y="100"/>
                    </a:lnTo>
                    <a:lnTo>
                      <a:pt x="92" y="100"/>
                    </a:lnTo>
                    <a:lnTo>
                      <a:pt x="92" y="100"/>
                    </a:lnTo>
                    <a:lnTo>
                      <a:pt x="92" y="97"/>
                    </a:lnTo>
                    <a:lnTo>
                      <a:pt x="92" y="95"/>
                    </a:lnTo>
                    <a:lnTo>
                      <a:pt x="92" y="93"/>
                    </a:lnTo>
                    <a:lnTo>
                      <a:pt x="92" y="90"/>
                    </a:lnTo>
                    <a:lnTo>
                      <a:pt x="92" y="88"/>
                    </a:lnTo>
                    <a:lnTo>
                      <a:pt x="90" y="88"/>
                    </a:lnTo>
                    <a:lnTo>
                      <a:pt x="90" y="88"/>
                    </a:lnTo>
                    <a:lnTo>
                      <a:pt x="90" y="85"/>
                    </a:lnTo>
                    <a:lnTo>
                      <a:pt x="87" y="83"/>
                    </a:lnTo>
                    <a:lnTo>
                      <a:pt x="90" y="81"/>
                    </a:lnTo>
                    <a:lnTo>
                      <a:pt x="90" y="78"/>
                    </a:lnTo>
                    <a:lnTo>
                      <a:pt x="92" y="78"/>
                    </a:lnTo>
                    <a:lnTo>
                      <a:pt x="92" y="78"/>
                    </a:lnTo>
                    <a:lnTo>
                      <a:pt x="90" y="76"/>
                    </a:lnTo>
                    <a:lnTo>
                      <a:pt x="90" y="76"/>
                    </a:lnTo>
                    <a:lnTo>
                      <a:pt x="92" y="71"/>
                    </a:lnTo>
                    <a:lnTo>
                      <a:pt x="92" y="71"/>
                    </a:lnTo>
                    <a:lnTo>
                      <a:pt x="94" y="71"/>
                    </a:lnTo>
                    <a:lnTo>
                      <a:pt x="94" y="71"/>
                    </a:lnTo>
                    <a:lnTo>
                      <a:pt x="94" y="69"/>
                    </a:lnTo>
                    <a:lnTo>
                      <a:pt x="94" y="69"/>
                    </a:lnTo>
                    <a:lnTo>
                      <a:pt x="97" y="67"/>
                    </a:lnTo>
                    <a:lnTo>
                      <a:pt x="97" y="64"/>
                    </a:lnTo>
                    <a:lnTo>
                      <a:pt x="97" y="64"/>
                    </a:lnTo>
                    <a:lnTo>
                      <a:pt x="99" y="64"/>
                    </a:lnTo>
                    <a:lnTo>
                      <a:pt x="99" y="64"/>
                    </a:lnTo>
                    <a:lnTo>
                      <a:pt x="101" y="62"/>
                    </a:lnTo>
                    <a:lnTo>
                      <a:pt x="101" y="59"/>
                    </a:lnTo>
                    <a:lnTo>
                      <a:pt x="104" y="57"/>
                    </a:lnTo>
                    <a:lnTo>
                      <a:pt x="104" y="57"/>
                    </a:lnTo>
                    <a:lnTo>
                      <a:pt x="104" y="57"/>
                    </a:lnTo>
                    <a:lnTo>
                      <a:pt x="104" y="57"/>
                    </a:lnTo>
                    <a:lnTo>
                      <a:pt x="104" y="55"/>
                    </a:lnTo>
                    <a:lnTo>
                      <a:pt x="101" y="52"/>
                    </a:lnTo>
                    <a:lnTo>
                      <a:pt x="101" y="52"/>
                    </a:lnTo>
                    <a:lnTo>
                      <a:pt x="104" y="52"/>
                    </a:lnTo>
                    <a:lnTo>
                      <a:pt x="104" y="50"/>
                    </a:lnTo>
                    <a:lnTo>
                      <a:pt x="104" y="48"/>
                    </a:lnTo>
                    <a:lnTo>
                      <a:pt x="104" y="45"/>
                    </a:lnTo>
                    <a:lnTo>
                      <a:pt x="104" y="43"/>
                    </a:lnTo>
                    <a:lnTo>
                      <a:pt x="101" y="40"/>
                    </a:lnTo>
                    <a:lnTo>
                      <a:pt x="101" y="38"/>
                    </a:lnTo>
                    <a:lnTo>
                      <a:pt x="101" y="36"/>
                    </a:lnTo>
                    <a:lnTo>
                      <a:pt x="101" y="33"/>
                    </a:lnTo>
                    <a:lnTo>
                      <a:pt x="99" y="29"/>
                    </a:lnTo>
                    <a:lnTo>
                      <a:pt x="99" y="29"/>
                    </a:lnTo>
                    <a:lnTo>
                      <a:pt x="99" y="24"/>
                    </a:lnTo>
                    <a:lnTo>
                      <a:pt x="97" y="22"/>
                    </a:lnTo>
                    <a:lnTo>
                      <a:pt x="97" y="22"/>
                    </a:lnTo>
                    <a:lnTo>
                      <a:pt x="94" y="19"/>
                    </a:lnTo>
                    <a:lnTo>
                      <a:pt x="94" y="19"/>
                    </a:lnTo>
                    <a:lnTo>
                      <a:pt x="92" y="19"/>
                    </a:lnTo>
                    <a:lnTo>
                      <a:pt x="92" y="22"/>
                    </a:lnTo>
                    <a:lnTo>
                      <a:pt x="92" y="22"/>
                    </a:lnTo>
                    <a:lnTo>
                      <a:pt x="92" y="22"/>
                    </a:lnTo>
                    <a:lnTo>
                      <a:pt x="90" y="22"/>
                    </a:lnTo>
                    <a:lnTo>
                      <a:pt x="90" y="19"/>
                    </a:lnTo>
                    <a:lnTo>
                      <a:pt x="87" y="12"/>
                    </a:lnTo>
                    <a:lnTo>
                      <a:pt x="85" y="12"/>
                    </a:lnTo>
                    <a:lnTo>
                      <a:pt x="85" y="10"/>
                    </a:lnTo>
                    <a:lnTo>
                      <a:pt x="85" y="7"/>
                    </a:lnTo>
                    <a:lnTo>
                      <a:pt x="82" y="7"/>
                    </a:lnTo>
                    <a:lnTo>
                      <a:pt x="80" y="5"/>
                    </a:lnTo>
                    <a:lnTo>
                      <a:pt x="80" y="5"/>
                    </a:lnTo>
                    <a:lnTo>
                      <a:pt x="80" y="5"/>
                    </a:lnTo>
                    <a:lnTo>
                      <a:pt x="78" y="5"/>
                    </a:lnTo>
                    <a:lnTo>
                      <a:pt x="78" y="5"/>
                    </a:lnTo>
                    <a:lnTo>
                      <a:pt x="78" y="3"/>
                    </a:lnTo>
                    <a:lnTo>
                      <a:pt x="75" y="3"/>
                    </a:lnTo>
                    <a:lnTo>
                      <a:pt x="75" y="3"/>
                    </a:lnTo>
                    <a:lnTo>
                      <a:pt x="75" y="0"/>
                    </a:lnTo>
                    <a:lnTo>
                      <a:pt x="73" y="0"/>
                    </a:lnTo>
                    <a:lnTo>
                      <a:pt x="73" y="3"/>
                    </a:lnTo>
                    <a:lnTo>
                      <a:pt x="73" y="3"/>
                    </a:lnTo>
                    <a:lnTo>
                      <a:pt x="73" y="5"/>
                    </a:lnTo>
                    <a:lnTo>
                      <a:pt x="71" y="7"/>
                    </a:lnTo>
                    <a:lnTo>
                      <a:pt x="71" y="7"/>
                    </a:lnTo>
                    <a:lnTo>
                      <a:pt x="71" y="10"/>
                    </a:lnTo>
                    <a:lnTo>
                      <a:pt x="71" y="10"/>
                    </a:lnTo>
                    <a:lnTo>
                      <a:pt x="71" y="12"/>
                    </a:lnTo>
                    <a:lnTo>
                      <a:pt x="73" y="12"/>
                    </a:lnTo>
                    <a:lnTo>
                      <a:pt x="73" y="14"/>
                    </a:lnTo>
                    <a:lnTo>
                      <a:pt x="71" y="14"/>
                    </a:lnTo>
                    <a:lnTo>
                      <a:pt x="71" y="14"/>
                    </a:lnTo>
                    <a:lnTo>
                      <a:pt x="68" y="14"/>
                    </a:lnTo>
                    <a:lnTo>
                      <a:pt x="68" y="17"/>
                    </a:lnTo>
                    <a:lnTo>
                      <a:pt x="66" y="19"/>
                    </a:lnTo>
                    <a:lnTo>
                      <a:pt x="66" y="19"/>
                    </a:lnTo>
                    <a:lnTo>
                      <a:pt x="66" y="22"/>
                    </a:lnTo>
                    <a:lnTo>
                      <a:pt x="66" y="22"/>
                    </a:lnTo>
                    <a:lnTo>
                      <a:pt x="66" y="24"/>
                    </a:lnTo>
                    <a:lnTo>
                      <a:pt x="71" y="29"/>
                    </a:lnTo>
                    <a:lnTo>
                      <a:pt x="71" y="31"/>
                    </a:lnTo>
                    <a:lnTo>
                      <a:pt x="71" y="31"/>
                    </a:lnTo>
                    <a:lnTo>
                      <a:pt x="68" y="31"/>
                    </a:lnTo>
                    <a:lnTo>
                      <a:pt x="66" y="29"/>
                    </a:lnTo>
                    <a:lnTo>
                      <a:pt x="66" y="26"/>
                    </a:lnTo>
                    <a:lnTo>
                      <a:pt x="63" y="26"/>
                    </a:lnTo>
                    <a:lnTo>
                      <a:pt x="63" y="26"/>
                    </a:lnTo>
                    <a:lnTo>
                      <a:pt x="56" y="26"/>
                    </a:lnTo>
                    <a:lnTo>
                      <a:pt x="54" y="29"/>
                    </a:lnTo>
                    <a:lnTo>
                      <a:pt x="52" y="29"/>
                    </a:lnTo>
                    <a:lnTo>
                      <a:pt x="52" y="31"/>
                    </a:lnTo>
                    <a:lnTo>
                      <a:pt x="49" y="33"/>
                    </a:lnTo>
                    <a:lnTo>
                      <a:pt x="49" y="33"/>
                    </a:lnTo>
                    <a:lnTo>
                      <a:pt x="47" y="33"/>
                    </a:lnTo>
                    <a:lnTo>
                      <a:pt x="42" y="38"/>
                    </a:lnTo>
                    <a:lnTo>
                      <a:pt x="40" y="40"/>
                    </a:lnTo>
                    <a:lnTo>
                      <a:pt x="40" y="40"/>
                    </a:lnTo>
                    <a:lnTo>
                      <a:pt x="37" y="43"/>
                    </a:lnTo>
                    <a:lnTo>
                      <a:pt x="37" y="43"/>
                    </a:lnTo>
                    <a:lnTo>
                      <a:pt x="37" y="45"/>
                    </a:lnTo>
                    <a:lnTo>
                      <a:pt x="37" y="48"/>
                    </a:lnTo>
                    <a:lnTo>
                      <a:pt x="37" y="50"/>
                    </a:lnTo>
                    <a:lnTo>
                      <a:pt x="40" y="52"/>
                    </a:lnTo>
                    <a:lnTo>
                      <a:pt x="40" y="52"/>
                    </a:lnTo>
                    <a:lnTo>
                      <a:pt x="40" y="55"/>
                    </a:lnTo>
                    <a:lnTo>
                      <a:pt x="40" y="55"/>
                    </a:lnTo>
                    <a:lnTo>
                      <a:pt x="37" y="55"/>
                    </a:lnTo>
                    <a:lnTo>
                      <a:pt x="37" y="57"/>
                    </a:lnTo>
                    <a:lnTo>
                      <a:pt x="37" y="59"/>
                    </a:lnTo>
                    <a:lnTo>
                      <a:pt x="37" y="62"/>
                    </a:lnTo>
                    <a:lnTo>
                      <a:pt x="37" y="62"/>
                    </a:lnTo>
                    <a:lnTo>
                      <a:pt x="35" y="64"/>
                    </a:lnTo>
                    <a:lnTo>
                      <a:pt x="33" y="67"/>
                    </a:lnTo>
                    <a:lnTo>
                      <a:pt x="33" y="67"/>
                    </a:lnTo>
                    <a:lnTo>
                      <a:pt x="33" y="69"/>
                    </a:lnTo>
                    <a:lnTo>
                      <a:pt x="33" y="71"/>
                    </a:lnTo>
                    <a:lnTo>
                      <a:pt x="33" y="71"/>
                    </a:lnTo>
                    <a:lnTo>
                      <a:pt x="33" y="71"/>
                    </a:lnTo>
                    <a:lnTo>
                      <a:pt x="33" y="71"/>
                    </a:lnTo>
                    <a:lnTo>
                      <a:pt x="35" y="74"/>
                    </a:lnTo>
                    <a:lnTo>
                      <a:pt x="35" y="74"/>
                    </a:lnTo>
                    <a:lnTo>
                      <a:pt x="35" y="74"/>
                    </a:lnTo>
                    <a:lnTo>
                      <a:pt x="35" y="76"/>
                    </a:lnTo>
                    <a:lnTo>
                      <a:pt x="35" y="81"/>
                    </a:lnTo>
                    <a:lnTo>
                      <a:pt x="33" y="83"/>
                    </a:lnTo>
                    <a:lnTo>
                      <a:pt x="33" y="85"/>
                    </a:lnTo>
                    <a:lnTo>
                      <a:pt x="30" y="88"/>
                    </a:lnTo>
                    <a:lnTo>
                      <a:pt x="30" y="90"/>
                    </a:lnTo>
                    <a:lnTo>
                      <a:pt x="30" y="95"/>
                    </a:lnTo>
                    <a:lnTo>
                      <a:pt x="30" y="97"/>
                    </a:lnTo>
                    <a:lnTo>
                      <a:pt x="28" y="100"/>
                    </a:lnTo>
                    <a:lnTo>
                      <a:pt x="28" y="100"/>
                    </a:lnTo>
                    <a:lnTo>
                      <a:pt x="26" y="100"/>
                    </a:lnTo>
                    <a:lnTo>
                      <a:pt x="23" y="97"/>
                    </a:lnTo>
                    <a:lnTo>
                      <a:pt x="21" y="97"/>
                    </a:lnTo>
                    <a:lnTo>
                      <a:pt x="21" y="97"/>
                    </a:lnTo>
                    <a:lnTo>
                      <a:pt x="19" y="97"/>
                    </a:lnTo>
                    <a:lnTo>
                      <a:pt x="19" y="97"/>
                    </a:lnTo>
                    <a:lnTo>
                      <a:pt x="16" y="97"/>
                    </a:lnTo>
                    <a:lnTo>
                      <a:pt x="16" y="97"/>
                    </a:lnTo>
                    <a:lnTo>
                      <a:pt x="14" y="95"/>
                    </a:lnTo>
                    <a:lnTo>
                      <a:pt x="14" y="95"/>
                    </a:lnTo>
                    <a:lnTo>
                      <a:pt x="14" y="97"/>
                    </a:lnTo>
                    <a:lnTo>
                      <a:pt x="16" y="102"/>
                    </a:lnTo>
                    <a:lnTo>
                      <a:pt x="16" y="104"/>
                    </a:lnTo>
                    <a:lnTo>
                      <a:pt x="16" y="107"/>
                    </a:lnTo>
                    <a:lnTo>
                      <a:pt x="16" y="112"/>
                    </a:lnTo>
                    <a:lnTo>
                      <a:pt x="16" y="116"/>
                    </a:lnTo>
                    <a:lnTo>
                      <a:pt x="16" y="116"/>
                    </a:lnTo>
                    <a:lnTo>
                      <a:pt x="16" y="116"/>
                    </a:lnTo>
                    <a:lnTo>
                      <a:pt x="16" y="119"/>
                    </a:lnTo>
                    <a:lnTo>
                      <a:pt x="14" y="116"/>
                    </a:lnTo>
                    <a:lnTo>
                      <a:pt x="14" y="116"/>
                    </a:lnTo>
                    <a:lnTo>
                      <a:pt x="14" y="119"/>
                    </a:lnTo>
                    <a:lnTo>
                      <a:pt x="14" y="121"/>
                    </a:lnTo>
                    <a:lnTo>
                      <a:pt x="14" y="121"/>
                    </a:lnTo>
                    <a:lnTo>
                      <a:pt x="14" y="123"/>
                    </a:lnTo>
                    <a:lnTo>
                      <a:pt x="14" y="126"/>
                    </a:lnTo>
                    <a:lnTo>
                      <a:pt x="14" y="128"/>
                    </a:lnTo>
                    <a:lnTo>
                      <a:pt x="16" y="130"/>
                    </a:lnTo>
                    <a:lnTo>
                      <a:pt x="16" y="133"/>
                    </a:lnTo>
                    <a:lnTo>
                      <a:pt x="16" y="135"/>
                    </a:lnTo>
                    <a:lnTo>
                      <a:pt x="16" y="135"/>
                    </a:lnTo>
                    <a:lnTo>
                      <a:pt x="14" y="135"/>
                    </a:lnTo>
                    <a:lnTo>
                      <a:pt x="14" y="135"/>
                    </a:lnTo>
                    <a:lnTo>
                      <a:pt x="14" y="135"/>
                    </a:lnTo>
                    <a:lnTo>
                      <a:pt x="14" y="140"/>
                    </a:lnTo>
                    <a:lnTo>
                      <a:pt x="11" y="140"/>
                    </a:lnTo>
                    <a:lnTo>
                      <a:pt x="11" y="140"/>
                    </a:lnTo>
                    <a:lnTo>
                      <a:pt x="9" y="138"/>
                    </a:lnTo>
                    <a:lnTo>
                      <a:pt x="9" y="135"/>
                    </a:lnTo>
                    <a:lnTo>
                      <a:pt x="7" y="135"/>
                    </a:lnTo>
                    <a:lnTo>
                      <a:pt x="7" y="138"/>
                    </a:lnTo>
                    <a:lnTo>
                      <a:pt x="7" y="138"/>
                    </a:lnTo>
                    <a:lnTo>
                      <a:pt x="7" y="140"/>
                    </a:lnTo>
                    <a:lnTo>
                      <a:pt x="7" y="140"/>
                    </a:lnTo>
                    <a:lnTo>
                      <a:pt x="7" y="140"/>
                    </a:lnTo>
                    <a:lnTo>
                      <a:pt x="7" y="147"/>
                    </a:lnTo>
                    <a:lnTo>
                      <a:pt x="7" y="149"/>
                    </a:lnTo>
                    <a:lnTo>
                      <a:pt x="9" y="152"/>
                    </a:lnTo>
                    <a:lnTo>
                      <a:pt x="9" y="154"/>
                    </a:lnTo>
                    <a:lnTo>
                      <a:pt x="9" y="154"/>
                    </a:lnTo>
                    <a:lnTo>
                      <a:pt x="7" y="154"/>
                    </a:lnTo>
                    <a:lnTo>
                      <a:pt x="7" y="154"/>
                    </a:lnTo>
                    <a:lnTo>
                      <a:pt x="7" y="152"/>
                    </a:lnTo>
                    <a:lnTo>
                      <a:pt x="4" y="152"/>
                    </a:lnTo>
                    <a:lnTo>
                      <a:pt x="2" y="152"/>
                    </a:lnTo>
                    <a:lnTo>
                      <a:pt x="2" y="152"/>
                    </a:lnTo>
                    <a:lnTo>
                      <a:pt x="0" y="152"/>
                    </a:lnTo>
                    <a:lnTo>
                      <a:pt x="0" y="154"/>
                    </a:lnTo>
                    <a:lnTo>
                      <a:pt x="2" y="157"/>
                    </a:lnTo>
                    <a:lnTo>
                      <a:pt x="2" y="159"/>
                    </a:lnTo>
                    <a:lnTo>
                      <a:pt x="2" y="159"/>
                    </a:lnTo>
                    <a:lnTo>
                      <a:pt x="2" y="159"/>
                    </a:lnTo>
                    <a:lnTo>
                      <a:pt x="4" y="161"/>
                    </a:lnTo>
                    <a:lnTo>
                      <a:pt x="4" y="164"/>
                    </a:lnTo>
                    <a:lnTo>
                      <a:pt x="4" y="164"/>
                    </a:lnTo>
                    <a:lnTo>
                      <a:pt x="7" y="166"/>
                    </a:lnTo>
                    <a:lnTo>
                      <a:pt x="11" y="171"/>
                    </a:lnTo>
                    <a:lnTo>
                      <a:pt x="14" y="175"/>
                    </a:lnTo>
                    <a:lnTo>
                      <a:pt x="14" y="171"/>
                    </a:lnTo>
                    <a:lnTo>
                      <a:pt x="11" y="168"/>
                    </a:lnTo>
                    <a:lnTo>
                      <a:pt x="11" y="168"/>
                    </a:lnTo>
                    <a:lnTo>
                      <a:pt x="14" y="171"/>
                    </a:lnTo>
                    <a:lnTo>
                      <a:pt x="14" y="173"/>
                    </a:lnTo>
                    <a:lnTo>
                      <a:pt x="16" y="173"/>
                    </a:lnTo>
                    <a:lnTo>
                      <a:pt x="16" y="175"/>
                    </a:lnTo>
                    <a:lnTo>
                      <a:pt x="16" y="175"/>
                    </a:lnTo>
                    <a:lnTo>
                      <a:pt x="14" y="178"/>
                    </a:lnTo>
                    <a:lnTo>
                      <a:pt x="16" y="178"/>
                    </a:lnTo>
                    <a:lnTo>
                      <a:pt x="16" y="178"/>
                    </a:lnTo>
                    <a:lnTo>
                      <a:pt x="19" y="175"/>
                    </a:lnTo>
                    <a:lnTo>
                      <a:pt x="19" y="173"/>
                    </a:lnTo>
                    <a:lnTo>
                      <a:pt x="19" y="173"/>
                    </a:lnTo>
                    <a:lnTo>
                      <a:pt x="19" y="173"/>
                    </a:lnTo>
                    <a:lnTo>
                      <a:pt x="19" y="178"/>
                    </a:lnTo>
                    <a:lnTo>
                      <a:pt x="19" y="178"/>
                    </a:lnTo>
                    <a:lnTo>
                      <a:pt x="21" y="178"/>
                    </a:lnTo>
                    <a:lnTo>
                      <a:pt x="19" y="178"/>
                    </a:lnTo>
                    <a:lnTo>
                      <a:pt x="19" y="180"/>
                    </a:lnTo>
                    <a:lnTo>
                      <a:pt x="21" y="185"/>
                    </a:lnTo>
                    <a:lnTo>
                      <a:pt x="23" y="185"/>
                    </a:lnTo>
                    <a:lnTo>
                      <a:pt x="23" y="183"/>
                    </a:lnTo>
                    <a:lnTo>
                      <a:pt x="21" y="180"/>
                    </a:lnTo>
                    <a:lnTo>
                      <a:pt x="23" y="180"/>
                    </a:lnTo>
                    <a:lnTo>
                      <a:pt x="26" y="180"/>
                    </a:lnTo>
                    <a:lnTo>
                      <a:pt x="26" y="180"/>
                    </a:lnTo>
                    <a:lnTo>
                      <a:pt x="26" y="180"/>
                    </a:lnTo>
                    <a:lnTo>
                      <a:pt x="30" y="183"/>
                    </a:lnTo>
                    <a:lnTo>
                      <a:pt x="33" y="183"/>
                    </a:lnTo>
                    <a:lnTo>
                      <a:pt x="30" y="185"/>
                    </a:lnTo>
                    <a:lnTo>
                      <a:pt x="30" y="185"/>
                    </a:lnTo>
                    <a:lnTo>
                      <a:pt x="33" y="187"/>
                    </a:lnTo>
                    <a:lnTo>
                      <a:pt x="33" y="187"/>
                    </a:lnTo>
                    <a:lnTo>
                      <a:pt x="33" y="190"/>
                    </a:lnTo>
                    <a:lnTo>
                      <a:pt x="33" y="190"/>
                    </a:lnTo>
                    <a:lnTo>
                      <a:pt x="35" y="192"/>
                    </a:lnTo>
                    <a:lnTo>
                      <a:pt x="37" y="192"/>
                    </a:lnTo>
                    <a:lnTo>
                      <a:pt x="37" y="192"/>
                    </a:lnTo>
                    <a:lnTo>
                      <a:pt x="37" y="192"/>
                    </a:lnTo>
                    <a:lnTo>
                      <a:pt x="37" y="194"/>
                    </a:lnTo>
                    <a:lnTo>
                      <a:pt x="37" y="197"/>
                    </a:lnTo>
                    <a:lnTo>
                      <a:pt x="35" y="197"/>
                    </a:lnTo>
                    <a:lnTo>
                      <a:pt x="35" y="197"/>
                    </a:lnTo>
                    <a:lnTo>
                      <a:pt x="30" y="194"/>
                    </a:lnTo>
                    <a:lnTo>
                      <a:pt x="30" y="194"/>
                    </a:lnTo>
                    <a:lnTo>
                      <a:pt x="30" y="194"/>
                    </a:lnTo>
                    <a:lnTo>
                      <a:pt x="33" y="199"/>
                    </a:lnTo>
                    <a:lnTo>
                      <a:pt x="35" y="201"/>
                    </a:lnTo>
                    <a:lnTo>
                      <a:pt x="35" y="204"/>
                    </a:lnTo>
                    <a:lnTo>
                      <a:pt x="37" y="204"/>
                    </a:lnTo>
                    <a:lnTo>
                      <a:pt x="40" y="204"/>
                    </a:lnTo>
                    <a:lnTo>
                      <a:pt x="40" y="201"/>
                    </a:lnTo>
                    <a:lnTo>
                      <a:pt x="37" y="199"/>
                    </a:lnTo>
                    <a:lnTo>
                      <a:pt x="40" y="199"/>
                    </a:lnTo>
                    <a:lnTo>
                      <a:pt x="40" y="197"/>
                    </a:lnTo>
                    <a:lnTo>
                      <a:pt x="40" y="197"/>
                    </a:lnTo>
                    <a:lnTo>
                      <a:pt x="40" y="199"/>
                    </a:lnTo>
                    <a:lnTo>
                      <a:pt x="42" y="204"/>
                    </a:lnTo>
                    <a:lnTo>
                      <a:pt x="42" y="206"/>
                    </a:lnTo>
                    <a:lnTo>
                      <a:pt x="45" y="209"/>
                    </a:lnTo>
                    <a:lnTo>
                      <a:pt x="45" y="209"/>
                    </a:lnTo>
                    <a:lnTo>
                      <a:pt x="45" y="211"/>
                    </a:lnTo>
                    <a:lnTo>
                      <a:pt x="47" y="213"/>
                    </a:lnTo>
                    <a:lnTo>
                      <a:pt x="49" y="220"/>
                    </a:lnTo>
                    <a:lnTo>
                      <a:pt x="52" y="228"/>
                    </a:lnTo>
                    <a:lnTo>
                      <a:pt x="54" y="230"/>
                    </a:lnTo>
                    <a:lnTo>
                      <a:pt x="54" y="232"/>
                    </a:lnTo>
                    <a:lnTo>
                      <a:pt x="54" y="237"/>
                    </a:lnTo>
                    <a:lnTo>
                      <a:pt x="54" y="242"/>
                    </a:lnTo>
                    <a:lnTo>
                      <a:pt x="54" y="242"/>
                    </a:lnTo>
                    <a:lnTo>
                      <a:pt x="54" y="246"/>
                    </a:lnTo>
                    <a:lnTo>
                      <a:pt x="52" y="246"/>
                    </a:lnTo>
                    <a:lnTo>
                      <a:pt x="52" y="251"/>
                    </a:lnTo>
                    <a:lnTo>
                      <a:pt x="52" y="254"/>
                    </a:lnTo>
                    <a:lnTo>
                      <a:pt x="52" y="256"/>
                    </a:lnTo>
                    <a:lnTo>
                      <a:pt x="52" y="263"/>
                    </a:lnTo>
                    <a:lnTo>
                      <a:pt x="52" y="265"/>
                    </a:lnTo>
                    <a:lnTo>
                      <a:pt x="52" y="265"/>
                    </a:lnTo>
                    <a:lnTo>
                      <a:pt x="54" y="263"/>
                    </a:lnTo>
                    <a:lnTo>
                      <a:pt x="56" y="263"/>
                    </a:lnTo>
                    <a:lnTo>
                      <a:pt x="56" y="261"/>
                    </a:lnTo>
                    <a:lnTo>
                      <a:pt x="59" y="258"/>
                    </a:lnTo>
                    <a:lnTo>
                      <a:pt x="59" y="258"/>
                    </a:lnTo>
                    <a:lnTo>
                      <a:pt x="59" y="256"/>
                    </a:lnTo>
                    <a:lnTo>
                      <a:pt x="59" y="256"/>
                    </a:lnTo>
                    <a:lnTo>
                      <a:pt x="59" y="256"/>
                    </a:lnTo>
                    <a:lnTo>
                      <a:pt x="59" y="258"/>
                    </a:lnTo>
                    <a:lnTo>
                      <a:pt x="59" y="261"/>
                    </a:lnTo>
                    <a:lnTo>
                      <a:pt x="59" y="263"/>
                    </a:lnTo>
                    <a:lnTo>
                      <a:pt x="59" y="265"/>
                    </a:lnTo>
                    <a:lnTo>
                      <a:pt x="59" y="265"/>
                    </a:lnTo>
                    <a:lnTo>
                      <a:pt x="59" y="268"/>
                    </a:lnTo>
                    <a:lnTo>
                      <a:pt x="61" y="265"/>
                    </a:lnTo>
                    <a:lnTo>
                      <a:pt x="63" y="265"/>
                    </a:lnTo>
                    <a:lnTo>
                      <a:pt x="63" y="263"/>
                    </a:lnTo>
                    <a:lnTo>
                      <a:pt x="63" y="263"/>
                    </a:lnTo>
                    <a:lnTo>
                      <a:pt x="63" y="263"/>
                    </a:lnTo>
                    <a:lnTo>
                      <a:pt x="63" y="263"/>
                    </a:lnTo>
                    <a:lnTo>
                      <a:pt x="63" y="265"/>
                    </a:lnTo>
                    <a:lnTo>
                      <a:pt x="63" y="265"/>
                    </a:lnTo>
                    <a:lnTo>
                      <a:pt x="66" y="270"/>
                    </a:lnTo>
                    <a:lnTo>
                      <a:pt x="68" y="270"/>
                    </a:lnTo>
                    <a:lnTo>
                      <a:pt x="68" y="270"/>
                    </a:lnTo>
                    <a:lnTo>
                      <a:pt x="71" y="268"/>
                    </a:lnTo>
                    <a:lnTo>
                      <a:pt x="71" y="265"/>
                    </a:lnTo>
                    <a:lnTo>
                      <a:pt x="71" y="263"/>
                    </a:lnTo>
                    <a:lnTo>
                      <a:pt x="73" y="265"/>
                    </a:lnTo>
                    <a:lnTo>
                      <a:pt x="71" y="268"/>
                    </a:lnTo>
                    <a:lnTo>
                      <a:pt x="71" y="270"/>
                    </a:lnTo>
                    <a:lnTo>
                      <a:pt x="73" y="273"/>
                    </a:lnTo>
                    <a:lnTo>
                      <a:pt x="73" y="273"/>
                    </a:lnTo>
                    <a:lnTo>
                      <a:pt x="75" y="270"/>
                    </a:lnTo>
                    <a:lnTo>
                      <a:pt x="78" y="265"/>
                    </a:lnTo>
                    <a:lnTo>
                      <a:pt x="78" y="265"/>
                    </a:lnTo>
                    <a:lnTo>
                      <a:pt x="80" y="263"/>
                    </a:lnTo>
                    <a:lnTo>
                      <a:pt x="82" y="261"/>
                    </a:lnTo>
                    <a:lnTo>
                      <a:pt x="85" y="261"/>
                    </a:lnTo>
                    <a:lnTo>
                      <a:pt x="85" y="258"/>
                    </a:lnTo>
                    <a:lnTo>
                      <a:pt x="85" y="258"/>
                    </a:lnTo>
                    <a:lnTo>
                      <a:pt x="85" y="258"/>
                    </a:lnTo>
                    <a:lnTo>
                      <a:pt x="90" y="258"/>
                    </a:lnTo>
                    <a:lnTo>
                      <a:pt x="90" y="256"/>
                    </a:lnTo>
                    <a:lnTo>
                      <a:pt x="87" y="254"/>
                    </a:lnTo>
                    <a:lnTo>
                      <a:pt x="87" y="254"/>
                    </a:lnTo>
                    <a:lnTo>
                      <a:pt x="85" y="249"/>
                    </a:lnTo>
                    <a:lnTo>
                      <a:pt x="87" y="249"/>
                    </a:lnTo>
                    <a:lnTo>
                      <a:pt x="87" y="249"/>
                    </a:lnTo>
                    <a:lnTo>
                      <a:pt x="87" y="251"/>
                    </a:lnTo>
                    <a:lnTo>
                      <a:pt x="87" y="254"/>
                    </a:lnTo>
                    <a:lnTo>
                      <a:pt x="90" y="256"/>
                    </a:lnTo>
                    <a:lnTo>
                      <a:pt x="90" y="256"/>
                    </a:lnTo>
                    <a:lnTo>
                      <a:pt x="92" y="256"/>
                    </a:lnTo>
                    <a:lnTo>
                      <a:pt x="94" y="254"/>
                    </a:lnTo>
                    <a:lnTo>
                      <a:pt x="97" y="251"/>
                    </a:lnTo>
                    <a:lnTo>
                      <a:pt x="97" y="249"/>
                    </a:lnTo>
                    <a:lnTo>
                      <a:pt x="97" y="246"/>
                    </a:lnTo>
                    <a:lnTo>
                      <a:pt x="99" y="244"/>
                    </a:lnTo>
                    <a:lnTo>
                      <a:pt x="97" y="239"/>
                    </a:lnTo>
                    <a:lnTo>
                      <a:pt x="97" y="239"/>
                    </a:lnTo>
                    <a:lnTo>
                      <a:pt x="97" y="237"/>
                    </a:lnTo>
                    <a:lnTo>
                      <a:pt x="97" y="237"/>
                    </a:lnTo>
                    <a:lnTo>
                      <a:pt x="99" y="237"/>
                    </a:lnTo>
                    <a:lnTo>
                      <a:pt x="101" y="239"/>
                    </a:lnTo>
                    <a:lnTo>
                      <a:pt x="101" y="242"/>
                    </a:lnTo>
                    <a:lnTo>
                      <a:pt x="104" y="242"/>
                    </a:lnTo>
                    <a:lnTo>
                      <a:pt x="104" y="244"/>
                    </a:lnTo>
                    <a:lnTo>
                      <a:pt x="104" y="246"/>
                    </a:lnTo>
                    <a:lnTo>
                      <a:pt x="106" y="251"/>
                    </a:lnTo>
                    <a:lnTo>
                      <a:pt x="106" y="251"/>
                    </a:lnTo>
                    <a:lnTo>
                      <a:pt x="108" y="256"/>
                    </a:lnTo>
                    <a:lnTo>
                      <a:pt x="111" y="254"/>
                    </a:lnTo>
                    <a:lnTo>
                      <a:pt x="113" y="254"/>
                    </a:lnTo>
                    <a:lnTo>
                      <a:pt x="113" y="254"/>
                    </a:lnTo>
                    <a:lnTo>
                      <a:pt x="116" y="254"/>
                    </a:lnTo>
                    <a:lnTo>
                      <a:pt x="113" y="256"/>
                    </a:lnTo>
                    <a:lnTo>
                      <a:pt x="113" y="256"/>
                    </a:lnTo>
                    <a:lnTo>
                      <a:pt x="113" y="261"/>
                    </a:lnTo>
                    <a:lnTo>
                      <a:pt x="113" y="263"/>
                    </a:lnTo>
                    <a:lnTo>
                      <a:pt x="113" y="265"/>
                    </a:lnTo>
                    <a:lnTo>
                      <a:pt x="116" y="268"/>
                    </a:lnTo>
                    <a:lnTo>
                      <a:pt x="118" y="277"/>
                    </a:lnTo>
                    <a:lnTo>
                      <a:pt x="118" y="280"/>
                    </a:lnTo>
                    <a:lnTo>
                      <a:pt x="118" y="282"/>
                    </a:lnTo>
                    <a:lnTo>
                      <a:pt x="120" y="289"/>
                    </a:lnTo>
                    <a:lnTo>
                      <a:pt x="120" y="291"/>
                    </a:lnTo>
                    <a:lnTo>
                      <a:pt x="123" y="291"/>
                    </a:lnTo>
                    <a:lnTo>
                      <a:pt x="125" y="294"/>
                    </a:lnTo>
                    <a:lnTo>
                      <a:pt x="123" y="294"/>
                    </a:lnTo>
                    <a:lnTo>
                      <a:pt x="123" y="294"/>
                    </a:lnTo>
                    <a:lnTo>
                      <a:pt x="125" y="299"/>
                    </a:lnTo>
                    <a:lnTo>
                      <a:pt x="125" y="301"/>
                    </a:lnTo>
                    <a:lnTo>
                      <a:pt x="127" y="306"/>
                    </a:lnTo>
                    <a:lnTo>
                      <a:pt x="127" y="308"/>
                    </a:lnTo>
                    <a:lnTo>
                      <a:pt x="127" y="310"/>
                    </a:lnTo>
                    <a:lnTo>
                      <a:pt x="127" y="315"/>
                    </a:lnTo>
                    <a:lnTo>
                      <a:pt x="130" y="315"/>
                    </a:lnTo>
                    <a:lnTo>
                      <a:pt x="130" y="308"/>
                    </a:lnTo>
                    <a:lnTo>
                      <a:pt x="130" y="310"/>
                    </a:lnTo>
                    <a:lnTo>
                      <a:pt x="130" y="310"/>
                    </a:lnTo>
                    <a:lnTo>
                      <a:pt x="130" y="313"/>
                    </a:lnTo>
                    <a:lnTo>
                      <a:pt x="134" y="320"/>
                    </a:lnTo>
                    <a:lnTo>
                      <a:pt x="134" y="322"/>
                    </a:lnTo>
                    <a:lnTo>
                      <a:pt x="137" y="327"/>
                    </a:lnTo>
                    <a:lnTo>
                      <a:pt x="139" y="329"/>
                    </a:lnTo>
                    <a:lnTo>
                      <a:pt x="139" y="332"/>
                    </a:lnTo>
                    <a:lnTo>
                      <a:pt x="139" y="334"/>
                    </a:lnTo>
                    <a:lnTo>
                      <a:pt x="139" y="336"/>
                    </a:lnTo>
                    <a:lnTo>
                      <a:pt x="139" y="339"/>
                    </a:lnTo>
                    <a:lnTo>
                      <a:pt x="139" y="341"/>
                    </a:lnTo>
                    <a:lnTo>
                      <a:pt x="142" y="344"/>
                    </a:lnTo>
                    <a:lnTo>
                      <a:pt x="139" y="344"/>
                    </a:lnTo>
                    <a:lnTo>
                      <a:pt x="139" y="346"/>
                    </a:lnTo>
                    <a:lnTo>
                      <a:pt x="139" y="346"/>
                    </a:lnTo>
                    <a:lnTo>
                      <a:pt x="142" y="346"/>
                    </a:lnTo>
                    <a:lnTo>
                      <a:pt x="142" y="348"/>
                    </a:lnTo>
                    <a:lnTo>
                      <a:pt x="142" y="348"/>
                    </a:lnTo>
                    <a:lnTo>
                      <a:pt x="142" y="351"/>
                    </a:lnTo>
                    <a:lnTo>
                      <a:pt x="142" y="353"/>
                    </a:lnTo>
                    <a:lnTo>
                      <a:pt x="142" y="353"/>
                    </a:lnTo>
                    <a:lnTo>
                      <a:pt x="142" y="355"/>
                    </a:lnTo>
                    <a:lnTo>
                      <a:pt x="142" y="355"/>
                    </a:lnTo>
                    <a:lnTo>
                      <a:pt x="142" y="355"/>
                    </a:lnTo>
                    <a:lnTo>
                      <a:pt x="144" y="355"/>
                    </a:lnTo>
                    <a:lnTo>
                      <a:pt x="144" y="355"/>
                    </a:lnTo>
                    <a:lnTo>
                      <a:pt x="146" y="355"/>
                    </a:lnTo>
                    <a:lnTo>
                      <a:pt x="144" y="358"/>
                    </a:lnTo>
                    <a:lnTo>
                      <a:pt x="144" y="360"/>
                    </a:lnTo>
                    <a:lnTo>
                      <a:pt x="144" y="360"/>
                    </a:lnTo>
                    <a:lnTo>
                      <a:pt x="144" y="363"/>
                    </a:lnTo>
                    <a:lnTo>
                      <a:pt x="144" y="365"/>
                    </a:lnTo>
                    <a:lnTo>
                      <a:pt x="144" y="367"/>
                    </a:lnTo>
                    <a:lnTo>
                      <a:pt x="144" y="370"/>
                    </a:lnTo>
                    <a:lnTo>
                      <a:pt x="144" y="372"/>
                    </a:lnTo>
                    <a:lnTo>
                      <a:pt x="142" y="374"/>
                    </a:lnTo>
                    <a:lnTo>
                      <a:pt x="142" y="377"/>
                    </a:lnTo>
                    <a:lnTo>
                      <a:pt x="139" y="377"/>
                    </a:lnTo>
                    <a:lnTo>
                      <a:pt x="139" y="379"/>
                    </a:lnTo>
                    <a:lnTo>
                      <a:pt x="142" y="386"/>
                    </a:lnTo>
                    <a:lnTo>
                      <a:pt x="142" y="389"/>
                    </a:lnTo>
                    <a:lnTo>
                      <a:pt x="142" y="391"/>
                    </a:lnTo>
                    <a:lnTo>
                      <a:pt x="142" y="391"/>
                    </a:lnTo>
                    <a:lnTo>
                      <a:pt x="144" y="389"/>
                    </a:lnTo>
                    <a:lnTo>
                      <a:pt x="144" y="389"/>
                    </a:lnTo>
                    <a:lnTo>
                      <a:pt x="144" y="386"/>
                    </a:lnTo>
                    <a:lnTo>
                      <a:pt x="146" y="386"/>
                    </a:lnTo>
                    <a:lnTo>
                      <a:pt x="146" y="384"/>
                    </a:lnTo>
                    <a:lnTo>
                      <a:pt x="146" y="381"/>
                    </a:lnTo>
                    <a:lnTo>
                      <a:pt x="144" y="379"/>
                    </a:lnTo>
                    <a:lnTo>
                      <a:pt x="144" y="379"/>
                    </a:lnTo>
                    <a:lnTo>
                      <a:pt x="146" y="377"/>
                    </a:lnTo>
                    <a:lnTo>
                      <a:pt x="146" y="377"/>
                    </a:lnTo>
                    <a:lnTo>
                      <a:pt x="149" y="374"/>
                    </a:lnTo>
                    <a:lnTo>
                      <a:pt x="153" y="370"/>
                    </a:lnTo>
                    <a:lnTo>
                      <a:pt x="156" y="363"/>
                    </a:lnTo>
                    <a:lnTo>
                      <a:pt x="156" y="360"/>
                    </a:lnTo>
                    <a:lnTo>
                      <a:pt x="156" y="358"/>
                    </a:lnTo>
                    <a:lnTo>
                      <a:pt x="158" y="358"/>
                    </a:lnTo>
                    <a:lnTo>
                      <a:pt x="158" y="358"/>
                    </a:lnTo>
                    <a:lnTo>
                      <a:pt x="158" y="355"/>
                    </a:lnTo>
                    <a:lnTo>
                      <a:pt x="158" y="355"/>
                    </a:lnTo>
                    <a:lnTo>
                      <a:pt x="158" y="348"/>
                    </a:lnTo>
                    <a:lnTo>
                      <a:pt x="156" y="346"/>
                    </a:lnTo>
                    <a:lnTo>
                      <a:pt x="156" y="344"/>
                    </a:lnTo>
                    <a:lnTo>
                      <a:pt x="153" y="341"/>
                    </a:lnTo>
                    <a:lnTo>
                      <a:pt x="153" y="341"/>
                    </a:lnTo>
                    <a:lnTo>
                      <a:pt x="153" y="339"/>
                    </a:lnTo>
                    <a:lnTo>
                      <a:pt x="153" y="339"/>
                    </a:lnTo>
                    <a:lnTo>
                      <a:pt x="151" y="336"/>
                    </a:lnTo>
                    <a:lnTo>
                      <a:pt x="151" y="334"/>
                    </a:lnTo>
                    <a:lnTo>
                      <a:pt x="149" y="332"/>
                    </a:lnTo>
                    <a:lnTo>
                      <a:pt x="149" y="329"/>
                    </a:lnTo>
                    <a:lnTo>
                      <a:pt x="149" y="329"/>
                    </a:lnTo>
                    <a:lnTo>
                      <a:pt x="146" y="327"/>
                    </a:lnTo>
                    <a:lnTo>
                      <a:pt x="149" y="325"/>
                    </a:lnTo>
                    <a:lnTo>
                      <a:pt x="149" y="325"/>
                    </a:lnTo>
                    <a:lnTo>
                      <a:pt x="149" y="320"/>
                    </a:lnTo>
                    <a:lnTo>
                      <a:pt x="146" y="318"/>
                    </a:lnTo>
                    <a:lnTo>
                      <a:pt x="146" y="315"/>
                    </a:lnTo>
                    <a:lnTo>
                      <a:pt x="146" y="313"/>
                    </a:lnTo>
                    <a:lnTo>
                      <a:pt x="144" y="310"/>
                    </a:lnTo>
                    <a:lnTo>
                      <a:pt x="142" y="308"/>
                    </a:lnTo>
                    <a:lnTo>
                      <a:pt x="139" y="303"/>
                    </a:lnTo>
                    <a:lnTo>
                      <a:pt x="134" y="301"/>
                    </a:lnTo>
                    <a:lnTo>
                      <a:pt x="134" y="299"/>
                    </a:lnTo>
                    <a:lnTo>
                      <a:pt x="132" y="296"/>
                    </a:lnTo>
                    <a:lnTo>
                      <a:pt x="130" y="294"/>
                    </a:lnTo>
                    <a:lnTo>
                      <a:pt x="127" y="291"/>
                    </a:lnTo>
                    <a:lnTo>
                      <a:pt x="127" y="287"/>
                    </a:lnTo>
                    <a:lnTo>
                      <a:pt x="125" y="284"/>
                    </a:lnTo>
                    <a:lnTo>
                      <a:pt x="125" y="282"/>
                    </a:lnTo>
                    <a:lnTo>
                      <a:pt x="127" y="282"/>
                    </a:lnTo>
                    <a:lnTo>
                      <a:pt x="127" y="282"/>
                    </a:lnTo>
                    <a:lnTo>
                      <a:pt x="130" y="282"/>
                    </a:lnTo>
                    <a:lnTo>
                      <a:pt x="130" y="280"/>
                    </a:lnTo>
                    <a:lnTo>
                      <a:pt x="132" y="280"/>
                    </a:lnTo>
                    <a:lnTo>
                      <a:pt x="132" y="280"/>
                    </a:lnTo>
                    <a:lnTo>
                      <a:pt x="132" y="280"/>
                    </a:lnTo>
                    <a:lnTo>
                      <a:pt x="132" y="275"/>
                    </a:lnTo>
                    <a:lnTo>
                      <a:pt x="132" y="270"/>
                    </a:lnTo>
                    <a:lnTo>
                      <a:pt x="132" y="268"/>
                    </a:lnTo>
                    <a:lnTo>
                      <a:pt x="132" y="265"/>
                    </a:lnTo>
                    <a:lnTo>
                      <a:pt x="134" y="263"/>
                    </a:lnTo>
                    <a:lnTo>
                      <a:pt x="137" y="261"/>
                    </a:lnTo>
                    <a:lnTo>
                      <a:pt x="137" y="261"/>
                    </a:lnTo>
                    <a:lnTo>
                      <a:pt x="137" y="258"/>
                    </a:lnTo>
                    <a:lnTo>
                      <a:pt x="137" y="258"/>
                    </a:lnTo>
                    <a:lnTo>
                      <a:pt x="134" y="256"/>
                    </a:lnTo>
                    <a:lnTo>
                      <a:pt x="132" y="258"/>
                    </a:lnTo>
                    <a:lnTo>
                      <a:pt x="132" y="258"/>
                    </a:lnTo>
                    <a:lnTo>
                      <a:pt x="130" y="256"/>
                    </a:lnTo>
                    <a:lnTo>
                      <a:pt x="130" y="254"/>
                    </a:lnTo>
                    <a:lnTo>
                      <a:pt x="130" y="251"/>
                    </a:lnTo>
                    <a:lnTo>
                      <a:pt x="127" y="251"/>
                    </a:lnTo>
                    <a:lnTo>
                      <a:pt x="127" y="246"/>
                    </a:lnTo>
                    <a:lnTo>
                      <a:pt x="127" y="244"/>
                    </a:lnTo>
                    <a:lnTo>
                      <a:pt x="123" y="242"/>
                    </a:lnTo>
                    <a:lnTo>
                      <a:pt x="120" y="239"/>
                    </a:lnTo>
                    <a:lnTo>
                      <a:pt x="118" y="237"/>
                    </a:lnTo>
                    <a:lnTo>
                      <a:pt x="116" y="232"/>
                    </a:lnTo>
                    <a:lnTo>
                      <a:pt x="113" y="230"/>
                    </a:lnTo>
                    <a:lnTo>
                      <a:pt x="111" y="228"/>
                    </a:lnTo>
                    <a:lnTo>
                      <a:pt x="111" y="228"/>
                    </a:lnTo>
                    <a:lnTo>
                      <a:pt x="111" y="228"/>
                    </a:lnTo>
                    <a:lnTo>
                      <a:pt x="111" y="225"/>
                    </a:lnTo>
                    <a:lnTo>
                      <a:pt x="111" y="223"/>
                    </a:lnTo>
                    <a:lnTo>
                      <a:pt x="108" y="220"/>
                    </a:lnTo>
                    <a:lnTo>
                      <a:pt x="108" y="218"/>
                    </a:lnTo>
                    <a:lnTo>
                      <a:pt x="108" y="218"/>
                    </a:lnTo>
                    <a:lnTo>
                      <a:pt x="108" y="218"/>
                    </a:lnTo>
                    <a:lnTo>
                      <a:pt x="106" y="218"/>
                    </a:lnTo>
                    <a:lnTo>
                      <a:pt x="104" y="216"/>
                    </a:lnTo>
                    <a:lnTo>
                      <a:pt x="104" y="213"/>
                    </a:lnTo>
                    <a:lnTo>
                      <a:pt x="104" y="213"/>
                    </a:lnTo>
                    <a:lnTo>
                      <a:pt x="104" y="213"/>
                    </a:lnTo>
                    <a:lnTo>
                      <a:pt x="106" y="213"/>
                    </a:lnTo>
                    <a:lnTo>
                      <a:pt x="106" y="213"/>
                    </a:lnTo>
                    <a:lnTo>
                      <a:pt x="106" y="213"/>
                    </a:lnTo>
                    <a:lnTo>
                      <a:pt x="108" y="211"/>
                    </a:lnTo>
                    <a:lnTo>
                      <a:pt x="108" y="211"/>
                    </a:lnTo>
                    <a:lnTo>
                      <a:pt x="108" y="211"/>
                    </a:lnTo>
                    <a:lnTo>
                      <a:pt x="111" y="211"/>
                    </a:lnTo>
                    <a:lnTo>
                      <a:pt x="108" y="204"/>
                    </a:lnTo>
                    <a:lnTo>
                      <a:pt x="108" y="201"/>
                    </a:lnTo>
                    <a:lnTo>
                      <a:pt x="108" y="199"/>
                    </a:lnTo>
                    <a:lnTo>
                      <a:pt x="108" y="197"/>
                    </a:lnTo>
                    <a:lnTo>
                      <a:pt x="108" y="192"/>
                    </a:lnTo>
                    <a:lnTo>
                      <a:pt x="111" y="190"/>
                    </a:lnTo>
                    <a:lnTo>
                      <a:pt x="111" y="190"/>
                    </a:lnTo>
                    <a:lnTo>
                      <a:pt x="111" y="187"/>
                    </a:lnTo>
                    <a:lnTo>
                      <a:pt x="111" y="187"/>
                    </a:lnTo>
                    <a:lnTo>
                      <a:pt x="113" y="187"/>
                    </a:lnTo>
                    <a:lnTo>
                      <a:pt x="116" y="187"/>
                    </a:lnTo>
                    <a:lnTo>
                      <a:pt x="116" y="187"/>
                    </a:lnTo>
                    <a:lnTo>
                      <a:pt x="118" y="187"/>
                    </a:lnTo>
                    <a:lnTo>
                      <a:pt x="120" y="187"/>
                    </a:lnTo>
                    <a:lnTo>
                      <a:pt x="120" y="187"/>
                    </a:lnTo>
                    <a:lnTo>
                      <a:pt x="125" y="187"/>
                    </a:lnTo>
                    <a:lnTo>
                      <a:pt x="125" y="185"/>
                    </a:lnTo>
                    <a:lnTo>
                      <a:pt x="127" y="187"/>
                    </a:lnTo>
                    <a:lnTo>
                      <a:pt x="127" y="185"/>
                    </a:lnTo>
                    <a:lnTo>
                      <a:pt x="127" y="185"/>
                    </a:lnTo>
                    <a:lnTo>
                      <a:pt x="130" y="185"/>
                    </a:lnTo>
                    <a:lnTo>
                      <a:pt x="130" y="180"/>
                    </a:lnTo>
                    <a:lnTo>
                      <a:pt x="130" y="180"/>
                    </a:lnTo>
                    <a:lnTo>
                      <a:pt x="130" y="180"/>
                    </a:lnTo>
                    <a:lnTo>
                      <a:pt x="130" y="178"/>
                    </a:lnTo>
                    <a:lnTo>
                      <a:pt x="132" y="178"/>
                    </a:lnTo>
                    <a:lnTo>
                      <a:pt x="134" y="180"/>
                    </a:lnTo>
                    <a:lnTo>
                      <a:pt x="134" y="180"/>
                    </a:lnTo>
                    <a:lnTo>
                      <a:pt x="137" y="180"/>
                    </a:lnTo>
                    <a:lnTo>
                      <a:pt x="137" y="178"/>
                    </a:lnTo>
                    <a:lnTo>
                      <a:pt x="137" y="178"/>
                    </a:lnTo>
                    <a:lnTo>
                      <a:pt x="137" y="178"/>
                    </a:lnTo>
                    <a:lnTo>
                      <a:pt x="137" y="175"/>
                    </a:lnTo>
                    <a:lnTo>
                      <a:pt x="137" y="173"/>
                    </a:lnTo>
                    <a:lnTo>
                      <a:pt x="137" y="173"/>
                    </a:lnTo>
                    <a:lnTo>
                      <a:pt x="137" y="173"/>
                    </a:lnTo>
                    <a:lnTo>
                      <a:pt x="139" y="175"/>
                    </a:lnTo>
                    <a:lnTo>
                      <a:pt x="142" y="175"/>
                    </a:lnTo>
                    <a:lnTo>
                      <a:pt x="142" y="173"/>
                    </a:lnTo>
                    <a:lnTo>
                      <a:pt x="144" y="173"/>
                    </a:lnTo>
                    <a:lnTo>
                      <a:pt x="144" y="173"/>
                    </a:lnTo>
                    <a:lnTo>
                      <a:pt x="144" y="173"/>
                    </a:lnTo>
                    <a:lnTo>
                      <a:pt x="146" y="173"/>
                    </a:lnTo>
                    <a:lnTo>
                      <a:pt x="149" y="175"/>
                    </a:lnTo>
                    <a:lnTo>
                      <a:pt x="149" y="173"/>
                    </a:lnTo>
                    <a:lnTo>
                      <a:pt x="149" y="168"/>
                    </a:lnTo>
                    <a:lnTo>
                      <a:pt x="149" y="166"/>
                    </a:lnTo>
                    <a:lnTo>
                      <a:pt x="151" y="164"/>
                    </a:lnTo>
                    <a:lnTo>
                      <a:pt x="153" y="164"/>
                    </a:lnTo>
                    <a:lnTo>
                      <a:pt x="153" y="164"/>
                    </a:lnTo>
                    <a:lnTo>
                      <a:pt x="156" y="164"/>
                    </a:lnTo>
                    <a:lnTo>
                      <a:pt x="156" y="164"/>
                    </a:lnTo>
                    <a:lnTo>
                      <a:pt x="156" y="164"/>
                    </a:lnTo>
                    <a:lnTo>
                      <a:pt x="156" y="164"/>
                    </a:lnTo>
                    <a:lnTo>
                      <a:pt x="153" y="161"/>
                    </a:lnTo>
                    <a:lnTo>
                      <a:pt x="153" y="161"/>
                    </a:lnTo>
                    <a:lnTo>
                      <a:pt x="153" y="159"/>
                    </a:lnTo>
                    <a:lnTo>
                      <a:pt x="156" y="159"/>
                    </a:lnTo>
                    <a:lnTo>
                      <a:pt x="156" y="157"/>
                    </a:lnTo>
                    <a:lnTo>
                      <a:pt x="156" y="154"/>
                    </a:lnTo>
                    <a:lnTo>
                      <a:pt x="158" y="154"/>
                    </a:lnTo>
                    <a:lnTo>
                      <a:pt x="158" y="154"/>
                    </a:lnTo>
                    <a:lnTo>
                      <a:pt x="160" y="152"/>
                    </a:lnTo>
                    <a:lnTo>
                      <a:pt x="163" y="149"/>
                    </a:lnTo>
                    <a:lnTo>
                      <a:pt x="163" y="147"/>
                    </a:lnTo>
                    <a:lnTo>
                      <a:pt x="163" y="147"/>
                    </a:lnTo>
                    <a:lnTo>
                      <a:pt x="163" y="145"/>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87"/>
              <p:cNvSpPr>
                <a:spLocks noEditPoints="1"/>
              </p:cNvSpPr>
              <p:nvPr/>
            </p:nvSpPr>
            <p:spPr bwMode="auto">
              <a:xfrm>
                <a:off x="3309" y="3020"/>
                <a:ext cx="197" cy="348"/>
              </a:xfrm>
              <a:custGeom>
                <a:avLst/>
                <a:gdLst>
                  <a:gd name="T0" fmla="*/ 192 w 197"/>
                  <a:gd name="T1" fmla="*/ 85 h 348"/>
                  <a:gd name="T2" fmla="*/ 192 w 197"/>
                  <a:gd name="T3" fmla="*/ 69 h 348"/>
                  <a:gd name="T4" fmla="*/ 192 w 197"/>
                  <a:gd name="T5" fmla="*/ 55 h 348"/>
                  <a:gd name="T6" fmla="*/ 192 w 197"/>
                  <a:gd name="T7" fmla="*/ 45 h 348"/>
                  <a:gd name="T8" fmla="*/ 192 w 197"/>
                  <a:gd name="T9" fmla="*/ 22 h 348"/>
                  <a:gd name="T10" fmla="*/ 194 w 197"/>
                  <a:gd name="T11" fmla="*/ 10 h 348"/>
                  <a:gd name="T12" fmla="*/ 182 w 197"/>
                  <a:gd name="T13" fmla="*/ 10 h 348"/>
                  <a:gd name="T14" fmla="*/ 161 w 197"/>
                  <a:gd name="T15" fmla="*/ 17 h 348"/>
                  <a:gd name="T16" fmla="*/ 142 w 197"/>
                  <a:gd name="T17" fmla="*/ 22 h 348"/>
                  <a:gd name="T18" fmla="*/ 126 w 197"/>
                  <a:gd name="T19" fmla="*/ 24 h 348"/>
                  <a:gd name="T20" fmla="*/ 109 w 197"/>
                  <a:gd name="T21" fmla="*/ 24 h 348"/>
                  <a:gd name="T22" fmla="*/ 97 w 197"/>
                  <a:gd name="T23" fmla="*/ 24 h 348"/>
                  <a:gd name="T24" fmla="*/ 81 w 197"/>
                  <a:gd name="T25" fmla="*/ 31 h 348"/>
                  <a:gd name="T26" fmla="*/ 81 w 197"/>
                  <a:gd name="T27" fmla="*/ 52 h 348"/>
                  <a:gd name="T28" fmla="*/ 90 w 197"/>
                  <a:gd name="T29" fmla="*/ 69 h 348"/>
                  <a:gd name="T30" fmla="*/ 104 w 197"/>
                  <a:gd name="T31" fmla="*/ 97 h 348"/>
                  <a:gd name="T32" fmla="*/ 95 w 197"/>
                  <a:gd name="T33" fmla="*/ 121 h 348"/>
                  <a:gd name="T34" fmla="*/ 93 w 197"/>
                  <a:gd name="T35" fmla="*/ 135 h 348"/>
                  <a:gd name="T36" fmla="*/ 88 w 197"/>
                  <a:gd name="T37" fmla="*/ 140 h 348"/>
                  <a:gd name="T38" fmla="*/ 76 w 197"/>
                  <a:gd name="T39" fmla="*/ 123 h 348"/>
                  <a:gd name="T40" fmla="*/ 74 w 197"/>
                  <a:gd name="T41" fmla="*/ 114 h 348"/>
                  <a:gd name="T42" fmla="*/ 81 w 197"/>
                  <a:gd name="T43" fmla="*/ 95 h 348"/>
                  <a:gd name="T44" fmla="*/ 69 w 197"/>
                  <a:gd name="T45" fmla="*/ 85 h 348"/>
                  <a:gd name="T46" fmla="*/ 55 w 197"/>
                  <a:gd name="T47" fmla="*/ 76 h 348"/>
                  <a:gd name="T48" fmla="*/ 29 w 197"/>
                  <a:gd name="T49" fmla="*/ 85 h 348"/>
                  <a:gd name="T50" fmla="*/ 5 w 197"/>
                  <a:gd name="T51" fmla="*/ 95 h 348"/>
                  <a:gd name="T52" fmla="*/ 3 w 197"/>
                  <a:gd name="T53" fmla="*/ 112 h 348"/>
                  <a:gd name="T54" fmla="*/ 22 w 197"/>
                  <a:gd name="T55" fmla="*/ 121 h 348"/>
                  <a:gd name="T56" fmla="*/ 48 w 197"/>
                  <a:gd name="T57" fmla="*/ 133 h 348"/>
                  <a:gd name="T58" fmla="*/ 48 w 197"/>
                  <a:gd name="T59" fmla="*/ 161 h 348"/>
                  <a:gd name="T60" fmla="*/ 48 w 197"/>
                  <a:gd name="T61" fmla="*/ 175 h 348"/>
                  <a:gd name="T62" fmla="*/ 45 w 197"/>
                  <a:gd name="T63" fmla="*/ 185 h 348"/>
                  <a:gd name="T64" fmla="*/ 48 w 197"/>
                  <a:gd name="T65" fmla="*/ 201 h 348"/>
                  <a:gd name="T66" fmla="*/ 38 w 197"/>
                  <a:gd name="T67" fmla="*/ 220 h 348"/>
                  <a:gd name="T68" fmla="*/ 26 w 197"/>
                  <a:gd name="T69" fmla="*/ 242 h 348"/>
                  <a:gd name="T70" fmla="*/ 17 w 197"/>
                  <a:gd name="T71" fmla="*/ 263 h 348"/>
                  <a:gd name="T72" fmla="*/ 22 w 197"/>
                  <a:gd name="T73" fmla="*/ 282 h 348"/>
                  <a:gd name="T74" fmla="*/ 26 w 197"/>
                  <a:gd name="T75" fmla="*/ 306 h 348"/>
                  <a:gd name="T76" fmla="*/ 24 w 197"/>
                  <a:gd name="T77" fmla="*/ 329 h 348"/>
                  <a:gd name="T78" fmla="*/ 26 w 197"/>
                  <a:gd name="T79" fmla="*/ 348 h 348"/>
                  <a:gd name="T80" fmla="*/ 43 w 197"/>
                  <a:gd name="T81" fmla="*/ 334 h 348"/>
                  <a:gd name="T82" fmla="*/ 36 w 197"/>
                  <a:gd name="T83" fmla="*/ 332 h 348"/>
                  <a:gd name="T84" fmla="*/ 59 w 197"/>
                  <a:gd name="T85" fmla="*/ 310 h 348"/>
                  <a:gd name="T86" fmla="*/ 90 w 197"/>
                  <a:gd name="T87" fmla="*/ 282 h 348"/>
                  <a:gd name="T88" fmla="*/ 93 w 197"/>
                  <a:gd name="T89" fmla="*/ 261 h 348"/>
                  <a:gd name="T90" fmla="*/ 90 w 197"/>
                  <a:gd name="T91" fmla="*/ 249 h 348"/>
                  <a:gd name="T92" fmla="*/ 88 w 197"/>
                  <a:gd name="T93" fmla="*/ 237 h 348"/>
                  <a:gd name="T94" fmla="*/ 81 w 197"/>
                  <a:gd name="T95" fmla="*/ 204 h 348"/>
                  <a:gd name="T96" fmla="*/ 83 w 197"/>
                  <a:gd name="T97" fmla="*/ 199 h 348"/>
                  <a:gd name="T98" fmla="*/ 109 w 197"/>
                  <a:gd name="T99" fmla="*/ 175 h 348"/>
                  <a:gd name="T100" fmla="*/ 121 w 197"/>
                  <a:gd name="T101" fmla="*/ 161 h 348"/>
                  <a:gd name="T102" fmla="*/ 145 w 197"/>
                  <a:gd name="T103" fmla="*/ 145 h 348"/>
                  <a:gd name="T104" fmla="*/ 159 w 197"/>
                  <a:gd name="T105" fmla="*/ 140 h 348"/>
                  <a:gd name="T106" fmla="*/ 178 w 197"/>
                  <a:gd name="T107" fmla="*/ 123 h 348"/>
                  <a:gd name="T108" fmla="*/ 192 w 197"/>
                  <a:gd name="T109" fmla="*/ 102 h 348"/>
                  <a:gd name="T110" fmla="*/ 197 w 197"/>
                  <a:gd name="T111" fmla="*/ 93 h 348"/>
                  <a:gd name="T112" fmla="*/ 83 w 197"/>
                  <a:gd name="T113" fmla="*/ 33 h 348"/>
                  <a:gd name="T114" fmla="*/ 83 w 197"/>
                  <a:gd name="T115" fmla="*/ 3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97" h="348">
                    <a:moveTo>
                      <a:pt x="197" y="90"/>
                    </a:moveTo>
                    <a:lnTo>
                      <a:pt x="197" y="88"/>
                    </a:lnTo>
                    <a:lnTo>
                      <a:pt x="197" y="88"/>
                    </a:lnTo>
                    <a:lnTo>
                      <a:pt x="197" y="85"/>
                    </a:lnTo>
                    <a:lnTo>
                      <a:pt x="194" y="85"/>
                    </a:lnTo>
                    <a:lnTo>
                      <a:pt x="194" y="85"/>
                    </a:lnTo>
                    <a:lnTo>
                      <a:pt x="192" y="88"/>
                    </a:lnTo>
                    <a:lnTo>
                      <a:pt x="192" y="85"/>
                    </a:lnTo>
                    <a:lnTo>
                      <a:pt x="192" y="85"/>
                    </a:lnTo>
                    <a:lnTo>
                      <a:pt x="194" y="83"/>
                    </a:lnTo>
                    <a:lnTo>
                      <a:pt x="194" y="81"/>
                    </a:lnTo>
                    <a:lnTo>
                      <a:pt x="194" y="81"/>
                    </a:lnTo>
                    <a:lnTo>
                      <a:pt x="192" y="81"/>
                    </a:lnTo>
                    <a:lnTo>
                      <a:pt x="192" y="78"/>
                    </a:lnTo>
                    <a:lnTo>
                      <a:pt x="192" y="74"/>
                    </a:lnTo>
                    <a:lnTo>
                      <a:pt x="192" y="69"/>
                    </a:lnTo>
                    <a:lnTo>
                      <a:pt x="192" y="67"/>
                    </a:lnTo>
                    <a:lnTo>
                      <a:pt x="192" y="64"/>
                    </a:lnTo>
                    <a:lnTo>
                      <a:pt x="192" y="62"/>
                    </a:lnTo>
                    <a:lnTo>
                      <a:pt x="192" y="62"/>
                    </a:lnTo>
                    <a:lnTo>
                      <a:pt x="192" y="59"/>
                    </a:lnTo>
                    <a:lnTo>
                      <a:pt x="192" y="57"/>
                    </a:lnTo>
                    <a:lnTo>
                      <a:pt x="192" y="57"/>
                    </a:lnTo>
                    <a:lnTo>
                      <a:pt x="192" y="55"/>
                    </a:lnTo>
                    <a:lnTo>
                      <a:pt x="189" y="55"/>
                    </a:lnTo>
                    <a:lnTo>
                      <a:pt x="189" y="55"/>
                    </a:lnTo>
                    <a:lnTo>
                      <a:pt x="189" y="52"/>
                    </a:lnTo>
                    <a:lnTo>
                      <a:pt x="192" y="52"/>
                    </a:lnTo>
                    <a:lnTo>
                      <a:pt x="192" y="50"/>
                    </a:lnTo>
                    <a:lnTo>
                      <a:pt x="192" y="48"/>
                    </a:lnTo>
                    <a:lnTo>
                      <a:pt x="192" y="45"/>
                    </a:lnTo>
                    <a:lnTo>
                      <a:pt x="192" y="45"/>
                    </a:lnTo>
                    <a:lnTo>
                      <a:pt x="192" y="43"/>
                    </a:lnTo>
                    <a:lnTo>
                      <a:pt x="192" y="40"/>
                    </a:lnTo>
                    <a:lnTo>
                      <a:pt x="192" y="36"/>
                    </a:lnTo>
                    <a:lnTo>
                      <a:pt x="192" y="33"/>
                    </a:lnTo>
                    <a:lnTo>
                      <a:pt x="192" y="33"/>
                    </a:lnTo>
                    <a:lnTo>
                      <a:pt x="192" y="31"/>
                    </a:lnTo>
                    <a:lnTo>
                      <a:pt x="189" y="26"/>
                    </a:lnTo>
                    <a:lnTo>
                      <a:pt x="192" y="22"/>
                    </a:lnTo>
                    <a:lnTo>
                      <a:pt x="189" y="19"/>
                    </a:lnTo>
                    <a:lnTo>
                      <a:pt x="189" y="19"/>
                    </a:lnTo>
                    <a:lnTo>
                      <a:pt x="192" y="17"/>
                    </a:lnTo>
                    <a:lnTo>
                      <a:pt x="194" y="14"/>
                    </a:lnTo>
                    <a:lnTo>
                      <a:pt x="192" y="12"/>
                    </a:lnTo>
                    <a:lnTo>
                      <a:pt x="192" y="12"/>
                    </a:lnTo>
                    <a:lnTo>
                      <a:pt x="192" y="12"/>
                    </a:lnTo>
                    <a:lnTo>
                      <a:pt x="194" y="10"/>
                    </a:lnTo>
                    <a:lnTo>
                      <a:pt x="192" y="7"/>
                    </a:lnTo>
                    <a:lnTo>
                      <a:pt x="194" y="7"/>
                    </a:lnTo>
                    <a:lnTo>
                      <a:pt x="194" y="5"/>
                    </a:lnTo>
                    <a:lnTo>
                      <a:pt x="192" y="3"/>
                    </a:lnTo>
                    <a:lnTo>
                      <a:pt x="192" y="0"/>
                    </a:lnTo>
                    <a:lnTo>
                      <a:pt x="189" y="3"/>
                    </a:lnTo>
                    <a:lnTo>
                      <a:pt x="187" y="5"/>
                    </a:lnTo>
                    <a:lnTo>
                      <a:pt x="182" y="10"/>
                    </a:lnTo>
                    <a:lnTo>
                      <a:pt x="180" y="10"/>
                    </a:lnTo>
                    <a:lnTo>
                      <a:pt x="178" y="12"/>
                    </a:lnTo>
                    <a:lnTo>
                      <a:pt x="175" y="12"/>
                    </a:lnTo>
                    <a:lnTo>
                      <a:pt x="173" y="14"/>
                    </a:lnTo>
                    <a:lnTo>
                      <a:pt x="171" y="14"/>
                    </a:lnTo>
                    <a:lnTo>
                      <a:pt x="168" y="17"/>
                    </a:lnTo>
                    <a:lnTo>
                      <a:pt x="163" y="17"/>
                    </a:lnTo>
                    <a:lnTo>
                      <a:pt x="161" y="17"/>
                    </a:lnTo>
                    <a:lnTo>
                      <a:pt x="156" y="19"/>
                    </a:lnTo>
                    <a:lnTo>
                      <a:pt x="154" y="22"/>
                    </a:lnTo>
                    <a:lnTo>
                      <a:pt x="152" y="19"/>
                    </a:lnTo>
                    <a:lnTo>
                      <a:pt x="149" y="19"/>
                    </a:lnTo>
                    <a:lnTo>
                      <a:pt x="147" y="19"/>
                    </a:lnTo>
                    <a:lnTo>
                      <a:pt x="145" y="19"/>
                    </a:lnTo>
                    <a:lnTo>
                      <a:pt x="145" y="19"/>
                    </a:lnTo>
                    <a:lnTo>
                      <a:pt x="142" y="22"/>
                    </a:lnTo>
                    <a:lnTo>
                      <a:pt x="142" y="24"/>
                    </a:lnTo>
                    <a:lnTo>
                      <a:pt x="140" y="24"/>
                    </a:lnTo>
                    <a:lnTo>
                      <a:pt x="137" y="26"/>
                    </a:lnTo>
                    <a:lnTo>
                      <a:pt x="133" y="29"/>
                    </a:lnTo>
                    <a:lnTo>
                      <a:pt x="130" y="26"/>
                    </a:lnTo>
                    <a:lnTo>
                      <a:pt x="128" y="26"/>
                    </a:lnTo>
                    <a:lnTo>
                      <a:pt x="128" y="26"/>
                    </a:lnTo>
                    <a:lnTo>
                      <a:pt x="126" y="24"/>
                    </a:lnTo>
                    <a:lnTo>
                      <a:pt x="126" y="24"/>
                    </a:lnTo>
                    <a:lnTo>
                      <a:pt x="123" y="26"/>
                    </a:lnTo>
                    <a:lnTo>
                      <a:pt x="121" y="26"/>
                    </a:lnTo>
                    <a:lnTo>
                      <a:pt x="119" y="29"/>
                    </a:lnTo>
                    <a:lnTo>
                      <a:pt x="114" y="29"/>
                    </a:lnTo>
                    <a:lnTo>
                      <a:pt x="111" y="26"/>
                    </a:lnTo>
                    <a:lnTo>
                      <a:pt x="111" y="26"/>
                    </a:lnTo>
                    <a:lnTo>
                      <a:pt x="109" y="24"/>
                    </a:lnTo>
                    <a:lnTo>
                      <a:pt x="107" y="22"/>
                    </a:lnTo>
                    <a:lnTo>
                      <a:pt x="104" y="22"/>
                    </a:lnTo>
                    <a:lnTo>
                      <a:pt x="102" y="24"/>
                    </a:lnTo>
                    <a:lnTo>
                      <a:pt x="102" y="24"/>
                    </a:lnTo>
                    <a:lnTo>
                      <a:pt x="100" y="26"/>
                    </a:lnTo>
                    <a:lnTo>
                      <a:pt x="100" y="26"/>
                    </a:lnTo>
                    <a:lnTo>
                      <a:pt x="97" y="26"/>
                    </a:lnTo>
                    <a:lnTo>
                      <a:pt x="97" y="24"/>
                    </a:lnTo>
                    <a:lnTo>
                      <a:pt x="93" y="24"/>
                    </a:lnTo>
                    <a:lnTo>
                      <a:pt x="90" y="24"/>
                    </a:lnTo>
                    <a:lnTo>
                      <a:pt x="88" y="24"/>
                    </a:lnTo>
                    <a:lnTo>
                      <a:pt x="83" y="24"/>
                    </a:lnTo>
                    <a:lnTo>
                      <a:pt x="83" y="26"/>
                    </a:lnTo>
                    <a:lnTo>
                      <a:pt x="83" y="26"/>
                    </a:lnTo>
                    <a:lnTo>
                      <a:pt x="81" y="31"/>
                    </a:lnTo>
                    <a:lnTo>
                      <a:pt x="81" y="31"/>
                    </a:lnTo>
                    <a:lnTo>
                      <a:pt x="81" y="33"/>
                    </a:lnTo>
                    <a:lnTo>
                      <a:pt x="78" y="36"/>
                    </a:lnTo>
                    <a:lnTo>
                      <a:pt x="78" y="38"/>
                    </a:lnTo>
                    <a:lnTo>
                      <a:pt x="78" y="38"/>
                    </a:lnTo>
                    <a:lnTo>
                      <a:pt x="78" y="43"/>
                    </a:lnTo>
                    <a:lnTo>
                      <a:pt x="81" y="45"/>
                    </a:lnTo>
                    <a:lnTo>
                      <a:pt x="81" y="48"/>
                    </a:lnTo>
                    <a:lnTo>
                      <a:pt x="81" y="52"/>
                    </a:lnTo>
                    <a:lnTo>
                      <a:pt x="81" y="57"/>
                    </a:lnTo>
                    <a:lnTo>
                      <a:pt x="81" y="59"/>
                    </a:lnTo>
                    <a:lnTo>
                      <a:pt x="81" y="62"/>
                    </a:lnTo>
                    <a:lnTo>
                      <a:pt x="81" y="64"/>
                    </a:lnTo>
                    <a:lnTo>
                      <a:pt x="83" y="64"/>
                    </a:lnTo>
                    <a:lnTo>
                      <a:pt x="85" y="67"/>
                    </a:lnTo>
                    <a:lnTo>
                      <a:pt x="88" y="67"/>
                    </a:lnTo>
                    <a:lnTo>
                      <a:pt x="90" y="69"/>
                    </a:lnTo>
                    <a:lnTo>
                      <a:pt x="93" y="74"/>
                    </a:lnTo>
                    <a:lnTo>
                      <a:pt x="95" y="78"/>
                    </a:lnTo>
                    <a:lnTo>
                      <a:pt x="97" y="81"/>
                    </a:lnTo>
                    <a:lnTo>
                      <a:pt x="102" y="85"/>
                    </a:lnTo>
                    <a:lnTo>
                      <a:pt x="104" y="90"/>
                    </a:lnTo>
                    <a:lnTo>
                      <a:pt x="104" y="95"/>
                    </a:lnTo>
                    <a:lnTo>
                      <a:pt x="104" y="95"/>
                    </a:lnTo>
                    <a:lnTo>
                      <a:pt x="104" y="97"/>
                    </a:lnTo>
                    <a:lnTo>
                      <a:pt x="102" y="102"/>
                    </a:lnTo>
                    <a:lnTo>
                      <a:pt x="104" y="107"/>
                    </a:lnTo>
                    <a:lnTo>
                      <a:pt x="102" y="112"/>
                    </a:lnTo>
                    <a:lnTo>
                      <a:pt x="102" y="119"/>
                    </a:lnTo>
                    <a:lnTo>
                      <a:pt x="102" y="119"/>
                    </a:lnTo>
                    <a:lnTo>
                      <a:pt x="100" y="121"/>
                    </a:lnTo>
                    <a:lnTo>
                      <a:pt x="100" y="121"/>
                    </a:lnTo>
                    <a:lnTo>
                      <a:pt x="95" y="121"/>
                    </a:lnTo>
                    <a:lnTo>
                      <a:pt x="93" y="123"/>
                    </a:lnTo>
                    <a:lnTo>
                      <a:pt x="93" y="123"/>
                    </a:lnTo>
                    <a:lnTo>
                      <a:pt x="93" y="126"/>
                    </a:lnTo>
                    <a:lnTo>
                      <a:pt x="90" y="128"/>
                    </a:lnTo>
                    <a:lnTo>
                      <a:pt x="90" y="130"/>
                    </a:lnTo>
                    <a:lnTo>
                      <a:pt x="90" y="130"/>
                    </a:lnTo>
                    <a:lnTo>
                      <a:pt x="93" y="133"/>
                    </a:lnTo>
                    <a:lnTo>
                      <a:pt x="93" y="135"/>
                    </a:lnTo>
                    <a:lnTo>
                      <a:pt x="93" y="142"/>
                    </a:lnTo>
                    <a:lnTo>
                      <a:pt x="93" y="142"/>
                    </a:lnTo>
                    <a:lnTo>
                      <a:pt x="90" y="142"/>
                    </a:lnTo>
                    <a:lnTo>
                      <a:pt x="90" y="142"/>
                    </a:lnTo>
                    <a:lnTo>
                      <a:pt x="88" y="142"/>
                    </a:lnTo>
                    <a:lnTo>
                      <a:pt x="88" y="142"/>
                    </a:lnTo>
                    <a:lnTo>
                      <a:pt x="88" y="140"/>
                    </a:lnTo>
                    <a:lnTo>
                      <a:pt x="88" y="140"/>
                    </a:lnTo>
                    <a:lnTo>
                      <a:pt x="90" y="138"/>
                    </a:lnTo>
                    <a:lnTo>
                      <a:pt x="88" y="135"/>
                    </a:lnTo>
                    <a:lnTo>
                      <a:pt x="88" y="135"/>
                    </a:lnTo>
                    <a:lnTo>
                      <a:pt x="85" y="135"/>
                    </a:lnTo>
                    <a:lnTo>
                      <a:pt x="83" y="130"/>
                    </a:lnTo>
                    <a:lnTo>
                      <a:pt x="81" y="128"/>
                    </a:lnTo>
                    <a:lnTo>
                      <a:pt x="78" y="126"/>
                    </a:lnTo>
                    <a:lnTo>
                      <a:pt x="76" y="123"/>
                    </a:lnTo>
                    <a:lnTo>
                      <a:pt x="76" y="123"/>
                    </a:lnTo>
                    <a:lnTo>
                      <a:pt x="76" y="123"/>
                    </a:lnTo>
                    <a:lnTo>
                      <a:pt x="76" y="121"/>
                    </a:lnTo>
                    <a:lnTo>
                      <a:pt x="76" y="121"/>
                    </a:lnTo>
                    <a:lnTo>
                      <a:pt x="76" y="119"/>
                    </a:lnTo>
                    <a:lnTo>
                      <a:pt x="74" y="116"/>
                    </a:lnTo>
                    <a:lnTo>
                      <a:pt x="74" y="116"/>
                    </a:lnTo>
                    <a:lnTo>
                      <a:pt x="74" y="114"/>
                    </a:lnTo>
                    <a:lnTo>
                      <a:pt x="74" y="114"/>
                    </a:lnTo>
                    <a:lnTo>
                      <a:pt x="76" y="112"/>
                    </a:lnTo>
                    <a:lnTo>
                      <a:pt x="76" y="109"/>
                    </a:lnTo>
                    <a:lnTo>
                      <a:pt x="78" y="107"/>
                    </a:lnTo>
                    <a:lnTo>
                      <a:pt x="78" y="104"/>
                    </a:lnTo>
                    <a:lnTo>
                      <a:pt x="81" y="100"/>
                    </a:lnTo>
                    <a:lnTo>
                      <a:pt x="81" y="97"/>
                    </a:lnTo>
                    <a:lnTo>
                      <a:pt x="81" y="95"/>
                    </a:lnTo>
                    <a:lnTo>
                      <a:pt x="81" y="93"/>
                    </a:lnTo>
                    <a:lnTo>
                      <a:pt x="78" y="88"/>
                    </a:lnTo>
                    <a:lnTo>
                      <a:pt x="76" y="85"/>
                    </a:lnTo>
                    <a:lnTo>
                      <a:pt x="76" y="85"/>
                    </a:lnTo>
                    <a:lnTo>
                      <a:pt x="74" y="85"/>
                    </a:lnTo>
                    <a:lnTo>
                      <a:pt x="71" y="85"/>
                    </a:lnTo>
                    <a:lnTo>
                      <a:pt x="71" y="85"/>
                    </a:lnTo>
                    <a:lnTo>
                      <a:pt x="69" y="85"/>
                    </a:lnTo>
                    <a:lnTo>
                      <a:pt x="66" y="88"/>
                    </a:lnTo>
                    <a:lnTo>
                      <a:pt x="64" y="88"/>
                    </a:lnTo>
                    <a:lnTo>
                      <a:pt x="64" y="88"/>
                    </a:lnTo>
                    <a:lnTo>
                      <a:pt x="64" y="88"/>
                    </a:lnTo>
                    <a:lnTo>
                      <a:pt x="62" y="85"/>
                    </a:lnTo>
                    <a:lnTo>
                      <a:pt x="59" y="83"/>
                    </a:lnTo>
                    <a:lnTo>
                      <a:pt x="57" y="76"/>
                    </a:lnTo>
                    <a:lnTo>
                      <a:pt x="55" y="76"/>
                    </a:lnTo>
                    <a:lnTo>
                      <a:pt x="52" y="78"/>
                    </a:lnTo>
                    <a:lnTo>
                      <a:pt x="50" y="78"/>
                    </a:lnTo>
                    <a:lnTo>
                      <a:pt x="43" y="81"/>
                    </a:lnTo>
                    <a:lnTo>
                      <a:pt x="38" y="83"/>
                    </a:lnTo>
                    <a:lnTo>
                      <a:pt x="36" y="83"/>
                    </a:lnTo>
                    <a:lnTo>
                      <a:pt x="33" y="83"/>
                    </a:lnTo>
                    <a:lnTo>
                      <a:pt x="33" y="85"/>
                    </a:lnTo>
                    <a:lnTo>
                      <a:pt x="29" y="85"/>
                    </a:lnTo>
                    <a:lnTo>
                      <a:pt x="26" y="88"/>
                    </a:lnTo>
                    <a:lnTo>
                      <a:pt x="24" y="88"/>
                    </a:lnTo>
                    <a:lnTo>
                      <a:pt x="22" y="90"/>
                    </a:lnTo>
                    <a:lnTo>
                      <a:pt x="17" y="90"/>
                    </a:lnTo>
                    <a:lnTo>
                      <a:pt x="12" y="93"/>
                    </a:lnTo>
                    <a:lnTo>
                      <a:pt x="7" y="93"/>
                    </a:lnTo>
                    <a:lnTo>
                      <a:pt x="5" y="95"/>
                    </a:lnTo>
                    <a:lnTo>
                      <a:pt x="5" y="95"/>
                    </a:lnTo>
                    <a:lnTo>
                      <a:pt x="0" y="97"/>
                    </a:lnTo>
                    <a:lnTo>
                      <a:pt x="0" y="97"/>
                    </a:lnTo>
                    <a:lnTo>
                      <a:pt x="0" y="100"/>
                    </a:lnTo>
                    <a:lnTo>
                      <a:pt x="0" y="102"/>
                    </a:lnTo>
                    <a:lnTo>
                      <a:pt x="0" y="104"/>
                    </a:lnTo>
                    <a:lnTo>
                      <a:pt x="3" y="104"/>
                    </a:lnTo>
                    <a:lnTo>
                      <a:pt x="3" y="107"/>
                    </a:lnTo>
                    <a:lnTo>
                      <a:pt x="3" y="112"/>
                    </a:lnTo>
                    <a:lnTo>
                      <a:pt x="3" y="114"/>
                    </a:lnTo>
                    <a:lnTo>
                      <a:pt x="3" y="119"/>
                    </a:lnTo>
                    <a:lnTo>
                      <a:pt x="3" y="119"/>
                    </a:lnTo>
                    <a:lnTo>
                      <a:pt x="7" y="119"/>
                    </a:lnTo>
                    <a:lnTo>
                      <a:pt x="12" y="119"/>
                    </a:lnTo>
                    <a:lnTo>
                      <a:pt x="19" y="119"/>
                    </a:lnTo>
                    <a:lnTo>
                      <a:pt x="22" y="121"/>
                    </a:lnTo>
                    <a:lnTo>
                      <a:pt x="22" y="121"/>
                    </a:lnTo>
                    <a:lnTo>
                      <a:pt x="26" y="123"/>
                    </a:lnTo>
                    <a:lnTo>
                      <a:pt x="31" y="128"/>
                    </a:lnTo>
                    <a:lnTo>
                      <a:pt x="36" y="128"/>
                    </a:lnTo>
                    <a:lnTo>
                      <a:pt x="40" y="128"/>
                    </a:lnTo>
                    <a:lnTo>
                      <a:pt x="43" y="130"/>
                    </a:lnTo>
                    <a:lnTo>
                      <a:pt x="45" y="133"/>
                    </a:lnTo>
                    <a:lnTo>
                      <a:pt x="48" y="133"/>
                    </a:lnTo>
                    <a:lnTo>
                      <a:pt x="48" y="133"/>
                    </a:lnTo>
                    <a:lnTo>
                      <a:pt x="50" y="133"/>
                    </a:lnTo>
                    <a:lnTo>
                      <a:pt x="50" y="135"/>
                    </a:lnTo>
                    <a:lnTo>
                      <a:pt x="48" y="138"/>
                    </a:lnTo>
                    <a:lnTo>
                      <a:pt x="48" y="140"/>
                    </a:lnTo>
                    <a:lnTo>
                      <a:pt x="50" y="145"/>
                    </a:lnTo>
                    <a:lnTo>
                      <a:pt x="50" y="149"/>
                    </a:lnTo>
                    <a:lnTo>
                      <a:pt x="48" y="156"/>
                    </a:lnTo>
                    <a:lnTo>
                      <a:pt x="48" y="161"/>
                    </a:lnTo>
                    <a:lnTo>
                      <a:pt x="48" y="164"/>
                    </a:lnTo>
                    <a:lnTo>
                      <a:pt x="50" y="166"/>
                    </a:lnTo>
                    <a:lnTo>
                      <a:pt x="50" y="168"/>
                    </a:lnTo>
                    <a:lnTo>
                      <a:pt x="50" y="168"/>
                    </a:lnTo>
                    <a:lnTo>
                      <a:pt x="48" y="171"/>
                    </a:lnTo>
                    <a:lnTo>
                      <a:pt x="48" y="173"/>
                    </a:lnTo>
                    <a:lnTo>
                      <a:pt x="48" y="175"/>
                    </a:lnTo>
                    <a:lnTo>
                      <a:pt x="48" y="175"/>
                    </a:lnTo>
                    <a:lnTo>
                      <a:pt x="45" y="178"/>
                    </a:lnTo>
                    <a:lnTo>
                      <a:pt x="43" y="178"/>
                    </a:lnTo>
                    <a:lnTo>
                      <a:pt x="43" y="178"/>
                    </a:lnTo>
                    <a:lnTo>
                      <a:pt x="43" y="180"/>
                    </a:lnTo>
                    <a:lnTo>
                      <a:pt x="43" y="183"/>
                    </a:lnTo>
                    <a:lnTo>
                      <a:pt x="45" y="183"/>
                    </a:lnTo>
                    <a:lnTo>
                      <a:pt x="45" y="183"/>
                    </a:lnTo>
                    <a:lnTo>
                      <a:pt x="45" y="185"/>
                    </a:lnTo>
                    <a:lnTo>
                      <a:pt x="45" y="185"/>
                    </a:lnTo>
                    <a:lnTo>
                      <a:pt x="45" y="187"/>
                    </a:lnTo>
                    <a:lnTo>
                      <a:pt x="45" y="190"/>
                    </a:lnTo>
                    <a:lnTo>
                      <a:pt x="45" y="194"/>
                    </a:lnTo>
                    <a:lnTo>
                      <a:pt x="45" y="197"/>
                    </a:lnTo>
                    <a:lnTo>
                      <a:pt x="48" y="199"/>
                    </a:lnTo>
                    <a:lnTo>
                      <a:pt x="48" y="199"/>
                    </a:lnTo>
                    <a:lnTo>
                      <a:pt x="48" y="201"/>
                    </a:lnTo>
                    <a:lnTo>
                      <a:pt x="48" y="201"/>
                    </a:lnTo>
                    <a:lnTo>
                      <a:pt x="45" y="209"/>
                    </a:lnTo>
                    <a:lnTo>
                      <a:pt x="43" y="211"/>
                    </a:lnTo>
                    <a:lnTo>
                      <a:pt x="43" y="213"/>
                    </a:lnTo>
                    <a:lnTo>
                      <a:pt x="38" y="216"/>
                    </a:lnTo>
                    <a:lnTo>
                      <a:pt x="38" y="216"/>
                    </a:lnTo>
                    <a:lnTo>
                      <a:pt x="38" y="218"/>
                    </a:lnTo>
                    <a:lnTo>
                      <a:pt x="38" y="220"/>
                    </a:lnTo>
                    <a:lnTo>
                      <a:pt x="38" y="223"/>
                    </a:lnTo>
                    <a:lnTo>
                      <a:pt x="36" y="228"/>
                    </a:lnTo>
                    <a:lnTo>
                      <a:pt x="36" y="230"/>
                    </a:lnTo>
                    <a:lnTo>
                      <a:pt x="36" y="230"/>
                    </a:lnTo>
                    <a:lnTo>
                      <a:pt x="36" y="232"/>
                    </a:lnTo>
                    <a:lnTo>
                      <a:pt x="33" y="235"/>
                    </a:lnTo>
                    <a:lnTo>
                      <a:pt x="29" y="239"/>
                    </a:lnTo>
                    <a:lnTo>
                      <a:pt x="26" y="242"/>
                    </a:lnTo>
                    <a:lnTo>
                      <a:pt x="24" y="244"/>
                    </a:lnTo>
                    <a:lnTo>
                      <a:pt x="22" y="249"/>
                    </a:lnTo>
                    <a:lnTo>
                      <a:pt x="17" y="251"/>
                    </a:lnTo>
                    <a:lnTo>
                      <a:pt x="14" y="254"/>
                    </a:lnTo>
                    <a:lnTo>
                      <a:pt x="14" y="256"/>
                    </a:lnTo>
                    <a:lnTo>
                      <a:pt x="14" y="256"/>
                    </a:lnTo>
                    <a:lnTo>
                      <a:pt x="17" y="258"/>
                    </a:lnTo>
                    <a:lnTo>
                      <a:pt x="17" y="263"/>
                    </a:lnTo>
                    <a:lnTo>
                      <a:pt x="17" y="268"/>
                    </a:lnTo>
                    <a:lnTo>
                      <a:pt x="19" y="273"/>
                    </a:lnTo>
                    <a:lnTo>
                      <a:pt x="19" y="275"/>
                    </a:lnTo>
                    <a:lnTo>
                      <a:pt x="19" y="277"/>
                    </a:lnTo>
                    <a:lnTo>
                      <a:pt x="19" y="277"/>
                    </a:lnTo>
                    <a:lnTo>
                      <a:pt x="22" y="280"/>
                    </a:lnTo>
                    <a:lnTo>
                      <a:pt x="22" y="282"/>
                    </a:lnTo>
                    <a:lnTo>
                      <a:pt x="22" y="282"/>
                    </a:lnTo>
                    <a:lnTo>
                      <a:pt x="24" y="284"/>
                    </a:lnTo>
                    <a:lnTo>
                      <a:pt x="24" y="289"/>
                    </a:lnTo>
                    <a:lnTo>
                      <a:pt x="24" y="291"/>
                    </a:lnTo>
                    <a:lnTo>
                      <a:pt x="26" y="294"/>
                    </a:lnTo>
                    <a:lnTo>
                      <a:pt x="26" y="296"/>
                    </a:lnTo>
                    <a:lnTo>
                      <a:pt x="26" y="296"/>
                    </a:lnTo>
                    <a:lnTo>
                      <a:pt x="26" y="301"/>
                    </a:lnTo>
                    <a:lnTo>
                      <a:pt x="26" y="306"/>
                    </a:lnTo>
                    <a:lnTo>
                      <a:pt x="26" y="310"/>
                    </a:lnTo>
                    <a:lnTo>
                      <a:pt x="26" y="315"/>
                    </a:lnTo>
                    <a:lnTo>
                      <a:pt x="26" y="315"/>
                    </a:lnTo>
                    <a:lnTo>
                      <a:pt x="26" y="322"/>
                    </a:lnTo>
                    <a:lnTo>
                      <a:pt x="24" y="325"/>
                    </a:lnTo>
                    <a:lnTo>
                      <a:pt x="24" y="327"/>
                    </a:lnTo>
                    <a:lnTo>
                      <a:pt x="24" y="329"/>
                    </a:lnTo>
                    <a:lnTo>
                      <a:pt x="24" y="329"/>
                    </a:lnTo>
                    <a:lnTo>
                      <a:pt x="26" y="329"/>
                    </a:lnTo>
                    <a:lnTo>
                      <a:pt x="26" y="332"/>
                    </a:lnTo>
                    <a:lnTo>
                      <a:pt x="26" y="334"/>
                    </a:lnTo>
                    <a:lnTo>
                      <a:pt x="26" y="336"/>
                    </a:lnTo>
                    <a:lnTo>
                      <a:pt x="26" y="336"/>
                    </a:lnTo>
                    <a:lnTo>
                      <a:pt x="26" y="339"/>
                    </a:lnTo>
                    <a:lnTo>
                      <a:pt x="26" y="341"/>
                    </a:lnTo>
                    <a:lnTo>
                      <a:pt x="26" y="348"/>
                    </a:lnTo>
                    <a:lnTo>
                      <a:pt x="29" y="348"/>
                    </a:lnTo>
                    <a:lnTo>
                      <a:pt x="31" y="348"/>
                    </a:lnTo>
                    <a:lnTo>
                      <a:pt x="33" y="348"/>
                    </a:lnTo>
                    <a:lnTo>
                      <a:pt x="36" y="348"/>
                    </a:lnTo>
                    <a:lnTo>
                      <a:pt x="38" y="348"/>
                    </a:lnTo>
                    <a:lnTo>
                      <a:pt x="40" y="348"/>
                    </a:lnTo>
                    <a:lnTo>
                      <a:pt x="40" y="348"/>
                    </a:lnTo>
                    <a:lnTo>
                      <a:pt x="43" y="334"/>
                    </a:lnTo>
                    <a:lnTo>
                      <a:pt x="43" y="332"/>
                    </a:lnTo>
                    <a:lnTo>
                      <a:pt x="43" y="332"/>
                    </a:lnTo>
                    <a:lnTo>
                      <a:pt x="40" y="332"/>
                    </a:lnTo>
                    <a:lnTo>
                      <a:pt x="40" y="336"/>
                    </a:lnTo>
                    <a:lnTo>
                      <a:pt x="40" y="334"/>
                    </a:lnTo>
                    <a:lnTo>
                      <a:pt x="38" y="334"/>
                    </a:lnTo>
                    <a:lnTo>
                      <a:pt x="38" y="334"/>
                    </a:lnTo>
                    <a:lnTo>
                      <a:pt x="36" y="332"/>
                    </a:lnTo>
                    <a:lnTo>
                      <a:pt x="36" y="329"/>
                    </a:lnTo>
                    <a:lnTo>
                      <a:pt x="38" y="327"/>
                    </a:lnTo>
                    <a:lnTo>
                      <a:pt x="38" y="327"/>
                    </a:lnTo>
                    <a:lnTo>
                      <a:pt x="40" y="322"/>
                    </a:lnTo>
                    <a:lnTo>
                      <a:pt x="43" y="320"/>
                    </a:lnTo>
                    <a:lnTo>
                      <a:pt x="50" y="315"/>
                    </a:lnTo>
                    <a:lnTo>
                      <a:pt x="55" y="313"/>
                    </a:lnTo>
                    <a:lnTo>
                      <a:pt x="59" y="310"/>
                    </a:lnTo>
                    <a:lnTo>
                      <a:pt x="74" y="306"/>
                    </a:lnTo>
                    <a:lnTo>
                      <a:pt x="81" y="301"/>
                    </a:lnTo>
                    <a:lnTo>
                      <a:pt x="83" y="299"/>
                    </a:lnTo>
                    <a:lnTo>
                      <a:pt x="85" y="296"/>
                    </a:lnTo>
                    <a:lnTo>
                      <a:pt x="90" y="291"/>
                    </a:lnTo>
                    <a:lnTo>
                      <a:pt x="90" y="289"/>
                    </a:lnTo>
                    <a:lnTo>
                      <a:pt x="93" y="284"/>
                    </a:lnTo>
                    <a:lnTo>
                      <a:pt x="90" y="282"/>
                    </a:lnTo>
                    <a:lnTo>
                      <a:pt x="90" y="282"/>
                    </a:lnTo>
                    <a:lnTo>
                      <a:pt x="90" y="284"/>
                    </a:lnTo>
                    <a:lnTo>
                      <a:pt x="88" y="284"/>
                    </a:lnTo>
                    <a:lnTo>
                      <a:pt x="88" y="284"/>
                    </a:lnTo>
                    <a:lnTo>
                      <a:pt x="88" y="282"/>
                    </a:lnTo>
                    <a:lnTo>
                      <a:pt x="90" y="270"/>
                    </a:lnTo>
                    <a:lnTo>
                      <a:pt x="93" y="265"/>
                    </a:lnTo>
                    <a:lnTo>
                      <a:pt x="93" y="261"/>
                    </a:lnTo>
                    <a:lnTo>
                      <a:pt x="93" y="258"/>
                    </a:lnTo>
                    <a:lnTo>
                      <a:pt x="93" y="254"/>
                    </a:lnTo>
                    <a:lnTo>
                      <a:pt x="93" y="251"/>
                    </a:lnTo>
                    <a:lnTo>
                      <a:pt x="93" y="251"/>
                    </a:lnTo>
                    <a:lnTo>
                      <a:pt x="93" y="249"/>
                    </a:lnTo>
                    <a:lnTo>
                      <a:pt x="93" y="249"/>
                    </a:lnTo>
                    <a:lnTo>
                      <a:pt x="93" y="246"/>
                    </a:lnTo>
                    <a:lnTo>
                      <a:pt x="90" y="249"/>
                    </a:lnTo>
                    <a:lnTo>
                      <a:pt x="90" y="251"/>
                    </a:lnTo>
                    <a:lnTo>
                      <a:pt x="90" y="254"/>
                    </a:lnTo>
                    <a:lnTo>
                      <a:pt x="90" y="256"/>
                    </a:lnTo>
                    <a:lnTo>
                      <a:pt x="88" y="254"/>
                    </a:lnTo>
                    <a:lnTo>
                      <a:pt x="88" y="251"/>
                    </a:lnTo>
                    <a:lnTo>
                      <a:pt x="90" y="246"/>
                    </a:lnTo>
                    <a:lnTo>
                      <a:pt x="88" y="239"/>
                    </a:lnTo>
                    <a:lnTo>
                      <a:pt x="88" y="237"/>
                    </a:lnTo>
                    <a:lnTo>
                      <a:pt x="85" y="232"/>
                    </a:lnTo>
                    <a:lnTo>
                      <a:pt x="85" y="228"/>
                    </a:lnTo>
                    <a:lnTo>
                      <a:pt x="83" y="220"/>
                    </a:lnTo>
                    <a:lnTo>
                      <a:pt x="83" y="218"/>
                    </a:lnTo>
                    <a:lnTo>
                      <a:pt x="81" y="216"/>
                    </a:lnTo>
                    <a:lnTo>
                      <a:pt x="78" y="213"/>
                    </a:lnTo>
                    <a:lnTo>
                      <a:pt x="78" y="211"/>
                    </a:lnTo>
                    <a:lnTo>
                      <a:pt x="81" y="204"/>
                    </a:lnTo>
                    <a:lnTo>
                      <a:pt x="81" y="201"/>
                    </a:lnTo>
                    <a:lnTo>
                      <a:pt x="81" y="199"/>
                    </a:lnTo>
                    <a:lnTo>
                      <a:pt x="81" y="199"/>
                    </a:lnTo>
                    <a:lnTo>
                      <a:pt x="78" y="197"/>
                    </a:lnTo>
                    <a:lnTo>
                      <a:pt x="81" y="197"/>
                    </a:lnTo>
                    <a:lnTo>
                      <a:pt x="83" y="199"/>
                    </a:lnTo>
                    <a:lnTo>
                      <a:pt x="83" y="199"/>
                    </a:lnTo>
                    <a:lnTo>
                      <a:pt x="83" y="199"/>
                    </a:lnTo>
                    <a:lnTo>
                      <a:pt x="93" y="192"/>
                    </a:lnTo>
                    <a:lnTo>
                      <a:pt x="97" y="185"/>
                    </a:lnTo>
                    <a:lnTo>
                      <a:pt x="102" y="183"/>
                    </a:lnTo>
                    <a:lnTo>
                      <a:pt x="104" y="180"/>
                    </a:lnTo>
                    <a:lnTo>
                      <a:pt x="107" y="178"/>
                    </a:lnTo>
                    <a:lnTo>
                      <a:pt x="107" y="180"/>
                    </a:lnTo>
                    <a:lnTo>
                      <a:pt x="109" y="178"/>
                    </a:lnTo>
                    <a:lnTo>
                      <a:pt x="109" y="175"/>
                    </a:lnTo>
                    <a:lnTo>
                      <a:pt x="109" y="178"/>
                    </a:lnTo>
                    <a:lnTo>
                      <a:pt x="111" y="178"/>
                    </a:lnTo>
                    <a:lnTo>
                      <a:pt x="111" y="175"/>
                    </a:lnTo>
                    <a:lnTo>
                      <a:pt x="114" y="173"/>
                    </a:lnTo>
                    <a:lnTo>
                      <a:pt x="114" y="171"/>
                    </a:lnTo>
                    <a:lnTo>
                      <a:pt x="119" y="166"/>
                    </a:lnTo>
                    <a:lnTo>
                      <a:pt x="121" y="164"/>
                    </a:lnTo>
                    <a:lnTo>
                      <a:pt x="121" y="161"/>
                    </a:lnTo>
                    <a:lnTo>
                      <a:pt x="121" y="161"/>
                    </a:lnTo>
                    <a:lnTo>
                      <a:pt x="123" y="159"/>
                    </a:lnTo>
                    <a:lnTo>
                      <a:pt x="123" y="159"/>
                    </a:lnTo>
                    <a:lnTo>
                      <a:pt x="128" y="154"/>
                    </a:lnTo>
                    <a:lnTo>
                      <a:pt x="133" y="152"/>
                    </a:lnTo>
                    <a:lnTo>
                      <a:pt x="140" y="147"/>
                    </a:lnTo>
                    <a:lnTo>
                      <a:pt x="142" y="147"/>
                    </a:lnTo>
                    <a:lnTo>
                      <a:pt x="145" y="145"/>
                    </a:lnTo>
                    <a:lnTo>
                      <a:pt x="145" y="145"/>
                    </a:lnTo>
                    <a:lnTo>
                      <a:pt x="149" y="142"/>
                    </a:lnTo>
                    <a:lnTo>
                      <a:pt x="154" y="142"/>
                    </a:lnTo>
                    <a:lnTo>
                      <a:pt x="154" y="140"/>
                    </a:lnTo>
                    <a:lnTo>
                      <a:pt x="156" y="140"/>
                    </a:lnTo>
                    <a:lnTo>
                      <a:pt x="156" y="140"/>
                    </a:lnTo>
                    <a:lnTo>
                      <a:pt x="159" y="140"/>
                    </a:lnTo>
                    <a:lnTo>
                      <a:pt x="159" y="140"/>
                    </a:lnTo>
                    <a:lnTo>
                      <a:pt x="161" y="140"/>
                    </a:lnTo>
                    <a:lnTo>
                      <a:pt x="163" y="135"/>
                    </a:lnTo>
                    <a:lnTo>
                      <a:pt x="166" y="135"/>
                    </a:lnTo>
                    <a:lnTo>
                      <a:pt x="173" y="130"/>
                    </a:lnTo>
                    <a:lnTo>
                      <a:pt x="175" y="128"/>
                    </a:lnTo>
                    <a:lnTo>
                      <a:pt x="178" y="128"/>
                    </a:lnTo>
                    <a:lnTo>
                      <a:pt x="175" y="126"/>
                    </a:lnTo>
                    <a:lnTo>
                      <a:pt x="178" y="123"/>
                    </a:lnTo>
                    <a:lnTo>
                      <a:pt x="180" y="123"/>
                    </a:lnTo>
                    <a:lnTo>
                      <a:pt x="182" y="119"/>
                    </a:lnTo>
                    <a:lnTo>
                      <a:pt x="182" y="119"/>
                    </a:lnTo>
                    <a:lnTo>
                      <a:pt x="182" y="119"/>
                    </a:lnTo>
                    <a:lnTo>
                      <a:pt x="185" y="116"/>
                    </a:lnTo>
                    <a:lnTo>
                      <a:pt x="185" y="114"/>
                    </a:lnTo>
                    <a:lnTo>
                      <a:pt x="189" y="107"/>
                    </a:lnTo>
                    <a:lnTo>
                      <a:pt x="192" y="102"/>
                    </a:lnTo>
                    <a:lnTo>
                      <a:pt x="192" y="102"/>
                    </a:lnTo>
                    <a:lnTo>
                      <a:pt x="192" y="100"/>
                    </a:lnTo>
                    <a:lnTo>
                      <a:pt x="192" y="100"/>
                    </a:lnTo>
                    <a:lnTo>
                      <a:pt x="194" y="100"/>
                    </a:lnTo>
                    <a:lnTo>
                      <a:pt x="194" y="97"/>
                    </a:lnTo>
                    <a:lnTo>
                      <a:pt x="194" y="95"/>
                    </a:lnTo>
                    <a:lnTo>
                      <a:pt x="194" y="95"/>
                    </a:lnTo>
                    <a:lnTo>
                      <a:pt x="197" y="93"/>
                    </a:lnTo>
                    <a:lnTo>
                      <a:pt x="197" y="90"/>
                    </a:lnTo>
                    <a:lnTo>
                      <a:pt x="197" y="90"/>
                    </a:lnTo>
                    <a:close/>
                    <a:moveTo>
                      <a:pt x="83" y="36"/>
                    </a:moveTo>
                    <a:lnTo>
                      <a:pt x="83" y="36"/>
                    </a:lnTo>
                    <a:lnTo>
                      <a:pt x="81" y="33"/>
                    </a:lnTo>
                    <a:lnTo>
                      <a:pt x="81" y="33"/>
                    </a:lnTo>
                    <a:lnTo>
                      <a:pt x="83" y="33"/>
                    </a:lnTo>
                    <a:lnTo>
                      <a:pt x="83" y="33"/>
                    </a:lnTo>
                    <a:lnTo>
                      <a:pt x="83" y="33"/>
                    </a:lnTo>
                    <a:lnTo>
                      <a:pt x="83" y="36"/>
                    </a:lnTo>
                    <a:close/>
                    <a:moveTo>
                      <a:pt x="85" y="36"/>
                    </a:moveTo>
                    <a:lnTo>
                      <a:pt x="85" y="36"/>
                    </a:lnTo>
                    <a:lnTo>
                      <a:pt x="85" y="36"/>
                    </a:lnTo>
                    <a:lnTo>
                      <a:pt x="83" y="36"/>
                    </a:lnTo>
                    <a:lnTo>
                      <a:pt x="83" y="36"/>
                    </a:lnTo>
                    <a:lnTo>
                      <a:pt x="83" y="36"/>
                    </a:lnTo>
                    <a:lnTo>
                      <a:pt x="83" y="33"/>
                    </a:lnTo>
                    <a:lnTo>
                      <a:pt x="85" y="33"/>
                    </a:lnTo>
                    <a:lnTo>
                      <a:pt x="85" y="33"/>
                    </a:lnTo>
                    <a:lnTo>
                      <a:pt x="85" y="33"/>
                    </a:lnTo>
                    <a:lnTo>
                      <a:pt x="85" y="36"/>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88"/>
              <p:cNvSpPr>
                <a:spLocks/>
              </p:cNvSpPr>
              <p:nvPr/>
            </p:nvSpPr>
            <p:spPr bwMode="auto">
              <a:xfrm>
                <a:off x="2441" y="2040"/>
                <a:ext cx="298" cy="308"/>
              </a:xfrm>
              <a:custGeom>
                <a:avLst/>
                <a:gdLst>
                  <a:gd name="T0" fmla="*/ 293 w 298"/>
                  <a:gd name="T1" fmla="*/ 69 h 308"/>
                  <a:gd name="T2" fmla="*/ 289 w 298"/>
                  <a:gd name="T3" fmla="*/ 50 h 308"/>
                  <a:gd name="T4" fmla="*/ 286 w 298"/>
                  <a:gd name="T5" fmla="*/ 33 h 308"/>
                  <a:gd name="T6" fmla="*/ 286 w 298"/>
                  <a:gd name="T7" fmla="*/ 28 h 308"/>
                  <a:gd name="T8" fmla="*/ 279 w 298"/>
                  <a:gd name="T9" fmla="*/ 19 h 308"/>
                  <a:gd name="T10" fmla="*/ 267 w 298"/>
                  <a:gd name="T11" fmla="*/ 14 h 308"/>
                  <a:gd name="T12" fmla="*/ 260 w 298"/>
                  <a:gd name="T13" fmla="*/ 17 h 308"/>
                  <a:gd name="T14" fmla="*/ 239 w 298"/>
                  <a:gd name="T15" fmla="*/ 17 h 308"/>
                  <a:gd name="T16" fmla="*/ 227 w 298"/>
                  <a:gd name="T17" fmla="*/ 0 h 308"/>
                  <a:gd name="T18" fmla="*/ 215 w 298"/>
                  <a:gd name="T19" fmla="*/ 5 h 308"/>
                  <a:gd name="T20" fmla="*/ 170 w 298"/>
                  <a:gd name="T21" fmla="*/ 54 h 308"/>
                  <a:gd name="T22" fmla="*/ 151 w 298"/>
                  <a:gd name="T23" fmla="*/ 78 h 308"/>
                  <a:gd name="T24" fmla="*/ 140 w 298"/>
                  <a:gd name="T25" fmla="*/ 111 h 308"/>
                  <a:gd name="T26" fmla="*/ 142 w 298"/>
                  <a:gd name="T27" fmla="*/ 128 h 308"/>
                  <a:gd name="T28" fmla="*/ 116 w 298"/>
                  <a:gd name="T29" fmla="*/ 154 h 308"/>
                  <a:gd name="T30" fmla="*/ 83 w 298"/>
                  <a:gd name="T31" fmla="*/ 168 h 308"/>
                  <a:gd name="T32" fmla="*/ 71 w 298"/>
                  <a:gd name="T33" fmla="*/ 187 h 308"/>
                  <a:gd name="T34" fmla="*/ 55 w 298"/>
                  <a:gd name="T35" fmla="*/ 204 h 308"/>
                  <a:gd name="T36" fmla="*/ 45 w 298"/>
                  <a:gd name="T37" fmla="*/ 223 h 308"/>
                  <a:gd name="T38" fmla="*/ 28 w 298"/>
                  <a:gd name="T39" fmla="*/ 251 h 308"/>
                  <a:gd name="T40" fmla="*/ 24 w 298"/>
                  <a:gd name="T41" fmla="*/ 258 h 308"/>
                  <a:gd name="T42" fmla="*/ 19 w 298"/>
                  <a:gd name="T43" fmla="*/ 270 h 308"/>
                  <a:gd name="T44" fmla="*/ 10 w 298"/>
                  <a:gd name="T45" fmla="*/ 289 h 308"/>
                  <a:gd name="T46" fmla="*/ 2 w 298"/>
                  <a:gd name="T47" fmla="*/ 308 h 308"/>
                  <a:gd name="T48" fmla="*/ 24 w 298"/>
                  <a:gd name="T49" fmla="*/ 305 h 308"/>
                  <a:gd name="T50" fmla="*/ 40 w 298"/>
                  <a:gd name="T51" fmla="*/ 308 h 308"/>
                  <a:gd name="T52" fmla="*/ 45 w 298"/>
                  <a:gd name="T53" fmla="*/ 298 h 308"/>
                  <a:gd name="T54" fmla="*/ 50 w 298"/>
                  <a:gd name="T55" fmla="*/ 291 h 308"/>
                  <a:gd name="T56" fmla="*/ 55 w 298"/>
                  <a:gd name="T57" fmla="*/ 279 h 308"/>
                  <a:gd name="T58" fmla="*/ 57 w 298"/>
                  <a:gd name="T59" fmla="*/ 263 h 308"/>
                  <a:gd name="T60" fmla="*/ 66 w 298"/>
                  <a:gd name="T61" fmla="*/ 256 h 308"/>
                  <a:gd name="T62" fmla="*/ 73 w 298"/>
                  <a:gd name="T63" fmla="*/ 249 h 308"/>
                  <a:gd name="T64" fmla="*/ 81 w 298"/>
                  <a:gd name="T65" fmla="*/ 241 h 308"/>
                  <a:gd name="T66" fmla="*/ 88 w 298"/>
                  <a:gd name="T67" fmla="*/ 234 h 308"/>
                  <a:gd name="T68" fmla="*/ 92 w 298"/>
                  <a:gd name="T69" fmla="*/ 218 h 308"/>
                  <a:gd name="T70" fmla="*/ 95 w 298"/>
                  <a:gd name="T71" fmla="*/ 211 h 308"/>
                  <a:gd name="T72" fmla="*/ 102 w 298"/>
                  <a:gd name="T73" fmla="*/ 206 h 308"/>
                  <a:gd name="T74" fmla="*/ 107 w 298"/>
                  <a:gd name="T75" fmla="*/ 199 h 308"/>
                  <a:gd name="T76" fmla="*/ 109 w 298"/>
                  <a:gd name="T77" fmla="*/ 192 h 308"/>
                  <a:gd name="T78" fmla="*/ 121 w 298"/>
                  <a:gd name="T79" fmla="*/ 189 h 308"/>
                  <a:gd name="T80" fmla="*/ 130 w 298"/>
                  <a:gd name="T81" fmla="*/ 192 h 308"/>
                  <a:gd name="T82" fmla="*/ 137 w 298"/>
                  <a:gd name="T83" fmla="*/ 192 h 308"/>
                  <a:gd name="T84" fmla="*/ 144 w 298"/>
                  <a:gd name="T85" fmla="*/ 187 h 308"/>
                  <a:gd name="T86" fmla="*/ 156 w 298"/>
                  <a:gd name="T87" fmla="*/ 187 h 308"/>
                  <a:gd name="T88" fmla="*/ 156 w 298"/>
                  <a:gd name="T89" fmla="*/ 180 h 308"/>
                  <a:gd name="T90" fmla="*/ 159 w 298"/>
                  <a:gd name="T91" fmla="*/ 175 h 308"/>
                  <a:gd name="T92" fmla="*/ 159 w 298"/>
                  <a:gd name="T93" fmla="*/ 154 h 308"/>
                  <a:gd name="T94" fmla="*/ 170 w 298"/>
                  <a:gd name="T95" fmla="*/ 144 h 308"/>
                  <a:gd name="T96" fmla="*/ 185 w 298"/>
                  <a:gd name="T97" fmla="*/ 137 h 308"/>
                  <a:gd name="T98" fmla="*/ 194 w 298"/>
                  <a:gd name="T99" fmla="*/ 135 h 308"/>
                  <a:gd name="T100" fmla="*/ 199 w 298"/>
                  <a:gd name="T101" fmla="*/ 130 h 308"/>
                  <a:gd name="T102" fmla="*/ 206 w 298"/>
                  <a:gd name="T103" fmla="*/ 130 h 308"/>
                  <a:gd name="T104" fmla="*/ 222 w 298"/>
                  <a:gd name="T105" fmla="*/ 123 h 308"/>
                  <a:gd name="T106" fmla="*/ 239 w 298"/>
                  <a:gd name="T107" fmla="*/ 111 h 308"/>
                  <a:gd name="T108" fmla="*/ 251 w 298"/>
                  <a:gd name="T109" fmla="*/ 104 h 308"/>
                  <a:gd name="T110" fmla="*/ 248 w 298"/>
                  <a:gd name="T111" fmla="*/ 102 h 308"/>
                  <a:gd name="T112" fmla="*/ 248 w 298"/>
                  <a:gd name="T113" fmla="*/ 92 h 308"/>
                  <a:gd name="T114" fmla="*/ 256 w 298"/>
                  <a:gd name="T115" fmla="*/ 90 h 308"/>
                  <a:gd name="T116" fmla="*/ 265 w 298"/>
                  <a:gd name="T117" fmla="*/ 83 h 308"/>
                  <a:gd name="T118" fmla="*/ 284 w 298"/>
                  <a:gd name="T119" fmla="*/ 80 h 308"/>
                  <a:gd name="T120" fmla="*/ 296 w 298"/>
                  <a:gd name="T121" fmla="*/ 78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98" h="308">
                    <a:moveTo>
                      <a:pt x="296" y="76"/>
                    </a:moveTo>
                    <a:lnTo>
                      <a:pt x="298" y="73"/>
                    </a:lnTo>
                    <a:lnTo>
                      <a:pt x="298" y="71"/>
                    </a:lnTo>
                    <a:lnTo>
                      <a:pt x="296" y="71"/>
                    </a:lnTo>
                    <a:lnTo>
                      <a:pt x="293" y="69"/>
                    </a:lnTo>
                    <a:lnTo>
                      <a:pt x="293" y="69"/>
                    </a:lnTo>
                    <a:lnTo>
                      <a:pt x="291" y="66"/>
                    </a:lnTo>
                    <a:lnTo>
                      <a:pt x="291" y="66"/>
                    </a:lnTo>
                    <a:lnTo>
                      <a:pt x="291" y="62"/>
                    </a:lnTo>
                    <a:lnTo>
                      <a:pt x="289" y="59"/>
                    </a:lnTo>
                    <a:lnTo>
                      <a:pt x="289" y="57"/>
                    </a:lnTo>
                    <a:lnTo>
                      <a:pt x="289" y="50"/>
                    </a:lnTo>
                    <a:lnTo>
                      <a:pt x="289" y="47"/>
                    </a:lnTo>
                    <a:lnTo>
                      <a:pt x="289" y="45"/>
                    </a:lnTo>
                    <a:lnTo>
                      <a:pt x="289" y="45"/>
                    </a:lnTo>
                    <a:lnTo>
                      <a:pt x="289" y="43"/>
                    </a:lnTo>
                    <a:lnTo>
                      <a:pt x="289" y="38"/>
                    </a:lnTo>
                    <a:lnTo>
                      <a:pt x="286" y="33"/>
                    </a:lnTo>
                    <a:lnTo>
                      <a:pt x="289" y="33"/>
                    </a:lnTo>
                    <a:lnTo>
                      <a:pt x="289" y="31"/>
                    </a:lnTo>
                    <a:lnTo>
                      <a:pt x="289" y="31"/>
                    </a:lnTo>
                    <a:lnTo>
                      <a:pt x="286" y="31"/>
                    </a:lnTo>
                    <a:lnTo>
                      <a:pt x="286" y="28"/>
                    </a:lnTo>
                    <a:lnTo>
                      <a:pt x="286" y="28"/>
                    </a:lnTo>
                    <a:lnTo>
                      <a:pt x="286" y="26"/>
                    </a:lnTo>
                    <a:lnTo>
                      <a:pt x="286" y="26"/>
                    </a:lnTo>
                    <a:lnTo>
                      <a:pt x="286" y="24"/>
                    </a:lnTo>
                    <a:lnTo>
                      <a:pt x="282" y="21"/>
                    </a:lnTo>
                    <a:lnTo>
                      <a:pt x="282" y="19"/>
                    </a:lnTo>
                    <a:lnTo>
                      <a:pt x="279" y="19"/>
                    </a:lnTo>
                    <a:lnTo>
                      <a:pt x="277" y="17"/>
                    </a:lnTo>
                    <a:lnTo>
                      <a:pt x="272" y="19"/>
                    </a:lnTo>
                    <a:lnTo>
                      <a:pt x="272" y="17"/>
                    </a:lnTo>
                    <a:lnTo>
                      <a:pt x="270" y="17"/>
                    </a:lnTo>
                    <a:lnTo>
                      <a:pt x="270" y="17"/>
                    </a:lnTo>
                    <a:lnTo>
                      <a:pt x="267" y="14"/>
                    </a:lnTo>
                    <a:lnTo>
                      <a:pt x="267" y="14"/>
                    </a:lnTo>
                    <a:lnTo>
                      <a:pt x="267" y="12"/>
                    </a:lnTo>
                    <a:lnTo>
                      <a:pt x="267" y="12"/>
                    </a:lnTo>
                    <a:lnTo>
                      <a:pt x="265" y="14"/>
                    </a:lnTo>
                    <a:lnTo>
                      <a:pt x="263" y="14"/>
                    </a:lnTo>
                    <a:lnTo>
                      <a:pt x="260" y="17"/>
                    </a:lnTo>
                    <a:lnTo>
                      <a:pt x="256" y="14"/>
                    </a:lnTo>
                    <a:lnTo>
                      <a:pt x="256" y="14"/>
                    </a:lnTo>
                    <a:lnTo>
                      <a:pt x="253" y="14"/>
                    </a:lnTo>
                    <a:lnTo>
                      <a:pt x="248" y="14"/>
                    </a:lnTo>
                    <a:lnTo>
                      <a:pt x="244" y="17"/>
                    </a:lnTo>
                    <a:lnTo>
                      <a:pt x="239" y="17"/>
                    </a:lnTo>
                    <a:lnTo>
                      <a:pt x="234" y="14"/>
                    </a:lnTo>
                    <a:lnTo>
                      <a:pt x="230" y="9"/>
                    </a:lnTo>
                    <a:lnTo>
                      <a:pt x="227" y="7"/>
                    </a:lnTo>
                    <a:lnTo>
                      <a:pt x="227" y="5"/>
                    </a:lnTo>
                    <a:lnTo>
                      <a:pt x="227" y="2"/>
                    </a:lnTo>
                    <a:lnTo>
                      <a:pt x="227" y="0"/>
                    </a:lnTo>
                    <a:lnTo>
                      <a:pt x="225" y="0"/>
                    </a:lnTo>
                    <a:lnTo>
                      <a:pt x="222" y="2"/>
                    </a:lnTo>
                    <a:lnTo>
                      <a:pt x="222" y="2"/>
                    </a:lnTo>
                    <a:lnTo>
                      <a:pt x="220" y="2"/>
                    </a:lnTo>
                    <a:lnTo>
                      <a:pt x="215" y="2"/>
                    </a:lnTo>
                    <a:lnTo>
                      <a:pt x="215" y="5"/>
                    </a:lnTo>
                    <a:lnTo>
                      <a:pt x="208" y="26"/>
                    </a:lnTo>
                    <a:lnTo>
                      <a:pt x="199" y="38"/>
                    </a:lnTo>
                    <a:lnTo>
                      <a:pt x="196" y="43"/>
                    </a:lnTo>
                    <a:lnTo>
                      <a:pt x="192" y="45"/>
                    </a:lnTo>
                    <a:lnTo>
                      <a:pt x="185" y="50"/>
                    </a:lnTo>
                    <a:lnTo>
                      <a:pt x="170" y="54"/>
                    </a:lnTo>
                    <a:lnTo>
                      <a:pt x="168" y="57"/>
                    </a:lnTo>
                    <a:lnTo>
                      <a:pt x="166" y="59"/>
                    </a:lnTo>
                    <a:lnTo>
                      <a:pt x="161" y="64"/>
                    </a:lnTo>
                    <a:lnTo>
                      <a:pt x="154" y="71"/>
                    </a:lnTo>
                    <a:lnTo>
                      <a:pt x="154" y="73"/>
                    </a:lnTo>
                    <a:lnTo>
                      <a:pt x="151" y="78"/>
                    </a:lnTo>
                    <a:lnTo>
                      <a:pt x="151" y="83"/>
                    </a:lnTo>
                    <a:lnTo>
                      <a:pt x="144" y="90"/>
                    </a:lnTo>
                    <a:lnTo>
                      <a:pt x="142" y="97"/>
                    </a:lnTo>
                    <a:lnTo>
                      <a:pt x="140" y="104"/>
                    </a:lnTo>
                    <a:lnTo>
                      <a:pt x="140" y="109"/>
                    </a:lnTo>
                    <a:lnTo>
                      <a:pt x="140" y="111"/>
                    </a:lnTo>
                    <a:lnTo>
                      <a:pt x="140" y="111"/>
                    </a:lnTo>
                    <a:lnTo>
                      <a:pt x="142" y="114"/>
                    </a:lnTo>
                    <a:lnTo>
                      <a:pt x="144" y="116"/>
                    </a:lnTo>
                    <a:lnTo>
                      <a:pt x="144" y="118"/>
                    </a:lnTo>
                    <a:lnTo>
                      <a:pt x="142" y="123"/>
                    </a:lnTo>
                    <a:lnTo>
                      <a:pt x="142" y="128"/>
                    </a:lnTo>
                    <a:lnTo>
                      <a:pt x="140" y="130"/>
                    </a:lnTo>
                    <a:lnTo>
                      <a:pt x="135" y="133"/>
                    </a:lnTo>
                    <a:lnTo>
                      <a:pt x="133" y="140"/>
                    </a:lnTo>
                    <a:lnTo>
                      <a:pt x="128" y="147"/>
                    </a:lnTo>
                    <a:lnTo>
                      <a:pt x="123" y="149"/>
                    </a:lnTo>
                    <a:lnTo>
                      <a:pt x="116" y="154"/>
                    </a:lnTo>
                    <a:lnTo>
                      <a:pt x="111" y="156"/>
                    </a:lnTo>
                    <a:lnTo>
                      <a:pt x="109" y="161"/>
                    </a:lnTo>
                    <a:lnTo>
                      <a:pt x="107" y="161"/>
                    </a:lnTo>
                    <a:lnTo>
                      <a:pt x="99" y="166"/>
                    </a:lnTo>
                    <a:lnTo>
                      <a:pt x="90" y="168"/>
                    </a:lnTo>
                    <a:lnTo>
                      <a:pt x="83" y="168"/>
                    </a:lnTo>
                    <a:lnTo>
                      <a:pt x="81" y="170"/>
                    </a:lnTo>
                    <a:lnTo>
                      <a:pt x="78" y="173"/>
                    </a:lnTo>
                    <a:lnTo>
                      <a:pt x="76" y="175"/>
                    </a:lnTo>
                    <a:lnTo>
                      <a:pt x="76" y="175"/>
                    </a:lnTo>
                    <a:lnTo>
                      <a:pt x="76" y="180"/>
                    </a:lnTo>
                    <a:lnTo>
                      <a:pt x="71" y="187"/>
                    </a:lnTo>
                    <a:lnTo>
                      <a:pt x="71" y="192"/>
                    </a:lnTo>
                    <a:lnTo>
                      <a:pt x="69" y="194"/>
                    </a:lnTo>
                    <a:lnTo>
                      <a:pt x="66" y="196"/>
                    </a:lnTo>
                    <a:lnTo>
                      <a:pt x="62" y="201"/>
                    </a:lnTo>
                    <a:lnTo>
                      <a:pt x="57" y="201"/>
                    </a:lnTo>
                    <a:lnTo>
                      <a:pt x="55" y="204"/>
                    </a:lnTo>
                    <a:lnTo>
                      <a:pt x="52" y="206"/>
                    </a:lnTo>
                    <a:lnTo>
                      <a:pt x="52" y="206"/>
                    </a:lnTo>
                    <a:lnTo>
                      <a:pt x="50" y="213"/>
                    </a:lnTo>
                    <a:lnTo>
                      <a:pt x="50" y="215"/>
                    </a:lnTo>
                    <a:lnTo>
                      <a:pt x="47" y="220"/>
                    </a:lnTo>
                    <a:lnTo>
                      <a:pt x="45" y="223"/>
                    </a:lnTo>
                    <a:lnTo>
                      <a:pt x="43" y="227"/>
                    </a:lnTo>
                    <a:lnTo>
                      <a:pt x="43" y="234"/>
                    </a:lnTo>
                    <a:lnTo>
                      <a:pt x="43" y="237"/>
                    </a:lnTo>
                    <a:lnTo>
                      <a:pt x="40" y="241"/>
                    </a:lnTo>
                    <a:lnTo>
                      <a:pt x="36" y="241"/>
                    </a:lnTo>
                    <a:lnTo>
                      <a:pt x="28" y="251"/>
                    </a:lnTo>
                    <a:lnTo>
                      <a:pt x="26" y="253"/>
                    </a:lnTo>
                    <a:lnTo>
                      <a:pt x="24" y="256"/>
                    </a:lnTo>
                    <a:lnTo>
                      <a:pt x="21" y="258"/>
                    </a:lnTo>
                    <a:lnTo>
                      <a:pt x="21" y="260"/>
                    </a:lnTo>
                    <a:lnTo>
                      <a:pt x="24" y="258"/>
                    </a:lnTo>
                    <a:lnTo>
                      <a:pt x="24" y="258"/>
                    </a:lnTo>
                    <a:lnTo>
                      <a:pt x="24" y="256"/>
                    </a:lnTo>
                    <a:lnTo>
                      <a:pt x="26" y="258"/>
                    </a:lnTo>
                    <a:lnTo>
                      <a:pt x="24" y="258"/>
                    </a:lnTo>
                    <a:lnTo>
                      <a:pt x="21" y="263"/>
                    </a:lnTo>
                    <a:lnTo>
                      <a:pt x="21" y="265"/>
                    </a:lnTo>
                    <a:lnTo>
                      <a:pt x="19" y="270"/>
                    </a:lnTo>
                    <a:lnTo>
                      <a:pt x="17" y="272"/>
                    </a:lnTo>
                    <a:lnTo>
                      <a:pt x="17" y="272"/>
                    </a:lnTo>
                    <a:lnTo>
                      <a:pt x="17" y="275"/>
                    </a:lnTo>
                    <a:lnTo>
                      <a:pt x="14" y="277"/>
                    </a:lnTo>
                    <a:lnTo>
                      <a:pt x="14" y="282"/>
                    </a:lnTo>
                    <a:lnTo>
                      <a:pt x="10" y="289"/>
                    </a:lnTo>
                    <a:lnTo>
                      <a:pt x="7" y="289"/>
                    </a:lnTo>
                    <a:lnTo>
                      <a:pt x="5" y="291"/>
                    </a:lnTo>
                    <a:lnTo>
                      <a:pt x="2" y="298"/>
                    </a:lnTo>
                    <a:lnTo>
                      <a:pt x="0" y="308"/>
                    </a:lnTo>
                    <a:lnTo>
                      <a:pt x="0" y="308"/>
                    </a:lnTo>
                    <a:lnTo>
                      <a:pt x="2" y="308"/>
                    </a:lnTo>
                    <a:lnTo>
                      <a:pt x="5" y="305"/>
                    </a:lnTo>
                    <a:lnTo>
                      <a:pt x="10" y="305"/>
                    </a:lnTo>
                    <a:lnTo>
                      <a:pt x="17" y="305"/>
                    </a:lnTo>
                    <a:lnTo>
                      <a:pt x="19" y="305"/>
                    </a:lnTo>
                    <a:lnTo>
                      <a:pt x="21" y="305"/>
                    </a:lnTo>
                    <a:lnTo>
                      <a:pt x="24" y="305"/>
                    </a:lnTo>
                    <a:lnTo>
                      <a:pt x="26" y="305"/>
                    </a:lnTo>
                    <a:lnTo>
                      <a:pt x="28" y="308"/>
                    </a:lnTo>
                    <a:lnTo>
                      <a:pt x="33" y="308"/>
                    </a:lnTo>
                    <a:lnTo>
                      <a:pt x="36" y="308"/>
                    </a:lnTo>
                    <a:lnTo>
                      <a:pt x="38" y="308"/>
                    </a:lnTo>
                    <a:lnTo>
                      <a:pt x="40" y="308"/>
                    </a:lnTo>
                    <a:lnTo>
                      <a:pt x="43" y="305"/>
                    </a:lnTo>
                    <a:lnTo>
                      <a:pt x="43" y="303"/>
                    </a:lnTo>
                    <a:lnTo>
                      <a:pt x="45" y="301"/>
                    </a:lnTo>
                    <a:lnTo>
                      <a:pt x="45" y="301"/>
                    </a:lnTo>
                    <a:lnTo>
                      <a:pt x="45" y="298"/>
                    </a:lnTo>
                    <a:lnTo>
                      <a:pt x="45" y="298"/>
                    </a:lnTo>
                    <a:lnTo>
                      <a:pt x="45" y="296"/>
                    </a:lnTo>
                    <a:lnTo>
                      <a:pt x="47" y="296"/>
                    </a:lnTo>
                    <a:lnTo>
                      <a:pt x="47" y="294"/>
                    </a:lnTo>
                    <a:lnTo>
                      <a:pt x="47" y="294"/>
                    </a:lnTo>
                    <a:lnTo>
                      <a:pt x="50" y="294"/>
                    </a:lnTo>
                    <a:lnTo>
                      <a:pt x="50" y="291"/>
                    </a:lnTo>
                    <a:lnTo>
                      <a:pt x="52" y="289"/>
                    </a:lnTo>
                    <a:lnTo>
                      <a:pt x="52" y="289"/>
                    </a:lnTo>
                    <a:lnTo>
                      <a:pt x="52" y="286"/>
                    </a:lnTo>
                    <a:lnTo>
                      <a:pt x="52" y="286"/>
                    </a:lnTo>
                    <a:lnTo>
                      <a:pt x="52" y="282"/>
                    </a:lnTo>
                    <a:lnTo>
                      <a:pt x="55" y="279"/>
                    </a:lnTo>
                    <a:lnTo>
                      <a:pt x="55" y="277"/>
                    </a:lnTo>
                    <a:lnTo>
                      <a:pt x="55" y="275"/>
                    </a:lnTo>
                    <a:lnTo>
                      <a:pt x="55" y="272"/>
                    </a:lnTo>
                    <a:lnTo>
                      <a:pt x="57" y="268"/>
                    </a:lnTo>
                    <a:lnTo>
                      <a:pt x="57" y="265"/>
                    </a:lnTo>
                    <a:lnTo>
                      <a:pt x="57" y="263"/>
                    </a:lnTo>
                    <a:lnTo>
                      <a:pt x="59" y="260"/>
                    </a:lnTo>
                    <a:lnTo>
                      <a:pt x="59" y="260"/>
                    </a:lnTo>
                    <a:lnTo>
                      <a:pt x="62" y="258"/>
                    </a:lnTo>
                    <a:lnTo>
                      <a:pt x="62" y="258"/>
                    </a:lnTo>
                    <a:lnTo>
                      <a:pt x="64" y="256"/>
                    </a:lnTo>
                    <a:lnTo>
                      <a:pt x="66" y="256"/>
                    </a:lnTo>
                    <a:lnTo>
                      <a:pt x="66" y="256"/>
                    </a:lnTo>
                    <a:lnTo>
                      <a:pt x="69" y="253"/>
                    </a:lnTo>
                    <a:lnTo>
                      <a:pt x="71" y="253"/>
                    </a:lnTo>
                    <a:lnTo>
                      <a:pt x="71" y="253"/>
                    </a:lnTo>
                    <a:lnTo>
                      <a:pt x="71" y="251"/>
                    </a:lnTo>
                    <a:lnTo>
                      <a:pt x="73" y="249"/>
                    </a:lnTo>
                    <a:lnTo>
                      <a:pt x="73" y="246"/>
                    </a:lnTo>
                    <a:lnTo>
                      <a:pt x="76" y="244"/>
                    </a:lnTo>
                    <a:lnTo>
                      <a:pt x="76" y="244"/>
                    </a:lnTo>
                    <a:lnTo>
                      <a:pt x="78" y="241"/>
                    </a:lnTo>
                    <a:lnTo>
                      <a:pt x="78" y="241"/>
                    </a:lnTo>
                    <a:lnTo>
                      <a:pt x="81" y="241"/>
                    </a:lnTo>
                    <a:lnTo>
                      <a:pt x="83" y="239"/>
                    </a:lnTo>
                    <a:lnTo>
                      <a:pt x="83" y="239"/>
                    </a:lnTo>
                    <a:lnTo>
                      <a:pt x="85" y="237"/>
                    </a:lnTo>
                    <a:lnTo>
                      <a:pt x="85" y="237"/>
                    </a:lnTo>
                    <a:lnTo>
                      <a:pt x="88" y="234"/>
                    </a:lnTo>
                    <a:lnTo>
                      <a:pt x="88" y="234"/>
                    </a:lnTo>
                    <a:lnTo>
                      <a:pt x="88" y="232"/>
                    </a:lnTo>
                    <a:lnTo>
                      <a:pt x="90" y="230"/>
                    </a:lnTo>
                    <a:lnTo>
                      <a:pt x="90" y="225"/>
                    </a:lnTo>
                    <a:lnTo>
                      <a:pt x="92" y="223"/>
                    </a:lnTo>
                    <a:lnTo>
                      <a:pt x="92" y="220"/>
                    </a:lnTo>
                    <a:lnTo>
                      <a:pt x="92" y="218"/>
                    </a:lnTo>
                    <a:lnTo>
                      <a:pt x="92" y="215"/>
                    </a:lnTo>
                    <a:lnTo>
                      <a:pt x="95" y="213"/>
                    </a:lnTo>
                    <a:lnTo>
                      <a:pt x="95" y="213"/>
                    </a:lnTo>
                    <a:lnTo>
                      <a:pt x="95" y="213"/>
                    </a:lnTo>
                    <a:lnTo>
                      <a:pt x="95" y="211"/>
                    </a:lnTo>
                    <a:lnTo>
                      <a:pt x="95" y="211"/>
                    </a:lnTo>
                    <a:lnTo>
                      <a:pt x="95" y="211"/>
                    </a:lnTo>
                    <a:lnTo>
                      <a:pt x="97" y="208"/>
                    </a:lnTo>
                    <a:lnTo>
                      <a:pt x="99" y="208"/>
                    </a:lnTo>
                    <a:lnTo>
                      <a:pt x="99" y="208"/>
                    </a:lnTo>
                    <a:lnTo>
                      <a:pt x="102" y="208"/>
                    </a:lnTo>
                    <a:lnTo>
                      <a:pt x="102" y="206"/>
                    </a:lnTo>
                    <a:lnTo>
                      <a:pt x="102" y="206"/>
                    </a:lnTo>
                    <a:lnTo>
                      <a:pt x="102" y="204"/>
                    </a:lnTo>
                    <a:lnTo>
                      <a:pt x="104" y="204"/>
                    </a:lnTo>
                    <a:lnTo>
                      <a:pt x="104" y="201"/>
                    </a:lnTo>
                    <a:lnTo>
                      <a:pt x="107" y="201"/>
                    </a:lnTo>
                    <a:lnTo>
                      <a:pt x="107" y="199"/>
                    </a:lnTo>
                    <a:lnTo>
                      <a:pt x="107" y="199"/>
                    </a:lnTo>
                    <a:lnTo>
                      <a:pt x="109" y="196"/>
                    </a:lnTo>
                    <a:lnTo>
                      <a:pt x="109" y="196"/>
                    </a:lnTo>
                    <a:lnTo>
                      <a:pt x="109" y="194"/>
                    </a:lnTo>
                    <a:lnTo>
                      <a:pt x="109" y="194"/>
                    </a:lnTo>
                    <a:lnTo>
                      <a:pt x="109" y="192"/>
                    </a:lnTo>
                    <a:lnTo>
                      <a:pt x="111" y="192"/>
                    </a:lnTo>
                    <a:lnTo>
                      <a:pt x="111" y="189"/>
                    </a:lnTo>
                    <a:lnTo>
                      <a:pt x="114" y="189"/>
                    </a:lnTo>
                    <a:lnTo>
                      <a:pt x="116" y="189"/>
                    </a:lnTo>
                    <a:lnTo>
                      <a:pt x="118" y="189"/>
                    </a:lnTo>
                    <a:lnTo>
                      <a:pt x="121" y="189"/>
                    </a:lnTo>
                    <a:lnTo>
                      <a:pt x="121" y="189"/>
                    </a:lnTo>
                    <a:lnTo>
                      <a:pt x="123" y="189"/>
                    </a:lnTo>
                    <a:lnTo>
                      <a:pt x="125" y="189"/>
                    </a:lnTo>
                    <a:lnTo>
                      <a:pt x="128" y="192"/>
                    </a:lnTo>
                    <a:lnTo>
                      <a:pt x="128" y="192"/>
                    </a:lnTo>
                    <a:lnTo>
                      <a:pt x="130" y="192"/>
                    </a:lnTo>
                    <a:lnTo>
                      <a:pt x="130" y="192"/>
                    </a:lnTo>
                    <a:lnTo>
                      <a:pt x="133" y="192"/>
                    </a:lnTo>
                    <a:lnTo>
                      <a:pt x="133" y="192"/>
                    </a:lnTo>
                    <a:lnTo>
                      <a:pt x="133" y="192"/>
                    </a:lnTo>
                    <a:lnTo>
                      <a:pt x="135" y="192"/>
                    </a:lnTo>
                    <a:lnTo>
                      <a:pt x="137" y="192"/>
                    </a:lnTo>
                    <a:lnTo>
                      <a:pt x="137" y="192"/>
                    </a:lnTo>
                    <a:lnTo>
                      <a:pt x="140" y="192"/>
                    </a:lnTo>
                    <a:lnTo>
                      <a:pt x="142" y="189"/>
                    </a:lnTo>
                    <a:lnTo>
                      <a:pt x="142" y="187"/>
                    </a:lnTo>
                    <a:lnTo>
                      <a:pt x="144" y="187"/>
                    </a:lnTo>
                    <a:lnTo>
                      <a:pt x="144" y="187"/>
                    </a:lnTo>
                    <a:lnTo>
                      <a:pt x="147" y="187"/>
                    </a:lnTo>
                    <a:lnTo>
                      <a:pt x="147" y="187"/>
                    </a:lnTo>
                    <a:lnTo>
                      <a:pt x="149" y="187"/>
                    </a:lnTo>
                    <a:lnTo>
                      <a:pt x="151" y="187"/>
                    </a:lnTo>
                    <a:lnTo>
                      <a:pt x="154" y="187"/>
                    </a:lnTo>
                    <a:lnTo>
                      <a:pt x="156" y="187"/>
                    </a:lnTo>
                    <a:lnTo>
                      <a:pt x="156" y="187"/>
                    </a:lnTo>
                    <a:lnTo>
                      <a:pt x="156" y="185"/>
                    </a:lnTo>
                    <a:lnTo>
                      <a:pt x="156" y="185"/>
                    </a:lnTo>
                    <a:lnTo>
                      <a:pt x="156" y="182"/>
                    </a:lnTo>
                    <a:lnTo>
                      <a:pt x="156" y="182"/>
                    </a:lnTo>
                    <a:lnTo>
                      <a:pt x="156" y="180"/>
                    </a:lnTo>
                    <a:lnTo>
                      <a:pt x="156" y="180"/>
                    </a:lnTo>
                    <a:lnTo>
                      <a:pt x="156" y="178"/>
                    </a:lnTo>
                    <a:lnTo>
                      <a:pt x="156" y="175"/>
                    </a:lnTo>
                    <a:lnTo>
                      <a:pt x="156" y="175"/>
                    </a:lnTo>
                    <a:lnTo>
                      <a:pt x="156" y="175"/>
                    </a:lnTo>
                    <a:lnTo>
                      <a:pt x="159" y="175"/>
                    </a:lnTo>
                    <a:lnTo>
                      <a:pt x="159" y="170"/>
                    </a:lnTo>
                    <a:lnTo>
                      <a:pt x="159" y="166"/>
                    </a:lnTo>
                    <a:lnTo>
                      <a:pt x="159" y="161"/>
                    </a:lnTo>
                    <a:lnTo>
                      <a:pt x="159" y="159"/>
                    </a:lnTo>
                    <a:lnTo>
                      <a:pt x="159" y="154"/>
                    </a:lnTo>
                    <a:lnTo>
                      <a:pt x="159" y="154"/>
                    </a:lnTo>
                    <a:lnTo>
                      <a:pt x="159" y="154"/>
                    </a:lnTo>
                    <a:lnTo>
                      <a:pt x="161" y="151"/>
                    </a:lnTo>
                    <a:lnTo>
                      <a:pt x="163" y="149"/>
                    </a:lnTo>
                    <a:lnTo>
                      <a:pt x="166" y="149"/>
                    </a:lnTo>
                    <a:lnTo>
                      <a:pt x="166" y="147"/>
                    </a:lnTo>
                    <a:lnTo>
                      <a:pt x="170" y="144"/>
                    </a:lnTo>
                    <a:lnTo>
                      <a:pt x="173" y="144"/>
                    </a:lnTo>
                    <a:lnTo>
                      <a:pt x="178" y="140"/>
                    </a:lnTo>
                    <a:lnTo>
                      <a:pt x="178" y="140"/>
                    </a:lnTo>
                    <a:lnTo>
                      <a:pt x="180" y="140"/>
                    </a:lnTo>
                    <a:lnTo>
                      <a:pt x="182" y="137"/>
                    </a:lnTo>
                    <a:lnTo>
                      <a:pt x="185" y="137"/>
                    </a:lnTo>
                    <a:lnTo>
                      <a:pt x="185" y="135"/>
                    </a:lnTo>
                    <a:lnTo>
                      <a:pt x="187" y="135"/>
                    </a:lnTo>
                    <a:lnTo>
                      <a:pt x="187" y="135"/>
                    </a:lnTo>
                    <a:lnTo>
                      <a:pt x="189" y="135"/>
                    </a:lnTo>
                    <a:lnTo>
                      <a:pt x="192" y="135"/>
                    </a:lnTo>
                    <a:lnTo>
                      <a:pt x="194" y="135"/>
                    </a:lnTo>
                    <a:lnTo>
                      <a:pt x="196" y="135"/>
                    </a:lnTo>
                    <a:lnTo>
                      <a:pt x="196" y="135"/>
                    </a:lnTo>
                    <a:lnTo>
                      <a:pt x="199" y="135"/>
                    </a:lnTo>
                    <a:lnTo>
                      <a:pt x="199" y="133"/>
                    </a:lnTo>
                    <a:lnTo>
                      <a:pt x="199" y="133"/>
                    </a:lnTo>
                    <a:lnTo>
                      <a:pt x="199" y="130"/>
                    </a:lnTo>
                    <a:lnTo>
                      <a:pt x="199" y="130"/>
                    </a:lnTo>
                    <a:lnTo>
                      <a:pt x="199" y="130"/>
                    </a:lnTo>
                    <a:lnTo>
                      <a:pt x="201" y="130"/>
                    </a:lnTo>
                    <a:lnTo>
                      <a:pt x="201" y="130"/>
                    </a:lnTo>
                    <a:lnTo>
                      <a:pt x="204" y="130"/>
                    </a:lnTo>
                    <a:lnTo>
                      <a:pt x="206" y="130"/>
                    </a:lnTo>
                    <a:lnTo>
                      <a:pt x="208" y="130"/>
                    </a:lnTo>
                    <a:lnTo>
                      <a:pt x="213" y="128"/>
                    </a:lnTo>
                    <a:lnTo>
                      <a:pt x="215" y="128"/>
                    </a:lnTo>
                    <a:lnTo>
                      <a:pt x="218" y="128"/>
                    </a:lnTo>
                    <a:lnTo>
                      <a:pt x="220" y="125"/>
                    </a:lnTo>
                    <a:lnTo>
                      <a:pt x="222" y="123"/>
                    </a:lnTo>
                    <a:lnTo>
                      <a:pt x="225" y="118"/>
                    </a:lnTo>
                    <a:lnTo>
                      <a:pt x="227" y="116"/>
                    </a:lnTo>
                    <a:lnTo>
                      <a:pt x="230" y="114"/>
                    </a:lnTo>
                    <a:lnTo>
                      <a:pt x="234" y="114"/>
                    </a:lnTo>
                    <a:lnTo>
                      <a:pt x="234" y="114"/>
                    </a:lnTo>
                    <a:lnTo>
                      <a:pt x="239" y="111"/>
                    </a:lnTo>
                    <a:lnTo>
                      <a:pt x="241" y="109"/>
                    </a:lnTo>
                    <a:lnTo>
                      <a:pt x="246" y="107"/>
                    </a:lnTo>
                    <a:lnTo>
                      <a:pt x="248" y="107"/>
                    </a:lnTo>
                    <a:lnTo>
                      <a:pt x="251" y="107"/>
                    </a:lnTo>
                    <a:lnTo>
                      <a:pt x="251" y="107"/>
                    </a:lnTo>
                    <a:lnTo>
                      <a:pt x="251" y="104"/>
                    </a:lnTo>
                    <a:lnTo>
                      <a:pt x="251" y="104"/>
                    </a:lnTo>
                    <a:lnTo>
                      <a:pt x="251" y="102"/>
                    </a:lnTo>
                    <a:lnTo>
                      <a:pt x="251" y="102"/>
                    </a:lnTo>
                    <a:lnTo>
                      <a:pt x="248" y="102"/>
                    </a:lnTo>
                    <a:lnTo>
                      <a:pt x="248" y="102"/>
                    </a:lnTo>
                    <a:lnTo>
                      <a:pt x="248" y="102"/>
                    </a:lnTo>
                    <a:lnTo>
                      <a:pt x="248" y="99"/>
                    </a:lnTo>
                    <a:lnTo>
                      <a:pt x="248" y="99"/>
                    </a:lnTo>
                    <a:lnTo>
                      <a:pt x="248" y="97"/>
                    </a:lnTo>
                    <a:lnTo>
                      <a:pt x="248" y="95"/>
                    </a:lnTo>
                    <a:lnTo>
                      <a:pt x="248" y="95"/>
                    </a:lnTo>
                    <a:lnTo>
                      <a:pt x="248" y="92"/>
                    </a:lnTo>
                    <a:lnTo>
                      <a:pt x="248" y="92"/>
                    </a:lnTo>
                    <a:lnTo>
                      <a:pt x="248" y="90"/>
                    </a:lnTo>
                    <a:lnTo>
                      <a:pt x="251" y="90"/>
                    </a:lnTo>
                    <a:lnTo>
                      <a:pt x="251" y="90"/>
                    </a:lnTo>
                    <a:lnTo>
                      <a:pt x="253" y="90"/>
                    </a:lnTo>
                    <a:lnTo>
                      <a:pt x="256" y="90"/>
                    </a:lnTo>
                    <a:lnTo>
                      <a:pt x="263" y="88"/>
                    </a:lnTo>
                    <a:lnTo>
                      <a:pt x="263" y="88"/>
                    </a:lnTo>
                    <a:lnTo>
                      <a:pt x="265" y="85"/>
                    </a:lnTo>
                    <a:lnTo>
                      <a:pt x="265" y="83"/>
                    </a:lnTo>
                    <a:lnTo>
                      <a:pt x="265" y="83"/>
                    </a:lnTo>
                    <a:lnTo>
                      <a:pt x="265" y="83"/>
                    </a:lnTo>
                    <a:lnTo>
                      <a:pt x="270" y="83"/>
                    </a:lnTo>
                    <a:lnTo>
                      <a:pt x="272" y="80"/>
                    </a:lnTo>
                    <a:lnTo>
                      <a:pt x="275" y="80"/>
                    </a:lnTo>
                    <a:lnTo>
                      <a:pt x="277" y="80"/>
                    </a:lnTo>
                    <a:lnTo>
                      <a:pt x="279" y="80"/>
                    </a:lnTo>
                    <a:lnTo>
                      <a:pt x="284" y="80"/>
                    </a:lnTo>
                    <a:lnTo>
                      <a:pt x="289" y="83"/>
                    </a:lnTo>
                    <a:lnTo>
                      <a:pt x="291" y="83"/>
                    </a:lnTo>
                    <a:lnTo>
                      <a:pt x="293" y="83"/>
                    </a:lnTo>
                    <a:lnTo>
                      <a:pt x="296" y="80"/>
                    </a:lnTo>
                    <a:lnTo>
                      <a:pt x="296" y="80"/>
                    </a:lnTo>
                    <a:lnTo>
                      <a:pt x="296" y="78"/>
                    </a:lnTo>
                    <a:lnTo>
                      <a:pt x="296" y="76"/>
                    </a:lnTo>
                    <a:lnTo>
                      <a:pt x="296" y="76"/>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89"/>
              <p:cNvSpPr>
                <a:spLocks/>
              </p:cNvSpPr>
              <p:nvPr/>
            </p:nvSpPr>
            <p:spPr bwMode="auto">
              <a:xfrm>
                <a:off x="1604" y="2445"/>
                <a:ext cx="2" cy="2"/>
              </a:xfrm>
              <a:custGeom>
                <a:avLst/>
                <a:gdLst>
                  <a:gd name="T0" fmla="*/ 2 w 2"/>
                  <a:gd name="T1" fmla="*/ 0 h 2"/>
                  <a:gd name="T2" fmla="*/ 2 w 2"/>
                  <a:gd name="T3" fmla="*/ 0 h 2"/>
                  <a:gd name="T4" fmla="*/ 0 w 2"/>
                  <a:gd name="T5" fmla="*/ 0 h 2"/>
                  <a:gd name="T6" fmla="*/ 0 w 2"/>
                  <a:gd name="T7" fmla="*/ 2 h 2"/>
                  <a:gd name="T8" fmla="*/ 2 w 2"/>
                  <a:gd name="T9" fmla="*/ 2 h 2"/>
                  <a:gd name="T10" fmla="*/ 2 w 2"/>
                  <a:gd name="T11" fmla="*/ 2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0"/>
                    </a:lnTo>
                    <a:lnTo>
                      <a:pt x="0" y="2"/>
                    </a:lnTo>
                    <a:lnTo>
                      <a:pt x="2" y="2"/>
                    </a:lnTo>
                    <a:lnTo>
                      <a:pt x="2" y="2"/>
                    </a:lnTo>
                    <a:lnTo>
                      <a:pt x="2" y="0"/>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90"/>
              <p:cNvSpPr>
                <a:spLocks/>
              </p:cNvSpPr>
              <p:nvPr/>
            </p:nvSpPr>
            <p:spPr bwMode="auto">
              <a:xfrm>
                <a:off x="3080" y="1881"/>
                <a:ext cx="33" cy="36"/>
              </a:xfrm>
              <a:custGeom>
                <a:avLst/>
                <a:gdLst>
                  <a:gd name="T0" fmla="*/ 31 w 33"/>
                  <a:gd name="T1" fmla="*/ 12 h 36"/>
                  <a:gd name="T2" fmla="*/ 26 w 33"/>
                  <a:gd name="T3" fmla="*/ 10 h 36"/>
                  <a:gd name="T4" fmla="*/ 21 w 33"/>
                  <a:gd name="T5" fmla="*/ 10 h 36"/>
                  <a:gd name="T6" fmla="*/ 19 w 33"/>
                  <a:gd name="T7" fmla="*/ 7 h 36"/>
                  <a:gd name="T8" fmla="*/ 16 w 33"/>
                  <a:gd name="T9" fmla="*/ 5 h 36"/>
                  <a:gd name="T10" fmla="*/ 12 w 33"/>
                  <a:gd name="T11" fmla="*/ 3 h 36"/>
                  <a:gd name="T12" fmla="*/ 12 w 33"/>
                  <a:gd name="T13" fmla="*/ 0 h 36"/>
                  <a:gd name="T14" fmla="*/ 12 w 33"/>
                  <a:gd name="T15" fmla="*/ 0 h 36"/>
                  <a:gd name="T16" fmla="*/ 9 w 33"/>
                  <a:gd name="T17" fmla="*/ 0 h 36"/>
                  <a:gd name="T18" fmla="*/ 9 w 33"/>
                  <a:gd name="T19" fmla="*/ 0 h 36"/>
                  <a:gd name="T20" fmla="*/ 7 w 33"/>
                  <a:gd name="T21" fmla="*/ 3 h 36"/>
                  <a:gd name="T22" fmla="*/ 9 w 33"/>
                  <a:gd name="T23" fmla="*/ 5 h 36"/>
                  <a:gd name="T24" fmla="*/ 9 w 33"/>
                  <a:gd name="T25" fmla="*/ 5 h 36"/>
                  <a:gd name="T26" fmla="*/ 7 w 33"/>
                  <a:gd name="T27" fmla="*/ 5 h 36"/>
                  <a:gd name="T28" fmla="*/ 5 w 33"/>
                  <a:gd name="T29" fmla="*/ 5 h 36"/>
                  <a:gd name="T30" fmla="*/ 2 w 33"/>
                  <a:gd name="T31" fmla="*/ 7 h 36"/>
                  <a:gd name="T32" fmla="*/ 2 w 33"/>
                  <a:gd name="T33" fmla="*/ 10 h 36"/>
                  <a:gd name="T34" fmla="*/ 0 w 33"/>
                  <a:gd name="T35" fmla="*/ 12 h 36"/>
                  <a:gd name="T36" fmla="*/ 0 w 33"/>
                  <a:gd name="T37" fmla="*/ 12 h 36"/>
                  <a:gd name="T38" fmla="*/ 0 w 33"/>
                  <a:gd name="T39" fmla="*/ 17 h 36"/>
                  <a:gd name="T40" fmla="*/ 2 w 33"/>
                  <a:gd name="T41" fmla="*/ 19 h 36"/>
                  <a:gd name="T42" fmla="*/ 0 w 33"/>
                  <a:gd name="T43" fmla="*/ 22 h 36"/>
                  <a:gd name="T44" fmla="*/ 0 w 33"/>
                  <a:gd name="T45" fmla="*/ 22 h 36"/>
                  <a:gd name="T46" fmla="*/ 0 w 33"/>
                  <a:gd name="T47" fmla="*/ 22 h 36"/>
                  <a:gd name="T48" fmla="*/ 2 w 33"/>
                  <a:gd name="T49" fmla="*/ 24 h 36"/>
                  <a:gd name="T50" fmla="*/ 5 w 33"/>
                  <a:gd name="T51" fmla="*/ 24 h 36"/>
                  <a:gd name="T52" fmla="*/ 2 w 33"/>
                  <a:gd name="T53" fmla="*/ 24 h 36"/>
                  <a:gd name="T54" fmla="*/ 7 w 33"/>
                  <a:gd name="T55" fmla="*/ 26 h 36"/>
                  <a:gd name="T56" fmla="*/ 14 w 33"/>
                  <a:gd name="T57" fmla="*/ 33 h 36"/>
                  <a:gd name="T58" fmla="*/ 16 w 33"/>
                  <a:gd name="T59" fmla="*/ 33 h 36"/>
                  <a:gd name="T60" fmla="*/ 16 w 33"/>
                  <a:gd name="T61" fmla="*/ 31 h 36"/>
                  <a:gd name="T62" fmla="*/ 16 w 33"/>
                  <a:gd name="T63" fmla="*/ 29 h 36"/>
                  <a:gd name="T64" fmla="*/ 16 w 33"/>
                  <a:gd name="T65" fmla="*/ 26 h 36"/>
                  <a:gd name="T66" fmla="*/ 16 w 33"/>
                  <a:gd name="T67" fmla="*/ 24 h 36"/>
                  <a:gd name="T68" fmla="*/ 19 w 33"/>
                  <a:gd name="T69" fmla="*/ 22 h 36"/>
                  <a:gd name="T70" fmla="*/ 21 w 33"/>
                  <a:gd name="T71" fmla="*/ 19 h 36"/>
                  <a:gd name="T72" fmla="*/ 21 w 33"/>
                  <a:gd name="T73" fmla="*/ 19 h 36"/>
                  <a:gd name="T74" fmla="*/ 23 w 33"/>
                  <a:gd name="T75" fmla="*/ 22 h 36"/>
                  <a:gd name="T76" fmla="*/ 23 w 33"/>
                  <a:gd name="T77" fmla="*/ 22 h 36"/>
                  <a:gd name="T78" fmla="*/ 28 w 33"/>
                  <a:gd name="T79" fmla="*/ 22 h 36"/>
                  <a:gd name="T80" fmla="*/ 28 w 33"/>
                  <a:gd name="T81" fmla="*/ 22 h 36"/>
                  <a:gd name="T82" fmla="*/ 28 w 33"/>
                  <a:gd name="T83" fmla="*/ 19 h 36"/>
                  <a:gd name="T84" fmla="*/ 28 w 33"/>
                  <a:gd name="T85" fmla="*/ 17 h 36"/>
                  <a:gd name="T86" fmla="*/ 31 w 33"/>
                  <a:gd name="T87" fmla="*/ 17 h 36"/>
                  <a:gd name="T88" fmla="*/ 33 w 33"/>
                  <a:gd name="T89" fmla="*/ 15 h 36"/>
                  <a:gd name="T90" fmla="*/ 33 w 33"/>
                  <a:gd name="T91" fmla="*/ 1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3" h="36">
                    <a:moveTo>
                      <a:pt x="33" y="15"/>
                    </a:moveTo>
                    <a:lnTo>
                      <a:pt x="31" y="12"/>
                    </a:lnTo>
                    <a:lnTo>
                      <a:pt x="28" y="12"/>
                    </a:lnTo>
                    <a:lnTo>
                      <a:pt x="26" y="10"/>
                    </a:lnTo>
                    <a:lnTo>
                      <a:pt x="23" y="10"/>
                    </a:lnTo>
                    <a:lnTo>
                      <a:pt x="21" y="10"/>
                    </a:lnTo>
                    <a:lnTo>
                      <a:pt x="21" y="7"/>
                    </a:lnTo>
                    <a:lnTo>
                      <a:pt x="19" y="7"/>
                    </a:lnTo>
                    <a:lnTo>
                      <a:pt x="19" y="7"/>
                    </a:lnTo>
                    <a:lnTo>
                      <a:pt x="16" y="5"/>
                    </a:lnTo>
                    <a:lnTo>
                      <a:pt x="14" y="3"/>
                    </a:lnTo>
                    <a:lnTo>
                      <a:pt x="12" y="3"/>
                    </a:lnTo>
                    <a:lnTo>
                      <a:pt x="12" y="3"/>
                    </a:lnTo>
                    <a:lnTo>
                      <a:pt x="12" y="0"/>
                    </a:lnTo>
                    <a:lnTo>
                      <a:pt x="12" y="0"/>
                    </a:lnTo>
                    <a:lnTo>
                      <a:pt x="12" y="0"/>
                    </a:lnTo>
                    <a:lnTo>
                      <a:pt x="12" y="0"/>
                    </a:lnTo>
                    <a:lnTo>
                      <a:pt x="9" y="0"/>
                    </a:lnTo>
                    <a:lnTo>
                      <a:pt x="9" y="0"/>
                    </a:lnTo>
                    <a:lnTo>
                      <a:pt x="9" y="0"/>
                    </a:lnTo>
                    <a:lnTo>
                      <a:pt x="7" y="0"/>
                    </a:lnTo>
                    <a:lnTo>
                      <a:pt x="7" y="3"/>
                    </a:lnTo>
                    <a:lnTo>
                      <a:pt x="9" y="3"/>
                    </a:lnTo>
                    <a:lnTo>
                      <a:pt x="9" y="5"/>
                    </a:lnTo>
                    <a:lnTo>
                      <a:pt x="9" y="5"/>
                    </a:lnTo>
                    <a:lnTo>
                      <a:pt x="9" y="5"/>
                    </a:lnTo>
                    <a:lnTo>
                      <a:pt x="7" y="5"/>
                    </a:lnTo>
                    <a:lnTo>
                      <a:pt x="7" y="5"/>
                    </a:lnTo>
                    <a:lnTo>
                      <a:pt x="7" y="5"/>
                    </a:lnTo>
                    <a:lnTo>
                      <a:pt x="5" y="5"/>
                    </a:lnTo>
                    <a:lnTo>
                      <a:pt x="5" y="7"/>
                    </a:lnTo>
                    <a:lnTo>
                      <a:pt x="2" y="7"/>
                    </a:lnTo>
                    <a:lnTo>
                      <a:pt x="2" y="10"/>
                    </a:lnTo>
                    <a:lnTo>
                      <a:pt x="2" y="10"/>
                    </a:lnTo>
                    <a:lnTo>
                      <a:pt x="2" y="12"/>
                    </a:lnTo>
                    <a:lnTo>
                      <a:pt x="0" y="12"/>
                    </a:lnTo>
                    <a:lnTo>
                      <a:pt x="0" y="12"/>
                    </a:lnTo>
                    <a:lnTo>
                      <a:pt x="0" y="12"/>
                    </a:lnTo>
                    <a:lnTo>
                      <a:pt x="0" y="15"/>
                    </a:lnTo>
                    <a:lnTo>
                      <a:pt x="0" y="17"/>
                    </a:lnTo>
                    <a:lnTo>
                      <a:pt x="2" y="19"/>
                    </a:lnTo>
                    <a:lnTo>
                      <a:pt x="2" y="19"/>
                    </a:lnTo>
                    <a:lnTo>
                      <a:pt x="2" y="19"/>
                    </a:lnTo>
                    <a:lnTo>
                      <a:pt x="0" y="22"/>
                    </a:lnTo>
                    <a:lnTo>
                      <a:pt x="0" y="22"/>
                    </a:lnTo>
                    <a:lnTo>
                      <a:pt x="0" y="22"/>
                    </a:lnTo>
                    <a:lnTo>
                      <a:pt x="0" y="22"/>
                    </a:lnTo>
                    <a:lnTo>
                      <a:pt x="0" y="22"/>
                    </a:lnTo>
                    <a:lnTo>
                      <a:pt x="2" y="24"/>
                    </a:lnTo>
                    <a:lnTo>
                      <a:pt x="2" y="24"/>
                    </a:lnTo>
                    <a:lnTo>
                      <a:pt x="2" y="24"/>
                    </a:lnTo>
                    <a:lnTo>
                      <a:pt x="5" y="24"/>
                    </a:lnTo>
                    <a:lnTo>
                      <a:pt x="5" y="24"/>
                    </a:lnTo>
                    <a:lnTo>
                      <a:pt x="2" y="24"/>
                    </a:lnTo>
                    <a:lnTo>
                      <a:pt x="5" y="24"/>
                    </a:lnTo>
                    <a:lnTo>
                      <a:pt x="7" y="26"/>
                    </a:lnTo>
                    <a:lnTo>
                      <a:pt x="12" y="31"/>
                    </a:lnTo>
                    <a:lnTo>
                      <a:pt x="14" y="33"/>
                    </a:lnTo>
                    <a:lnTo>
                      <a:pt x="16" y="36"/>
                    </a:lnTo>
                    <a:lnTo>
                      <a:pt x="16" y="33"/>
                    </a:lnTo>
                    <a:lnTo>
                      <a:pt x="16" y="33"/>
                    </a:lnTo>
                    <a:lnTo>
                      <a:pt x="16" y="31"/>
                    </a:lnTo>
                    <a:lnTo>
                      <a:pt x="16" y="31"/>
                    </a:lnTo>
                    <a:lnTo>
                      <a:pt x="16" y="29"/>
                    </a:lnTo>
                    <a:lnTo>
                      <a:pt x="14" y="29"/>
                    </a:lnTo>
                    <a:lnTo>
                      <a:pt x="16" y="26"/>
                    </a:lnTo>
                    <a:lnTo>
                      <a:pt x="16" y="26"/>
                    </a:lnTo>
                    <a:lnTo>
                      <a:pt x="16" y="24"/>
                    </a:lnTo>
                    <a:lnTo>
                      <a:pt x="19" y="22"/>
                    </a:lnTo>
                    <a:lnTo>
                      <a:pt x="19" y="22"/>
                    </a:lnTo>
                    <a:lnTo>
                      <a:pt x="21" y="19"/>
                    </a:lnTo>
                    <a:lnTo>
                      <a:pt x="21" y="19"/>
                    </a:lnTo>
                    <a:lnTo>
                      <a:pt x="21" y="19"/>
                    </a:lnTo>
                    <a:lnTo>
                      <a:pt x="21" y="19"/>
                    </a:lnTo>
                    <a:lnTo>
                      <a:pt x="21" y="22"/>
                    </a:lnTo>
                    <a:lnTo>
                      <a:pt x="23" y="22"/>
                    </a:lnTo>
                    <a:lnTo>
                      <a:pt x="23" y="22"/>
                    </a:lnTo>
                    <a:lnTo>
                      <a:pt x="23" y="22"/>
                    </a:lnTo>
                    <a:lnTo>
                      <a:pt x="26" y="22"/>
                    </a:lnTo>
                    <a:lnTo>
                      <a:pt x="28" y="22"/>
                    </a:lnTo>
                    <a:lnTo>
                      <a:pt x="28" y="22"/>
                    </a:lnTo>
                    <a:lnTo>
                      <a:pt x="28" y="22"/>
                    </a:lnTo>
                    <a:lnTo>
                      <a:pt x="28" y="19"/>
                    </a:lnTo>
                    <a:lnTo>
                      <a:pt x="28" y="19"/>
                    </a:lnTo>
                    <a:lnTo>
                      <a:pt x="26" y="17"/>
                    </a:lnTo>
                    <a:lnTo>
                      <a:pt x="28" y="17"/>
                    </a:lnTo>
                    <a:lnTo>
                      <a:pt x="28" y="17"/>
                    </a:lnTo>
                    <a:lnTo>
                      <a:pt x="31" y="17"/>
                    </a:lnTo>
                    <a:lnTo>
                      <a:pt x="31" y="17"/>
                    </a:lnTo>
                    <a:lnTo>
                      <a:pt x="33" y="15"/>
                    </a:lnTo>
                    <a:lnTo>
                      <a:pt x="33" y="15"/>
                    </a:lnTo>
                    <a:lnTo>
                      <a:pt x="33" y="15"/>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91"/>
              <p:cNvSpPr>
                <a:spLocks/>
              </p:cNvSpPr>
              <p:nvPr/>
            </p:nvSpPr>
            <p:spPr bwMode="auto">
              <a:xfrm>
                <a:off x="4206" y="1704"/>
                <a:ext cx="551" cy="218"/>
              </a:xfrm>
              <a:custGeom>
                <a:avLst/>
                <a:gdLst>
                  <a:gd name="T0" fmla="*/ 532 w 551"/>
                  <a:gd name="T1" fmla="*/ 97 h 218"/>
                  <a:gd name="T2" fmla="*/ 518 w 551"/>
                  <a:gd name="T3" fmla="*/ 87 h 218"/>
                  <a:gd name="T4" fmla="*/ 499 w 551"/>
                  <a:gd name="T5" fmla="*/ 92 h 218"/>
                  <a:gd name="T6" fmla="*/ 478 w 551"/>
                  <a:gd name="T7" fmla="*/ 87 h 218"/>
                  <a:gd name="T8" fmla="*/ 463 w 551"/>
                  <a:gd name="T9" fmla="*/ 75 h 218"/>
                  <a:gd name="T10" fmla="*/ 459 w 551"/>
                  <a:gd name="T11" fmla="*/ 45 h 218"/>
                  <a:gd name="T12" fmla="*/ 430 w 551"/>
                  <a:gd name="T13" fmla="*/ 40 h 218"/>
                  <a:gd name="T14" fmla="*/ 407 w 551"/>
                  <a:gd name="T15" fmla="*/ 45 h 218"/>
                  <a:gd name="T16" fmla="*/ 388 w 551"/>
                  <a:gd name="T17" fmla="*/ 57 h 218"/>
                  <a:gd name="T18" fmla="*/ 364 w 551"/>
                  <a:gd name="T19" fmla="*/ 59 h 218"/>
                  <a:gd name="T20" fmla="*/ 329 w 551"/>
                  <a:gd name="T21" fmla="*/ 52 h 218"/>
                  <a:gd name="T22" fmla="*/ 307 w 551"/>
                  <a:gd name="T23" fmla="*/ 42 h 218"/>
                  <a:gd name="T24" fmla="*/ 279 w 551"/>
                  <a:gd name="T25" fmla="*/ 35 h 218"/>
                  <a:gd name="T26" fmla="*/ 255 w 551"/>
                  <a:gd name="T27" fmla="*/ 38 h 218"/>
                  <a:gd name="T28" fmla="*/ 236 w 551"/>
                  <a:gd name="T29" fmla="*/ 38 h 218"/>
                  <a:gd name="T30" fmla="*/ 220 w 551"/>
                  <a:gd name="T31" fmla="*/ 28 h 218"/>
                  <a:gd name="T32" fmla="*/ 206 w 551"/>
                  <a:gd name="T33" fmla="*/ 14 h 218"/>
                  <a:gd name="T34" fmla="*/ 175 w 551"/>
                  <a:gd name="T35" fmla="*/ 7 h 218"/>
                  <a:gd name="T36" fmla="*/ 149 w 551"/>
                  <a:gd name="T37" fmla="*/ 0 h 218"/>
                  <a:gd name="T38" fmla="*/ 142 w 551"/>
                  <a:gd name="T39" fmla="*/ 14 h 218"/>
                  <a:gd name="T40" fmla="*/ 149 w 551"/>
                  <a:gd name="T41" fmla="*/ 26 h 218"/>
                  <a:gd name="T42" fmla="*/ 158 w 551"/>
                  <a:gd name="T43" fmla="*/ 40 h 218"/>
                  <a:gd name="T44" fmla="*/ 149 w 551"/>
                  <a:gd name="T45" fmla="*/ 49 h 218"/>
                  <a:gd name="T46" fmla="*/ 132 w 551"/>
                  <a:gd name="T47" fmla="*/ 45 h 218"/>
                  <a:gd name="T48" fmla="*/ 118 w 551"/>
                  <a:gd name="T49" fmla="*/ 45 h 218"/>
                  <a:gd name="T50" fmla="*/ 104 w 551"/>
                  <a:gd name="T51" fmla="*/ 42 h 218"/>
                  <a:gd name="T52" fmla="*/ 87 w 551"/>
                  <a:gd name="T53" fmla="*/ 31 h 218"/>
                  <a:gd name="T54" fmla="*/ 68 w 551"/>
                  <a:gd name="T55" fmla="*/ 28 h 218"/>
                  <a:gd name="T56" fmla="*/ 57 w 551"/>
                  <a:gd name="T57" fmla="*/ 28 h 218"/>
                  <a:gd name="T58" fmla="*/ 45 w 551"/>
                  <a:gd name="T59" fmla="*/ 33 h 218"/>
                  <a:gd name="T60" fmla="*/ 31 w 551"/>
                  <a:gd name="T61" fmla="*/ 40 h 218"/>
                  <a:gd name="T62" fmla="*/ 21 w 551"/>
                  <a:gd name="T63" fmla="*/ 49 h 218"/>
                  <a:gd name="T64" fmla="*/ 14 w 551"/>
                  <a:gd name="T65" fmla="*/ 54 h 218"/>
                  <a:gd name="T66" fmla="*/ 2 w 551"/>
                  <a:gd name="T67" fmla="*/ 59 h 218"/>
                  <a:gd name="T68" fmla="*/ 0 w 551"/>
                  <a:gd name="T69" fmla="*/ 66 h 218"/>
                  <a:gd name="T70" fmla="*/ 9 w 551"/>
                  <a:gd name="T71" fmla="*/ 73 h 218"/>
                  <a:gd name="T72" fmla="*/ 31 w 551"/>
                  <a:gd name="T73" fmla="*/ 85 h 218"/>
                  <a:gd name="T74" fmla="*/ 47 w 551"/>
                  <a:gd name="T75" fmla="*/ 87 h 218"/>
                  <a:gd name="T76" fmla="*/ 59 w 551"/>
                  <a:gd name="T77" fmla="*/ 99 h 218"/>
                  <a:gd name="T78" fmla="*/ 73 w 551"/>
                  <a:gd name="T79" fmla="*/ 118 h 218"/>
                  <a:gd name="T80" fmla="*/ 75 w 551"/>
                  <a:gd name="T81" fmla="*/ 135 h 218"/>
                  <a:gd name="T82" fmla="*/ 92 w 551"/>
                  <a:gd name="T83" fmla="*/ 144 h 218"/>
                  <a:gd name="T84" fmla="*/ 128 w 551"/>
                  <a:gd name="T85" fmla="*/ 149 h 218"/>
                  <a:gd name="T86" fmla="*/ 165 w 551"/>
                  <a:gd name="T87" fmla="*/ 163 h 218"/>
                  <a:gd name="T88" fmla="*/ 182 w 551"/>
                  <a:gd name="T89" fmla="*/ 184 h 218"/>
                  <a:gd name="T90" fmla="*/ 234 w 551"/>
                  <a:gd name="T91" fmla="*/ 196 h 218"/>
                  <a:gd name="T92" fmla="*/ 286 w 551"/>
                  <a:gd name="T93" fmla="*/ 199 h 218"/>
                  <a:gd name="T94" fmla="*/ 336 w 551"/>
                  <a:gd name="T95" fmla="*/ 213 h 218"/>
                  <a:gd name="T96" fmla="*/ 362 w 551"/>
                  <a:gd name="T97" fmla="*/ 210 h 218"/>
                  <a:gd name="T98" fmla="*/ 397 w 551"/>
                  <a:gd name="T99" fmla="*/ 201 h 218"/>
                  <a:gd name="T100" fmla="*/ 428 w 551"/>
                  <a:gd name="T101" fmla="*/ 194 h 218"/>
                  <a:gd name="T102" fmla="*/ 437 w 551"/>
                  <a:gd name="T103" fmla="*/ 182 h 218"/>
                  <a:gd name="T104" fmla="*/ 447 w 551"/>
                  <a:gd name="T105" fmla="*/ 170 h 218"/>
                  <a:gd name="T106" fmla="*/ 433 w 551"/>
                  <a:gd name="T107" fmla="*/ 151 h 218"/>
                  <a:gd name="T108" fmla="*/ 459 w 551"/>
                  <a:gd name="T109" fmla="*/ 151 h 218"/>
                  <a:gd name="T110" fmla="*/ 473 w 551"/>
                  <a:gd name="T111" fmla="*/ 144 h 218"/>
                  <a:gd name="T112" fmla="*/ 492 w 551"/>
                  <a:gd name="T113" fmla="*/ 137 h 218"/>
                  <a:gd name="T114" fmla="*/ 499 w 551"/>
                  <a:gd name="T115" fmla="*/ 123 h 218"/>
                  <a:gd name="T116" fmla="*/ 511 w 551"/>
                  <a:gd name="T117" fmla="*/ 116 h 218"/>
                  <a:gd name="T118" fmla="*/ 525 w 551"/>
                  <a:gd name="T119" fmla="*/ 111 h 218"/>
                  <a:gd name="T120" fmla="*/ 546 w 551"/>
                  <a:gd name="T121" fmla="*/ 113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51" h="218">
                    <a:moveTo>
                      <a:pt x="551" y="111"/>
                    </a:moveTo>
                    <a:lnTo>
                      <a:pt x="549" y="109"/>
                    </a:lnTo>
                    <a:lnTo>
                      <a:pt x="549" y="109"/>
                    </a:lnTo>
                    <a:lnTo>
                      <a:pt x="546" y="106"/>
                    </a:lnTo>
                    <a:lnTo>
                      <a:pt x="546" y="106"/>
                    </a:lnTo>
                    <a:lnTo>
                      <a:pt x="544" y="104"/>
                    </a:lnTo>
                    <a:lnTo>
                      <a:pt x="544" y="104"/>
                    </a:lnTo>
                    <a:lnTo>
                      <a:pt x="542" y="102"/>
                    </a:lnTo>
                    <a:lnTo>
                      <a:pt x="539" y="102"/>
                    </a:lnTo>
                    <a:lnTo>
                      <a:pt x="537" y="99"/>
                    </a:lnTo>
                    <a:lnTo>
                      <a:pt x="534" y="97"/>
                    </a:lnTo>
                    <a:lnTo>
                      <a:pt x="532" y="97"/>
                    </a:lnTo>
                    <a:lnTo>
                      <a:pt x="532" y="97"/>
                    </a:lnTo>
                    <a:lnTo>
                      <a:pt x="532" y="94"/>
                    </a:lnTo>
                    <a:lnTo>
                      <a:pt x="530" y="94"/>
                    </a:lnTo>
                    <a:lnTo>
                      <a:pt x="530" y="94"/>
                    </a:lnTo>
                    <a:lnTo>
                      <a:pt x="527" y="94"/>
                    </a:lnTo>
                    <a:lnTo>
                      <a:pt x="527" y="92"/>
                    </a:lnTo>
                    <a:lnTo>
                      <a:pt x="525" y="92"/>
                    </a:lnTo>
                    <a:lnTo>
                      <a:pt x="525" y="92"/>
                    </a:lnTo>
                    <a:lnTo>
                      <a:pt x="523" y="90"/>
                    </a:lnTo>
                    <a:lnTo>
                      <a:pt x="523" y="90"/>
                    </a:lnTo>
                    <a:lnTo>
                      <a:pt x="520" y="90"/>
                    </a:lnTo>
                    <a:lnTo>
                      <a:pt x="518" y="87"/>
                    </a:lnTo>
                    <a:lnTo>
                      <a:pt x="513" y="85"/>
                    </a:lnTo>
                    <a:lnTo>
                      <a:pt x="513" y="85"/>
                    </a:lnTo>
                    <a:lnTo>
                      <a:pt x="508" y="85"/>
                    </a:lnTo>
                    <a:lnTo>
                      <a:pt x="506" y="85"/>
                    </a:lnTo>
                    <a:lnTo>
                      <a:pt x="504" y="85"/>
                    </a:lnTo>
                    <a:lnTo>
                      <a:pt x="504" y="85"/>
                    </a:lnTo>
                    <a:lnTo>
                      <a:pt x="501" y="85"/>
                    </a:lnTo>
                    <a:lnTo>
                      <a:pt x="501" y="85"/>
                    </a:lnTo>
                    <a:lnTo>
                      <a:pt x="499" y="87"/>
                    </a:lnTo>
                    <a:lnTo>
                      <a:pt x="499" y="87"/>
                    </a:lnTo>
                    <a:lnTo>
                      <a:pt x="499" y="90"/>
                    </a:lnTo>
                    <a:lnTo>
                      <a:pt x="499" y="92"/>
                    </a:lnTo>
                    <a:lnTo>
                      <a:pt x="497" y="92"/>
                    </a:lnTo>
                    <a:lnTo>
                      <a:pt x="497" y="92"/>
                    </a:lnTo>
                    <a:lnTo>
                      <a:pt x="494" y="90"/>
                    </a:lnTo>
                    <a:lnTo>
                      <a:pt x="492" y="87"/>
                    </a:lnTo>
                    <a:lnTo>
                      <a:pt x="489" y="87"/>
                    </a:lnTo>
                    <a:lnTo>
                      <a:pt x="487" y="87"/>
                    </a:lnTo>
                    <a:lnTo>
                      <a:pt x="485" y="87"/>
                    </a:lnTo>
                    <a:lnTo>
                      <a:pt x="485" y="87"/>
                    </a:lnTo>
                    <a:lnTo>
                      <a:pt x="482" y="87"/>
                    </a:lnTo>
                    <a:lnTo>
                      <a:pt x="480" y="87"/>
                    </a:lnTo>
                    <a:lnTo>
                      <a:pt x="478" y="87"/>
                    </a:lnTo>
                    <a:lnTo>
                      <a:pt x="478" y="87"/>
                    </a:lnTo>
                    <a:lnTo>
                      <a:pt x="475" y="90"/>
                    </a:lnTo>
                    <a:lnTo>
                      <a:pt x="475" y="90"/>
                    </a:lnTo>
                    <a:lnTo>
                      <a:pt x="473" y="90"/>
                    </a:lnTo>
                    <a:lnTo>
                      <a:pt x="471" y="90"/>
                    </a:lnTo>
                    <a:lnTo>
                      <a:pt x="468" y="90"/>
                    </a:lnTo>
                    <a:lnTo>
                      <a:pt x="466" y="87"/>
                    </a:lnTo>
                    <a:lnTo>
                      <a:pt x="466" y="85"/>
                    </a:lnTo>
                    <a:lnTo>
                      <a:pt x="461" y="83"/>
                    </a:lnTo>
                    <a:lnTo>
                      <a:pt x="463" y="80"/>
                    </a:lnTo>
                    <a:lnTo>
                      <a:pt x="466" y="80"/>
                    </a:lnTo>
                    <a:lnTo>
                      <a:pt x="463" y="78"/>
                    </a:lnTo>
                    <a:lnTo>
                      <a:pt x="463" y="75"/>
                    </a:lnTo>
                    <a:lnTo>
                      <a:pt x="461" y="73"/>
                    </a:lnTo>
                    <a:lnTo>
                      <a:pt x="463" y="71"/>
                    </a:lnTo>
                    <a:lnTo>
                      <a:pt x="463" y="68"/>
                    </a:lnTo>
                    <a:lnTo>
                      <a:pt x="463" y="66"/>
                    </a:lnTo>
                    <a:lnTo>
                      <a:pt x="463" y="66"/>
                    </a:lnTo>
                    <a:lnTo>
                      <a:pt x="463" y="64"/>
                    </a:lnTo>
                    <a:lnTo>
                      <a:pt x="461" y="61"/>
                    </a:lnTo>
                    <a:lnTo>
                      <a:pt x="461" y="54"/>
                    </a:lnTo>
                    <a:lnTo>
                      <a:pt x="461" y="49"/>
                    </a:lnTo>
                    <a:lnTo>
                      <a:pt x="461" y="47"/>
                    </a:lnTo>
                    <a:lnTo>
                      <a:pt x="461" y="45"/>
                    </a:lnTo>
                    <a:lnTo>
                      <a:pt x="459" y="45"/>
                    </a:lnTo>
                    <a:lnTo>
                      <a:pt x="454" y="45"/>
                    </a:lnTo>
                    <a:lnTo>
                      <a:pt x="452" y="42"/>
                    </a:lnTo>
                    <a:lnTo>
                      <a:pt x="452" y="42"/>
                    </a:lnTo>
                    <a:lnTo>
                      <a:pt x="447" y="45"/>
                    </a:lnTo>
                    <a:lnTo>
                      <a:pt x="447" y="45"/>
                    </a:lnTo>
                    <a:lnTo>
                      <a:pt x="445" y="45"/>
                    </a:lnTo>
                    <a:lnTo>
                      <a:pt x="442" y="45"/>
                    </a:lnTo>
                    <a:lnTo>
                      <a:pt x="440" y="45"/>
                    </a:lnTo>
                    <a:lnTo>
                      <a:pt x="440" y="45"/>
                    </a:lnTo>
                    <a:lnTo>
                      <a:pt x="437" y="45"/>
                    </a:lnTo>
                    <a:lnTo>
                      <a:pt x="433" y="42"/>
                    </a:lnTo>
                    <a:lnTo>
                      <a:pt x="430" y="40"/>
                    </a:lnTo>
                    <a:lnTo>
                      <a:pt x="428" y="40"/>
                    </a:lnTo>
                    <a:lnTo>
                      <a:pt x="426" y="38"/>
                    </a:lnTo>
                    <a:lnTo>
                      <a:pt x="423" y="38"/>
                    </a:lnTo>
                    <a:lnTo>
                      <a:pt x="423" y="38"/>
                    </a:lnTo>
                    <a:lnTo>
                      <a:pt x="418" y="38"/>
                    </a:lnTo>
                    <a:lnTo>
                      <a:pt x="418" y="38"/>
                    </a:lnTo>
                    <a:lnTo>
                      <a:pt x="416" y="38"/>
                    </a:lnTo>
                    <a:lnTo>
                      <a:pt x="414" y="40"/>
                    </a:lnTo>
                    <a:lnTo>
                      <a:pt x="414" y="40"/>
                    </a:lnTo>
                    <a:lnTo>
                      <a:pt x="411" y="42"/>
                    </a:lnTo>
                    <a:lnTo>
                      <a:pt x="409" y="42"/>
                    </a:lnTo>
                    <a:lnTo>
                      <a:pt x="407" y="45"/>
                    </a:lnTo>
                    <a:lnTo>
                      <a:pt x="407" y="45"/>
                    </a:lnTo>
                    <a:lnTo>
                      <a:pt x="404" y="47"/>
                    </a:lnTo>
                    <a:lnTo>
                      <a:pt x="404" y="49"/>
                    </a:lnTo>
                    <a:lnTo>
                      <a:pt x="404" y="52"/>
                    </a:lnTo>
                    <a:lnTo>
                      <a:pt x="404" y="52"/>
                    </a:lnTo>
                    <a:lnTo>
                      <a:pt x="402" y="52"/>
                    </a:lnTo>
                    <a:lnTo>
                      <a:pt x="400" y="54"/>
                    </a:lnTo>
                    <a:lnTo>
                      <a:pt x="397" y="52"/>
                    </a:lnTo>
                    <a:lnTo>
                      <a:pt x="395" y="54"/>
                    </a:lnTo>
                    <a:lnTo>
                      <a:pt x="392" y="54"/>
                    </a:lnTo>
                    <a:lnTo>
                      <a:pt x="390" y="54"/>
                    </a:lnTo>
                    <a:lnTo>
                      <a:pt x="388" y="57"/>
                    </a:lnTo>
                    <a:lnTo>
                      <a:pt x="385" y="57"/>
                    </a:lnTo>
                    <a:lnTo>
                      <a:pt x="383" y="57"/>
                    </a:lnTo>
                    <a:lnTo>
                      <a:pt x="383" y="57"/>
                    </a:lnTo>
                    <a:lnTo>
                      <a:pt x="381" y="57"/>
                    </a:lnTo>
                    <a:lnTo>
                      <a:pt x="381" y="57"/>
                    </a:lnTo>
                    <a:lnTo>
                      <a:pt x="378" y="57"/>
                    </a:lnTo>
                    <a:lnTo>
                      <a:pt x="374" y="61"/>
                    </a:lnTo>
                    <a:lnTo>
                      <a:pt x="371" y="61"/>
                    </a:lnTo>
                    <a:lnTo>
                      <a:pt x="371" y="61"/>
                    </a:lnTo>
                    <a:lnTo>
                      <a:pt x="369" y="59"/>
                    </a:lnTo>
                    <a:lnTo>
                      <a:pt x="366" y="59"/>
                    </a:lnTo>
                    <a:lnTo>
                      <a:pt x="364" y="59"/>
                    </a:lnTo>
                    <a:lnTo>
                      <a:pt x="364" y="61"/>
                    </a:lnTo>
                    <a:lnTo>
                      <a:pt x="359" y="59"/>
                    </a:lnTo>
                    <a:lnTo>
                      <a:pt x="355" y="59"/>
                    </a:lnTo>
                    <a:lnTo>
                      <a:pt x="352" y="59"/>
                    </a:lnTo>
                    <a:lnTo>
                      <a:pt x="350" y="57"/>
                    </a:lnTo>
                    <a:lnTo>
                      <a:pt x="345" y="57"/>
                    </a:lnTo>
                    <a:lnTo>
                      <a:pt x="340" y="57"/>
                    </a:lnTo>
                    <a:lnTo>
                      <a:pt x="338" y="57"/>
                    </a:lnTo>
                    <a:lnTo>
                      <a:pt x="336" y="57"/>
                    </a:lnTo>
                    <a:lnTo>
                      <a:pt x="333" y="57"/>
                    </a:lnTo>
                    <a:lnTo>
                      <a:pt x="331" y="57"/>
                    </a:lnTo>
                    <a:lnTo>
                      <a:pt x="329" y="52"/>
                    </a:lnTo>
                    <a:lnTo>
                      <a:pt x="326" y="52"/>
                    </a:lnTo>
                    <a:lnTo>
                      <a:pt x="324" y="52"/>
                    </a:lnTo>
                    <a:lnTo>
                      <a:pt x="324" y="49"/>
                    </a:lnTo>
                    <a:lnTo>
                      <a:pt x="322" y="49"/>
                    </a:lnTo>
                    <a:lnTo>
                      <a:pt x="322" y="49"/>
                    </a:lnTo>
                    <a:lnTo>
                      <a:pt x="322" y="49"/>
                    </a:lnTo>
                    <a:lnTo>
                      <a:pt x="319" y="47"/>
                    </a:lnTo>
                    <a:lnTo>
                      <a:pt x="319" y="45"/>
                    </a:lnTo>
                    <a:lnTo>
                      <a:pt x="319" y="45"/>
                    </a:lnTo>
                    <a:lnTo>
                      <a:pt x="317" y="45"/>
                    </a:lnTo>
                    <a:lnTo>
                      <a:pt x="312" y="42"/>
                    </a:lnTo>
                    <a:lnTo>
                      <a:pt x="307" y="42"/>
                    </a:lnTo>
                    <a:lnTo>
                      <a:pt x="307" y="42"/>
                    </a:lnTo>
                    <a:lnTo>
                      <a:pt x="305" y="42"/>
                    </a:lnTo>
                    <a:lnTo>
                      <a:pt x="303" y="42"/>
                    </a:lnTo>
                    <a:lnTo>
                      <a:pt x="300" y="40"/>
                    </a:lnTo>
                    <a:lnTo>
                      <a:pt x="298" y="38"/>
                    </a:lnTo>
                    <a:lnTo>
                      <a:pt x="295" y="38"/>
                    </a:lnTo>
                    <a:lnTo>
                      <a:pt x="293" y="35"/>
                    </a:lnTo>
                    <a:lnTo>
                      <a:pt x="288" y="38"/>
                    </a:lnTo>
                    <a:lnTo>
                      <a:pt x="286" y="38"/>
                    </a:lnTo>
                    <a:lnTo>
                      <a:pt x="284" y="35"/>
                    </a:lnTo>
                    <a:lnTo>
                      <a:pt x="281" y="35"/>
                    </a:lnTo>
                    <a:lnTo>
                      <a:pt x="279" y="35"/>
                    </a:lnTo>
                    <a:lnTo>
                      <a:pt x="277" y="35"/>
                    </a:lnTo>
                    <a:lnTo>
                      <a:pt x="274" y="35"/>
                    </a:lnTo>
                    <a:lnTo>
                      <a:pt x="272" y="33"/>
                    </a:lnTo>
                    <a:lnTo>
                      <a:pt x="269" y="33"/>
                    </a:lnTo>
                    <a:lnTo>
                      <a:pt x="269" y="35"/>
                    </a:lnTo>
                    <a:lnTo>
                      <a:pt x="267" y="35"/>
                    </a:lnTo>
                    <a:lnTo>
                      <a:pt x="265" y="35"/>
                    </a:lnTo>
                    <a:lnTo>
                      <a:pt x="262" y="35"/>
                    </a:lnTo>
                    <a:lnTo>
                      <a:pt x="260" y="38"/>
                    </a:lnTo>
                    <a:lnTo>
                      <a:pt x="258" y="38"/>
                    </a:lnTo>
                    <a:lnTo>
                      <a:pt x="258" y="38"/>
                    </a:lnTo>
                    <a:lnTo>
                      <a:pt x="255" y="38"/>
                    </a:lnTo>
                    <a:lnTo>
                      <a:pt x="255" y="40"/>
                    </a:lnTo>
                    <a:lnTo>
                      <a:pt x="253" y="40"/>
                    </a:lnTo>
                    <a:lnTo>
                      <a:pt x="251" y="40"/>
                    </a:lnTo>
                    <a:lnTo>
                      <a:pt x="251" y="40"/>
                    </a:lnTo>
                    <a:lnTo>
                      <a:pt x="248" y="40"/>
                    </a:lnTo>
                    <a:lnTo>
                      <a:pt x="248" y="40"/>
                    </a:lnTo>
                    <a:lnTo>
                      <a:pt x="246" y="40"/>
                    </a:lnTo>
                    <a:lnTo>
                      <a:pt x="243" y="40"/>
                    </a:lnTo>
                    <a:lnTo>
                      <a:pt x="243" y="40"/>
                    </a:lnTo>
                    <a:lnTo>
                      <a:pt x="241" y="40"/>
                    </a:lnTo>
                    <a:lnTo>
                      <a:pt x="239" y="38"/>
                    </a:lnTo>
                    <a:lnTo>
                      <a:pt x="236" y="38"/>
                    </a:lnTo>
                    <a:lnTo>
                      <a:pt x="236" y="38"/>
                    </a:lnTo>
                    <a:lnTo>
                      <a:pt x="232" y="35"/>
                    </a:lnTo>
                    <a:lnTo>
                      <a:pt x="229" y="35"/>
                    </a:lnTo>
                    <a:lnTo>
                      <a:pt x="229" y="35"/>
                    </a:lnTo>
                    <a:lnTo>
                      <a:pt x="225" y="33"/>
                    </a:lnTo>
                    <a:lnTo>
                      <a:pt x="225" y="33"/>
                    </a:lnTo>
                    <a:lnTo>
                      <a:pt x="222" y="33"/>
                    </a:lnTo>
                    <a:lnTo>
                      <a:pt x="222" y="33"/>
                    </a:lnTo>
                    <a:lnTo>
                      <a:pt x="220" y="31"/>
                    </a:lnTo>
                    <a:lnTo>
                      <a:pt x="220" y="31"/>
                    </a:lnTo>
                    <a:lnTo>
                      <a:pt x="220" y="31"/>
                    </a:lnTo>
                    <a:lnTo>
                      <a:pt x="220" y="28"/>
                    </a:lnTo>
                    <a:lnTo>
                      <a:pt x="217" y="28"/>
                    </a:lnTo>
                    <a:lnTo>
                      <a:pt x="217" y="28"/>
                    </a:lnTo>
                    <a:lnTo>
                      <a:pt x="217" y="26"/>
                    </a:lnTo>
                    <a:lnTo>
                      <a:pt x="215" y="26"/>
                    </a:lnTo>
                    <a:lnTo>
                      <a:pt x="215" y="23"/>
                    </a:lnTo>
                    <a:lnTo>
                      <a:pt x="213" y="21"/>
                    </a:lnTo>
                    <a:lnTo>
                      <a:pt x="213" y="21"/>
                    </a:lnTo>
                    <a:lnTo>
                      <a:pt x="210" y="19"/>
                    </a:lnTo>
                    <a:lnTo>
                      <a:pt x="210" y="16"/>
                    </a:lnTo>
                    <a:lnTo>
                      <a:pt x="210" y="16"/>
                    </a:lnTo>
                    <a:lnTo>
                      <a:pt x="208" y="16"/>
                    </a:lnTo>
                    <a:lnTo>
                      <a:pt x="206" y="14"/>
                    </a:lnTo>
                    <a:lnTo>
                      <a:pt x="203" y="14"/>
                    </a:lnTo>
                    <a:lnTo>
                      <a:pt x="198" y="14"/>
                    </a:lnTo>
                    <a:lnTo>
                      <a:pt x="198" y="14"/>
                    </a:lnTo>
                    <a:lnTo>
                      <a:pt x="196" y="14"/>
                    </a:lnTo>
                    <a:lnTo>
                      <a:pt x="194" y="14"/>
                    </a:lnTo>
                    <a:lnTo>
                      <a:pt x="194" y="12"/>
                    </a:lnTo>
                    <a:lnTo>
                      <a:pt x="191" y="12"/>
                    </a:lnTo>
                    <a:lnTo>
                      <a:pt x="187" y="12"/>
                    </a:lnTo>
                    <a:lnTo>
                      <a:pt x="184" y="9"/>
                    </a:lnTo>
                    <a:lnTo>
                      <a:pt x="180" y="9"/>
                    </a:lnTo>
                    <a:lnTo>
                      <a:pt x="180" y="7"/>
                    </a:lnTo>
                    <a:lnTo>
                      <a:pt x="175" y="7"/>
                    </a:lnTo>
                    <a:lnTo>
                      <a:pt x="172" y="7"/>
                    </a:lnTo>
                    <a:lnTo>
                      <a:pt x="170" y="7"/>
                    </a:lnTo>
                    <a:lnTo>
                      <a:pt x="168" y="7"/>
                    </a:lnTo>
                    <a:lnTo>
                      <a:pt x="165" y="4"/>
                    </a:lnTo>
                    <a:lnTo>
                      <a:pt x="163" y="4"/>
                    </a:lnTo>
                    <a:lnTo>
                      <a:pt x="163" y="4"/>
                    </a:lnTo>
                    <a:lnTo>
                      <a:pt x="161" y="4"/>
                    </a:lnTo>
                    <a:lnTo>
                      <a:pt x="156" y="2"/>
                    </a:lnTo>
                    <a:lnTo>
                      <a:pt x="154" y="2"/>
                    </a:lnTo>
                    <a:lnTo>
                      <a:pt x="154" y="2"/>
                    </a:lnTo>
                    <a:lnTo>
                      <a:pt x="151" y="0"/>
                    </a:lnTo>
                    <a:lnTo>
                      <a:pt x="149" y="0"/>
                    </a:lnTo>
                    <a:lnTo>
                      <a:pt x="149" y="2"/>
                    </a:lnTo>
                    <a:lnTo>
                      <a:pt x="149" y="2"/>
                    </a:lnTo>
                    <a:lnTo>
                      <a:pt x="149" y="4"/>
                    </a:lnTo>
                    <a:lnTo>
                      <a:pt x="149" y="7"/>
                    </a:lnTo>
                    <a:lnTo>
                      <a:pt x="144" y="9"/>
                    </a:lnTo>
                    <a:lnTo>
                      <a:pt x="144" y="9"/>
                    </a:lnTo>
                    <a:lnTo>
                      <a:pt x="144" y="9"/>
                    </a:lnTo>
                    <a:lnTo>
                      <a:pt x="144" y="12"/>
                    </a:lnTo>
                    <a:lnTo>
                      <a:pt x="144" y="12"/>
                    </a:lnTo>
                    <a:lnTo>
                      <a:pt x="144" y="14"/>
                    </a:lnTo>
                    <a:lnTo>
                      <a:pt x="144" y="14"/>
                    </a:lnTo>
                    <a:lnTo>
                      <a:pt x="142" y="14"/>
                    </a:lnTo>
                    <a:lnTo>
                      <a:pt x="142" y="14"/>
                    </a:lnTo>
                    <a:lnTo>
                      <a:pt x="142" y="16"/>
                    </a:lnTo>
                    <a:lnTo>
                      <a:pt x="142" y="16"/>
                    </a:lnTo>
                    <a:lnTo>
                      <a:pt x="144" y="19"/>
                    </a:lnTo>
                    <a:lnTo>
                      <a:pt x="144" y="19"/>
                    </a:lnTo>
                    <a:lnTo>
                      <a:pt x="144" y="19"/>
                    </a:lnTo>
                    <a:lnTo>
                      <a:pt x="144" y="21"/>
                    </a:lnTo>
                    <a:lnTo>
                      <a:pt x="144" y="23"/>
                    </a:lnTo>
                    <a:lnTo>
                      <a:pt x="144" y="23"/>
                    </a:lnTo>
                    <a:lnTo>
                      <a:pt x="146" y="26"/>
                    </a:lnTo>
                    <a:lnTo>
                      <a:pt x="146" y="26"/>
                    </a:lnTo>
                    <a:lnTo>
                      <a:pt x="149" y="26"/>
                    </a:lnTo>
                    <a:lnTo>
                      <a:pt x="149" y="28"/>
                    </a:lnTo>
                    <a:lnTo>
                      <a:pt x="149" y="28"/>
                    </a:lnTo>
                    <a:lnTo>
                      <a:pt x="151" y="31"/>
                    </a:lnTo>
                    <a:lnTo>
                      <a:pt x="151" y="31"/>
                    </a:lnTo>
                    <a:lnTo>
                      <a:pt x="154" y="31"/>
                    </a:lnTo>
                    <a:lnTo>
                      <a:pt x="156" y="33"/>
                    </a:lnTo>
                    <a:lnTo>
                      <a:pt x="156" y="33"/>
                    </a:lnTo>
                    <a:lnTo>
                      <a:pt x="156" y="33"/>
                    </a:lnTo>
                    <a:lnTo>
                      <a:pt x="158" y="35"/>
                    </a:lnTo>
                    <a:lnTo>
                      <a:pt x="158" y="38"/>
                    </a:lnTo>
                    <a:lnTo>
                      <a:pt x="158" y="38"/>
                    </a:lnTo>
                    <a:lnTo>
                      <a:pt x="158" y="40"/>
                    </a:lnTo>
                    <a:lnTo>
                      <a:pt x="158" y="40"/>
                    </a:lnTo>
                    <a:lnTo>
                      <a:pt x="158" y="42"/>
                    </a:lnTo>
                    <a:lnTo>
                      <a:pt x="156" y="42"/>
                    </a:lnTo>
                    <a:lnTo>
                      <a:pt x="156" y="42"/>
                    </a:lnTo>
                    <a:lnTo>
                      <a:pt x="156" y="45"/>
                    </a:lnTo>
                    <a:lnTo>
                      <a:pt x="154" y="45"/>
                    </a:lnTo>
                    <a:lnTo>
                      <a:pt x="154" y="45"/>
                    </a:lnTo>
                    <a:lnTo>
                      <a:pt x="151" y="45"/>
                    </a:lnTo>
                    <a:lnTo>
                      <a:pt x="151" y="45"/>
                    </a:lnTo>
                    <a:lnTo>
                      <a:pt x="151" y="47"/>
                    </a:lnTo>
                    <a:lnTo>
                      <a:pt x="149" y="47"/>
                    </a:lnTo>
                    <a:lnTo>
                      <a:pt x="149" y="49"/>
                    </a:lnTo>
                    <a:lnTo>
                      <a:pt x="146" y="49"/>
                    </a:lnTo>
                    <a:lnTo>
                      <a:pt x="144" y="47"/>
                    </a:lnTo>
                    <a:lnTo>
                      <a:pt x="144" y="47"/>
                    </a:lnTo>
                    <a:lnTo>
                      <a:pt x="144" y="47"/>
                    </a:lnTo>
                    <a:lnTo>
                      <a:pt x="142" y="45"/>
                    </a:lnTo>
                    <a:lnTo>
                      <a:pt x="137" y="45"/>
                    </a:lnTo>
                    <a:lnTo>
                      <a:pt x="137" y="45"/>
                    </a:lnTo>
                    <a:lnTo>
                      <a:pt x="135" y="45"/>
                    </a:lnTo>
                    <a:lnTo>
                      <a:pt x="135" y="45"/>
                    </a:lnTo>
                    <a:lnTo>
                      <a:pt x="132" y="45"/>
                    </a:lnTo>
                    <a:lnTo>
                      <a:pt x="132" y="45"/>
                    </a:lnTo>
                    <a:lnTo>
                      <a:pt x="132" y="45"/>
                    </a:lnTo>
                    <a:lnTo>
                      <a:pt x="130" y="45"/>
                    </a:lnTo>
                    <a:lnTo>
                      <a:pt x="128" y="45"/>
                    </a:lnTo>
                    <a:lnTo>
                      <a:pt x="128" y="42"/>
                    </a:lnTo>
                    <a:lnTo>
                      <a:pt x="125" y="42"/>
                    </a:lnTo>
                    <a:lnTo>
                      <a:pt x="125" y="42"/>
                    </a:lnTo>
                    <a:lnTo>
                      <a:pt x="125" y="45"/>
                    </a:lnTo>
                    <a:lnTo>
                      <a:pt x="123" y="45"/>
                    </a:lnTo>
                    <a:lnTo>
                      <a:pt x="123" y="42"/>
                    </a:lnTo>
                    <a:lnTo>
                      <a:pt x="123" y="42"/>
                    </a:lnTo>
                    <a:lnTo>
                      <a:pt x="120" y="42"/>
                    </a:lnTo>
                    <a:lnTo>
                      <a:pt x="120" y="45"/>
                    </a:lnTo>
                    <a:lnTo>
                      <a:pt x="118" y="45"/>
                    </a:lnTo>
                    <a:lnTo>
                      <a:pt x="118" y="45"/>
                    </a:lnTo>
                    <a:lnTo>
                      <a:pt x="116" y="45"/>
                    </a:lnTo>
                    <a:lnTo>
                      <a:pt x="116" y="45"/>
                    </a:lnTo>
                    <a:lnTo>
                      <a:pt x="113" y="45"/>
                    </a:lnTo>
                    <a:lnTo>
                      <a:pt x="111" y="45"/>
                    </a:lnTo>
                    <a:lnTo>
                      <a:pt x="111" y="45"/>
                    </a:lnTo>
                    <a:lnTo>
                      <a:pt x="109" y="45"/>
                    </a:lnTo>
                    <a:lnTo>
                      <a:pt x="109" y="42"/>
                    </a:lnTo>
                    <a:lnTo>
                      <a:pt x="106" y="42"/>
                    </a:lnTo>
                    <a:lnTo>
                      <a:pt x="104" y="42"/>
                    </a:lnTo>
                    <a:lnTo>
                      <a:pt x="104" y="42"/>
                    </a:lnTo>
                    <a:lnTo>
                      <a:pt x="104" y="42"/>
                    </a:lnTo>
                    <a:lnTo>
                      <a:pt x="102" y="42"/>
                    </a:lnTo>
                    <a:lnTo>
                      <a:pt x="102" y="42"/>
                    </a:lnTo>
                    <a:lnTo>
                      <a:pt x="99" y="40"/>
                    </a:lnTo>
                    <a:lnTo>
                      <a:pt x="97" y="40"/>
                    </a:lnTo>
                    <a:lnTo>
                      <a:pt x="97" y="40"/>
                    </a:lnTo>
                    <a:lnTo>
                      <a:pt x="97" y="38"/>
                    </a:lnTo>
                    <a:lnTo>
                      <a:pt x="94" y="38"/>
                    </a:lnTo>
                    <a:lnTo>
                      <a:pt x="94" y="35"/>
                    </a:lnTo>
                    <a:lnTo>
                      <a:pt x="92" y="33"/>
                    </a:lnTo>
                    <a:lnTo>
                      <a:pt x="90" y="33"/>
                    </a:lnTo>
                    <a:lnTo>
                      <a:pt x="87" y="31"/>
                    </a:lnTo>
                    <a:lnTo>
                      <a:pt x="87" y="31"/>
                    </a:lnTo>
                    <a:lnTo>
                      <a:pt x="83" y="31"/>
                    </a:lnTo>
                    <a:lnTo>
                      <a:pt x="80" y="31"/>
                    </a:lnTo>
                    <a:lnTo>
                      <a:pt x="80" y="31"/>
                    </a:lnTo>
                    <a:lnTo>
                      <a:pt x="78" y="31"/>
                    </a:lnTo>
                    <a:lnTo>
                      <a:pt x="75" y="31"/>
                    </a:lnTo>
                    <a:lnTo>
                      <a:pt x="75" y="31"/>
                    </a:lnTo>
                    <a:lnTo>
                      <a:pt x="73" y="31"/>
                    </a:lnTo>
                    <a:lnTo>
                      <a:pt x="71" y="31"/>
                    </a:lnTo>
                    <a:lnTo>
                      <a:pt x="71" y="31"/>
                    </a:lnTo>
                    <a:lnTo>
                      <a:pt x="68" y="28"/>
                    </a:lnTo>
                    <a:lnTo>
                      <a:pt x="68" y="28"/>
                    </a:lnTo>
                    <a:lnTo>
                      <a:pt x="68" y="28"/>
                    </a:lnTo>
                    <a:lnTo>
                      <a:pt x="66" y="28"/>
                    </a:lnTo>
                    <a:lnTo>
                      <a:pt x="66" y="28"/>
                    </a:lnTo>
                    <a:lnTo>
                      <a:pt x="66" y="28"/>
                    </a:lnTo>
                    <a:lnTo>
                      <a:pt x="64" y="28"/>
                    </a:lnTo>
                    <a:lnTo>
                      <a:pt x="64" y="28"/>
                    </a:lnTo>
                    <a:lnTo>
                      <a:pt x="61" y="28"/>
                    </a:lnTo>
                    <a:lnTo>
                      <a:pt x="61" y="28"/>
                    </a:lnTo>
                    <a:lnTo>
                      <a:pt x="59" y="26"/>
                    </a:lnTo>
                    <a:lnTo>
                      <a:pt x="57" y="26"/>
                    </a:lnTo>
                    <a:lnTo>
                      <a:pt x="57" y="26"/>
                    </a:lnTo>
                    <a:lnTo>
                      <a:pt x="57" y="26"/>
                    </a:lnTo>
                    <a:lnTo>
                      <a:pt x="57" y="28"/>
                    </a:lnTo>
                    <a:lnTo>
                      <a:pt x="57" y="28"/>
                    </a:lnTo>
                    <a:lnTo>
                      <a:pt x="54" y="28"/>
                    </a:lnTo>
                    <a:lnTo>
                      <a:pt x="52" y="28"/>
                    </a:lnTo>
                    <a:lnTo>
                      <a:pt x="49" y="28"/>
                    </a:lnTo>
                    <a:lnTo>
                      <a:pt x="49" y="31"/>
                    </a:lnTo>
                    <a:lnTo>
                      <a:pt x="47" y="31"/>
                    </a:lnTo>
                    <a:lnTo>
                      <a:pt x="47" y="31"/>
                    </a:lnTo>
                    <a:lnTo>
                      <a:pt x="47" y="31"/>
                    </a:lnTo>
                    <a:lnTo>
                      <a:pt x="45" y="33"/>
                    </a:lnTo>
                    <a:lnTo>
                      <a:pt x="45" y="33"/>
                    </a:lnTo>
                    <a:lnTo>
                      <a:pt x="45" y="33"/>
                    </a:lnTo>
                    <a:lnTo>
                      <a:pt x="45" y="33"/>
                    </a:lnTo>
                    <a:lnTo>
                      <a:pt x="42" y="33"/>
                    </a:lnTo>
                    <a:lnTo>
                      <a:pt x="40" y="35"/>
                    </a:lnTo>
                    <a:lnTo>
                      <a:pt x="40" y="35"/>
                    </a:lnTo>
                    <a:lnTo>
                      <a:pt x="38" y="35"/>
                    </a:lnTo>
                    <a:lnTo>
                      <a:pt x="38" y="38"/>
                    </a:lnTo>
                    <a:lnTo>
                      <a:pt x="38" y="38"/>
                    </a:lnTo>
                    <a:lnTo>
                      <a:pt x="38" y="38"/>
                    </a:lnTo>
                    <a:lnTo>
                      <a:pt x="35" y="38"/>
                    </a:lnTo>
                    <a:lnTo>
                      <a:pt x="33" y="38"/>
                    </a:lnTo>
                    <a:lnTo>
                      <a:pt x="31" y="40"/>
                    </a:lnTo>
                    <a:lnTo>
                      <a:pt x="31" y="40"/>
                    </a:lnTo>
                    <a:lnTo>
                      <a:pt x="31" y="40"/>
                    </a:lnTo>
                    <a:lnTo>
                      <a:pt x="28" y="40"/>
                    </a:lnTo>
                    <a:lnTo>
                      <a:pt x="28" y="42"/>
                    </a:lnTo>
                    <a:lnTo>
                      <a:pt x="26" y="42"/>
                    </a:lnTo>
                    <a:lnTo>
                      <a:pt x="28" y="42"/>
                    </a:lnTo>
                    <a:lnTo>
                      <a:pt x="26" y="45"/>
                    </a:lnTo>
                    <a:lnTo>
                      <a:pt x="23" y="45"/>
                    </a:lnTo>
                    <a:lnTo>
                      <a:pt x="23" y="45"/>
                    </a:lnTo>
                    <a:lnTo>
                      <a:pt x="23" y="47"/>
                    </a:lnTo>
                    <a:lnTo>
                      <a:pt x="23" y="49"/>
                    </a:lnTo>
                    <a:lnTo>
                      <a:pt x="23" y="49"/>
                    </a:lnTo>
                    <a:lnTo>
                      <a:pt x="23" y="49"/>
                    </a:lnTo>
                    <a:lnTo>
                      <a:pt x="21" y="49"/>
                    </a:lnTo>
                    <a:lnTo>
                      <a:pt x="21" y="52"/>
                    </a:lnTo>
                    <a:lnTo>
                      <a:pt x="19" y="52"/>
                    </a:lnTo>
                    <a:lnTo>
                      <a:pt x="19" y="52"/>
                    </a:lnTo>
                    <a:lnTo>
                      <a:pt x="19" y="52"/>
                    </a:lnTo>
                    <a:lnTo>
                      <a:pt x="19" y="52"/>
                    </a:lnTo>
                    <a:lnTo>
                      <a:pt x="16" y="54"/>
                    </a:lnTo>
                    <a:lnTo>
                      <a:pt x="16" y="54"/>
                    </a:lnTo>
                    <a:lnTo>
                      <a:pt x="14" y="54"/>
                    </a:lnTo>
                    <a:lnTo>
                      <a:pt x="14" y="54"/>
                    </a:lnTo>
                    <a:lnTo>
                      <a:pt x="14" y="52"/>
                    </a:lnTo>
                    <a:lnTo>
                      <a:pt x="14" y="52"/>
                    </a:lnTo>
                    <a:lnTo>
                      <a:pt x="14" y="54"/>
                    </a:lnTo>
                    <a:lnTo>
                      <a:pt x="14" y="54"/>
                    </a:lnTo>
                    <a:lnTo>
                      <a:pt x="12" y="54"/>
                    </a:lnTo>
                    <a:lnTo>
                      <a:pt x="12" y="54"/>
                    </a:lnTo>
                    <a:lnTo>
                      <a:pt x="9" y="54"/>
                    </a:lnTo>
                    <a:lnTo>
                      <a:pt x="9" y="54"/>
                    </a:lnTo>
                    <a:lnTo>
                      <a:pt x="7" y="54"/>
                    </a:lnTo>
                    <a:lnTo>
                      <a:pt x="7" y="54"/>
                    </a:lnTo>
                    <a:lnTo>
                      <a:pt x="5" y="54"/>
                    </a:lnTo>
                    <a:lnTo>
                      <a:pt x="2" y="54"/>
                    </a:lnTo>
                    <a:lnTo>
                      <a:pt x="2" y="57"/>
                    </a:lnTo>
                    <a:lnTo>
                      <a:pt x="2" y="57"/>
                    </a:lnTo>
                    <a:lnTo>
                      <a:pt x="2" y="59"/>
                    </a:lnTo>
                    <a:lnTo>
                      <a:pt x="2" y="59"/>
                    </a:lnTo>
                    <a:lnTo>
                      <a:pt x="2" y="59"/>
                    </a:lnTo>
                    <a:lnTo>
                      <a:pt x="2" y="61"/>
                    </a:lnTo>
                    <a:lnTo>
                      <a:pt x="0" y="61"/>
                    </a:lnTo>
                    <a:lnTo>
                      <a:pt x="0" y="61"/>
                    </a:lnTo>
                    <a:lnTo>
                      <a:pt x="0" y="61"/>
                    </a:lnTo>
                    <a:lnTo>
                      <a:pt x="0" y="61"/>
                    </a:lnTo>
                    <a:lnTo>
                      <a:pt x="0" y="64"/>
                    </a:lnTo>
                    <a:lnTo>
                      <a:pt x="2" y="64"/>
                    </a:lnTo>
                    <a:lnTo>
                      <a:pt x="2" y="64"/>
                    </a:lnTo>
                    <a:lnTo>
                      <a:pt x="0" y="66"/>
                    </a:lnTo>
                    <a:lnTo>
                      <a:pt x="0" y="66"/>
                    </a:lnTo>
                    <a:lnTo>
                      <a:pt x="0" y="66"/>
                    </a:lnTo>
                    <a:lnTo>
                      <a:pt x="2" y="66"/>
                    </a:lnTo>
                    <a:lnTo>
                      <a:pt x="2" y="68"/>
                    </a:lnTo>
                    <a:lnTo>
                      <a:pt x="5" y="68"/>
                    </a:lnTo>
                    <a:lnTo>
                      <a:pt x="7" y="68"/>
                    </a:lnTo>
                    <a:lnTo>
                      <a:pt x="7" y="71"/>
                    </a:lnTo>
                    <a:lnTo>
                      <a:pt x="7" y="71"/>
                    </a:lnTo>
                    <a:lnTo>
                      <a:pt x="7" y="71"/>
                    </a:lnTo>
                    <a:lnTo>
                      <a:pt x="7" y="71"/>
                    </a:lnTo>
                    <a:lnTo>
                      <a:pt x="7" y="73"/>
                    </a:lnTo>
                    <a:lnTo>
                      <a:pt x="7" y="73"/>
                    </a:lnTo>
                    <a:lnTo>
                      <a:pt x="9" y="73"/>
                    </a:lnTo>
                    <a:lnTo>
                      <a:pt x="9" y="73"/>
                    </a:lnTo>
                    <a:lnTo>
                      <a:pt x="14" y="75"/>
                    </a:lnTo>
                    <a:lnTo>
                      <a:pt x="16" y="75"/>
                    </a:lnTo>
                    <a:lnTo>
                      <a:pt x="16" y="75"/>
                    </a:lnTo>
                    <a:lnTo>
                      <a:pt x="19" y="78"/>
                    </a:lnTo>
                    <a:lnTo>
                      <a:pt x="19" y="80"/>
                    </a:lnTo>
                    <a:lnTo>
                      <a:pt x="21" y="80"/>
                    </a:lnTo>
                    <a:lnTo>
                      <a:pt x="26" y="83"/>
                    </a:lnTo>
                    <a:lnTo>
                      <a:pt x="26" y="83"/>
                    </a:lnTo>
                    <a:lnTo>
                      <a:pt x="28" y="83"/>
                    </a:lnTo>
                    <a:lnTo>
                      <a:pt x="28" y="85"/>
                    </a:lnTo>
                    <a:lnTo>
                      <a:pt x="31" y="85"/>
                    </a:lnTo>
                    <a:lnTo>
                      <a:pt x="31" y="85"/>
                    </a:lnTo>
                    <a:lnTo>
                      <a:pt x="33" y="85"/>
                    </a:lnTo>
                    <a:lnTo>
                      <a:pt x="35" y="85"/>
                    </a:lnTo>
                    <a:lnTo>
                      <a:pt x="38" y="85"/>
                    </a:lnTo>
                    <a:lnTo>
                      <a:pt x="40" y="87"/>
                    </a:lnTo>
                    <a:lnTo>
                      <a:pt x="40" y="87"/>
                    </a:lnTo>
                    <a:lnTo>
                      <a:pt x="42" y="87"/>
                    </a:lnTo>
                    <a:lnTo>
                      <a:pt x="42" y="87"/>
                    </a:lnTo>
                    <a:lnTo>
                      <a:pt x="42" y="87"/>
                    </a:lnTo>
                    <a:lnTo>
                      <a:pt x="45" y="87"/>
                    </a:lnTo>
                    <a:lnTo>
                      <a:pt x="45" y="87"/>
                    </a:lnTo>
                    <a:lnTo>
                      <a:pt x="47" y="87"/>
                    </a:lnTo>
                    <a:lnTo>
                      <a:pt x="47" y="87"/>
                    </a:lnTo>
                    <a:lnTo>
                      <a:pt x="47" y="87"/>
                    </a:lnTo>
                    <a:lnTo>
                      <a:pt x="49" y="90"/>
                    </a:lnTo>
                    <a:lnTo>
                      <a:pt x="49" y="90"/>
                    </a:lnTo>
                    <a:lnTo>
                      <a:pt x="52" y="92"/>
                    </a:lnTo>
                    <a:lnTo>
                      <a:pt x="52" y="92"/>
                    </a:lnTo>
                    <a:lnTo>
                      <a:pt x="54" y="92"/>
                    </a:lnTo>
                    <a:lnTo>
                      <a:pt x="54" y="94"/>
                    </a:lnTo>
                    <a:lnTo>
                      <a:pt x="57" y="94"/>
                    </a:lnTo>
                    <a:lnTo>
                      <a:pt x="57" y="97"/>
                    </a:lnTo>
                    <a:lnTo>
                      <a:pt x="59" y="99"/>
                    </a:lnTo>
                    <a:lnTo>
                      <a:pt x="59" y="99"/>
                    </a:lnTo>
                    <a:lnTo>
                      <a:pt x="61" y="102"/>
                    </a:lnTo>
                    <a:lnTo>
                      <a:pt x="64" y="104"/>
                    </a:lnTo>
                    <a:lnTo>
                      <a:pt x="64" y="104"/>
                    </a:lnTo>
                    <a:lnTo>
                      <a:pt x="66" y="106"/>
                    </a:lnTo>
                    <a:lnTo>
                      <a:pt x="68" y="106"/>
                    </a:lnTo>
                    <a:lnTo>
                      <a:pt x="68" y="109"/>
                    </a:lnTo>
                    <a:lnTo>
                      <a:pt x="71" y="111"/>
                    </a:lnTo>
                    <a:lnTo>
                      <a:pt x="73" y="111"/>
                    </a:lnTo>
                    <a:lnTo>
                      <a:pt x="73" y="113"/>
                    </a:lnTo>
                    <a:lnTo>
                      <a:pt x="73" y="113"/>
                    </a:lnTo>
                    <a:lnTo>
                      <a:pt x="73" y="116"/>
                    </a:lnTo>
                    <a:lnTo>
                      <a:pt x="73" y="118"/>
                    </a:lnTo>
                    <a:lnTo>
                      <a:pt x="73" y="118"/>
                    </a:lnTo>
                    <a:lnTo>
                      <a:pt x="73" y="120"/>
                    </a:lnTo>
                    <a:lnTo>
                      <a:pt x="75" y="123"/>
                    </a:lnTo>
                    <a:lnTo>
                      <a:pt x="78" y="123"/>
                    </a:lnTo>
                    <a:lnTo>
                      <a:pt x="78" y="125"/>
                    </a:lnTo>
                    <a:lnTo>
                      <a:pt x="78" y="125"/>
                    </a:lnTo>
                    <a:lnTo>
                      <a:pt x="75" y="128"/>
                    </a:lnTo>
                    <a:lnTo>
                      <a:pt x="75" y="128"/>
                    </a:lnTo>
                    <a:lnTo>
                      <a:pt x="75" y="128"/>
                    </a:lnTo>
                    <a:lnTo>
                      <a:pt x="75" y="132"/>
                    </a:lnTo>
                    <a:lnTo>
                      <a:pt x="75" y="135"/>
                    </a:lnTo>
                    <a:lnTo>
                      <a:pt x="75" y="135"/>
                    </a:lnTo>
                    <a:lnTo>
                      <a:pt x="78" y="137"/>
                    </a:lnTo>
                    <a:lnTo>
                      <a:pt x="78" y="137"/>
                    </a:lnTo>
                    <a:lnTo>
                      <a:pt x="78" y="139"/>
                    </a:lnTo>
                    <a:lnTo>
                      <a:pt x="80" y="142"/>
                    </a:lnTo>
                    <a:lnTo>
                      <a:pt x="83" y="142"/>
                    </a:lnTo>
                    <a:lnTo>
                      <a:pt x="83" y="142"/>
                    </a:lnTo>
                    <a:lnTo>
                      <a:pt x="83" y="142"/>
                    </a:lnTo>
                    <a:lnTo>
                      <a:pt x="85" y="142"/>
                    </a:lnTo>
                    <a:lnTo>
                      <a:pt x="87" y="142"/>
                    </a:lnTo>
                    <a:lnTo>
                      <a:pt x="87" y="144"/>
                    </a:lnTo>
                    <a:lnTo>
                      <a:pt x="90" y="144"/>
                    </a:lnTo>
                    <a:lnTo>
                      <a:pt x="92" y="144"/>
                    </a:lnTo>
                    <a:lnTo>
                      <a:pt x="94" y="144"/>
                    </a:lnTo>
                    <a:lnTo>
                      <a:pt x="94" y="144"/>
                    </a:lnTo>
                    <a:lnTo>
                      <a:pt x="97" y="144"/>
                    </a:lnTo>
                    <a:lnTo>
                      <a:pt x="99" y="144"/>
                    </a:lnTo>
                    <a:lnTo>
                      <a:pt x="102" y="144"/>
                    </a:lnTo>
                    <a:lnTo>
                      <a:pt x="104" y="147"/>
                    </a:lnTo>
                    <a:lnTo>
                      <a:pt x="109" y="147"/>
                    </a:lnTo>
                    <a:lnTo>
                      <a:pt x="111" y="147"/>
                    </a:lnTo>
                    <a:lnTo>
                      <a:pt x="116" y="147"/>
                    </a:lnTo>
                    <a:lnTo>
                      <a:pt x="118" y="147"/>
                    </a:lnTo>
                    <a:lnTo>
                      <a:pt x="125" y="149"/>
                    </a:lnTo>
                    <a:lnTo>
                      <a:pt x="128" y="149"/>
                    </a:lnTo>
                    <a:lnTo>
                      <a:pt x="130" y="149"/>
                    </a:lnTo>
                    <a:lnTo>
                      <a:pt x="132" y="151"/>
                    </a:lnTo>
                    <a:lnTo>
                      <a:pt x="137" y="154"/>
                    </a:lnTo>
                    <a:lnTo>
                      <a:pt x="137" y="154"/>
                    </a:lnTo>
                    <a:lnTo>
                      <a:pt x="142" y="156"/>
                    </a:lnTo>
                    <a:lnTo>
                      <a:pt x="146" y="158"/>
                    </a:lnTo>
                    <a:lnTo>
                      <a:pt x="149" y="158"/>
                    </a:lnTo>
                    <a:lnTo>
                      <a:pt x="154" y="161"/>
                    </a:lnTo>
                    <a:lnTo>
                      <a:pt x="156" y="163"/>
                    </a:lnTo>
                    <a:lnTo>
                      <a:pt x="161" y="163"/>
                    </a:lnTo>
                    <a:lnTo>
                      <a:pt x="165" y="163"/>
                    </a:lnTo>
                    <a:lnTo>
                      <a:pt x="165" y="163"/>
                    </a:lnTo>
                    <a:lnTo>
                      <a:pt x="165" y="165"/>
                    </a:lnTo>
                    <a:lnTo>
                      <a:pt x="165" y="165"/>
                    </a:lnTo>
                    <a:lnTo>
                      <a:pt x="165" y="168"/>
                    </a:lnTo>
                    <a:lnTo>
                      <a:pt x="168" y="168"/>
                    </a:lnTo>
                    <a:lnTo>
                      <a:pt x="170" y="168"/>
                    </a:lnTo>
                    <a:lnTo>
                      <a:pt x="170" y="170"/>
                    </a:lnTo>
                    <a:lnTo>
                      <a:pt x="172" y="170"/>
                    </a:lnTo>
                    <a:lnTo>
                      <a:pt x="172" y="173"/>
                    </a:lnTo>
                    <a:lnTo>
                      <a:pt x="175" y="175"/>
                    </a:lnTo>
                    <a:lnTo>
                      <a:pt x="180" y="182"/>
                    </a:lnTo>
                    <a:lnTo>
                      <a:pt x="182" y="184"/>
                    </a:lnTo>
                    <a:lnTo>
                      <a:pt x="182" y="184"/>
                    </a:lnTo>
                    <a:lnTo>
                      <a:pt x="187" y="187"/>
                    </a:lnTo>
                    <a:lnTo>
                      <a:pt x="189" y="189"/>
                    </a:lnTo>
                    <a:lnTo>
                      <a:pt x="191" y="192"/>
                    </a:lnTo>
                    <a:lnTo>
                      <a:pt x="194" y="192"/>
                    </a:lnTo>
                    <a:lnTo>
                      <a:pt x="194" y="194"/>
                    </a:lnTo>
                    <a:lnTo>
                      <a:pt x="194" y="194"/>
                    </a:lnTo>
                    <a:lnTo>
                      <a:pt x="198" y="194"/>
                    </a:lnTo>
                    <a:lnTo>
                      <a:pt x="203" y="194"/>
                    </a:lnTo>
                    <a:lnTo>
                      <a:pt x="208" y="194"/>
                    </a:lnTo>
                    <a:lnTo>
                      <a:pt x="217" y="194"/>
                    </a:lnTo>
                    <a:lnTo>
                      <a:pt x="227" y="196"/>
                    </a:lnTo>
                    <a:lnTo>
                      <a:pt x="234" y="196"/>
                    </a:lnTo>
                    <a:lnTo>
                      <a:pt x="239" y="196"/>
                    </a:lnTo>
                    <a:lnTo>
                      <a:pt x="248" y="199"/>
                    </a:lnTo>
                    <a:lnTo>
                      <a:pt x="253" y="196"/>
                    </a:lnTo>
                    <a:lnTo>
                      <a:pt x="255" y="196"/>
                    </a:lnTo>
                    <a:lnTo>
                      <a:pt x="258" y="196"/>
                    </a:lnTo>
                    <a:lnTo>
                      <a:pt x="265" y="196"/>
                    </a:lnTo>
                    <a:lnTo>
                      <a:pt x="269" y="196"/>
                    </a:lnTo>
                    <a:lnTo>
                      <a:pt x="277" y="199"/>
                    </a:lnTo>
                    <a:lnTo>
                      <a:pt x="279" y="199"/>
                    </a:lnTo>
                    <a:lnTo>
                      <a:pt x="284" y="199"/>
                    </a:lnTo>
                    <a:lnTo>
                      <a:pt x="284" y="199"/>
                    </a:lnTo>
                    <a:lnTo>
                      <a:pt x="286" y="199"/>
                    </a:lnTo>
                    <a:lnTo>
                      <a:pt x="288" y="199"/>
                    </a:lnTo>
                    <a:lnTo>
                      <a:pt x="291" y="203"/>
                    </a:lnTo>
                    <a:lnTo>
                      <a:pt x="293" y="206"/>
                    </a:lnTo>
                    <a:lnTo>
                      <a:pt x="298" y="206"/>
                    </a:lnTo>
                    <a:lnTo>
                      <a:pt x="305" y="208"/>
                    </a:lnTo>
                    <a:lnTo>
                      <a:pt x="310" y="208"/>
                    </a:lnTo>
                    <a:lnTo>
                      <a:pt x="314" y="208"/>
                    </a:lnTo>
                    <a:lnTo>
                      <a:pt x="319" y="210"/>
                    </a:lnTo>
                    <a:lnTo>
                      <a:pt x="322" y="213"/>
                    </a:lnTo>
                    <a:lnTo>
                      <a:pt x="329" y="215"/>
                    </a:lnTo>
                    <a:lnTo>
                      <a:pt x="331" y="213"/>
                    </a:lnTo>
                    <a:lnTo>
                      <a:pt x="336" y="213"/>
                    </a:lnTo>
                    <a:lnTo>
                      <a:pt x="340" y="213"/>
                    </a:lnTo>
                    <a:lnTo>
                      <a:pt x="343" y="215"/>
                    </a:lnTo>
                    <a:lnTo>
                      <a:pt x="348" y="218"/>
                    </a:lnTo>
                    <a:lnTo>
                      <a:pt x="348" y="218"/>
                    </a:lnTo>
                    <a:lnTo>
                      <a:pt x="350" y="218"/>
                    </a:lnTo>
                    <a:lnTo>
                      <a:pt x="352" y="218"/>
                    </a:lnTo>
                    <a:lnTo>
                      <a:pt x="352" y="215"/>
                    </a:lnTo>
                    <a:lnTo>
                      <a:pt x="352" y="215"/>
                    </a:lnTo>
                    <a:lnTo>
                      <a:pt x="355" y="215"/>
                    </a:lnTo>
                    <a:lnTo>
                      <a:pt x="357" y="213"/>
                    </a:lnTo>
                    <a:lnTo>
                      <a:pt x="357" y="213"/>
                    </a:lnTo>
                    <a:lnTo>
                      <a:pt x="362" y="210"/>
                    </a:lnTo>
                    <a:lnTo>
                      <a:pt x="369" y="206"/>
                    </a:lnTo>
                    <a:lnTo>
                      <a:pt x="371" y="206"/>
                    </a:lnTo>
                    <a:lnTo>
                      <a:pt x="371" y="206"/>
                    </a:lnTo>
                    <a:lnTo>
                      <a:pt x="374" y="203"/>
                    </a:lnTo>
                    <a:lnTo>
                      <a:pt x="376" y="203"/>
                    </a:lnTo>
                    <a:lnTo>
                      <a:pt x="376" y="203"/>
                    </a:lnTo>
                    <a:lnTo>
                      <a:pt x="381" y="203"/>
                    </a:lnTo>
                    <a:lnTo>
                      <a:pt x="383" y="203"/>
                    </a:lnTo>
                    <a:lnTo>
                      <a:pt x="390" y="201"/>
                    </a:lnTo>
                    <a:lnTo>
                      <a:pt x="392" y="201"/>
                    </a:lnTo>
                    <a:lnTo>
                      <a:pt x="395" y="201"/>
                    </a:lnTo>
                    <a:lnTo>
                      <a:pt x="397" y="201"/>
                    </a:lnTo>
                    <a:lnTo>
                      <a:pt x="400" y="201"/>
                    </a:lnTo>
                    <a:lnTo>
                      <a:pt x="404" y="201"/>
                    </a:lnTo>
                    <a:lnTo>
                      <a:pt x="407" y="201"/>
                    </a:lnTo>
                    <a:lnTo>
                      <a:pt x="409" y="201"/>
                    </a:lnTo>
                    <a:lnTo>
                      <a:pt x="414" y="201"/>
                    </a:lnTo>
                    <a:lnTo>
                      <a:pt x="416" y="201"/>
                    </a:lnTo>
                    <a:lnTo>
                      <a:pt x="418" y="201"/>
                    </a:lnTo>
                    <a:lnTo>
                      <a:pt x="421" y="199"/>
                    </a:lnTo>
                    <a:lnTo>
                      <a:pt x="423" y="199"/>
                    </a:lnTo>
                    <a:lnTo>
                      <a:pt x="423" y="196"/>
                    </a:lnTo>
                    <a:lnTo>
                      <a:pt x="428" y="196"/>
                    </a:lnTo>
                    <a:lnTo>
                      <a:pt x="428" y="194"/>
                    </a:lnTo>
                    <a:lnTo>
                      <a:pt x="430" y="194"/>
                    </a:lnTo>
                    <a:lnTo>
                      <a:pt x="433" y="194"/>
                    </a:lnTo>
                    <a:lnTo>
                      <a:pt x="433" y="192"/>
                    </a:lnTo>
                    <a:lnTo>
                      <a:pt x="433" y="192"/>
                    </a:lnTo>
                    <a:lnTo>
                      <a:pt x="433" y="192"/>
                    </a:lnTo>
                    <a:lnTo>
                      <a:pt x="433" y="189"/>
                    </a:lnTo>
                    <a:lnTo>
                      <a:pt x="435" y="187"/>
                    </a:lnTo>
                    <a:lnTo>
                      <a:pt x="435" y="187"/>
                    </a:lnTo>
                    <a:lnTo>
                      <a:pt x="435" y="184"/>
                    </a:lnTo>
                    <a:lnTo>
                      <a:pt x="435" y="184"/>
                    </a:lnTo>
                    <a:lnTo>
                      <a:pt x="437" y="182"/>
                    </a:lnTo>
                    <a:lnTo>
                      <a:pt x="437" y="182"/>
                    </a:lnTo>
                    <a:lnTo>
                      <a:pt x="440" y="182"/>
                    </a:lnTo>
                    <a:lnTo>
                      <a:pt x="442" y="180"/>
                    </a:lnTo>
                    <a:lnTo>
                      <a:pt x="445" y="180"/>
                    </a:lnTo>
                    <a:lnTo>
                      <a:pt x="445" y="180"/>
                    </a:lnTo>
                    <a:lnTo>
                      <a:pt x="445" y="177"/>
                    </a:lnTo>
                    <a:lnTo>
                      <a:pt x="447" y="177"/>
                    </a:lnTo>
                    <a:lnTo>
                      <a:pt x="447" y="175"/>
                    </a:lnTo>
                    <a:lnTo>
                      <a:pt x="449" y="175"/>
                    </a:lnTo>
                    <a:lnTo>
                      <a:pt x="449" y="175"/>
                    </a:lnTo>
                    <a:lnTo>
                      <a:pt x="449" y="173"/>
                    </a:lnTo>
                    <a:lnTo>
                      <a:pt x="447" y="173"/>
                    </a:lnTo>
                    <a:lnTo>
                      <a:pt x="447" y="170"/>
                    </a:lnTo>
                    <a:lnTo>
                      <a:pt x="445" y="170"/>
                    </a:lnTo>
                    <a:lnTo>
                      <a:pt x="442" y="168"/>
                    </a:lnTo>
                    <a:lnTo>
                      <a:pt x="440" y="165"/>
                    </a:lnTo>
                    <a:lnTo>
                      <a:pt x="437" y="165"/>
                    </a:lnTo>
                    <a:lnTo>
                      <a:pt x="435" y="163"/>
                    </a:lnTo>
                    <a:lnTo>
                      <a:pt x="435" y="161"/>
                    </a:lnTo>
                    <a:lnTo>
                      <a:pt x="433" y="161"/>
                    </a:lnTo>
                    <a:lnTo>
                      <a:pt x="433" y="161"/>
                    </a:lnTo>
                    <a:lnTo>
                      <a:pt x="433" y="158"/>
                    </a:lnTo>
                    <a:lnTo>
                      <a:pt x="433" y="156"/>
                    </a:lnTo>
                    <a:lnTo>
                      <a:pt x="433" y="154"/>
                    </a:lnTo>
                    <a:lnTo>
                      <a:pt x="433" y="151"/>
                    </a:lnTo>
                    <a:lnTo>
                      <a:pt x="433" y="149"/>
                    </a:lnTo>
                    <a:lnTo>
                      <a:pt x="433" y="149"/>
                    </a:lnTo>
                    <a:lnTo>
                      <a:pt x="435" y="144"/>
                    </a:lnTo>
                    <a:lnTo>
                      <a:pt x="437" y="144"/>
                    </a:lnTo>
                    <a:lnTo>
                      <a:pt x="437" y="144"/>
                    </a:lnTo>
                    <a:lnTo>
                      <a:pt x="442" y="144"/>
                    </a:lnTo>
                    <a:lnTo>
                      <a:pt x="442" y="144"/>
                    </a:lnTo>
                    <a:lnTo>
                      <a:pt x="445" y="147"/>
                    </a:lnTo>
                    <a:lnTo>
                      <a:pt x="447" y="149"/>
                    </a:lnTo>
                    <a:lnTo>
                      <a:pt x="449" y="151"/>
                    </a:lnTo>
                    <a:lnTo>
                      <a:pt x="456" y="151"/>
                    </a:lnTo>
                    <a:lnTo>
                      <a:pt x="459" y="151"/>
                    </a:lnTo>
                    <a:lnTo>
                      <a:pt x="461" y="151"/>
                    </a:lnTo>
                    <a:lnTo>
                      <a:pt x="463" y="154"/>
                    </a:lnTo>
                    <a:lnTo>
                      <a:pt x="463" y="154"/>
                    </a:lnTo>
                    <a:lnTo>
                      <a:pt x="466" y="154"/>
                    </a:lnTo>
                    <a:lnTo>
                      <a:pt x="468" y="154"/>
                    </a:lnTo>
                    <a:lnTo>
                      <a:pt x="468" y="151"/>
                    </a:lnTo>
                    <a:lnTo>
                      <a:pt x="471" y="151"/>
                    </a:lnTo>
                    <a:lnTo>
                      <a:pt x="471" y="149"/>
                    </a:lnTo>
                    <a:lnTo>
                      <a:pt x="471" y="149"/>
                    </a:lnTo>
                    <a:lnTo>
                      <a:pt x="473" y="149"/>
                    </a:lnTo>
                    <a:lnTo>
                      <a:pt x="473" y="144"/>
                    </a:lnTo>
                    <a:lnTo>
                      <a:pt x="473" y="144"/>
                    </a:lnTo>
                    <a:lnTo>
                      <a:pt x="475" y="142"/>
                    </a:lnTo>
                    <a:lnTo>
                      <a:pt x="475" y="142"/>
                    </a:lnTo>
                    <a:lnTo>
                      <a:pt x="475" y="139"/>
                    </a:lnTo>
                    <a:lnTo>
                      <a:pt x="475" y="139"/>
                    </a:lnTo>
                    <a:lnTo>
                      <a:pt x="475" y="139"/>
                    </a:lnTo>
                    <a:lnTo>
                      <a:pt x="478" y="137"/>
                    </a:lnTo>
                    <a:lnTo>
                      <a:pt x="478" y="137"/>
                    </a:lnTo>
                    <a:lnTo>
                      <a:pt x="482" y="139"/>
                    </a:lnTo>
                    <a:lnTo>
                      <a:pt x="485" y="139"/>
                    </a:lnTo>
                    <a:lnTo>
                      <a:pt x="487" y="137"/>
                    </a:lnTo>
                    <a:lnTo>
                      <a:pt x="489" y="137"/>
                    </a:lnTo>
                    <a:lnTo>
                      <a:pt x="492" y="137"/>
                    </a:lnTo>
                    <a:lnTo>
                      <a:pt x="494" y="137"/>
                    </a:lnTo>
                    <a:lnTo>
                      <a:pt x="494" y="135"/>
                    </a:lnTo>
                    <a:lnTo>
                      <a:pt x="497" y="132"/>
                    </a:lnTo>
                    <a:lnTo>
                      <a:pt x="497" y="132"/>
                    </a:lnTo>
                    <a:lnTo>
                      <a:pt x="499" y="132"/>
                    </a:lnTo>
                    <a:lnTo>
                      <a:pt x="499" y="130"/>
                    </a:lnTo>
                    <a:lnTo>
                      <a:pt x="499" y="130"/>
                    </a:lnTo>
                    <a:lnTo>
                      <a:pt x="499" y="130"/>
                    </a:lnTo>
                    <a:lnTo>
                      <a:pt x="499" y="128"/>
                    </a:lnTo>
                    <a:lnTo>
                      <a:pt x="499" y="128"/>
                    </a:lnTo>
                    <a:lnTo>
                      <a:pt x="499" y="123"/>
                    </a:lnTo>
                    <a:lnTo>
                      <a:pt x="499" y="123"/>
                    </a:lnTo>
                    <a:lnTo>
                      <a:pt x="499" y="120"/>
                    </a:lnTo>
                    <a:lnTo>
                      <a:pt x="499" y="120"/>
                    </a:lnTo>
                    <a:lnTo>
                      <a:pt x="501" y="118"/>
                    </a:lnTo>
                    <a:lnTo>
                      <a:pt x="501" y="118"/>
                    </a:lnTo>
                    <a:lnTo>
                      <a:pt x="501" y="118"/>
                    </a:lnTo>
                    <a:lnTo>
                      <a:pt x="504" y="118"/>
                    </a:lnTo>
                    <a:lnTo>
                      <a:pt x="506" y="118"/>
                    </a:lnTo>
                    <a:lnTo>
                      <a:pt x="508" y="118"/>
                    </a:lnTo>
                    <a:lnTo>
                      <a:pt x="511" y="118"/>
                    </a:lnTo>
                    <a:lnTo>
                      <a:pt x="511" y="118"/>
                    </a:lnTo>
                    <a:lnTo>
                      <a:pt x="511" y="118"/>
                    </a:lnTo>
                    <a:lnTo>
                      <a:pt x="511" y="116"/>
                    </a:lnTo>
                    <a:lnTo>
                      <a:pt x="511" y="116"/>
                    </a:lnTo>
                    <a:lnTo>
                      <a:pt x="511" y="113"/>
                    </a:lnTo>
                    <a:lnTo>
                      <a:pt x="511" y="113"/>
                    </a:lnTo>
                    <a:lnTo>
                      <a:pt x="513" y="113"/>
                    </a:lnTo>
                    <a:lnTo>
                      <a:pt x="513" y="113"/>
                    </a:lnTo>
                    <a:lnTo>
                      <a:pt x="515" y="116"/>
                    </a:lnTo>
                    <a:lnTo>
                      <a:pt x="515" y="116"/>
                    </a:lnTo>
                    <a:lnTo>
                      <a:pt x="518" y="116"/>
                    </a:lnTo>
                    <a:lnTo>
                      <a:pt x="518" y="113"/>
                    </a:lnTo>
                    <a:lnTo>
                      <a:pt x="520" y="111"/>
                    </a:lnTo>
                    <a:lnTo>
                      <a:pt x="523" y="111"/>
                    </a:lnTo>
                    <a:lnTo>
                      <a:pt x="525" y="111"/>
                    </a:lnTo>
                    <a:lnTo>
                      <a:pt x="525" y="111"/>
                    </a:lnTo>
                    <a:lnTo>
                      <a:pt x="530" y="111"/>
                    </a:lnTo>
                    <a:lnTo>
                      <a:pt x="530" y="111"/>
                    </a:lnTo>
                    <a:lnTo>
                      <a:pt x="532" y="111"/>
                    </a:lnTo>
                    <a:lnTo>
                      <a:pt x="532" y="111"/>
                    </a:lnTo>
                    <a:lnTo>
                      <a:pt x="532" y="111"/>
                    </a:lnTo>
                    <a:lnTo>
                      <a:pt x="534" y="111"/>
                    </a:lnTo>
                    <a:lnTo>
                      <a:pt x="537" y="111"/>
                    </a:lnTo>
                    <a:lnTo>
                      <a:pt x="539" y="113"/>
                    </a:lnTo>
                    <a:lnTo>
                      <a:pt x="542" y="113"/>
                    </a:lnTo>
                    <a:lnTo>
                      <a:pt x="544" y="113"/>
                    </a:lnTo>
                    <a:lnTo>
                      <a:pt x="546" y="113"/>
                    </a:lnTo>
                    <a:lnTo>
                      <a:pt x="549" y="113"/>
                    </a:lnTo>
                    <a:lnTo>
                      <a:pt x="549" y="113"/>
                    </a:lnTo>
                    <a:lnTo>
                      <a:pt x="551" y="111"/>
                    </a:lnTo>
                    <a:lnTo>
                      <a:pt x="551" y="111"/>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92"/>
              <p:cNvSpPr>
                <a:spLocks/>
              </p:cNvSpPr>
              <p:nvPr/>
            </p:nvSpPr>
            <p:spPr bwMode="auto">
              <a:xfrm>
                <a:off x="2893" y="1877"/>
                <a:ext cx="0" cy="2"/>
              </a:xfrm>
              <a:custGeom>
                <a:avLst/>
                <a:gdLst>
                  <a:gd name="T0" fmla="*/ 0 h 2"/>
                  <a:gd name="T1" fmla="*/ 0 h 2"/>
                  <a:gd name="T2" fmla="*/ 0 h 2"/>
                  <a:gd name="T3" fmla="*/ 0 h 2"/>
                  <a:gd name="T4" fmla="*/ 2 h 2"/>
                  <a:gd name="T5" fmla="*/ 0 h 2"/>
                  <a:gd name="T6" fmla="*/ 0 h 2"/>
                </a:gdLst>
                <a:ahLst/>
                <a:cxnLst>
                  <a:cxn ang="0">
                    <a:pos x="0" y="T0"/>
                  </a:cxn>
                  <a:cxn ang="0">
                    <a:pos x="0" y="T1"/>
                  </a:cxn>
                  <a:cxn ang="0">
                    <a:pos x="0" y="T2"/>
                  </a:cxn>
                  <a:cxn ang="0">
                    <a:pos x="0" y="T3"/>
                  </a:cxn>
                  <a:cxn ang="0">
                    <a:pos x="0" y="T4"/>
                  </a:cxn>
                  <a:cxn ang="0">
                    <a:pos x="0" y="T5"/>
                  </a:cxn>
                  <a:cxn ang="0">
                    <a:pos x="0" y="T6"/>
                  </a:cxn>
                </a:cxnLst>
                <a:rect l="0" t="0" r="r" b="b"/>
                <a:pathLst>
                  <a:path h="2">
                    <a:moveTo>
                      <a:pt x="0" y="0"/>
                    </a:moveTo>
                    <a:lnTo>
                      <a:pt x="0" y="0"/>
                    </a:lnTo>
                    <a:lnTo>
                      <a:pt x="0" y="0"/>
                    </a:lnTo>
                    <a:lnTo>
                      <a:pt x="0" y="0"/>
                    </a:lnTo>
                    <a:lnTo>
                      <a:pt x="0" y="2"/>
                    </a:lnTo>
                    <a:lnTo>
                      <a:pt x="0" y="0"/>
                    </a:lnTo>
                    <a:lnTo>
                      <a:pt x="0" y="0"/>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93"/>
              <p:cNvSpPr>
                <a:spLocks/>
              </p:cNvSpPr>
              <p:nvPr/>
            </p:nvSpPr>
            <p:spPr bwMode="auto">
              <a:xfrm>
                <a:off x="3210" y="1779"/>
                <a:ext cx="61" cy="62"/>
              </a:xfrm>
              <a:custGeom>
                <a:avLst/>
                <a:gdLst>
                  <a:gd name="T0" fmla="*/ 57 w 61"/>
                  <a:gd name="T1" fmla="*/ 36 h 62"/>
                  <a:gd name="T2" fmla="*/ 54 w 61"/>
                  <a:gd name="T3" fmla="*/ 34 h 62"/>
                  <a:gd name="T4" fmla="*/ 50 w 61"/>
                  <a:gd name="T5" fmla="*/ 31 h 62"/>
                  <a:gd name="T6" fmla="*/ 50 w 61"/>
                  <a:gd name="T7" fmla="*/ 27 h 62"/>
                  <a:gd name="T8" fmla="*/ 50 w 61"/>
                  <a:gd name="T9" fmla="*/ 24 h 62"/>
                  <a:gd name="T10" fmla="*/ 47 w 61"/>
                  <a:gd name="T11" fmla="*/ 24 h 62"/>
                  <a:gd name="T12" fmla="*/ 42 w 61"/>
                  <a:gd name="T13" fmla="*/ 22 h 62"/>
                  <a:gd name="T14" fmla="*/ 42 w 61"/>
                  <a:gd name="T15" fmla="*/ 17 h 62"/>
                  <a:gd name="T16" fmla="*/ 42 w 61"/>
                  <a:gd name="T17" fmla="*/ 15 h 62"/>
                  <a:gd name="T18" fmla="*/ 40 w 61"/>
                  <a:gd name="T19" fmla="*/ 10 h 62"/>
                  <a:gd name="T20" fmla="*/ 38 w 61"/>
                  <a:gd name="T21" fmla="*/ 10 h 62"/>
                  <a:gd name="T22" fmla="*/ 33 w 61"/>
                  <a:gd name="T23" fmla="*/ 5 h 62"/>
                  <a:gd name="T24" fmla="*/ 31 w 61"/>
                  <a:gd name="T25" fmla="*/ 8 h 62"/>
                  <a:gd name="T26" fmla="*/ 28 w 61"/>
                  <a:gd name="T27" fmla="*/ 5 h 62"/>
                  <a:gd name="T28" fmla="*/ 28 w 61"/>
                  <a:gd name="T29" fmla="*/ 5 h 62"/>
                  <a:gd name="T30" fmla="*/ 24 w 61"/>
                  <a:gd name="T31" fmla="*/ 3 h 62"/>
                  <a:gd name="T32" fmla="*/ 21 w 61"/>
                  <a:gd name="T33" fmla="*/ 3 h 62"/>
                  <a:gd name="T34" fmla="*/ 14 w 61"/>
                  <a:gd name="T35" fmla="*/ 0 h 62"/>
                  <a:gd name="T36" fmla="*/ 14 w 61"/>
                  <a:gd name="T37" fmla="*/ 0 h 62"/>
                  <a:gd name="T38" fmla="*/ 9 w 61"/>
                  <a:gd name="T39" fmla="*/ 3 h 62"/>
                  <a:gd name="T40" fmla="*/ 2 w 61"/>
                  <a:gd name="T41" fmla="*/ 0 h 62"/>
                  <a:gd name="T42" fmla="*/ 2 w 61"/>
                  <a:gd name="T43" fmla="*/ 3 h 62"/>
                  <a:gd name="T44" fmla="*/ 7 w 61"/>
                  <a:gd name="T45" fmla="*/ 5 h 62"/>
                  <a:gd name="T46" fmla="*/ 9 w 61"/>
                  <a:gd name="T47" fmla="*/ 10 h 62"/>
                  <a:gd name="T48" fmla="*/ 12 w 61"/>
                  <a:gd name="T49" fmla="*/ 15 h 62"/>
                  <a:gd name="T50" fmla="*/ 14 w 61"/>
                  <a:gd name="T51" fmla="*/ 19 h 62"/>
                  <a:gd name="T52" fmla="*/ 19 w 61"/>
                  <a:gd name="T53" fmla="*/ 24 h 62"/>
                  <a:gd name="T54" fmla="*/ 21 w 61"/>
                  <a:gd name="T55" fmla="*/ 27 h 62"/>
                  <a:gd name="T56" fmla="*/ 28 w 61"/>
                  <a:gd name="T57" fmla="*/ 34 h 62"/>
                  <a:gd name="T58" fmla="*/ 28 w 61"/>
                  <a:gd name="T59" fmla="*/ 41 h 62"/>
                  <a:gd name="T60" fmla="*/ 28 w 61"/>
                  <a:gd name="T61" fmla="*/ 48 h 62"/>
                  <a:gd name="T62" fmla="*/ 28 w 61"/>
                  <a:gd name="T63" fmla="*/ 55 h 62"/>
                  <a:gd name="T64" fmla="*/ 31 w 61"/>
                  <a:gd name="T65" fmla="*/ 57 h 62"/>
                  <a:gd name="T66" fmla="*/ 28 w 61"/>
                  <a:gd name="T67" fmla="*/ 60 h 62"/>
                  <a:gd name="T68" fmla="*/ 31 w 61"/>
                  <a:gd name="T69" fmla="*/ 62 h 62"/>
                  <a:gd name="T70" fmla="*/ 35 w 61"/>
                  <a:gd name="T71" fmla="*/ 62 h 62"/>
                  <a:gd name="T72" fmla="*/ 35 w 61"/>
                  <a:gd name="T73" fmla="*/ 60 h 62"/>
                  <a:gd name="T74" fmla="*/ 35 w 61"/>
                  <a:gd name="T75" fmla="*/ 57 h 62"/>
                  <a:gd name="T76" fmla="*/ 38 w 61"/>
                  <a:gd name="T77" fmla="*/ 53 h 62"/>
                  <a:gd name="T78" fmla="*/ 42 w 61"/>
                  <a:gd name="T79" fmla="*/ 48 h 62"/>
                  <a:gd name="T80" fmla="*/ 40 w 61"/>
                  <a:gd name="T81" fmla="*/ 43 h 62"/>
                  <a:gd name="T82" fmla="*/ 42 w 61"/>
                  <a:gd name="T83" fmla="*/ 41 h 62"/>
                  <a:gd name="T84" fmla="*/ 45 w 61"/>
                  <a:gd name="T85" fmla="*/ 41 h 62"/>
                  <a:gd name="T86" fmla="*/ 47 w 61"/>
                  <a:gd name="T87" fmla="*/ 43 h 62"/>
                  <a:gd name="T88" fmla="*/ 50 w 61"/>
                  <a:gd name="T89" fmla="*/ 41 h 62"/>
                  <a:gd name="T90" fmla="*/ 50 w 61"/>
                  <a:gd name="T91" fmla="*/ 41 h 62"/>
                  <a:gd name="T92" fmla="*/ 54 w 61"/>
                  <a:gd name="T93" fmla="*/ 43 h 62"/>
                  <a:gd name="T94" fmla="*/ 57 w 61"/>
                  <a:gd name="T95" fmla="*/ 43 h 62"/>
                  <a:gd name="T96" fmla="*/ 61 w 61"/>
                  <a:gd name="T97" fmla="*/ 4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1" h="62">
                    <a:moveTo>
                      <a:pt x="57" y="41"/>
                    </a:moveTo>
                    <a:lnTo>
                      <a:pt x="57" y="38"/>
                    </a:lnTo>
                    <a:lnTo>
                      <a:pt x="57" y="36"/>
                    </a:lnTo>
                    <a:lnTo>
                      <a:pt x="57" y="34"/>
                    </a:lnTo>
                    <a:lnTo>
                      <a:pt x="57" y="34"/>
                    </a:lnTo>
                    <a:lnTo>
                      <a:pt x="54" y="34"/>
                    </a:lnTo>
                    <a:lnTo>
                      <a:pt x="52" y="31"/>
                    </a:lnTo>
                    <a:lnTo>
                      <a:pt x="50" y="31"/>
                    </a:lnTo>
                    <a:lnTo>
                      <a:pt x="50" y="31"/>
                    </a:lnTo>
                    <a:lnTo>
                      <a:pt x="50" y="29"/>
                    </a:lnTo>
                    <a:lnTo>
                      <a:pt x="50" y="29"/>
                    </a:lnTo>
                    <a:lnTo>
                      <a:pt x="50" y="27"/>
                    </a:lnTo>
                    <a:lnTo>
                      <a:pt x="50" y="27"/>
                    </a:lnTo>
                    <a:lnTo>
                      <a:pt x="50" y="24"/>
                    </a:lnTo>
                    <a:lnTo>
                      <a:pt x="50" y="24"/>
                    </a:lnTo>
                    <a:lnTo>
                      <a:pt x="50" y="24"/>
                    </a:lnTo>
                    <a:lnTo>
                      <a:pt x="47" y="24"/>
                    </a:lnTo>
                    <a:lnTo>
                      <a:pt x="47" y="24"/>
                    </a:lnTo>
                    <a:lnTo>
                      <a:pt x="45" y="22"/>
                    </a:lnTo>
                    <a:lnTo>
                      <a:pt x="42" y="22"/>
                    </a:lnTo>
                    <a:lnTo>
                      <a:pt x="42" y="22"/>
                    </a:lnTo>
                    <a:lnTo>
                      <a:pt x="42" y="19"/>
                    </a:lnTo>
                    <a:lnTo>
                      <a:pt x="42" y="19"/>
                    </a:lnTo>
                    <a:lnTo>
                      <a:pt x="42" y="17"/>
                    </a:lnTo>
                    <a:lnTo>
                      <a:pt x="42" y="17"/>
                    </a:lnTo>
                    <a:lnTo>
                      <a:pt x="42" y="15"/>
                    </a:lnTo>
                    <a:lnTo>
                      <a:pt x="42" y="15"/>
                    </a:lnTo>
                    <a:lnTo>
                      <a:pt x="42" y="12"/>
                    </a:lnTo>
                    <a:lnTo>
                      <a:pt x="42" y="10"/>
                    </a:lnTo>
                    <a:lnTo>
                      <a:pt x="40" y="10"/>
                    </a:lnTo>
                    <a:lnTo>
                      <a:pt x="40" y="10"/>
                    </a:lnTo>
                    <a:lnTo>
                      <a:pt x="40" y="10"/>
                    </a:lnTo>
                    <a:lnTo>
                      <a:pt x="38" y="10"/>
                    </a:lnTo>
                    <a:lnTo>
                      <a:pt x="38" y="10"/>
                    </a:lnTo>
                    <a:lnTo>
                      <a:pt x="35" y="8"/>
                    </a:lnTo>
                    <a:lnTo>
                      <a:pt x="33" y="5"/>
                    </a:lnTo>
                    <a:lnTo>
                      <a:pt x="31" y="5"/>
                    </a:lnTo>
                    <a:lnTo>
                      <a:pt x="31" y="8"/>
                    </a:lnTo>
                    <a:lnTo>
                      <a:pt x="31" y="8"/>
                    </a:lnTo>
                    <a:lnTo>
                      <a:pt x="31" y="5"/>
                    </a:lnTo>
                    <a:lnTo>
                      <a:pt x="28" y="5"/>
                    </a:lnTo>
                    <a:lnTo>
                      <a:pt x="28" y="5"/>
                    </a:lnTo>
                    <a:lnTo>
                      <a:pt x="28" y="5"/>
                    </a:lnTo>
                    <a:lnTo>
                      <a:pt x="28" y="5"/>
                    </a:lnTo>
                    <a:lnTo>
                      <a:pt x="28" y="5"/>
                    </a:lnTo>
                    <a:lnTo>
                      <a:pt x="26" y="5"/>
                    </a:lnTo>
                    <a:lnTo>
                      <a:pt x="24" y="5"/>
                    </a:lnTo>
                    <a:lnTo>
                      <a:pt x="24" y="3"/>
                    </a:lnTo>
                    <a:lnTo>
                      <a:pt x="24" y="3"/>
                    </a:lnTo>
                    <a:lnTo>
                      <a:pt x="21" y="3"/>
                    </a:lnTo>
                    <a:lnTo>
                      <a:pt x="21" y="3"/>
                    </a:lnTo>
                    <a:lnTo>
                      <a:pt x="19" y="0"/>
                    </a:lnTo>
                    <a:lnTo>
                      <a:pt x="16" y="0"/>
                    </a:lnTo>
                    <a:lnTo>
                      <a:pt x="14" y="0"/>
                    </a:lnTo>
                    <a:lnTo>
                      <a:pt x="14" y="0"/>
                    </a:lnTo>
                    <a:lnTo>
                      <a:pt x="14" y="0"/>
                    </a:lnTo>
                    <a:lnTo>
                      <a:pt x="14" y="0"/>
                    </a:lnTo>
                    <a:lnTo>
                      <a:pt x="12" y="0"/>
                    </a:lnTo>
                    <a:lnTo>
                      <a:pt x="12" y="0"/>
                    </a:lnTo>
                    <a:lnTo>
                      <a:pt x="9" y="3"/>
                    </a:lnTo>
                    <a:lnTo>
                      <a:pt x="7" y="3"/>
                    </a:lnTo>
                    <a:lnTo>
                      <a:pt x="5" y="3"/>
                    </a:lnTo>
                    <a:lnTo>
                      <a:pt x="2" y="0"/>
                    </a:lnTo>
                    <a:lnTo>
                      <a:pt x="0" y="3"/>
                    </a:lnTo>
                    <a:lnTo>
                      <a:pt x="0" y="3"/>
                    </a:lnTo>
                    <a:lnTo>
                      <a:pt x="2" y="3"/>
                    </a:lnTo>
                    <a:lnTo>
                      <a:pt x="2" y="5"/>
                    </a:lnTo>
                    <a:lnTo>
                      <a:pt x="5" y="5"/>
                    </a:lnTo>
                    <a:lnTo>
                      <a:pt x="7" y="5"/>
                    </a:lnTo>
                    <a:lnTo>
                      <a:pt x="7" y="8"/>
                    </a:lnTo>
                    <a:lnTo>
                      <a:pt x="7" y="8"/>
                    </a:lnTo>
                    <a:lnTo>
                      <a:pt x="9" y="10"/>
                    </a:lnTo>
                    <a:lnTo>
                      <a:pt x="9" y="12"/>
                    </a:lnTo>
                    <a:lnTo>
                      <a:pt x="12" y="15"/>
                    </a:lnTo>
                    <a:lnTo>
                      <a:pt x="12" y="15"/>
                    </a:lnTo>
                    <a:lnTo>
                      <a:pt x="12" y="17"/>
                    </a:lnTo>
                    <a:lnTo>
                      <a:pt x="14" y="19"/>
                    </a:lnTo>
                    <a:lnTo>
                      <a:pt x="14" y="19"/>
                    </a:lnTo>
                    <a:lnTo>
                      <a:pt x="16" y="19"/>
                    </a:lnTo>
                    <a:lnTo>
                      <a:pt x="19" y="24"/>
                    </a:lnTo>
                    <a:lnTo>
                      <a:pt x="19" y="24"/>
                    </a:lnTo>
                    <a:lnTo>
                      <a:pt x="21" y="27"/>
                    </a:lnTo>
                    <a:lnTo>
                      <a:pt x="21" y="27"/>
                    </a:lnTo>
                    <a:lnTo>
                      <a:pt x="21" y="27"/>
                    </a:lnTo>
                    <a:lnTo>
                      <a:pt x="24" y="29"/>
                    </a:lnTo>
                    <a:lnTo>
                      <a:pt x="26" y="31"/>
                    </a:lnTo>
                    <a:lnTo>
                      <a:pt x="28" y="34"/>
                    </a:lnTo>
                    <a:lnTo>
                      <a:pt x="28" y="36"/>
                    </a:lnTo>
                    <a:lnTo>
                      <a:pt x="28" y="38"/>
                    </a:lnTo>
                    <a:lnTo>
                      <a:pt x="28" y="41"/>
                    </a:lnTo>
                    <a:lnTo>
                      <a:pt x="31" y="41"/>
                    </a:lnTo>
                    <a:lnTo>
                      <a:pt x="28" y="43"/>
                    </a:lnTo>
                    <a:lnTo>
                      <a:pt x="28" y="48"/>
                    </a:lnTo>
                    <a:lnTo>
                      <a:pt x="28" y="50"/>
                    </a:lnTo>
                    <a:lnTo>
                      <a:pt x="28" y="53"/>
                    </a:lnTo>
                    <a:lnTo>
                      <a:pt x="28" y="55"/>
                    </a:lnTo>
                    <a:lnTo>
                      <a:pt x="28" y="55"/>
                    </a:lnTo>
                    <a:lnTo>
                      <a:pt x="28" y="57"/>
                    </a:lnTo>
                    <a:lnTo>
                      <a:pt x="31" y="57"/>
                    </a:lnTo>
                    <a:lnTo>
                      <a:pt x="28" y="57"/>
                    </a:lnTo>
                    <a:lnTo>
                      <a:pt x="28" y="60"/>
                    </a:lnTo>
                    <a:lnTo>
                      <a:pt x="28" y="60"/>
                    </a:lnTo>
                    <a:lnTo>
                      <a:pt x="28" y="60"/>
                    </a:lnTo>
                    <a:lnTo>
                      <a:pt x="31" y="60"/>
                    </a:lnTo>
                    <a:lnTo>
                      <a:pt x="31" y="62"/>
                    </a:lnTo>
                    <a:lnTo>
                      <a:pt x="31" y="62"/>
                    </a:lnTo>
                    <a:lnTo>
                      <a:pt x="33" y="62"/>
                    </a:lnTo>
                    <a:lnTo>
                      <a:pt x="35" y="62"/>
                    </a:lnTo>
                    <a:lnTo>
                      <a:pt x="35" y="60"/>
                    </a:lnTo>
                    <a:lnTo>
                      <a:pt x="35" y="60"/>
                    </a:lnTo>
                    <a:lnTo>
                      <a:pt x="35" y="60"/>
                    </a:lnTo>
                    <a:lnTo>
                      <a:pt x="35" y="60"/>
                    </a:lnTo>
                    <a:lnTo>
                      <a:pt x="35" y="57"/>
                    </a:lnTo>
                    <a:lnTo>
                      <a:pt x="35" y="57"/>
                    </a:lnTo>
                    <a:lnTo>
                      <a:pt x="38" y="55"/>
                    </a:lnTo>
                    <a:lnTo>
                      <a:pt x="38" y="55"/>
                    </a:lnTo>
                    <a:lnTo>
                      <a:pt x="38" y="53"/>
                    </a:lnTo>
                    <a:lnTo>
                      <a:pt x="40" y="50"/>
                    </a:lnTo>
                    <a:lnTo>
                      <a:pt x="42" y="50"/>
                    </a:lnTo>
                    <a:lnTo>
                      <a:pt x="42" y="48"/>
                    </a:lnTo>
                    <a:lnTo>
                      <a:pt x="42" y="48"/>
                    </a:lnTo>
                    <a:lnTo>
                      <a:pt x="42" y="45"/>
                    </a:lnTo>
                    <a:lnTo>
                      <a:pt x="40" y="43"/>
                    </a:lnTo>
                    <a:lnTo>
                      <a:pt x="40" y="43"/>
                    </a:lnTo>
                    <a:lnTo>
                      <a:pt x="42" y="41"/>
                    </a:lnTo>
                    <a:lnTo>
                      <a:pt x="42" y="41"/>
                    </a:lnTo>
                    <a:lnTo>
                      <a:pt x="45" y="41"/>
                    </a:lnTo>
                    <a:lnTo>
                      <a:pt x="45" y="41"/>
                    </a:lnTo>
                    <a:lnTo>
                      <a:pt x="45" y="41"/>
                    </a:lnTo>
                    <a:lnTo>
                      <a:pt x="45" y="43"/>
                    </a:lnTo>
                    <a:lnTo>
                      <a:pt x="45" y="43"/>
                    </a:lnTo>
                    <a:lnTo>
                      <a:pt x="47" y="43"/>
                    </a:lnTo>
                    <a:lnTo>
                      <a:pt x="47" y="41"/>
                    </a:lnTo>
                    <a:lnTo>
                      <a:pt x="47" y="41"/>
                    </a:lnTo>
                    <a:lnTo>
                      <a:pt x="50" y="41"/>
                    </a:lnTo>
                    <a:lnTo>
                      <a:pt x="50" y="41"/>
                    </a:lnTo>
                    <a:lnTo>
                      <a:pt x="50" y="41"/>
                    </a:lnTo>
                    <a:lnTo>
                      <a:pt x="50" y="41"/>
                    </a:lnTo>
                    <a:lnTo>
                      <a:pt x="52" y="43"/>
                    </a:lnTo>
                    <a:lnTo>
                      <a:pt x="52" y="43"/>
                    </a:lnTo>
                    <a:lnTo>
                      <a:pt x="54" y="43"/>
                    </a:lnTo>
                    <a:lnTo>
                      <a:pt x="54" y="41"/>
                    </a:lnTo>
                    <a:lnTo>
                      <a:pt x="54" y="41"/>
                    </a:lnTo>
                    <a:lnTo>
                      <a:pt x="57" y="43"/>
                    </a:lnTo>
                    <a:lnTo>
                      <a:pt x="57" y="43"/>
                    </a:lnTo>
                    <a:lnTo>
                      <a:pt x="59" y="43"/>
                    </a:lnTo>
                    <a:lnTo>
                      <a:pt x="61" y="43"/>
                    </a:lnTo>
                    <a:lnTo>
                      <a:pt x="61" y="43"/>
                    </a:lnTo>
                    <a:lnTo>
                      <a:pt x="57" y="41"/>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94"/>
              <p:cNvSpPr>
                <a:spLocks noEditPoints="1"/>
              </p:cNvSpPr>
              <p:nvPr/>
            </p:nvSpPr>
            <p:spPr bwMode="auto">
              <a:xfrm>
                <a:off x="629" y="2109"/>
                <a:ext cx="537" cy="383"/>
              </a:xfrm>
              <a:custGeom>
                <a:avLst/>
                <a:gdLst>
                  <a:gd name="T0" fmla="*/ 535 w 537"/>
                  <a:gd name="T1" fmla="*/ 258 h 383"/>
                  <a:gd name="T2" fmla="*/ 175 w 537"/>
                  <a:gd name="T3" fmla="*/ 236 h 383"/>
                  <a:gd name="T4" fmla="*/ 92 w 537"/>
                  <a:gd name="T5" fmla="*/ 172 h 383"/>
                  <a:gd name="T6" fmla="*/ 90 w 537"/>
                  <a:gd name="T7" fmla="*/ 158 h 383"/>
                  <a:gd name="T8" fmla="*/ 114 w 537"/>
                  <a:gd name="T9" fmla="*/ 142 h 383"/>
                  <a:gd name="T10" fmla="*/ 0 w 537"/>
                  <a:gd name="T11" fmla="*/ 73 h 383"/>
                  <a:gd name="T12" fmla="*/ 111 w 537"/>
                  <a:gd name="T13" fmla="*/ 75 h 383"/>
                  <a:gd name="T14" fmla="*/ 92 w 537"/>
                  <a:gd name="T15" fmla="*/ 68 h 383"/>
                  <a:gd name="T16" fmla="*/ 528 w 537"/>
                  <a:gd name="T17" fmla="*/ 234 h 383"/>
                  <a:gd name="T18" fmla="*/ 511 w 537"/>
                  <a:gd name="T19" fmla="*/ 234 h 383"/>
                  <a:gd name="T20" fmla="*/ 464 w 537"/>
                  <a:gd name="T21" fmla="*/ 267 h 383"/>
                  <a:gd name="T22" fmla="*/ 445 w 537"/>
                  <a:gd name="T23" fmla="*/ 293 h 383"/>
                  <a:gd name="T24" fmla="*/ 424 w 537"/>
                  <a:gd name="T25" fmla="*/ 296 h 383"/>
                  <a:gd name="T26" fmla="*/ 376 w 537"/>
                  <a:gd name="T27" fmla="*/ 298 h 383"/>
                  <a:gd name="T28" fmla="*/ 360 w 537"/>
                  <a:gd name="T29" fmla="*/ 286 h 383"/>
                  <a:gd name="T30" fmla="*/ 338 w 537"/>
                  <a:gd name="T31" fmla="*/ 225 h 383"/>
                  <a:gd name="T32" fmla="*/ 338 w 537"/>
                  <a:gd name="T33" fmla="*/ 215 h 383"/>
                  <a:gd name="T34" fmla="*/ 364 w 537"/>
                  <a:gd name="T35" fmla="*/ 142 h 383"/>
                  <a:gd name="T36" fmla="*/ 336 w 537"/>
                  <a:gd name="T37" fmla="*/ 132 h 383"/>
                  <a:gd name="T38" fmla="*/ 331 w 537"/>
                  <a:gd name="T39" fmla="*/ 111 h 383"/>
                  <a:gd name="T40" fmla="*/ 317 w 537"/>
                  <a:gd name="T41" fmla="*/ 73 h 383"/>
                  <a:gd name="T42" fmla="*/ 296 w 537"/>
                  <a:gd name="T43" fmla="*/ 59 h 383"/>
                  <a:gd name="T44" fmla="*/ 265 w 537"/>
                  <a:gd name="T45" fmla="*/ 73 h 383"/>
                  <a:gd name="T46" fmla="*/ 244 w 537"/>
                  <a:gd name="T47" fmla="*/ 35 h 383"/>
                  <a:gd name="T48" fmla="*/ 201 w 537"/>
                  <a:gd name="T49" fmla="*/ 19 h 383"/>
                  <a:gd name="T50" fmla="*/ 118 w 537"/>
                  <a:gd name="T51" fmla="*/ 16 h 383"/>
                  <a:gd name="T52" fmla="*/ 50 w 537"/>
                  <a:gd name="T53" fmla="*/ 7 h 383"/>
                  <a:gd name="T54" fmla="*/ 52 w 537"/>
                  <a:gd name="T55" fmla="*/ 38 h 383"/>
                  <a:gd name="T56" fmla="*/ 64 w 537"/>
                  <a:gd name="T57" fmla="*/ 73 h 383"/>
                  <a:gd name="T58" fmla="*/ 64 w 537"/>
                  <a:gd name="T59" fmla="*/ 104 h 383"/>
                  <a:gd name="T60" fmla="*/ 62 w 537"/>
                  <a:gd name="T61" fmla="*/ 118 h 383"/>
                  <a:gd name="T62" fmla="*/ 85 w 537"/>
                  <a:gd name="T63" fmla="*/ 135 h 383"/>
                  <a:gd name="T64" fmla="*/ 92 w 537"/>
                  <a:gd name="T65" fmla="*/ 172 h 383"/>
                  <a:gd name="T66" fmla="*/ 121 w 537"/>
                  <a:gd name="T67" fmla="*/ 206 h 383"/>
                  <a:gd name="T68" fmla="*/ 118 w 537"/>
                  <a:gd name="T69" fmla="*/ 177 h 383"/>
                  <a:gd name="T70" fmla="*/ 111 w 537"/>
                  <a:gd name="T71" fmla="*/ 161 h 383"/>
                  <a:gd name="T72" fmla="*/ 104 w 537"/>
                  <a:gd name="T73" fmla="*/ 127 h 383"/>
                  <a:gd name="T74" fmla="*/ 95 w 537"/>
                  <a:gd name="T75" fmla="*/ 99 h 383"/>
                  <a:gd name="T76" fmla="*/ 88 w 537"/>
                  <a:gd name="T77" fmla="*/ 78 h 383"/>
                  <a:gd name="T78" fmla="*/ 78 w 537"/>
                  <a:gd name="T79" fmla="*/ 33 h 383"/>
                  <a:gd name="T80" fmla="*/ 102 w 537"/>
                  <a:gd name="T81" fmla="*/ 23 h 383"/>
                  <a:gd name="T82" fmla="*/ 107 w 537"/>
                  <a:gd name="T83" fmla="*/ 42 h 383"/>
                  <a:gd name="T84" fmla="*/ 114 w 537"/>
                  <a:gd name="T85" fmla="*/ 80 h 383"/>
                  <a:gd name="T86" fmla="*/ 130 w 537"/>
                  <a:gd name="T87" fmla="*/ 106 h 383"/>
                  <a:gd name="T88" fmla="*/ 149 w 537"/>
                  <a:gd name="T89" fmla="*/ 132 h 383"/>
                  <a:gd name="T90" fmla="*/ 151 w 537"/>
                  <a:gd name="T91" fmla="*/ 149 h 383"/>
                  <a:gd name="T92" fmla="*/ 163 w 537"/>
                  <a:gd name="T93" fmla="*/ 163 h 383"/>
                  <a:gd name="T94" fmla="*/ 170 w 537"/>
                  <a:gd name="T95" fmla="*/ 175 h 383"/>
                  <a:gd name="T96" fmla="*/ 196 w 537"/>
                  <a:gd name="T97" fmla="*/ 229 h 383"/>
                  <a:gd name="T98" fmla="*/ 196 w 537"/>
                  <a:gd name="T99" fmla="*/ 255 h 383"/>
                  <a:gd name="T100" fmla="*/ 213 w 537"/>
                  <a:gd name="T101" fmla="*/ 291 h 383"/>
                  <a:gd name="T102" fmla="*/ 260 w 537"/>
                  <a:gd name="T103" fmla="*/ 324 h 383"/>
                  <a:gd name="T104" fmla="*/ 341 w 537"/>
                  <a:gd name="T105" fmla="*/ 360 h 383"/>
                  <a:gd name="T106" fmla="*/ 374 w 537"/>
                  <a:gd name="T107" fmla="*/ 345 h 383"/>
                  <a:gd name="T108" fmla="*/ 381 w 537"/>
                  <a:gd name="T109" fmla="*/ 348 h 383"/>
                  <a:gd name="T110" fmla="*/ 416 w 537"/>
                  <a:gd name="T111" fmla="*/ 381 h 383"/>
                  <a:gd name="T112" fmla="*/ 435 w 537"/>
                  <a:gd name="T113" fmla="*/ 352 h 383"/>
                  <a:gd name="T114" fmla="*/ 450 w 537"/>
                  <a:gd name="T115" fmla="*/ 336 h 383"/>
                  <a:gd name="T116" fmla="*/ 483 w 537"/>
                  <a:gd name="T117" fmla="*/ 315 h 383"/>
                  <a:gd name="T118" fmla="*/ 502 w 537"/>
                  <a:gd name="T119" fmla="*/ 296 h 383"/>
                  <a:gd name="T120" fmla="*/ 518 w 537"/>
                  <a:gd name="T121" fmla="*/ 284 h 383"/>
                  <a:gd name="T122" fmla="*/ 516 w 537"/>
                  <a:gd name="T123" fmla="*/ 277 h 383"/>
                  <a:gd name="T124" fmla="*/ 535 w 537"/>
                  <a:gd name="T125" fmla="*/ 241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37" h="383">
                    <a:moveTo>
                      <a:pt x="438" y="296"/>
                    </a:moveTo>
                    <a:lnTo>
                      <a:pt x="440" y="296"/>
                    </a:lnTo>
                    <a:lnTo>
                      <a:pt x="442" y="296"/>
                    </a:lnTo>
                    <a:lnTo>
                      <a:pt x="440" y="293"/>
                    </a:lnTo>
                    <a:lnTo>
                      <a:pt x="440" y="293"/>
                    </a:lnTo>
                    <a:lnTo>
                      <a:pt x="435" y="296"/>
                    </a:lnTo>
                    <a:lnTo>
                      <a:pt x="435" y="296"/>
                    </a:lnTo>
                    <a:lnTo>
                      <a:pt x="438" y="296"/>
                    </a:lnTo>
                    <a:close/>
                    <a:moveTo>
                      <a:pt x="532" y="255"/>
                    </a:moveTo>
                    <a:lnTo>
                      <a:pt x="532" y="258"/>
                    </a:lnTo>
                    <a:lnTo>
                      <a:pt x="530" y="258"/>
                    </a:lnTo>
                    <a:lnTo>
                      <a:pt x="530" y="260"/>
                    </a:lnTo>
                    <a:lnTo>
                      <a:pt x="530" y="262"/>
                    </a:lnTo>
                    <a:lnTo>
                      <a:pt x="530" y="262"/>
                    </a:lnTo>
                    <a:lnTo>
                      <a:pt x="532" y="258"/>
                    </a:lnTo>
                    <a:lnTo>
                      <a:pt x="535" y="258"/>
                    </a:lnTo>
                    <a:lnTo>
                      <a:pt x="535" y="255"/>
                    </a:lnTo>
                    <a:lnTo>
                      <a:pt x="532" y="255"/>
                    </a:lnTo>
                    <a:close/>
                    <a:moveTo>
                      <a:pt x="537" y="241"/>
                    </a:moveTo>
                    <a:lnTo>
                      <a:pt x="537" y="241"/>
                    </a:lnTo>
                    <a:lnTo>
                      <a:pt x="537" y="241"/>
                    </a:lnTo>
                    <a:lnTo>
                      <a:pt x="537" y="241"/>
                    </a:lnTo>
                    <a:lnTo>
                      <a:pt x="537" y="241"/>
                    </a:lnTo>
                    <a:lnTo>
                      <a:pt x="537" y="244"/>
                    </a:lnTo>
                    <a:lnTo>
                      <a:pt x="537" y="244"/>
                    </a:lnTo>
                    <a:lnTo>
                      <a:pt x="537" y="241"/>
                    </a:lnTo>
                    <a:close/>
                    <a:moveTo>
                      <a:pt x="178" y="234"/>
                    </a:moveTo>
                    <a:lnTo>
                      <a:pt x="175" y="232"/>
                    </a:lnTo>
                    <a:lnTo>
                      <a:pt x="175" y="232"/>
                    </a:lnTo>
                    <a:lnTo>
                      <a:pt x="175" y="234"/>
                    </a:lnTo>
                    <a:lnTo>
                      <a:pt x="175" y="236"/>
                    </a:lnTo>
                    <a:lnTo>
                      <a:pt x="175" y="236"/>
                    </a:lnTo>
                    <a:lnTo>
                      <a:pt x="178" y="234"/>
                    </a:lnTo>
                    <a:lnTo>
                      <a:pt x="178" y="234"/>
                    </a:lnTo>
                    <a:lnTo>
                      <a:pt x="178" y="234"/>
                    </a:lnTo>
                    <a:close/>
                    <a:moveTo>
                      <a:pt x="125" y="177"/>
                    </a:moveTo>
                    <a:lnTo>
                      <a:pt x="125" y="180"/>
                    </a:lnTo>
                    <a:lnTo>
                      <a:pt x="128" y="180"/>
                    </a:lnTo>
                    <a:lnTo>
                      <a:pt x="128" y="180"/>
                    </a:lnTo>
                    <a:lnTo>
                      <a:pt x="128" y="180"/>
                    </a:lnTo>
                    <a:lnTo>
                      <a:pt x="128" y="180"/>
                    </a:lnTo>
                    <a:lnTo>
                      <a:pt x="125" y="177"/>
                    </a:lnTo>
                    <a:lnTo>
                      <a:pt x="125" y="177"/>
                    </a:lnTo>
                    <a:close/>
                    <a:moveTo>
                      <a:pt x="90" y="172"/>
                    </a:moveTo>
                    <a:lnTo>
                      <a:pt x="90" y="172"/>
                    </a:lnTo>
                    <a:lnTo>
                      <a:pt x="92" y="177"/>
                    </a:lnTo>
                    <a:lnTo>
                      <a:pt x="95" y="175"/>
                    </a:lnTo>
                    <a:lnTo>
                      <a:pt x="92" y="172"/>
                    </a:lnTo>
                    <a:lnTo>
                      <a:pt x="90" y="172"/>
                    </a:lnTo>
                    <a:close/>
                    <a:moveTo>
                      <a:pt x="116" y="161"/>
                    </a:moveTo>
                    <a:lnTo>
                      <a:pt x="116" y="161"/>
                    </a:lnTo>
                    <a:lnTo>
                      <a:pt x="116" y="163"/>
                    </a:lnTo>
                    <a:lnTo>
                      <a:pt x="116" y="165"/>
                    </a:lnTo>
                    <a:lnTo>
                      <a:pt x="118" y="165"/>
                    </a:lnTo>
                    <a:lnTo>
                      <a:pt x="118" y="163"/>
                    </a:lnTo>
                    <a:lnTo>
                      <a:pt x="116" y="161"/>
                    </a:lnTo>
                    <a:lnTo>
                      <a:pt x="116" y="161"/>
                    </a:lnTo>
                    <a:lnTo>
                      <a:pt x="116" y="161"/>
                    </a:lnTo>
                    <a:close/>
                    <a:moveTo>
                      <a:pt x="88" y="170"/>
                    </a:moveTo>
                    <a:lnTo>
                      <a:pt x="88" y="168"/>
                    </a:lnTo>
                    <a:lnTo>
                      <a:pt x="88" y="168"/>
                    </a:lnTo>
                    <a:lnTo>
                      <a:pt x="88" y="165"/>
                    </a:lnTo>
                    <a:lnTo>
                      <a:pt x="88" y="165"/>
                    </a:lnTo>
                    <a:lnTo>
                      <a:pt x="90" y="158"/>
                    </a:lnTo>
                    <a:lnTo>
                      <a:pt x="90" y="156"/>
                    </a:lnTo>
                    <a:lnTo>
                      <a:pt x="88" y="163"/>
                    </a:lnTo>
                    <a:lnTo>
                      <a:pt x="85" y="168"/>
                    </a:lnTo>
                    <a:lnTo>
                      <a:pt x="85" y="168"/>
                    </a:lnTo>
                    <a:lnTo>
                      <a:pt x="88" y="168"/>
                    </a:lnTo>
                    <a:lnTo>
                      <a:pt x="88" y="170"/>
                    </a:lnTo>
                    <a:lnTo>
                      <a:pt x="88" y="172"/>
                    </a:lnTo>
                    <a:lnTo>
                      <a:pt x="88" y="172"/>
                    </a:lnTo>
                    <a:lnTo>
                      <a:pt x="88" y="172"/>
                    </a:lnTo>
                    <a:lnTo>
                      <a:pt x="88" y="170"/>
                    </a:lnTo>
                    <a:close/>
                    <a:moveTo>
                      <a:pt x="111" y="139"/>
                    </a:moveTo>
                    <a:lnTo>
                      <a:pt x="111" y="142"/>
                    </a:lnTo>
                    <a:lnTo>
                      <a:pt x="109" y="144"/>
                    </a:lnTo>
                    <a:lnTo>
                      <a:pt x="111" y="144"/>
                    </a:lnTo>
                    <a:lnTo>
                      <a:pt x="111" y="142"/>
                    </a:lnTo>
                    <a:lnTo>
                      <a:pt x="114" y="142"/>
                    </a:lnTo>
                    <a:lnTo>
                      <a:pt x="114" y="142"/>
                    </a:lnTo>
                    <a:lnTo>
                      <a:pt x="114" y="142"/>
                    </a:lnTo>
                    <a:lnTo>
                      <a:pt x="114" y="139"/>
                    </a:lnTo>
                    <a:lnTo>
                      <a:pt x="111" y="139"/>
                    </a:lnTo>
                    <a:close/>
                    <a:moveTo>
                      <a:pt x="52" y="92"/>
                    </a:moveTo>
                    <a:lnTo>
                      <a:pt x="52" y="92"/>
                    </a:lnTo>
                    <a:lnTo>
                      <a:pt x="52" y="92"/>
                    </a:lnTo>
                    <a:lnTo>
                      <a:pt x="50" y="94"/>
                    </a:lnTo>
                    <a:lnTo>
                      <a:pt x="47" y="97"/>
                    </a:lnTo>
                    <a:lnTo>
                      <a:pt x="50" y="99"/>
                    </a:lnTo>
                    <a:lnTo>
                      <a:pt x="52" y="97"/>
                    </a:lnTo>
                    <a:lnTo>
                      <a:pt x="52" y="94"/>
                    </a:lnTo>
                    <a:lnTo>
                      <a:pt x="52" y="92"/>
                    </a:lnTo>
                    <a:close/>
                    <a:moveTo>
                      <a:pt x="2" y="75"/>
                    </a:moveTo>
                    <a:lnTo>
                      <a:pt x="2" y="73"/>
                    </a:lnTo>
                    <a:lnTo>
                      <a:pt x="0" y="73"/>
                    </a:lnTo>
                    <a:lnTo>
                      <a:pt x="0" y="75"/>
                    </a:lnTo>
                    <a:lnTo>
                      <a:pt x="0" y="75"/>
                    </a:lnTo>
                    <a:lnTo>
                      <a:pt x="0" y="80"/>
                    </a:lnTo>
                    <a:lnTo>
                      <a:pt x="2" y="80"/>
                    </a:lnTo>
                    <a:lnTo>
                      <a:pt x="2" y="78"/>
                    </a:lnTo>
                    <a:lnTo>
                      <a:pt x="2" y="75"/>
                    </a:lnTo>
                    <a:lnTo>
                      <a:pt x="2" y="75"/>
                    </a:lnTo>
                    <a:close/>
                    <a:moveTo>
                      <a:pt x="111" y="73"/>
                    </a:moveTo>
                    <a:lnTo>
                      <a:pt x="109" y="73"/>
                    </a:lnTo>
                    <a:lnTo>
                      <a:pt x="107" y="75"/>
                    </a:lnTo>
                    <a:lnTo>
                      <a:pt x="104" y="80"/>
                    </a:lnTo>
                    <a:lnTo>
                      <a:pt x="104" y="80"/>
                    </a:lnTo>
                    <a:lnTo>
                      <a:pt x="107" y="82"/>
                    </a:lnTo>
                    <a:lnTo>
                      <a:pt x="109" y="82"/>
                    </a:lnTo>
                    <a:lnTo>
                      <a:pt x="111" y="78"/>
                    </a:lnTo>
                    <a:lnTo>
                      <a:pt x="111" y="75"/>
                    </a:lnTo>
                    <a:lnTo>
                      <a:pt x="111" y="73"/>
                    </a:lnTo>
                    <a:lnTo>
                      <a:pt x="111" y="73"/>
                    </a:lnTo>
                    <a:close/>
                    <a:moveTo>
                      <a:pt x="92" y="68"/>
                    </a:moveTo>
                    <a:lnTo>
                      <a:pt x="90" y="66"/>
                    </a:lnTo>
                    <a:lnTo>
                      <a:pt x="90" y="66"/>
                    </a:lnTo>
                    <a:lnTo>
                      <a:pt x="90" y="68"/>
                    </a:lnTo>
                    <a:lnTo>
                      <a:pt x="88" y="68"/>
                    </a:lnTo>
                    <a:lnTo>
                      <a:pt x="90" y="71"/>
                    </a:lnTo>
                    <a:lnTo>
                      <a:pt x="92" y="75"/>
                    </a:lnTo>
                    <a:lnTo>
                      <a:pt x="95" y="78"/>
                    </a:lnTo>
                    <a:lnTo>
                      <a:pt x="95" y="78"/>
                    </a:lnTo>
                    <a:lnTo>
                      <a:pt x="95" y="75"/>
                    </a:lnTo>
                    <a:lnTo>
                      <a:pt x="95" y="71"/>
                    </a:lnTo>
                    <a:lnTo>
                      <a:pt x="92" y="71"/>
                    </a:lnTo>
                    <a:lnTo>
                      <a:pt x="92" y="68"/>
                    </a:lnTo>
                    <a:lnTo>
                      <a:pt x="92" y="68"/>
                    </a:lnTo>
                    <a:close/>
                    <a:moveTo>
                      <a:pt x="85" y="19"/>
                    </a:moveTo>
                    <a:lnTo>
                      <a:pt x="85" y="21"/>
                    </a:lnTo>
                    <a:lnTo>
                      <a:pt x="85" y="21"/>
                    </a:lnTo>
                    <a:lnTo>
                      <a:pt x="85" y="21"/>
                    </a:lnTo>
                    <a:lnTo>
                      <a:pt x="85" y="21"/>
                    </a:lnTo>
                    <a:lnTo>
                      <a:pt x="85" y="21"/>
                    </a:lnTo>
                    <a:lnTo>
                      <a:pt x="85" y="19"/>
                    </a:lnTo>
                    <a:lnTo>
                      <a:pt x="85" y="19"/>
                    </a:lnTo>
                    <a:close/>
                    <a:moveTo>
                      <a:pt x="535" y="241"/>
                    </a:moveTo>
                    <a:lnTo>
                      <a:pt x="537" y="239"/>
                    </a:lnTo>
                    <a:lnTo>
                      <a:pt x="535" y="236"/>
                    </a:lnTo>
                    <a:lnTo>
                      <a:pt x="532" y="234"/>
                    </a:lnTo>
                    <a:lnTo>
                      <a:pt x="530" y="234"/>
                    </a:lnTo>
                    <a:lnTo>
                      <a:pt x="530" y="234"/>
                    </a:lnTo>
                    <a:lnTo>
                      <a:pt x="528" y="234"/>
                    </a:lnTo>
                    <a:lnTo>
                      <a:pt x="528" y="234"/>
                    </a:lnTo>
                    <a:lnTo>
                      <a:pt x="525" y="236"/>
                    </a:lnTo>
                    <a:lnTo>
                      <a:pt x="528" y="236"/>
                    </a:lnTo>
                    <a:lnTo>
                      <a:pt x="528" y="236"/>
                    </a:lnTo>
                    <a:lnTo>
                      <a:pt x="530" y="236"/>
                    </a:lnTo>
                    <a:lnTo>
                      <a:pt x="530" y="236"/>
                    </a:lnTo>
                    <a:lnTo>
                      <a:pt x="530" y="236"/>
                    </a:lnTo>
                    <a:lnTo>
                      <a:pt x="530" y="236"/>
                    </a:lnTo>
                    <a:lnTo>
                      <a:pt x="530" y="236"/>
                    </a:lnTo>
                    <a:lnTo>
                      <a:pt x="528" y="239"/>
                    </a:lnTo>
                    <a:lnTo>
                      <a:pt x="525" y="236"/>
                    </a:lnTo>
                    <a:lnTo>
                      <a:pt x="521" y="236"/>
                    </a:lnTo>
                    <a:lnTo>
                      <a:pt x="518" y="236"/>
                    </a:lnTo>
                    <a:lnTo>
                      <a:pt x="516" y="234"/>
                    </a:lnTo>
                    <a:lnTo>
                      <a:pt x="513" y="234"/>
                    </a:lnTo>
                    <a:lnTo>
                      <a:pt x="511" y="234"/>
                    </a:lnTo>
                    <a:lnTo>
                      <a:pt x="511" y="234"/>
                    </a:lnTo>
                    <a:lnTo>
                      <a:pt x="511" y="234"/>
                    </a:lnTo>
                    <a:lnTo>
                      <a:pt x="511" y="234"/>
                    </a:lnTo>
                    <a:lnTo>
                      <a:pt x="506" y="234"/>
                    </a:lnTo>
                    <a:lnTo>
                      <a:pt x="504" y="236"/>
                    </a:lnTo>
                    <a:lnTo>
                      <a:pt x="502" y="239"/>
                    </a:lnTo>
                    <a:lnTo>
                      <a:pt x="499" y="239"/>
                    </a:lnTo>
                    <a:lnTo>
                      <a:pt x="480" y="241"/>
                    </a:lnTo>
                    <a:lnTo>
                      <a:pt x="480" y="241"/>
                    </a:lnTo>
                    <a:lnTo>
                      <a:pt x="473" y="244"/>
                    </a:lnTo>
                    <a:lnTo>
                      <a:pt x="471" y="246"/>
                    </a:lnTo>
                    <a:lnTo>
                      <a:pt x="468" y="253"/>
                    </a:lnTo>
                    <a:lnTo>
                      <a:pt x="468" y="253"/>
                    </a:lnTo>
                    <a:lnTo>
                      <a:pt x="466" y="255"/>
                    </a:lnTo>
                    <a:lnTo>
                      <a:pt x="466" y="260"/>
                    </a:lnTo>
                    <a:lnTo>
                      <a:pt x="466" y="262"/>
                    </a:lnTo>
                    <a:lnTo>
                      <a:pt x="464" y="267"/>
                    </a:lnTo>
                    <a:lnTo>
                      <a:pt x="464" y="270"/>
                    </a:lnTo>
                    <a:lnTo>
                      <a:pt x="464" y="270"/>
                    </a:lnTo>
                    <a:lnTo>
                      <a:pt x="461" y="272"/>
                    </a:lnTo>
                    <a:lnTo>
                      <a:pt x="459" y="274"/>
                    </a:lnTo>
                    <a:lnTo>
                      <a:pt x="459" y="281"/>
                    </a:lnTo>
                    <a:lnTo>
                      <a:pt x="454" y="286"/>
                    </a:lnTo>
                    <a:lnTo>
                      <a:pt x="452" y="288"/>
                    </a:lnTo>
                    <a:lnTo>
                      <a:pt x="450" y="288"/>
                    </a:lnTo>
                    <a:lnTo>
                      <a:pt x="442" y="291"/>
                    </a:lnTo>
                    <a:lnTo>
                      <a:pt x="442" y="293"/>
                    </a:lnTo>
                    <a:lnTo>
                      <a:pt x="442" y="293"/>
                    </a:lnTo>
                    <a:lnTo>
                      <a:pt x="442" y="293"/>
                    </a:lnTo>
                    <a:lnTo>
                      <a:pt x="445" y="291"/>
                    </a:lnTo>
                    <a:lnTo>
                      <a:pt x="445" y="291"/>
                    </a:lnTo>
                    <a:lnTo>
                      <a:pt x="445" y="293"/>
                    </a:lnTo>
                    <a:lnTo>
                      <a:pt x="445" y="293"/>
                    </a:lnTo>
                    <a:lnTo>
                      <a:pt x="445" y="293"/>
                    </a:lnTo>
                    <a:lnTo>
                      <a:pt x="445" y="296"/>
                    </a:lnTo>
                    <a:lnTo>
                      <a:pt x="445" y="298"/>
                    </a:lnTo>
                    <a:lnTo>
                      <a:pt x="442" y="298"/>
                    </a:lnTo>
                    <a:lnTo>
                      <a:pt x="440" y="300"/>
                    </a:lnTo>
                    <a:lnTo>
                      <a:pt x="440" y="300"/>
                    </a:lnTo>
                    <a:lnTo>
                      <a:pt x="435" y="300"/>
                    </a:lnTo>
                    <a:lnTo>
                      <a:pt x="433" y="300"/>
                    </a:lnTo>
                    <a:lnTo>
                      <a:pt x="433" y="298"/>
                    </a:lnTo>
                    <a:lnTo>
                      <a:pt x="435" y="298"/>
                    </a:lnTo>
                    <a:lnTo>
                      <a:pt x="435" y="298"/>
                    </a:lnTo>
                    <a:lnTo>
                      <a:pt x="433" y="296"/>
                    </a:lnTo>
                    <a:lnTo>
                      <a:pt x="431" y="296"/>
                    </a:lnTo>
                    <a:lnTo>
                      <a:pt x="428" y="296"/>
                    </a:lnTo>
                    <a:lnTo>
                      <a:pt x="424" y="296"/>
                    </a:lnTo>
                    <a:lnTo>
                      <a:pt x="424" y="296"/>
                    </a:lnTo>
                    <a:lnTo>
                      <a:pt x="419" y="298"/>
                    </a:lnTo>
                    <a:lnTo>
                      <a:pt x="419" y="298"/>
                    </a:lnTo>
                    <a:lnTo>
                      <a:pt x="419" y="300"/>
                    </a:lnTo>
                    <a:lnTo>
                      <a:pt x="416" y="300"/>
                    </a:lnTo>
                    <a:lnTo>
                      <a:pt x="412" y="303"/>
                    </a:lnTo>
                    <a:lnTo>
                      <a:pt x="409" y="300"/>
                    </a:lnTo>
                    <a:lnTo>
                      <a:pt x="402" y="300"/>
                    </a:lnTo>
                    <a:lnTo>
                      <a:pt x="400" y="303"/>
                    </a:lnTo>
                    <a:lnTo>
                      <a:pt x="398" y="305"/>
                    </a:lnTo>
                    <a:lnTo>
                      <a:pt x="390" y="307"/>
                    </a:lnTo>
                    <a:lnTo>
                      <a:pt x="388" y="307"/>
                    </a:lnTo>
                    <a:lnTo>
                      <a:pt x="386" y="307"/>
                    </a:lnTo>
                    <a:lnTo>
                      <a:pt x="383" y="307"/>
                    </a:lnTo>
                    <a:lnTo>
                      <a:pt x="383" y="303"/>
                    </a:lnTo>
                    <a:lnTo>
                      <a:pt x="381" y="300"/>
                    </a:lnTo>
                    <a:lnTo>
                      <a:pt x="376" y="298"/>
                    </a:lnTo>
                    <a:lnTo>
                      <a:pt x="374" y="296"/>
                    </a:lnTo>
                    <a:lnTo>
                      <a:pt x="367" y="296"/>
                    </a:lnTo>
                    <a:lnTo>
                      <a:pt x="364" y="293"/>
                    </a:lnTo>
                    <a:lnTo>
                      <a:pt x="364" y="293"/>
                    </a:lnTo>
                    <a:lnTo>
                      <a:pt x="367" y="296"/>
                    </a:lnTo>
                    <a:lnTo>
                      <a:pt x="367" y="296"/>
                    </a:lnTo>
                    <a:lnTo>
                      <a:pt x="367" y="296"/>
                    </a:lnTo>
                    <a:lnTo>
                      <a:pt x="362" y="296"/>
                    </a:lnTo>
                    <a:lnTo>
                      <a:pt x="362" y="293"/>
                    </a:lnTo>
                    <a:lnTo>
                      <a:pt x="362" y="293"/>
                    </a:lnTo>
                    <a:lnTo>
                      <a:pt x="362" y="293"/>
                    </a:lnTo>
                    <a:lnTo>
                      <a:pt x="364" y="293"/>
                    </a:lnTo>
                    <a:lnTo>
                      <a:pt x="362" y="291"/>
                    </a:lnTo>
                    <a:lnTo>
                      <a:pt x="360" y="288"/>
                    </a:lnTo>
                    <a:lnTo>
                      <a:pt x="360" y="286"/>
                    </a:lnTo>
                    <a:lnTo>
                      <a:pt x="360" y="286"/>
                    </a:lnTo>
                    <a:lnTo>
                      <a:pt x="355" y="281"/>
                    </a:lnTo>
                    <a:lnTo>
                      <a:pt x="355" y="279"/>
                    </a:lnTo>
                    <a:lnTo>
                      <a:pt x="355" y="277"/>
                    </a:lnTo>
                    <a:lnTo>
                      <a:pt x="355" y="272"/>
                    </a:lnTo>
                    <a:lnTo>
                      <a:pt x="350" y="265"/>
                    </a:lnTo>
                    <a:lnTo>
                      <a:pt x="345" y="255"/>
                    </a:lnTo>
                    <a:lnTo>
                      <a:pt x="343" y="253"/>
                    </a:lnTo>
                    <a:lnTo>
                      <a:pt x="345" y="251"/>
                    </a:lnTo>
                    <a:lnTo>
                      <a:pt x="343" y="246"/>
                    </a:lnTo>
                    <a:lnTo>
                      <a:pt x="341" y="239"/>
                    </a:lnTo>
                    <a:lnTo>
                      <a:pt x="341" y="239"/>
                    </a:lnTo>
                    <a:lnTo>
                      <a:pt x="341" y="236"/>
                    </a:lnTo>
                    <a:lnTo>
                      <a:pt x="341" y="236"/>
                    </a:lnTo>
                    <a:lnTo>
                      <a:pt x="338" y="236"/>
                    </a:lnTo>
                    <a:lnTo>
                      <a:pt x="338" y="234"/>
                    </a:lnTo>
                    <a:lnTo>
                      <a:pt x="338" y="225"/>
                    </a:lnTo>
                    <a:lnTo>
                      <a:pt x="341" y="232"/>
                    </a:lnTo>
                    <a:lnTo>
                      <a:pt x="343" y="234"/>
                    </a:lnTo>
                    <a:lnTo>
                      <a:pt x="343" y="234"/>
                    </a:lnTo>
                    <a:lnTo>
                      <a:pt x="343" y="236"/>
                    </a:lnTo>
                    <a:lnTo>
                      <a:pt x="343" y="236"/>
                    </a:lnTo>
                    <a:lnTo>
                      <a:pt x="341" y="239"/>
                    </a:lnTo>
                    <a:lnTo>
                      <a:pt x="343" y="241"/>
                    </a:lnTo>
                    <a:lnTo>
                      <a:pt x="343" y="239"/>
                    </a:lnTo>
                    <a:lnTo>
                      <a:pt x="343" y="239"/>
                    </a:lnTo>
                    <a:lnTo>
                      <a:pt x="345" y="236"/>
                    </a:lnTo>
                    <a:lnTo>
                      <a:pt x="343" y="234"/>
                    </a:lnTo>
                    <a:lnTo>
                      <a:pt x="343" y="232"/>
                    </a:lnTo>
                    <a:lnTo>
                      <a:pt x="341" y="229"/>
                    </a:lnTo>
                    <a:lnTo>
                      <a:pt x="338" y="225"/>
                    </a:lnTo>
                    <a:lnTo>
                      <a:pt x="338" y="220"/>
                    </a:lnTo>
                    <a:lnTo>
                      <a:pt x="338" y="215"/>
                    </a:lnTo>
                    <a:lnTo>
                      <a:pt x="338" y="215"/>
                    </a:lnTo>
                    <a:lnTo>
                      <a:pt x="338" y="213"/>
                    </a:lnTo>
                    <a:lnTo>
                      <a:pt x="341" y="210"/>
                    </a:lnTo>
                    <a:lnTo>
                      <a:pt x="341" y="208"/>
                    </a:lnTo>
                    <a:lnTo>
                      <a:pt x="341" y="206"/>
                    </a:lnTo>
                    <a:lnTo>
                      <a:pt x="343" y="199"/>
                    </a:lnTo>
                    <a:lnTo>
                      <a:pt x="345" y="189"/>
                    </a:lnTo>
                    <a:lnTo>
                      <a:pt x="345" y="189"/>
                    </a:lnTo>
                    <a:lnTo>
                      <a:pt x="345" y="189"/>
                    </a:lnTo>
                    <a:lnTo>
                      <a:pt x="345" y="184"/>
                    </a:lnTo>
                    <a:lnTo>
                      <a:pt x="348" y="175"/>
                    </a:lnTo>
                    <a:lnTo>
                      <a:pt x="355" y="163"/>
                    </a:lnTo>
                    <a:lnTo>
                      <a:pt x="357" y="158"/>
                    </a:lnTo>
                    <a:lnTo>
                      <a:pt x="362" y="151"/>
                    </a:lnTo>
                    <a:lnTo>
                      <a:pt x="364" y="146"/>
                    </a:lnTo>
                    <a:lnTo>
                      <a:pt x="364" y="142"/>
                    </a:lnTo>
                    <a:lnTo>
                      <a:pt x="362" y="142"/>
                    </a:lnTo>
                    <a:lnTo>
                      <a:pt x="362" y="144"/>
                    </a:lnTo>
                    <a:lnTo>
                      <a:pt x="362" y="144"/>
                    </a:lnTo>
                    <a:lnTo>
                      <a:pt x="362" y="144"/>
                    </a:lnTo>
                    <a:lnTo>
                      <a:pt x="360" y="144"/>
                    </a:lnTo>
                    <a:lnTo>
                      <a:pt x="360" y="144"/>
                    </a:lnTo>
                    <a:lnTo>
                      <a:pt x="357" y="142"/>
                    </a:lnTo>
                    <a:lnTo>
                      <a:pt x="355" y="142"/>
                    </a:lnTo>
                    <a:lnTo>
                      <a:pt x="348" y="139"/>
                    </a:lnTo>
                    <a:lnTo>
                      <a:pt x="345" y="139"/>
                    </a:lnTo>
                    <a:lnTo>
                      <a:pt x="343" y="137"/>
                    </a:lnTo>
                    <a:lnTo>
                      <a:pt x="343" y="137"/>
                    </a:lnTo>
                    <a:lnTo>
                      <a:pt x="341" y="137"/>
                    </a:lnTo>
                    <a:lnTo>
                      <a:pt x="338" y="135"/>
                    </a:lnTo>
                    <a:lnTo>
                      <a:pt x="338" y="135"/>
                    </a:lnTo>
                    <a:lnTo>
                      <a:pt x="336" y="132"/>
                    </a:lnTo>
                    <a:lnTo>
                      <a:pt x="334" y="132"/>
                    </a:lnTo>
                    <a:lnTo>
                      <a:pt x="331" y="132"/>
                    </a:lnTo>
                    <a:lnTo>
                      <a:pt x="331" y="130"/>
                    </a:lnTo>
                    <a:lnTo>
                      <a:pt x="331" y="130"/>
                    </a:lnTo>
                    <a:lnTo>
                      <a:pt x="331" y="125"/>
                    </a:lnTo>
                    <a:lnTo>
                      <a:pt x="331" y="123"/>
                    </a:lnTo>
                    <a:lnTo>
                      <a:pt x="329" y="120"/>
                    </a:lnTo>
                    <a:lnTo>
                      <a:pt x="329" y="118"/>
                    </a:lnTo>
                    <a:lnTo>
                      <a:pt x="329" y="118"/>
                    </a:lnTo>
                    <a:lnTo>
                      <a:pt x="329" y="118"/>
                    </a:lnTo>
                    <a:lnTo>
                      <a:pt x="329" y="116"/>
                    </a:lnTo>
                    <a:lnTo>
                      <a:pt x="329" y="116"/>
                    </a:lnTo>
                    <a:lnTo>
                      <a:pt x="329" y="113"/>
                    </a:lnTo>
                    <a:lnTo>
                      <a:pt x="329" y="113"/>
                    </a:lnTo>
                    <a:lnTo>
                      <a:pt x="331" y="111"/>
                    </a:lnTo>
                    <a:lnTo>
                      <a:pt x="331" y="111"/>
                    </a:lnTo>
                    <a:lnTo>
                      <a:pt x="331" y="109"/>
                    </a:lnTo>
                    <a:lnTo>
                      <a:pt x="329" y="106"/>
                    </a:lnTo>
                    <a:lnTo>
                      <a:pt x="327" y="104"/>
                    </a:lnTo>
                    <a:lnTo>
                      <a:pt x="327" y="101"/>
                    </a:lnTo>
                    <a:lnTo>
                      <a:pt x="324" y="99"/>
                    </a:lnTo>
                    <a:lnTo>
                      <a:pt x="324" y="94"/>
                    </a:lnTo>
                    <a:lnTo>
                      <a:pt x="322" y="94"/>
                    </a:lnTo>
                    <a:lnTo>
                      <a:pt x="322" y="92"/>
                    </a:lnTo>
                    <a:lnTo>
                      <a:pt x="322" y="90"/>
                    </a:lnTo>
                    <a:lnTo>
                      <a:pt x="322" y="90"/>
                    </a:lnTo>
                    <a:lnTo>
                      <a:pt x="322" y="90"/>
                    </a:lnTo>
                    <a:lnTo>
                      <a:pt x="319" y="87"/>
                    </a:lnTo>
                    <a:lnTo>
                      <a:pt x="319" y="82"/>
                    </a:lnTo>
                    <a:lnTo>
                      <a:pt x="319" y="78"/>
                    </a:lnTo>
                    <a:lnTo>
                      <a:pt x="319" y="75"/>
                    </a:lnTo>
                    <a:lnTo>
                      <a:pt x="317" y="73"/>
                    </a:lnTo>
                    <a:lnTo>
                      <a:pt x="315" y="71"/>
                    </a:lnTo>
                    <a:lnTo>
                      <a:pt x="315" y="71"/>
                    </a:lnTo>
                    <a:lnTo>
                      <a:pt x="315" y="68"/>
                    </a:lnTo>
                    <a:lnTo>
                      <a:pt x="315" y="68"/>
                    </a:lnTo>
                    <a:lnTo>
                      <a:pt x="310" y="64"/>
                    </a:lnTo>
                    <a:lnTo>
                      <a:pt x="310" y="61"/>
                    </a:lnTo>
                    <a:lnTo>
                      <a:pt x="310" y="61"/>
                    </a:lnTo>
                    <a:lnTo>
                      <a:pt x="308" y="61"/>
                    </a:lnTo>
                    <a:lnTo>
                      <a:pt x="308" y="61"/>
                    </a:lnTo>
                    <a:lnTo>
                      <a:pt x="308" y="61"/>
                    </a:lnTo>
                    <a:lnTo>
                      <a:pt x="308" y="61"/>
                    </a:lnTo>
                    <a:lnTo>
                      <a:pt x="305" y="61"/>
                    </a:lnTo>
                    <a:lnTo>
                      <a:pt x="303" y="61"/>
                    </a:lnTo>
                    <a:lnTo>
                      <a:pt x="298" y="61"/>
                    </a:lnTo>
                    <a:lnTo>
                      <a:pt x="296" y="61"/>
                    </a:lnTo>
                    <a:lnTo>
                      <a:pt x="296" y="59"/>
                    </a:lnTo>
                    <a:lnTo>
                      <a:pt x="293" y="59"/>
                    </a:lnTo>
                    <a:lnTo>
                      <a:pt x="291" y="61"/>
                    </a:lnTo>
                    <a:lnTo>
                      <a:pt x="291" y="61"/>
                    </a:lnTo>
                    <a:lnTo>
                      <a:pt x="289" y="61"/>
                    </a:lnTo>
                    <a:lnTo>
                      <a:pt x="284" y="64"/>
                    </a:lnTo>
                    <a:lnTo>
                      <a:pt x="282" y="68"/>
                    </a:lnTo>
                    <a:lnTo>
                      <a:pt x="279" y="71"/>
                    </a:lnTo>
                    <a:lnTo>
                      <a:pt x="279" y="73"/>
                    </a:lnTo>
                    <a:lnTo>
                      <a:pt x="279" y="73"/>
                    </a:lnTo>
                    <a:lnTo>
                      <a:pt x="279" y="73"/>
                    </a:lnTo>
                    <a:lnTo>
                      <a:pt x="277" y="75"/>
                    </a:lnTo>
                    <a:lnTo>
                      <a:pt x="275" y="78"/>
                    </a:lnTo>
                    <a:lnTo>
                      <a:pt x="272" y="78"/>
                    </a:lnTo>
                    <a:lnTo>
                      <a:pt x="272" y="78"/>
                    </a:lnTo>
                    <a:lnTo>
                      <a:pt x="270" y="75"/>
                    </a:lnTo>
                    <a:lnTo>
                      <a:pt x="265" y="73"/>
                    </a:lnTo>
                    <a:lnTo>
                      <a:pt x="263" y="71"/>
                    </a:lnTo>
                    <a:lnTo>
                      <a:pt x="260" y="71"/>
                    </a:lnTo>
                    <a:lnTo>
                      <a:pt x="258" y="71"/>
                    </a:lnTo>
                    <a:lnTo>
                      <a:pt x="258" y="68"/>
                    </a:lnTo>
                    <a:lnTo>
                      <a:pt x="256" y="66"/>
                    </a:lnTo>
                    <a:lnTo>
                      <a:pt x="256" y="66"/>
                    </a:lnTo>
                    <a:lnTo>
                      <a:pt x="253" y="64"/>
                    </a:lnTo>
                    <a:lnTo>
                      <a:pt x="253" y="59"/>
                    </a:lnTo>
                    <a:lnTo>
                      <a:pt x="253" y="56"/>
                    </a:lnTo>
                    <a:lnTo>
                      <a:pt x="253" y="54"/>
                    </a:lnTo>
                    <a:lnTo>
                      <a:pt x="253" y="47"/>
                    </a:lnTo>
                    <a:lnTo>
                      <a:pt x="251" y="45"/>
                    </a:lnTo>
                    <a:lnTo>
                      <a:pt x="251" y="42"/>
                    </a:lnTo>
                    <a:lnTo>
                      <a:pt x="251" y="42"/>
                    </a:lnTo>
                    <a:lnTo>
                      <a:pt x="246" y="40"/>
                    </a:lnTo>
                    <a:lnTo>
                      <a:pt x="244" y="35"/>
                    </a:lnTo>
                    <a:lnTo>
                      <a:pt x="241" y="30"/>
                    </a:lnTo>
                    <a:lnTo>
                      <a:pt x="239" y="28"/>
                    </a:lnTo>
                    <a:lnTo>
                      <a:pt x="237" y="26"/>
                    </a:lnTo>
                    <a:lnTo>
                      <a:pt x="234" y="23"/>
                    </a:lnTo>
                    <a:lnTo>
                      <a:pt x="234" y="21"/>
                    </a:lnTo>
                    <a:lnTo>
                      <a:pt x="234" y="19"/>
                    </a:lnTo>
                    <a:lnTo>
                      <a:pt x="234" y="19"/>
                    </a:lnTo>
                    <a:lnTo>
                      <a:pt x="232" y="19"/>
                    </a:lnTo>
                    <a:lnTo>
                      <a:pt x="230" y="19"/>
                    </a:lnTo>
                    <a:lnTo>
                      <a:pt x="225" y="19"/>
                    </a:lnTo>
                    <a:lnTo>
                      <a:pt x="222" y="19"/>
                    </a:lnTo>
                    <a:lnTo>
                      <a:pt x="218" y="19"/>
                    </a:lnTo>
                    <a:lnTo>
                      <a:pt x="213" y="19"/>
                    </a:lnTo>
                    <a:lnTo>
                      <a:pt x="211" y="19"/>
                    </a:lnTo>
                    <a:lnTo>
                      <a:pt x="206" y="19"/>
                    </a:lnTo>
                    <a:lnTo>
                      <a:pt x="201" y="19"/>
                    </a:lnTo>
                    <a:lnTo>
                      <a:pt x="201" y="21"/>
                    </a:lnTo>
                    <a:lnTo>
                      <a:pt x="201" y="23"/>
                    </a:lnTo>
                    <a:lnTo>
                      <a:pt x="199" y="26"/>
                    </a:lnTo>
                    <a:lnTo>
                      <a:pt x="199" y="28"/>
                    </a:lnTo>
                    <a:lnTo>
                      <a:pt x="192" y="28"/>
                    </a:lnTo>
                    <a:lnTo>
                      <a:pt x="185" y="28"/>
                    </a:lnTo>
                    <a:lnTo>
                      <a:pt x="180" y="28"/>
                    </a:lnTo>
                    <a:lnTo>
                      <a:pt x="173" y="28"/>
                    </a:lnTo>
                    <a:lnTo>
                      <a:pt x="166" y="28"/>
                    </a:lnTo>
                    <a:lnTo>
                      <a:pt x="161" y="28"/>
                    </a:lnTo>
                    <a:lnTo>
                      <a:pt x="154" y="28"/>
                    </a:lnTo>
                    <a:lnTo>
                      <a:pt x="147" y="28"/>
                    </a:lnTo>
                    <a:lnTo>
                      <a:pt x="140" y="26"/>
                    </a:lnTo>
                    <a:lnTo>
                      <a:pt x="133" y="23"/>
                    </a:lnTo>
                    <a:lnTo>
                      <a:pt x="125" y="19"/>
                    </a:lnTo>
                    <a:lnTo>
                      <a:pt x="118" y="16"/>
                    </a:lnTo>
                    <a:lnTo>
                      <a:pt x="111" y="14"/>
                    </a:lnTo>
                    <a:lnTo>
                      <a:pt x="104" y="11"/>
                    </a:lnTo>
                    <a:lnTo>
                      <a:pt x="97" y="7"/>
                    </a:lnTo>
                    <a:lnTo>
                      <a:pt x="90" y="4"/>
                    </a:lnTo>
                    <a:lnTo>
                      <a:pt x="90" y="2"/>
                    </a:lnTo>
                    <a:lnTo>
                      <a:pt x="92" y="0"/>
                    </a:lnTo>
                    <a:lnTo>
                      <a:pt x="92" y="0"/>
                    </a:lnTo>
                    <a:lnTo>
                      <a:pt x="85" y="0"/>
                    </a:lnTo>
                    <a:lnTo>
                      <a:pt x="81" y="2"/>
                    </a:lnTo>
                    <a:lnTo>
                      <a:pt x="76" y="2"/>
                    </a:lnTo>
                    <a:lnTo>
                      <a:pt x="71" y="2"/>
                    </a:lnTo>
                    <a:lnTo>
                      <a:pt x="64" y="2"/>
                    </a:lnTo>
                    <a:lnTo>
                      <a:pt x="59" y="2"/>
                    </a:lnTo>
                    <a:lnTo>
                      <a:pt x="55" y="2"/>
                    </a:lnTo>
                    <a:lnTo>
                      <a:pt x="50" y="4"/>
                    </a:lnTo>
                    <a:lnTo>
                      <a:pt x="50" y="7"/>
                    </a:lnTo>
                    <a:lnTo>
                      <a:pt x="50" y="9"/>
                    </a:lnTo>
                    <a:lnTo>
                      <a:pt x="50" y="11"/>
                    </a:lnTo>
                    <a:lnTo>
                      <a:pt x="50" y="14"/>
                    </a:lnTo>
                    <a:lnTo>
                      <a:pt x="52" y="19"/>
                    </a:lnTo>
                    <a:lnTo>
                      <a:pt x="52" y="21"/>
                    </a:lnTo>
                    <a:lnTo>
                      <a:pt x="52" y="21"/>
                    </a:lnTo>
                    <a:lnTo>
                      <a:pt x="50" y="21"/>
                    </a:lnTo>
                    <a:lnTo>
                      <a:pt x="50" y="21"/>
                    </a:lnTo>
                    <a:lnTo>
                      <a:pt x="50" y="21"/>
                    </a:lnTo>
                    <a:lnTo>
                      <a:pt x="50" y="23"/>
                    </a:lnTo>
                    <a:lnTo>
                      <a:pt x="50" y="26"/>
                    </a:lnTo>
                    <a:lnTo>
                      <a:pt x="52" y="28"/>
                    </a:lnTo>
                    <a:lnTo>
                      <a:pt x="52" y="30"/>
                    </a:lnTo>
                    <a:lnTo>
                      <a:pt x="52" y="33"/>
                    </a:lnTo>
                    <a:lnTo>
                      <a:pt x="52" y="35"/>
                    </a:lnTo>
                    <a:lnTo>
                      <a:pt x="52" y="38"/>
                    </a:lnTo>
                    <a:lnTo>
                      <a:pt x="55" y="40"/>
                    </a:lnTo>
                    <a:lnTo>
                      <a:pt x="55" y="42"/>
                    </a:lnTo>
                    <a:lnTo>
                      <a:pt x="52" y="45"/>
                    </a:lnTo>
                    <a:lnTo>
                      <a:pt x="52" y="47"/>
                    </a:lnTo>
                    <a:lnTo>
                      <a:pt x="55" y="49"/>
                    </a:lnTo>
                    <a:lnTo>
                      <a:pt x="55" y="49"/>
                    </a:lnTo>
                    <a:lnTo>
                      <a:pt x="55" y="54"/>
                    </a:lnTo>
                    <a:lnTo>
                      <a:pt x="52" y="59"/>
                    </a:lnTo>
                    <a:lnTo>
                      <a:pt x="55" y="59"/>
                    </a:lnTo>
                    <a:lnTo>
                      <a:pt x="55" y="61"/>
                    </a:lnTo>
                    <a:lnTo>
                      <a:pt x="55" y="64"/>
                    </a:lnTo>
                    <a:lnTo>
                      <a:pt x="59" y="66"/>
                    </a:lnTo>
                    <a:lnTo>
                      <a:pt x="62" y="68"/>
                    </a:lnTo>
                    <a:lnTo>
                      <a:pt x="64" y="71"/>
                    </a:lnTo>
                    <a:lnTo>
                      <a:pt x="64" y="71"/>
                    </a:lnTo>
                    <a:lnTo>
                      <a:pt x="64" y="73"/>
                    </a:lnTo>
                    <a:lnTo>
                      <a:pt x="66" y="75"/>
                    </a:lnTo>
                    <a:lnTo>
                      <a:pt x="71" y="82"/>
                    </a:lnTo>
                    <a:lnTo>
                      <a:pt x="73" y="87"/>
                    </a:lnTo>
                    <a:lnTo>
                      <a:pt x="73" y="90"/>
                    </a:lnTo>
                    <a:lnTo>
                      <a:pt x="71" y="94"/>
                    </a:lnTo>
                    <a:lnTo>
                      <a:pt x="69" y="99"/>
                    </a:lnTo>
                    <a:lnTo>
                      <a:pt x="66" y="101"/>
                    </a:lnTo>
                    <a:lnTo>
                      <a:pt x="66" y="101"/>
                    </a:lnTo>
                    <a:lnTo>
                      <a:pt x="69" y="101"/>
                    </a:lnTo>
                    <a:lnTo>
                      <a:pt x="69" y="101"/>
                    </a:lnTo>
                    <a:lnTo>
                      <a:pt x="69" y="104"/>
                    </a:lnTo>
                    <a:lnTo>
                      <a:pt x="69" y="104"/>
                    </a:lnTo>
                    <a:lnTo>
                      <a:pt x="69" y="106"/>
                    </a:lnTo>
                    <a:lnTo>
                      <a:pt x="66" y="106"/>
                    </a:lnTo>
                    <a:lnTo>
                      <a:pt x="66" y="106"/>
                    </a:lnTo>
                    <a:lnTo>
                      <a:pt x="64" y="104"/>
                    </a:lnTo>
                    <a:lnTo>
                      <a:pt x="66" y="101"/>
                    </a:lnTo>
                    <a:lnTo>
                      <a:pt x="66" y="101"/>
                    </a:lnTo>
                    <a:lnTo>
                      <a:pt x="64" y="101"/>
                    </a:lnTo>
                    <a:lnTo>
                      <a:pt x="62" y="104"/>
                    </a:lnTo>
                    <a:lnTo>
                      <a:pt x="59" y="104"/>
                    </a:lnTo>
                    <a:lnTo>
                      <a:pt x="57" y="104"/>
                    </a:lnTo>
                    <a:lnTo>
                      <a:pt x="52" y="101"/>
                    </a:lnTo>
                    <a:lnTo>
                      <a:pt x="52" y="104"/>
                    </a:lnTo>
                    <a:lnTo>
                      <a:pt x="52" y="104"/>
                    </a:lnTo>
                    <a:lnTo>
                      <a:pt x="55" y="106"/>
                    </a:lnTo>
                    <a:lnTo>
                      <a:pt x="57" y="109"/>
                    </a:lnTo>
                    <a:lnTo>
                      <a:pt x="59" y="111"/>
                    </a:lnTo>
                    <a:lnTo>
                      <a:pt x="59" y="113"/>
                    </a:lnTo>
                    <a:lnTo>
                      <a:pt x="59" y="113"/>
                    </a:lnTo>
                    <a:lnTo>
                      <a:pt x="59" y="116"/>
                    </a:lnTo>
                    <a:lnTo>
                      <a:pt x="62" y="118"/>
                    </a:lnTo>
                    <a:lnTo>
                      <a:pt x="64" y="118"/>
                    </a:lnTo>
                    <a:lnTo>
                      <a:pt x="64" y="118"/>
                    </a:lnTo>
                    <a:lnTo>
                      <a:pt x="66" y="120"/>
                    </a:lnTo>
                    <a:lnTo>
                      <a:pt x="66" y="120"/>
                    </a:lnTo>
                    <a:lnTo>
                      <a:pt x="69" y="120"/>
                    </a:lnTo>
                    <a:lnTo>
                      <a:pt x="69" y="123"/>
                    </a:lnTo>
                    <a:lnTo>
                      <a:pt x="71" y="125"/>
                    </a:lnTo>
                    <a:lnTo>
                      <a:pt x="71" y="125"/>
                    </a:lnTo>
                    <a:lnTo>
                      <a:pt x="76" y="125"/>
                    </a:lnTo>
                    <a:lnTo>
                      <a:pt x="78" y="125"/>
                    </a:lnTo>
                    <a:lnTo>
                      <a:pt x="81" y="123"/>
                    </a:lnTo>
                    <a:lnTo>
                      <a:pt x="81" y="120"/>
                    </a:lnTo>
                    <a:lnTo>
                      <a:pt x="81" y="125"/>
                    </a:lnTo>
                    <a:lnTo>
                      <a:pt x="81" y="125"/>
                    </a:lnTo>
                    <a:lnTo>
                      <a:pt x="81" y="130"/>
                    </a:lnTo>
                    <a:lnTo>
                      <a:pt x="85" y="135"/>
                    </a:lnTo>
                    <a:lnTo>
                      <a:pt x="88" y="135"/>
                    </a:lnTo>
                    <a:lnTo>
                      <a:pt x="90" y="137"/>
                    </a:lnTo>
                    <a:lnTo>
                      <a:pt x="92" y="144"/>
                    </a:lnTo>
                    <a:lnTo>
                      <a:pt x="92" y="146"/>
                    </a:lnTo>
                    <a:lnTo>
                      <a:pt x="92" y="149"/>
                    </a:lnTo>
                    <a:lnTo>
                      <a:pt x="92" y="151"/>
                    </a:lnTo>
                    <a:lnTo>
                      <a:pt x="92" y="151"/>
                    </a:lnTo>
                    <a:lnTo>
                      <a:pt x="92" y="151"/>
                    </a:lnTo>
                    <a:lnTo>
                      <a:pt x="92" y="156"/>
                    </a:lnTo>
                    <a:lnTo>
                      <a:pt x="90" y="161"/>
                    </a:lnTo>
                    <a:lnTo>
                      <a:pt x="90" y="163"/>
                    </a:lnTo>
                    <a:lnTo>
                      <a:pt x="90" y="165"/>
                    </a:lnTo>
                    <a:lnTo>
                      <a:pt x="92" y="170"/>
                    </a:lnTo>
                    <a:lnTo>
                      <a:pt x="92" y="170"/>
                    </a:lnTo>
                    <a:lnTo>
                      <a:pt x="92" y="172"/>
                    </a:lnTo>
                    <a:lnTo>
                      <a:pt x="92" y="172"/>
                    </a:lnTo>
                    <a:lnTo>
                      <a:pt x="95" y="172"/>
                    </a:lnTo>
                    <a:lnTo>
                      <a:pt x="95" y="172"/>
                    </a:lnTo>
                    <a:lnTo>
                      <a:pt x="97" y="175"/>
                    </a:lnTo>
                    <a:lnTo>
                      <a:pt x="99" y="177"/>
                    </a:lnTo>
                    <a:lnTo>
                      <a:pt x="104" y="182"/>
                    </a:lnTo>
                    <a:lnTo>
                      <a:pt x="107" y="184"/>
                    </a:lnTo>
                    <a:lnTo>
                      <a:pt x="109" y="187"/>
                    </a:lnTo>
                    <a:lnTo>
                      <a:pt x="111" y="189"/>
                    </a:lnTo>
                    <a:lnTo>
                      <a:pt x="114" y="191"/>
                    </a:lnTo>
                    <a:lnTo>
                      <a:pt x="116" y="194"/>
                    </a:lnTo>
                    <a:lnTo>
                      <a:pt x="116" y="196"/>
                    </a:lnTo>
                    <a:lnTo>
                      <a:pt x="116" y="199"/>
                    </a:lnTo>
                    <a:lnTo>
                      <a:pt x="116" y="206"/>
                    </a:lnTo>
                    <a:lnTo>
                      <a:pt x="118" y="208"/>
                    </a:lnTo>
                    <a:lnTo>
                      <a:pt x="121" y="208"/>
                    </a:lnTo>
                    <a:lnTo>
                      <a:pt x="121" y="206"/>
                    </a:lnTo>
                    <a:lnTo>
                      <a:pt x="123" y="206"/>
                    </a:lnTo>
                    <a:lnTo>
                      <a:pt x="125" y="203"/>
                    </a:lnTo>
                    <a:lnTo>
                      <a:pt x="128" y="201"/>
                    </a:lnTo>
                    <a:lnTo>
                      <a:pt x="130" y="201"/>
                    </a:lnTo>
                    <a:lnTo>
                      <a:pt x="130" y="196"/>
                    </a:lnTo>
                    <a:lnTo>
                      <a:pt x="130" y="194"/>
                    </a:lnTo>
                    <a:lnTo>
                      <a:pt x="130" y="191"/>
                    </a:lnTo>
                    <a:lnTo>
                      <a:pt x="128" y="191"/>
                    </a:lnTo>
                    <a:lnTo>
                      <a:pt x="128" y="189"/>
                    </a:lnTo>
                    <a:lnTo>
                      <a:pt x="125" y="187"/>
                    </a:lnTo>
                    <a:lnTo>
                      <a:pt x="125" y="184"/>
                    </a:lnTo>
                    <a:lnTo>
                      <a:pt x="125" y="182"/>
                    </a:lnTo>
                    <a:lnTo>
                      <a:pt x="123" y="182"/>
                    </a:lnTo>
                    <a:lnTo>
                      <a:pt x="123" y="180"/>
                    </a:lnTo>
                    <a:lnTo>
                      <a:pt x="121" y="177"/>
                    </a:lnTo>
                    <a:lnTo>
                      <a:pt x="118" y="177"/>
                    </a:lnTo>
                    <a:lnTo>
                      <a:pt x="118" y="177"/>
                    </a:lnTo>
                    <a:lnTo>
                      <a:pt x="118" y="177"/>
                    </a:lnTo>
                    <a:lnTo>
                      <a:pt x="118" y="180"/>
                    </a:lnTo>
                    <a:lnTo>
                      <a:pt x="118" y="182"/>
                    </a:lnTo>
                    <a:lnTo>
                      <a:pt x="116" y="182"/>
                    </a:lnTo>
                    <a:lnTo>
                      <a:pt x="116" y="182"/>
                    </a:lnTo>
                    <a:lnTo>
                      <a:pt x="116" y="180"/>
                    </a:lnTo>
                    <a:lnTo>
                      <a:pt x="116" y="180"/>
                    </a:lnTo>
                    <a:lnTo>
                      <a:pt x="114" y="180"/>
                    </a:lnTo>
                    <a:lnTo>
                      <a:pt x="114" y="177"/>
                    </a:lnTo>
                    <a:lnTo>
                      <a:pt x="111" y="170"/>
                    </a:lnTo>
                    <a:lnTo>
                      <a:pt x="114" y="170"/>
                    </a:lnTo>
                    <a:lnTo>
                      <a:pt x="114" y="168"/>
                    </a:lnTo>
                    <a:lnTo>
                      <a:pt x="114" y="165"/>
                    </a:lnTo>
                    <a:lnTo>
                      <a:pt x="114" y="163"/>
                    </a:lnTo>
                    <a:lnTo>
                      <a:pt x="111" y="161"/>
                    </a:lnTo>
                    <a:lnTo>
                      <a:pt x="111" y="154"/>
                    </a:lnTo>
                    <a:lnTo>
                      <a:pt x="111" y="151"/>
                    </a:lnTo>
                    <a:lnTo>
                      <a:pt x="109" y="151"/>
                    </a:lnTo>
                    <a:lnTo>
                      <a:pt x="109" y="146"/>
                    </a:lnTo>
                    <a:lnTo>
                      <a:pt x="109" y="142"/>
                    </a:lnTo>
                    <a:lnTo>
                      <a:pt x="109" y="139"/>
                    </a:lnTo>
                    <a:lnTo>
                      <a:pt x="109" y="137"/>
                    </a:lnTo>
                    <a:lnTo>
                      <a:pt x="109" y="135"/>
                    </a:lnTo>
                    <a:lnTo>
                      <a:pt x="109" y="132"/>
                    </a:lnTo>
                    <a:lnTo>
                      <a:pt x="109" y="130"/>
                    </a:lnTo>
                    <a:lnTo>
                      <a:pt x="109" y="130"/>
                    </a:lnTo>
                    <a:lnTo>
                      <a:pt x="109" y="127"/>
                    </a:lnTo>
                    <a:lnTo>
                      <a:pt x="104" y="123"/>
                    </a:lnTo>
                    <a:lnTo>
                      <a:pt x="104" y="123"/>
                    </a:lnTo>
                    <a:lnTo>
                      <a:pt x="104" y="125"/>
                    </a:lnTo>
                    <a:lnTo>
                      <a:pt x="104" y="127"/>
                    </a:lnTo>
                    <a:lnTo>
                      <a:pt x="104" y="130"/>
                    </a:lnTo>
                    <a:lnTo>
                      <a:pt x="104" y="130"/>
                    </a:lnTo>
                    <a:lnTo>
                      <a:pt x="104" y="130"/>
                    </a:lnTo>
                    <a:lnTo>
                      <a:pt x="102" y="127"/>
                    </a:lnTo>
                    <a:lnTo>
                      <a:pt x="104" y="123"/>
                    </a:lnTo>
                    <a:lnTo>
                      <a:pt x="102" y="120"/>
                    </a:lnTo>
                    <a:lnTo>
                      <a:pt x="102" y="120"/>
                    </a:lnTo>
                    <a:lnTo>
                      <a:pt x="102" y="118"/>
                    </a:lnTo>
                    <a:lnTo>
                      <a:pt x="102" y="118"/>
                    </a:lnTo>
                    <a:lnTo>
                      <a:pt x="99" y="116"/>
                    </a:lnTo>
                    <a:lnTo>
                      <a:pt x="99" y="113"/>
                    </a:lnTo>
                    <a:lnTo>
                      <a:pt x="99" y="109"/>
                    </a:lnTo>
                    <a:lnTo>
                      <a:pt x="97" y="106"/>
                    </a:lnTo>
                    <a:lnTo>
                      <a:pt x="95" y="104"/>
                    </a:lnTo>
                    <a:lnTo>
                      <a:pt x="95" y="101"/>
                    </a:lnTo>
                    <a:lnTo>
                      <a:pt x="95" y="99"/>
                    </a:lnTo>
                    <a:lnTo>
                      <a:pt x="95" y="97"/>
                    </a:lnTo>
                    <a:lnTo>
                      <a:pt x="95" y="94"/>
                    </a:lnTo>
                    <a:lnTo>
                      <a:pt x="95" y="92"/>
                    </a:lnTo>
                    <a:lnTo>
                      <a:pt x="95" y="92"/>
                    </a:lnTo>
                    <a:lnTo>
                      <a:pt x="95" y="90"/>
                    </a:lnTo>
                    <a:lnTo>
                      <a:pt x="95" y="90"/>
                    </a:lnTo>
                    <a:lnTo>
                      <a:pt x="92" y="90"/>
                    </a:lnTo>
                    <a:lnTo>
                      <a:pt x="92" y="87"/>
                    </a:lnTo>
                    <a:lnTo>
                      <a:pt x="92" y="82"/>
                    </a:lnTo>
                    <a:lnTo>
                      <a:pt x="90" y="82"/>
                    </a:lnTo>
                    <a:lnTo>
                      <a:pt x="90" y="82"/>
                    </a:lnTo>
                    <a:lnTo>
                      <a:pt x="90" y="82"/>
                    </a:lnTo>
                    <a:lnTo>
                      <a:pt x="90" y="80"/>
                    </a:lnTo>
                    <a:lnTo>
                      <a:pt x="90" y="80"/>
                    </a:lnTo>
                    <a:lnTo>
                      <a:pt x="88" y="80"/>
                    </a:lnTo>
                    <a:lnTo>
                      <a:pt x="88" y="78"/>
                    </a:lnTo>
                    <a:lnTo>
                      <a:pt x="88" y="75"/>
                    </a:lnTo>
                    <a:lnTo>
                      <a:pt x="85" y="71"/>
                    </a:lnTo>
                    <a:lnTo>
                      <a:pt x="85" y="68"/>
                    </a:lnTo>
                    <a:lnTo>
                      <a:pt x="81" y="66"/>
                    </a:lnTo>
                    <a:lnTo>
                      <a:pt x="81" y="64"/>
                    </a:lnTo>
                    <a:lnTo>
                      <a:pt x="78" y="61"/>
                    </a:lnTo>
                    <a:lnTo>
                      <a:pt x="78" y="59"/>
                    </a:lnTo>
                    <a:lnTo>
                      <a:pt x="76" y="56"/>
                    </a:lnTo>
                    <a:lnTo>
                      <a:pt x="76" y="54"/>
                    </a:lnTo>
                    <a:lnTo>
                      <a:pt x="76" y="52"/>
                    </a:lnTo>
                    <a:lnTo>
                      <a:pt x="78" y="47"/>
                    </a:lnTo>
                    <a:lnTo>
                      <a:pt x="78" y="45"/>
                    </a:lnTo>
                    <a:lnTo>
                      <a:pt x="78" y="40"/>
                    </a:lnTo>
                    <a:lnTo>
                      <a:pt x="78" y="38"/>
                    </a:lnTo>
                    <a:lnTo>
                      <a:pt x="78" y="35"/>
                    </a:lnTo>
                    <a:lnTo>
                      <a:pt x="78" y="33"/>
                    </a:lnTo>
                    <a:lnTo>
                      <a:pt x="81" y="26"/>
                    </a:lnTo>
                    <a:lnTo>
                      <a:pt x="83" y="23"/>
                    </a:lnTo>
                    <a:lnTo>
                      <a:pt x="83" y="19"/>
                    </a:lnTo>
                    <a:lnTo>
                      <a:pt x="83" y="19"/>
                    </a:lnTo>
                    <a:lnTo>
                      <a:pt x="83" y="16"/>
                    </a:lnTo>
                    <a:lnTo>
                      <a:pt x="85" y="19"/>
                    </a:lnTo>
                    <a:lnTo>
                      <a:pt x="85" y="19"/>
                    </a:lnTo>
                    <a:lnTo>
                      <a:pt x="88" y="21"/>
                    </a:lnTo>
                    <a:lnTo>
                      <a:pt x="88" y="21"/>
                    </a:lnTo>
                    <a:lnTo>
                      <a:pt x="92" y="23"/>
                    </a:lnTo>
                    <a:lnTo>
                      <a:pt x="95" y="26"/>
                    </a:lnTo>
                    <a:lnTo>
                      <a:pt x="95" y="26"/>
                    </a:lnTo>
                    <a:lnTo>
                      <a:pt x="97" y="26"/>
                    </a:lnTo>
                    <a:lnTo>
                      <a:pt x="97" y="23"/>
                    </a:lnTo>
                    <a:lnTo>
                      <a:pt x="99" y="23"/>
                    </a:lnTo>
                    <a:lnTo>
                      <a:pt x="102" y="23"/>
                    </a:lnTo>
                    <a:lnTo>
                      <a:pt x="102" y="26"/>
                    </a:lnTo>
                    <a:lnTo>
                      <a:pt x="102" y="26"/>
                    </a:lnTo>
                    <a:lnTo>
                      <a:pt x="102" y="28"/>
                    </a:lnTo>
                    <a:lnTo>
                      <a:pt x="104" y="30"/>
                    </a:lnTo>
                    <a:lnTo>
                      <a:pt x="109" y="30"/>
                    </a:lnTo>
                    <a:lnTo>
                      <a:pt x="109" y="30"/>
                    </a:lnTo>
                    <a:lnTo>
                      <a:pt x="111" y="30"/>
                    </a:lnTo>
                    <a:lnTo>
                      <a:pt x="111" y="33"/>
                    </a:lnTo>
                    <a:lnTo>
                      <a:pt x="111" y="35"/>
                    </a:lnTo>
                    <a:lnTo>
                      <a:pt x="109" y="35"/>
                    </a:lnTo>
                    <a:lnTo>
                      <a:pt x="109" y="35"/>
                    </a:lnTo>
                    <a:lnTo>
                      <a:pt x="109" y="35"/>
                    </a:lnTo>
                    <a:lnTo>
                      <a:pt x="109" y="35"/>
                    </a:lnTo>
                    <a:lnTo>
                      <a:pt x="109" y="38"/>
                    </a:lnTo>
                    <a:lnTo>
                      <a:pt x="107" y="40"/>
                    </a:lnTo>
                    <a:lnTo>
                      <a:pt x="107" y="42"/>
                    </a:lnTo>
                    <a:lnTo>
                      <a:pt x="109" y="47"/>
                    </a:lnTo>
                    <a:lnTo>
                      <a:pt x="109" y="52"/>
                    </a:lnTo>
                    <a:lnTo>
                      <a:pt x="109" y="54"/>
                    </a:lnTo>
                    <a:lnTo>
                      <a:pt x="109" y="56"/>
                    </a:lnTo>
                    <a:lnTo>
                      <a:pt x="109" y="59"/>
                    </a:lnTo>
                    <a:lnTo>
                      <a:pt x="109" y="59"/>
                    </a:lnTo>
                    <a:lnTo>
                      <a:pt x="109" y="64"/>
                    </a:lnTo>
                    <a:lnTo>
                      <a:pt x="111" y="66"/>
                    </a:lnTo>
                    <a:lnTo>
                      <a:pt x="111" y="68"/>
                    </a:lnTo>
                    <a:lnTo>
                      <a:pt x="111" y="68"/>
                    </a:lnTo>
                    <a:lnTo>
                      <a:pt x="109" y="71"/>
                    </a:lnTo>
                    <a:lnTo>
                      <a:pt x="111" y="71"/>
                    </a:lnTo>
                    <a:lnTo>
                      <a:pt x="111" y="73"/>
                    </a:lnTo>
                    <a:lnTo>
                      <a:pt x="111" y="75"/>
                    </a:lnTo>
                    <a:lnTo>
                      <a:pt x="111" y="78"/>
                    </a:lnTo>
                    <a:lnTo>
                      <a:pt x="114" y="80"/>
                    </a:lnTo>
                    <a:lnTo>
                      <a:pt x="114" y="82"/>
                    </a:lnTo>
                    <a:lnTo>
                      <a:pt x="114" y="82"/>
                    </a:lnTo>
                    <a:lnTo>
                      <a:pt x="114" y="82"/>
                    </a:lnTo>
                    <a:lnTo>
                      <a:pt x="116" y="85"/>
                    </a:lnTo>
                    <a:lnTo>
                      <a:pt x="116" y="87"/>
                    </a:lnTo>
                    <a:lnTo>
                      <a:pt x="116" y="90"/>
                    </a:lnTo>
                    <a:lnTo>
                      <a:pt x="121" y="92"/>
                    </a:lnTo>
                    <a:lnTo>
                      <a:pt x="121" y="97"/>
                    </a:lnTo>
                    <a:lnTo>
                      <a:pt x="123" y="99"/>
                    </a:lnTo>
                    <a:lnTo>
                      <a:pt x="125" y="101"/>
                    </a:lnTo>
                    <a:lnTo>
                      <a:pt x="128" y="101"/>
                    </a:lnTo>
                    <a:lnTo>
                      <a:pt x="128" y="101"/>
                    </a:lnTo>
                    <a:lnTo>
                      <a:pt x="130" y="101"/>
                    </a:lnTo>
                    <a:lnTo>
                      <a:pt x="133" y="101"/>
                    </a:lnTo>
                    <a:lnTo>
                      <a:pt x="133" y="104"/>
                    </a:lnTo>
                    <a:lnTo>
                      <a:pt x="130" y="106"/>
                    </a:lnTo>
                    <a:lnTo>
                      <a:pt x="130" y="109"/>
                    </a:lnTo>
                    <a:lnTo>
                      <a:pt x="130" y="111"/>
                    </a:lnTo>
                    <a:lnTo>
                      <a:pt x="130" y="111"/>
                    </a:lnTo>
                    <a:lnTo>
                      <a:pt x="133" y="113"/>
                    </a:lnTo>
                    <a:lnTo>
                      <a:pt x="133" y="116"/>
                    </a:lnTo>
                    <a:lnTo>
                      <a:pt x="135" y="116"/>
                    </a:lnTo>
                    <a:lnTo>
                      <a:pt x="140" y="118"/>
                    </a:lnTo>
                    <a:lnTo>
                      <a:pt x="140" y="120"/>
                    </a:lnTo>
                    <a:lnTo>
                      <a:pt x="140" y="120"/>
                    </a:lnTo>
                    <a:lnTo>
                      <a:pt x="140" y="123"/>
                    </a:lnTo>
                    <a:lnTo>
                      <a:pt x="140" y="125"/>
                    </a:lnTo>
                    <a:lnTo>
                      <a:pt x="142" y="127"/>
                    </a:lnTo>
                    <a:lnTo>
                      <a:pt x="142" y="127"/>
                    </a:lnTo>
                    <a:lnTo>
                      <a:pt x="147" y="127"/>
                    </a:lnTo>
                    <a:lnTo>
                      <a:pt x="149" y="130"/>
                    </a:lnTo>
                    <a:lnTo>
                      <a:pt x="149" y="132"/>
                    </a:lnTo>
                    <a:lnTo>
                      <a:pt x="149" y="132"/>
                    </a:lnTo>
                    <a:lnTo>
                      <a:pt x="149" y="135"/>
                    </a:lnTo>
                    <a:lnTo>
                      <a:pt x="149" y="135"/>
                    </a:lnTo>
                    <a:lnTo>
                      <a:pt x="149" y="137"/>
                    </a:lnTo>
                    <a:lnTo>
                      <a:pt x="149" y="137"/>
                    </a:lnTo>
                    <a:lnTo>
                      <a:pt x="149" y="135"/>
                    </a:lnTo>
                    <a:lnTo>
                      <a:pt x="147" y="137"/>
                    </a:lnTo>
                    <a:lnTo>
                      <a:pt x="144" y="139"/>
                    </a:lnTo>
                    <a:lnTo>
                      <a:pt x="144" y="142"/>
                    </a:lnTo>
                    <a:lnTo>
                      <a:pt x="142" y="146"/>
                    </a:lnTo>
                    <a:lnTo>
                      <a:pt x="144" y="149"/>
                    </a:lnTo>
                    <a:lnTo>
                      <a:pt x="144" y="149"/>
                    </a:lnTo>
                    <a:lnTo>
                      <a:pt x="144" y="151"/>
                    </a:lnTo>
                    <a:lnTo>
                      <a:pt x="147" y="149"/>
                    </a:lnTo>
                    <a:lnTo>
                      <a:pt x="149" y="149"/>
                    </a:lnTo>
                    <a:lnTo>
                      <a:pt x="151" y="149"/>
                    </a:lnTo>
                    <a:lnTo>
                      <a:pt x="151" y="146"/>
                    </a:lnTo>
                    <a:lnTo>
                      <a:pt x="151" y="149"/>
                    </a:lnTo>
                    <a:lnTo>
                      <a:pt x="149" y="151"/>
                    </a:lnTo>
                    <a:lnTo>
                      <a:pt x="147" y="151"/>
                    </a:lnTo>
                    <a:lnTo>
                      <a:pt x="147" y="151"/>
                    </a:lnTo>
                    <a:lnTo>
                      <a:pt x="147" y="154"/>
                    </a:lnTo>
                    <a:lnTo>
                      <a:pt x="149" y="151"/>
                    </a:lnTo>
                    <a:lnTo>
                      <a:pt x="151" y="151"/>
                    </a:lnTo>
                    <a:lnTo>
                      <a:pt x="151" y="151"/>
                    </a:lnTo>
                    <a:lnTo>
                      <a:pt x="151" y="154"/>
                    </a:lnTo>
                    <a:lnTo>
                      <a:pt x="154" y="154"/>
                    </a:lnTo>
                    <a:lnTo>
                      <a:pt x="156" y="156"/>
                    </a:lnTo>
                    <a:lnTo>
                      <a:pt x="159" y="158"/>
                    </a:lnTo>
                    <a:lnTo>
                      <a:pt x="163" y="161"/>
                    </a:lnTo>
                    <a:lnTo>
                      <a:pt x="163" y="161"/>
                    </a:lnTo>
                    <a:lnTo>
                      <a:pt x="163" y="163"/>
                    </a:lnTo>
                    <a:lnTo>
                      <a:pt x="163" y="163"/>
                    </a:lnTo>
                    <a:lnTo>
                      <a:pt x="161" y="163"/>
                    </a:lnTo>
                    <a:lnTo>
                      <a:pt x="161" y="163"/>
                    </a:lnTo>
                    <a:lnTo>
                      <a:pt x="161" y="161"/>
                    </a:lnTo>
                    <a:lnTo>
                      <a:pt x="159" y="161"/>
                    </a:lnTo>
                    <a:lnTo>
                      <a:pt x="161" y="163"/>
                    </a:lnTo>
                    <a:lnTo>
                      <a:pt x="163" y="168"/>
                    </a:lnTo>
                    <a:lnTo>
                      <a:pt x="163" y="170"/>
                    </a:lnTo>
                    <a:lnTo>
                      <a:pt x="163" y="170"/>
                    </a:lnTo>
                    <a:lnTo>
                      <a:pt x="166" y="172"/>
                    </a:lnTo>
                    <a:lnTo>
                      <a:pt x="168" y="172"/>
                    </a:lnTo>
                    <a:lnTo>
                      <a:pt x="168" y="172"/>
                    </a:lnTo>
                    <a:lnTo>
                      <a:pt x="168" y="172"/>
                    </a:lnTo>
                    <a:lnTo>
                      <a:pt x="170" y="172"/>
                    </a:lnTo>
                    <a:lnTo>
                      <a:pt x="170" y="172"/>
                    </a:lnTo>
                    <a:lnTo>
                      <a:pt x="170" y="175"/>
                    </a:lnTo>
                    <a:lnTo>
                      <a:pt x="170" y="175"/>
                    </a:lnTo>
                    <a:lnTo>
                      <a:pt x="170" y="177"/>
                    </a:lnTo>
                    <a:lnTo>
                      <a:pt x="166" y="175"/>
                    </a:lnTo>
                    <a:lnTo>
                      <a:pt x="166" y="175"/>
                    </a:lnTo>
                    <a:lnTo>
                      <a:pt x="175" y="184"/>
                    </a:lnTo>
                    <a:lnTo>
                      <a:pt x="178" y="187"/>
                    </a:lnTo>
                    <a:lnTo>
                      <a:pt x="180" y="191"/>
                    </a:lnTo>
                    <a:lnTo>
                      <a:pt x="182" y="196"/>
                    </a:lnTo>
                    <a:lnTo>
                      <a:pt x="185" y="201"/>
                    </a:lnTo>
                    <a:lnTo>
                      <a:pt x="187" y="203"/>
                    </a:lnTo>
                    <a:lnTo>
                      <a:pt x="189" y="208"/>
                    </a:lnTo>
                    <a:lnTo>
                      <a:pt x="192" y="210"/>
                    </a:lnTo>
                    <a:lnTo>
                      <a:pt x="194" y="213"/>
                    </a:lnTo>
                    <a:lnTo>
                      <a:pt x="196" y="220"/>
                    </a:lnTo>
                    <a:lnTo>
                      <a:pt x="194" y="227"/>
                    </a:lnTo>
                    <a:lnTo>
                      <a:pt x="196" y="229"/>
                    </a:lnTo>
                    <a:lnTo>
                      <a:pt x="196" y="234"/>
                    </a:lnTo>
                    <a:lnTo>
                      <a:pt x="196" y="234"/>
                    </a:lnTo>
                    <a:lnTo>
                      <a:pt x="201" y="236"/>
                    </a:lnTo>
                    <a:lnTo>
                      <a:pt x="199" y="239"/>
                    </a:lnTo>
                    <a:lnTo>
                      <a:pt x="199" y="241"/>
                    </a:lnTo>
                    <a:lnTo>
                      <a:pt x="199" y="244"/>
                    </a:lnTo>
                    <a:lnTo>
                      <a:pt x="196" y="246"/>
                    </a:lnTo>
                    <a:lnTo>
                      <a:pt x="194" y="248"/>
                    </a:lnTo>
                    <a:lnTo>
                      <a:pt x="194" y="251"/>
                    </a:lnTo>
                    <a:lnTo>
                      <a:pt x="192" y="251"/>
                    </a:lnTo>
                    <a:lnTo>
                      <a:pt x="192" y="253"/>
                    </a:lnTo>
                    <a:lnTo>
                      <a:pt x="194" y="253"/>
                    </a:lnTo>
                    <a:lnTo>
                      <a:pt x="196" y="253"/>
                    </a:lnTo>
                    <a:lnTo>
                      <a:pt x="196" y="253"/>
                    </a:lnTo>
                    <a:lnTo>
                      <a:pt x="196" y="255"/>
                    </a:lnTo>
                    <a:lnTo>
                      <a:pt x="196" y="255"/>
                    </a:lnTo>
                    <a:lnTo>
                      <a:pt x="194" y="258"/>
                    </a:lnTo>
                    <a:lnTo>
                      <a:pt x="189" y="258"/>
                    </a:lnTo>
                    <a:lnTo>
                      <a:pt x="189" y="260"/>
                    </a:lnTo>
                    <a:lnTo>
                      <a:pt x="187" y="260"/>
                    </a:lnTo>
                    <a:lnTo>
                      <a:pt x="189" y="262"/>
                    </a:lnTo>
                    <a:lnTo>
                      <a:pt x="189" y="262"/>
                    </a:lnTo>
                    <a:lnTo>
                      <a:pt x="189" y="267"/>
                    </a:lnTo>
                    <a:lnTo>
                      <a:pt x="189" y="270"/>
                    </a:lnTo>
                    <a:lnTo>
                      <a:pt x="192" y="274"/>
                    </a:lnTo>
                    <a:lnTo>
                      <a:pt x="194" y="277"/>
                    </a:lnTo>
                    <a:lnTo>
                      <a:pt x="196" y="279"/>
                    </a:lnTo>
                    <a:lnTo>
                      <a:pt x="196" y="284"/>
                    </a:lnTo>
                    <a:lnTo>
                      <a:pt x="204" y="286"/>
                    </a:lnTo>
                    <a:lnTo>
                      <a:pt x="206" y="288"/>
                    </a:lnTo>
                    <a:lnTo>
                      <a:pt x="208" y="288"/>
                    </a:lnTo>
                    <a:lnTo>
                      <a:pt x="213" y="291"/>
                    </a:lnTo>
                    <a:lnTo>
                      <a:pt x="215" y="293"/>
                    </a:lnTo>
                    <a:lnTo>
                      <a:pt x="218" y="298"/>
                    </a:lnTo>
                    <a:lnTo>
                      <a:pt x="220" y="300"/>
                    </a:lnTo>
                    <a:lnTo>
                      <a:pt x="220" y="303"/>
                    </a:lnTo>
                    <a:lnTo>
                      <a:pt x="230" y="307"/>
                    </a:lnTo>
                    <a:lnTo>
                      <a:pt x="234" y="310"/>
                    </a:lnTo>
                    <a:lnTo>
                      <a:pt x="237" y="310"/>
                    </a:lnTo>
                    <a:lnTo>
                      <a:pt x="241" y="312"/>
                    </a:lnTo>
                    <a:lnTo>
                      <a:pt x="246" y="312"/>
                    </a:lnTo>
                    <a:lnTo>
                      <a:pt x="248" y="312"/>
                    </a:lnTo>
                    <a:lnTo>
                      <a:pt x="248" y="312"/>
                    </a:lnTo>
                    <a:lnTo>
                      <a:pt x="251" y="315"/>
                    </a:lnTo>
                    <a:lnTo>
                      <a:pt x="253" y="317"/>
                    </a:lnTo>
                    <a:lnTo>
                      <a:pt x="256" y="319"/>
                    </a:lnTo>
                    <a:lnTo>
                      <a:pt x="256" y="322"/>
                    </a:lnTo>
                    <a:lnTo>
                      <a:pt x="260" y="324"/>
                    </a:lnTo>
                    <a:lnTo>
                      <a:pt x="263" y="326"/>
                    </a:lnTo>
                    <a:lnTo>
                      <a:pt x="265" y="326"/>
                    </a:lnTo>
                    <a:lnTo>
                      <a:pt x="272" y="331"/>
                    </a:lnTo>
                    <a:lnTo>
                      <a:pt x="275" y="331"/>
                    </a:lnTo>
                    <a:lnTo>
                      <a:pt x="279" y="333"/>
                    </a:lnTo>
                    <a:lnTo>
                      <a:pt x="284" y="338"/>
                    </a:lnTo>
                    <a:lnTo>
                      <a:pt x="291" y="338"/>
                    </a:lnTo>
                    <a:lnTo>
                      <a:pt x="298" y="341"/>
                    </a:lnTo>
                    <a:lnTo>
                      <a:pt x="298" y="341"/>
                    </a:lnTo>
                    <a:lnTo>
                      <a:pt x="301" y="341"/>
                    </a:lnTo>
                    <a:lnTo>
                      <a:pt x="305" y="345"/>
                    </a:lnTo>
                    <a:lnTo>
                      <a:pt x="312" y="348"/>
                    </a:lnTo>
                    <a:lnTo>
                      <a:pt x="319" y="352"/>
                    </a:lnTo>
                    <a:lnTo>
                      <a:pt x="329" y="355"/>
                    </a:lnTo>
                    <a:lnTo>
                      <a:pt x="336" y="360"/>
                    </a:lnTo>
                    <a:lnTo>
                      <a:pt x="341" y="360"/>
                    </a:lnTo>
                    <a:lnTo>
                      <a:pt x="343" y="360"/>
                    </a:lnTo>
                    <a:lnTo>
                      <a:pt x="345" y="360"/>
                    </a:lnTo>
                    <a:lnTo>
                      <a:pt x="355" y="355"/>
                    </a:lnTo>
                    <a:lnTo>
                      <a:pt x="360" y="352"/>
                    </a:lnTo>
                    <a:lnTo>
                      <a:pt x="367" y="350"/>
                    </a:lnTo>
                    <a:lnTo>
                      <a:pt x="371" y="348"/>
                    </a:lnTo>
                    <a:lnTo>
                      <a:pt x="374" y="348"/>
                    </a:lnTo>
                    <a:lnTo>
                      <a:pt x="374" y="348"/>
                    </a:lnTo>
                    <a:lnTo>
                      <a:pt x="374" y="348"/>
                    </a:lnTo>
                    <a:lnTo>
                      <a:pt x="369" y="348"/>
                    </a:lnTo>
                    <a:lnTo>
                      <a:pt x="369" y="345"/>
                    </a:lnTo>
                    <a:lnTo>
                      <a:pt x="371" y="345"/>
                    </a:lnTo>
                    <a:lnTo>
                      <a:pt x="371" y="343"/>
                    </a:lnTo>
                    <a:lnTo>
                      <a:pt x="374" y="343"/>
                    </a:lnTo>
                    <a:lnTo>
                      <a:pt x="374" y="345"/>
                    </a:lnTo>
                    <a:lnTo>
                      <a:pt x="374" y="345"/>
                    </a:lnTo>
                    <a:lnTo>
                      <a:pt x="374" y="348"/>
                    </a:lnTo>
                    <a:lnTo>
                      <a:pt x="374" y="348"/>
                    </a:lnTo>
                    <a:lnTo>
                      <a:pt x="376" y="345"/>
                    </a:lnTo>
                    <a:lnTo>
                      <a:pt x="376" y="345"/>
                    </a:lnTo>
                    <a:lnTo>
                      <a:pt x="379" y="345"/>
                    </a:lnTo>
                    <a:lnTo>
                      <a:pt x="376" y="348"/>
                    </a:lnTo>
                    <a:lnTo>
                      <a:pt x="376" y="348"/>
                    </a:lnTo>
                    <a:lnTo>
                      <a:pt x="379" y="350"/>
                    </a:lnTo>
                    <a:lnTo>
                      <a:pt x="388" y="352"/>
                    </a:lnTo>
                    <a:lnTo>
                      <a:pt x="388" y="352"/>
                    </a:lnTo>
                    <a:lnTo>
                      <a:pt x="383" y="350"/>
                    </a:lnTo>
                    <a:lnTo>
                      <a:pt x="383" y="350"/>
                    </a:lnTo>
                    <a:lnTo>
                      <a:pt x="383" y="350"/>
                    </a:lnTo>
                    <a:lnTo>
                      <a:pt x="381" y="348"/>
                    </a:lnTo>
                    <a:lnTo>
                      <a:pt x="381" y="348"/>
                    </a:lnTo>
                    <a:lnTo>
                      <a:pt x="381" y="348"/>
                    </a:lnTo>
                    <a:lnTo>
                      <a:pt x="381" y="348"/>
                    </a:lnTo>
                    <a:lnTo>
                      <a:pt x="383" y="348"/>
                    </a:lnTo>
                    <a:lnTo>
                      <a:pt x="383" y="348"/>
                    </a:lnTo>
                    <a:lnTo>
                      <a:pt x="386" y="350"/>
                    </a:lnTo>
                    <a:lnTo>
                      <a:pt x="390" y="352"/>
                    </a:lnTo>
                    <a:lnTo>
                      <a:pt x="393" y="355"/>
                    </a:lnTo>
                    <a:lnTo>
                      <a:pt x="395" y="357"/>
                    </a:lnTo>
                    <a:lnTo>
                      <a:pt x="402" y="364"/>
                    </a:lnTo>
                    <a:lnTo>
                      <a:pt x="405" y="367"/>
                    </a:lnTo>
                    <a:lnTo>
                      <a:pt x="405" y="369"/>
                    </a:lnTo>
                    <a:lnTo>
                      <a:pt x="407" y="371"/>
                    </a:lnTo>
                    <a:lnTo>
                      <a:pt x="412" y="378"/>
                    </a:lnTo>
                    <a:lnTo>
                      <a:pt x="416" y="383"/>
                    </a:lnTo>
                    <a:lnTo>
                      <a:pt x="416" y="383"/>
                    </a:lnTo>
                    <a:lnTo>
                      <a:pt x="416" y="383"/>
                    </a:lnTo>
                    <a:lnTo>
                      <a:pt x="416" y="381"/>
                    </a:lnTo>
                    <a:lnTo>
                      <a:pt x="419" y="381"/>
                    </a:lnTo>
                    <a:lnTo>
                      <a:pt x="419" y="378"/>
                    </a:lnTo>
                    <a:lnTo>
                      <a:pt x="419" y="378"/>
                    </a:lnTo>
                    <a:lnTo>
                      <a:pt x="419" y="376"/>
                    </a:lnTo>
                    <a:lnTo>
                      <a:pt x="419" y="374"/>
                    </a:lnTo>
                    <a:lnTo>
                      <a:pt x="419" y="374"/>
                    </a:lnTo>
                    <a:lnTo>
                      <a:pt x="421" y="374"/>
                    </a:lnTo>
                    <a:lnTo>
                      <a:pt x="421" y="371"/>
                    </a:lnTo>
                    <a:lnTo>
                      <a:pt x="419" y="369"/>
                    </a:lnTo>
                    <a:lnTo>
                      <a:pt x="419" y="369"/>
                    </a:lnTo>
                    <a:lnTo>
                      <a:pt x="419" y="367"/>
                    </a:lnTo>
                    <a:lnTo>
                      <a:pt x="421" y="364"/>
                    </a:lnTo>
                    <a:lnTo>
                      <a:pt x="424" y="360"/>
                    </a:lnTo>
                    <a:lnTo>
                      <a:pt x="428" y="355"/>
                    </a:lnTo>
                    <a:lnTo>
                      <a:pt x="431" y="352"/>
                    </a:lnTo>
                    <a:lnTo>
                      <a:pt x="435" y="352"/>
                    </a:lnTo>
                    <a:lnTo>
                      <a:pt x="438" y="352"/>
                    </a:lnTo>
                    <a:lnTo>
                      <a:pt x="442" y="352"/>
                    </a:lnTo>
                    <a:lnTo>
                      <a:pt x="450" y="352"/>
                    </a:lnTo>
                    <a:lnTo>
                      <a:pt x="452" y="352"/>
                    </a:lnTo>
                    <a:lnTo>
                      <a:pt x="454" y="352"/>
                    </a:lnTo>
                    <a:lnTo>
                      <a:pt x="454" y="350"/>
                    </a:lnTo>
                    <a:lnTo>
                      <a:pt x="454" y="348"/>
                    </a:lnTo>
                    <a:lnTo>
                      <a:pt x="454" y="345"/>
                    </a:lnTo>
                    <a:lnTo>
                      <a:pt x="454" y="345"/>
                    </a:lnTo>
                    <a:lnTo>
                      <a:pt x="454" y="343"/>
                    </a:lnTo>
                    <a:lnTo>
                      <a:pt x="452" y="343"/>
                    </a:lnTo>
                    <a:lnTo>
                      <a:pt x="452" y="343"/>
                    </a:lnTo>
                    <a:lnTo>
                      <a:pt x="452" y="341"/>
                    </a:lnTo>
                    <a:lnTo>
                      <a:pt x="452" y="341"/>
                    </a:lnTo>
                    <a:lnTo>
                      <a:pt x="450" y="338"/>
                    </a:lnTo>
                    <a:lnTo>
                      <a:pt x="450" y="336"/>
                    </a:lnTo>
                    <a:lnTo>
                      <a:pt x="445" y="333"/>
                    </a:lnTo>
                    <a:lnTo>
                      <a:pt x="445" y="331"/>
                    </a:lnTo>
                    <a:lnTo>
                      <a:pt x="442" y="329"/>
                    </a:lnTo>
                    <a:lnTo>
                      <a:pt x="440" y="326"/>
                    </a:lnTo>
                    <a:lnTo>
                      <a:pt x="440" y="326"/>
                    </a:lnTo>
                    <a:lnTo>
                      <a:pt x="440" y="326"/>
                    </a:lnTo>
                    <a:lnTo>
                      <a:pt x="442" y="326"/>
                    </a:lnTo>
                    <a:lnTo>
                      <a:pt x="447" y="326"/>
                    </a:lnTo>
                    <a:lnTo>
                      <a:pt x="447" y="322"/>
                    </a:lnTo>
                    <a:lnTo>
                      <a:pt x="447" y="319"/>
                    </a:lnTo>
                    <a:lnTo>
                      <a:pt x="450" y="315"/>
                    </a:lnTo>
                    <a:lnTo>
                      <a:pt x="454" y="315"/>
                    </a:lnTo>
                    <a:lnTo>
                      <a:pt x="464" y="315"/>
                    </a:lnTo>
                    <a:lnTo>
                      <a:pt x="471" y="315"/>
                    </a:lnTo>
                    <a:lnTo>
                      <a:pt x="478" y="315"/>
                    </a:lnTo>
                    <a:lnTo>
                      <a:pt x="483" y="315"/>
                    </a:lnTo>
                    <a:lnTo>
                      <a:pt x="483" y="312"/>
                    </a:lnTo>
                    <a:lnTo>
                      <a:pt x="483" y="312"/>
                    </a:lnTo>
                    <a:lnTo>
                      <a:pt x="485" y="310"/>
                    </a:lnTo>
                    <a:lnTo>
                      <a:pt x="487" y="312"/>
                    </a:lnTo>
                    <a:lnTo>
                      <a:pt x="487" y="312"/>
                    </a:lnTo>
                    <a:lnTo>
                      <a:pt x="487" y="312"/>
                    </a:lnTo>
                    <a:lnTo>
                      <a:pt x="490" y="312"/>
                    </a:lnTo>
                    <a:lnTo>
                      <a:pt x="490" y="310"/>
                    </a:lnTo>
                    <a:lnTo>
                      <a:pt x="494" y="305"/>
                    </a:lnTo>
                    <a:lnTo>
                      <a:pt x="497" y="300"/>
                    </a:lnTo>
                    <a:lnTo>
                      <a:pt x="497" y="300"/>
                    </a:lnTo>
                    <a:lnTo>
                      <a:pt x="499" y="300"/>
                    </a:lnTo>
                    <a:lnTo>
                      <a:pt x="499" y="300"/>
                    </a:lnTo>
                    <a:lnTo>
                      <a:pt x="502" y="300"/>
                    </a:lnTo>
                    <a:lnTo>
                      <a:pt x="502" y="298"/>
                    </a:lnTo>
                    <a:lnTo>
                      <a:pt x="502" y="296"/>
                    </a:lnTo>
                    <a:lnTo>
                      <a:pt x="504" y="293"/>
                    </a:lnTo>
                    <a:lnTo>
                      <a:pt x="506" y="293"/>
                    </a:lnTo>
                    <a:lnTo>
                      <a:pt x="506" y="293"/>
                    </a:lnTo>
                    <a:lnTo>
                      <a:pt x="506" y="296"/>
                    </a:lnTo>
                    <a:lnTo>
                      <a:pt x="504" y="300"/>
                    </a:lnTo>
                    <a:lnTo>
                      <a:pt x="504" y="300"/>
                    </a:lnTo>
                    <a:lnTo>
                      <a:pt x="506" y="300"/>
                    </a:lnTo>
                    <a:lnTo>
                      <a:pt x="506" y="305"/>
                    </a:lnTo>
                    <a:lnTo>
                      <a:pt x="509" y="305"/>
                    </a:lnTo>
                    <a:lnTo>
                      <a:pt x="509" y="303"/>
                    </a:lnTo>
                    <a:lnTo>
                      <a:pt x="509" y="300"/>
                    </a:lnTo>
                    <a:lnTo>
                      <a:pt x="511" y="296"/>
                    </a:lnTo>
                    <a:lnTo>
                      <a:pt x="513" y="293"/>
                    </a:lnTo>
                    <a:lnTo>
                      <a:pt x="516" y="288"/>
                    </a:lnTo>
                    <a:lnTo>
                      <a:pt x="518" y="284"/>
                    </a:lnTo>
                    <a:lnTo>
                      <a:pt x="518" y="284"/>
                    </a:lnTo>
                    <a:lnTo>
                      <a:pt x="516" y="284"/>
                    </a:lnTo>
                    <a:lnTo>
                      <a:pt x="516" y="284"/>
                    </a:lnTo>
                    <a:lnTo>
                      <a:pt x="513" y="284"/>
                    </a:lnTo>
                    <a:lnTo>
                      <a:pt x="513" y="281"/>
                    </a:lnTo>
                    <a:lnTo>
                      <a:pt x="516" y="281"/>
                    </a:lnTo>
                    <a:lnTo>
                      <a:pt x="516" y="281"/>
                    </a:lnTo>
                    <a:lnTo>
                      <a:pt x="518" y="281"/>
                    </a:lnTo>
                    <a:lnTo>
                      <a:pt x="518" y="279"/>
                    </a:lnTo>
                    <a:lnTo>
                      <a:pt x="518" y="279"/>
                    </a:lnTo>
                    <a:lnTo>
                      <a:pt x="521" y="277"/>
                    </a:lnTo>
                    <a:lnTo>
                      <a:pt x="518" y="277"/>
                    </a:lnTo>
                    <a:lnTo>
                      <a:pt x="518" y="277"/>
                    </a:lnTo>
                    <a:lnTo>
                      <a:pt x="516" y="277"/>
                    </a:lnTo>
                    <a:lnTo>
                      <a:pt x="516" y="277"/>
                    </a:lnTo>
                    <a:lnTo>
                      <a:pt x="513" y="277"/>
                    </a:lnTo>
                    <a:lnTo>
                      <a:pt x="516" y="277"/>
                    </a:lnTo>
                    <a:lnTo>
                      <a:pt x="518" y="272"/>
                    </a:lnTo>
                    <a:lnTo>
                      <a:pt x="518" y="272"/>
                    </a:lnTo>
                    <a:lnTo>
                      <a:pt x="521" y="272"/>
                    </a:lnTo>
                    <a:lnTo>
                      <a:pt x="521" y="272"/>
                    </a:lnTo>
                    <a:lnTo>
                      <a:pt x="521" y="270"/>
                    </a:lnTo>
                    <a:lnTo>
                      <a:pt x="521" y="267"/>
                    </a:lnTo>
                    <a:lnTo>
                      <a:pt x="521" y="267"/>
                    </a:lnTo>
                    <a:lnTo>
                      <a:pt x="521" y="262"/>
                    </a:lnTo>
                    <a:lnTo>
                      <a:pt x="525" y="258"/>
                    </a:lnTo>
                    <a:lnTo>
                      <a:pt x="530" y="255"/>
                    </a:lnTo>
                    <a:lnTo>
                      <a:pt x="532" y="251"/>
                    </a:lnTo>
                    <a:lnTo>
                      <a:pt x="535" y="251"/>
                    </a:lnTo>
                    <a:lnTo>
                      <a:pt x="535" y="246"/>
                    </a:lnTo>
                    <a:lnTo>
                      <a:pt x="537" y="244"/>
                    </a:lnTo>
                    <a:lnTo>
                      <a:pt x="535" y="244"/>
                    </a:lnTo>
                    <a:lnTo>
                      <a:pt x="535" y="241"/>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95"/>
              <p:cNvSpPr>
                <a:spLocks/>
              </p:cNvSpPr>
              <p:nvPr/>
            </p:nvSpPr>
            <p:spPr bwMode="auto">
              <a:xfrm>
                <a:off x="3584" y="3068"/>
                <a:ext cx="4" cy="7"/>
              </a:xfrm>
              <a:custGeom>
                <a:avLst/>
                <a:gdLst>
                  <a:gd name="T0" fmla="*/ 4 w 4"/>
                  <a:gd name="T1" fmla="*/ 2 h 7"/>
                  <a:gd name="T2" fmla="*/ 2 w 4"/>
                  <a:gd name="T3" fmla="*/ 2 h 7"/>
                  <a:gd name="T4" fmla="*/ 2 w 4"/>
                  <a:gd name="T5" fmla="*/ 0 h 7"/>
                  <a:gd name="T6" fmla="*/ 2 w 4"/>
                  <a:gd name="T7" fmla="*/ 0 h 7"/>
                  <a:gd name="T8" fmla="*/ 0 w 4"/>
                  <a:gd name="T9" fmla="*/ 0 h 7"/>
                  <a:gd name="T10" fmla="*/ 2 w 4"/>
                  <a:gd name="T11" fmla="*/ 2 h 7"/>
                  <a:gd name="T12" fmla="*/ 2 w 4"/>
                  <a:gd name="T13" fmla="*/ 4 h 7"/>
                  <a:gd name="T14" fmla="*/ 2 w 4"/>
                  <a:gd name="T15" fmla="*/ 4 h 7"/>
                  <a:gd name="T16" fmla="*/ 2 w 4"/>
                  <a:gd name="T17" fmla="*/ 7 h 7"/>
                  <a:gd name="T18" fmla="*/ 2 w 4"/>
                  <a:gd name="T19" fmla="*/ 7 h 7"/>
                  <a:gd name="T20" fmla="*/ 2 w 4"/>
                  <a:gd name="T21" fmla="*/ 7 h 7"/>
                  <a:gd name="T22" fmla="*/ 2 w 4"/>
                  <a:gd name="T23" fmla="*/ 4 h 7"/>
                  <a:gd name="T24" fmla="*/ 4 w 4"/>
                  <a:gd name="T25" fmla="*/ 4 h 7"/>
                  <a:gd name="T26" fmla="*/ 4 w 4"/>
                  <a:gd name="T27" fmla="*/ 4 h 7"/>
                  <a:gd name="T28" fmla="*/ 4 w 4"/>
                  <a:gd name="T29"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7">
                    <a:moveTo>
                      <a:pt x="4" y="2"/>
                    </a:moveTo>
                    <a:lnTo>
                      <a:pt x="2" y="2"/>
                    </a:lnTo>
                    <a:lnTo>
                      <a:pt x="2" y="0"/>
                    </a:lnTo>
                    <a:lnTo>
                      <a:pt x="2" y="0"/>
                    </a:lnTo>
                    <a:lnTo>
                      <a:pt x="0" y="0"/>
                    </a:lnTo>
                    <a:lnTo>
                      <a:pt x="2" y="2"/>
                    </a:lnTo>
                    <a:lnTo>
                      <a:pt x="2" y="4"/>
                    </a:lnTo>
                    <a:lnTo>
                      <a:pt x="2" y="4"/>
                    </a:lnTo>
                    <a:lnTo>
                      <a:pt x="2" y="7"/>
                    </a:lnTo>
                    <a:lnTo>
                      <a:pt x="2" y="7"/>
                    </a:lnTo>
                    <a:lnTo>
                      <a:pt x="2" y="7"/>
                    </a:lnTo>
                    <a:lnTo>
                      <a:pt x="2" y="4"/>
                    </a:lnTo>
                    <a:lnTo>
                      <a:pt x="4" y="4"/>
                    </a:lnTo>
                    <a:lnTo>
                      <a:pt x="4" y="4"/>
                    </a:lnTo>
                    <a:lnTo>
                      <a:pt x="4" y="2"/>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96"/>
              <p:cNvSpPr>
                <a:spLocks noEditPoints="1"/>
              </p:cNvSpPr>
              <p:nvPr/>
            </p:nvSpPr>
            <p:spPr bwMode="auto">
              <a:xfrm>
                <a:off x="2441" y="2222"/>
                <a:ext cx="225" cy="265"/>
              </a:xfrm>
              <a:custGeom>
                <a:avLst/>
                <a:gdLst>
                  <a:gd name="T0" fmla="*/ 10 w 225"/>
                  <a:gd name="T1" fmla="*/ 161 h 265"/>
                  <a:gd name="T2" fmla="*/ 211 w 225"/>
                  <a:gd name="T3" fmla="*/ 50 h 265"/>
                  <a:gd name="T4" fmla="*/ 213 w 225"/>
                  <a:gd name="T5" fmla="*/ 41 h 265"/>
                  <a:gd name="T6" fmla="*/ 196 w 225"/>
                  <a:gd name="T7" fmla="*/ 29 h 265"/>
                  <a:gd name="T8" fmla="*/ 180 w 225"/>
                  <a:gd name="T9" fmla="*/ 17 h 265"/>
                  <a:gd name="T10" fmla="*/ 163 w 225"/>
                  <a:gd name="T11" fmla="*/ 5 h 265"/>
                  <a:gd name="T12" fmla="*/ 156 w 225"/>
                  <a:gd name="T13" fmla="*/ 12 h 265"/>
                  <a:gd name="T14" fmla="*/ 140 w 225"/>
                  <a:gd name="T15" fmla="*/ 29 h 265"/>
                  <a:gd name="T16" fmla="*/ 95 w 225"/>
                  <a:gd name="T17" fmla="*/ 31 h 265"/>
                  <a:gd name="T18" fmla="*/ 95 w 225"/>
                  <a:gd name="T19" fmla="*/ 45 h 265"/>
                  <a:gd name="T20" fmla="*/ 95 w 225"/>
                  <a:gd name="T21" fmla="*/ 59 h 265"/>
                  <a:gd name="T22" fmla="*/ 95 w 225"/>
                  <a:gd name="T23" fmla="*/ 74 h 265"/>
                  <a:gd name="T24" fmla="*/ 90 w 225"/>
                  <a:gd name="T25" fmla="*/ 83 h 265"/>
                  <a:gd name="T26" fmla="*/ 78 w 225"/>
                  <a:gd name="T27" fmla="*/ 90 h 265"/>
                  <a:gd name="T28" fmla="*/ 71 w 225"/>
                  <a:gd name="T29" fmla="*/ 97 h 265"/>
                  <a:gd name="T30" fmla="*/ 73 w 225"/>
                  <a:gd name="T31" fmla="*/ 109 h 265"/>
                  <a:gd name="T32" fmla="*/ 73 w 225"/>
                  <a:gd name="T33" fmla="*/ 123 h 265"/>
                  <a:gd name="T34" fmla="*/ 59 w 225"/>
                  <a:gd name="T35" fmla="*/ 128 h 265"/>
                  <a:gd name="T36" fmla="*/ 38 w 225"/>
                  <a:gd name="T37" fmla="*/ 128 h 265"/>
                  <a:gd name="T38" fmla="*/ 17 w 225"/>
                  <a:gd name="T39" fmla="*/ 128 h 265"/>
                  <a:gd name="T40" fmla="*/ 0 w 225"/>
                  <a:gd name="T41" fmla="*/ 131 h 265"/>
                  <a:gd name="T42" fmla="*/ 0 w 225"/>
                  <a:gd name="T43" fmla="*/ 133 h 265"/>
                  <a:gd name="T44" fmla="*/ 7 w 225"/>
                  <a:gd name="T45" fmla="*/ 142 h 265"/>
                  <a:gd name="T46" fmla="*/ 12 w 225"/>
                  <a:gd name="T47" fmla="*/ 147 h 265"/>
                  <a:gd name="T48" fmla="*/ 10 w 225"/>
                  <a:gd name="T49" fmla="*/ 166 h 265"/>
                  <a:gd name="T50" fmla="*/ 10 w 225"/>
                  <a:gd name="T51" fmla="*/ 171 h 265"/>
                  <a:gd name="T52" fmla="*/ 17 w 225"/>
                  <a:gd name="T53" fmla="*/ 192 h 265"/>
                  <a:gd name="T54" fmla="*/ 7 w 225"/>
                  <a:gd name="T55" fmla="*/ 228 h 265"/>
                  <a:gd name="T56" fmla="*/ 5 w 225"/>
                  <a:gd name="T57" fmla="*/ 237 h 265"/>
                  <a:gd name="T58" fmla="*/ 10 w 225"/>
                  <a:gd name="T59" fmla="*/ 228 h 265"/>
                  <a:gd name="T60" fmla="*/ 19 w 225"/>
                  <a:gd name="T61" fmla="*/ 230 h 265"/>
                  <a:gd name="T62" fmla="*/ 31 w 225"/>
                  <a:gd name="T63" fmla="*/ 228 h 265"/>
                  <a:gd name="T64" fmla="*/ 33 w 225"/>
                  <a:gd name="T65" fmla="*/ 225 h 265"/>
                  <a:gd name="T66" fmla="*/ 47 w 225"/>
                  <a:gd name="T67" fmla="*/ 228 h 265"/>
                  <a:gd name="T68" fmla="*/ 55 w 225"/>
                  <a:gd name="T69" fmla="*/ 237 h 265"/>
                  <a:gd name="T70" fmla="*/ 59 w 225"/>
                  <a:gd name="T71" fmla="*/ 237 h 265"/>
                  <a:gd name="T72" fmla="*/ 62 w 225"/>
                  <a:gd name="T73" fmla="*/ 237 h 265"/>
                  <a:gd name="T74" fmla="*/ 66 w 225"/>
                  <a:gd name="T75" fmla="*/ 249 h 265"/>
                  <a:gd name="T76" fmla="*/ 69 w 225"/>
                  <a:gd name="T77" fmla="*/ 251 h 265"/>
                  <a:gd name="T78" fmla="*/ 71 w 225"/>
                  <a:gd name="T79" fmla="*/ 256 h 265"/>
                  <a:gd name="T80" fmla="*/ 76 w 225"/>
                  <a:gd name="T81" fmla="*/ 258 h 265"/>
                  <a:gd name="T82" fmla="*/ 83 w 225"/>
                  <a:gd name="T83" fmla="*/ 265 h 265"/>
                  <a:gd name="T84" fmla="*/ 90 w 225"/>
                  <a:gd name="T85" fmla="*/ 261 h 265"/>
                  <a:gd name="T86" fmla="*/ 95 w 225"/>
                  <a:gd name="T87" fmla="*/ 251 h 265"/>
                  <a:gd name="T88" fmla="*/ 104 w 225"/>
                  <a:gd name="T89" fmla="*/ 254 h 265"/>
                  <a:gd name="T90" fmla="*/ 111 w 225"/>
                  <a:gd name="T91" fmla="*/ 254 h 265"/>
                  <a:gd name="T92" fmla="*/ 121 w 225"/>
                  <a:gd name="T93" fmla="*/ 251 h 265"/>
                  <a:gd name="T94" fmla="*/ 133 w 225"/>
                  <a:gd name="T95" fmla="*/ 251 h 265"/>
                  <a:gd name="T96" fmla="*/ 137 w 225"/>
                  <a:gd name="T97" fmla="*/ 247 h 265"/>
                  <a:gd name="T98" fmla="*/ 147 w 225"/>
                  <a:gd name="T99" fmla="*/ 251 h 265"/>
                  <a:gd name="T100" fmla="*/ 201 w 225"/>
                  <a:gd name="T101" fmla="*/ 251 h 265"/>
                  <a:gd name="T102" fmla="*/ 208 w 225"/>
                  <a:gd name="T103" fmla="*/ 230 h 265"/>
                  <a:gd name="T104" fmla="*/ 204 w 225"/>
                  <a:gd name="T105" fmla="*/ 206 h 265"/>
                  <a:gd name="T106" fmla="*/ 204 w 225"/>
                  <a:gd name="T107" fmla="*/ 180 h 265"/>
                  <a:gd name="T108" fmla="*/ 201 w 225"/>
                  <a:gd name="T109" fmla="*/ 154 h 265"/>
                  <a:gd name="T110" fmla="*/ 199 w 225"/>
                  <a:gd name="T111" fmla="*/ 128 h 265"/>
                  <a:gd name="T112" fmla="*/ 196 w 225"/>
                  <a:gd name="T113" fmla="*/ 102 h 265"/>
                  <a:gd name="T114" fmla="*/ 194 w 225"/>
                  <a:gd name="T115" fmla="*/ 76 h 265"/>
                  <a:gd name="T116" fmla="*/ 194 w 225"/>
                  <a:gd name="T117" fmla="*/ 5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25" h="265">
                    <a:moveTo>
                      <a:pt x="12" y="161"/>
                    </a:moveTo>
                    <a:lnTo>
                      <a:pt x="12" y="159"/>
                    </a:lnTo>
                    <a:lnTo>
                      <a:pt x="10" y="159"/>
                    </a:lnTo>
                    <a:lnTo>
                      <a:pt x="10" y="159"/>
                    </a:lnTo>
                    <a:lnTo>
                      <a:pt x="10" y="161"/>
                    </a:lnTo>
                    <a:lnTo>
                      <a:pt x="10" y="164"/>
                    </a:lnTo>
                    <a:lnTo>
                      <a:pt x="10" y="164"/>
                    </a:lnTo>
                    <a:lnTo>
                      <a:pt x="12" y="161"/>
                    </a:lnTo>
                    <a:close/>
                    <a:moveTo>
                      <a:pt x="206" y="50"/>
                    </a:moveTo>
                    <a:lnTo>
                      <a:pt x="211" y="50"/>
                    </a:lnTo>
                    <a:lnTo>
                      <a:pt x="220" y="50"/>
                    </a:lnTo>
                    <a:lnTo>
                      <a:pt x="225" y="50"/>
                    </a:lnTo>
                    <a:lnTo>
                      <a:pt x="222" y="48"/>
                    </a:lnTo>
                    <a:lnTo>
                      <a:pt x="218" y="43"/>
                    </a:lnTo>
                    <a:lnTo>
                      <a:pt x="213" y="41"/>
                    </a:lnTo>
                    <a:lnTo>
                      <a:pt x="211" y="38"/>
                    </a:lnTo>
                    <a:lnTo>
                      <a:pt x="206" y="36"/>
                    </a:lnTo>
                    <a:lnTo>
                      <a:pt x="204" y="33"/>
                    </a:lnTo>
                    <a:lnTo>
                      <a:pt x="201" y="31"/>
                    </a:lnTo>
                    <a:lnTo>
                      <a:pt x="196" y="29"/>
                    </a:lnTo>
                    <a:lnTo>
                      <a:pt x="194" y="26"/>
                    </a:lnTo>
                    <a:lnTo>
                      <a:pt x="189" y="24"/>
                    </a:lnTo>
                    <a:lnTo>
                      <a:pt x="187" y="22"/>
                    </a:lnTo>
                    <a:lnTo>
                      <a:pt x="185" y="19"/>
                    </a:lnTo>
                    <a:lnTo>
                      <a:pt x="180" y="17"/>
                    </a:lnTo>
                    <a:lnTo>
                      <a:pt x="178" y="14"/>
                    </a:lnTo>
                    <a:lnTo>
                      <a:pt x="173" y="12"/>
                    </a:lnTo>
                    <a:lnTo>
                      <a:pt x="170" y="10"/>
                    </a:lnTo>
                    <a:lnTo>
                      <a:pt x="168" y="7"/>
                    </a:lnTo>
                    <a:lnTo>
                      <a:pt x="163" y="5"/>
                    </a:lnTo>
                    <a:lnTo>
                      <a:pt x="161" y="3"/>
                    </a:lnTo>
                    <a:lnTo>
                      <a:pt x="156" y="0"/>
                    </a:lnTo>
                    <a:lnTo>
                      <a:pt x="156" y="5"/>
                    </a:lnTo>
                    <a:lnTo>
                      <a:pt x="156" y="10"/>
                    </a:lnTo>
                    <a:lnTo>
                      <a:pt x="156" y="12"/>
                    </a:lnTo>
                    <a:lnTo>
                      <a:pt x="156" y="17"/>
                    </a:lnTo>
                    <a:lnTo>
                      <a:pt x="156" y="22"/>
                    </a:lnTo>
                    <a:lnTo>
                      <a:pt x="156" y="26"/>
                    </a:lnTo>
                    <a:lnTo>
                      <a:pt x="156" y="29"/>
                    </a:lnTo>
                    <a:lnTo>
                      <a:pt x="140" y="29"/>
                    </a:lnTo>
                    <a:lnTo>
                      <a:pt x="135" y="29"/>
                    </a:lnTo>
                    <a:lnTo>
                      <a:pt x="111" y="29"/>
                    </a:lnTo>
                    <a:lnTo>
                      <a:pt x="109" y="29"/>
                    </a:lnTo>
                    <a:lnTo>
                      <a:pt x="95" y="29"/>
                    </a:lnTo>
                    <a:lnTo>
                      <a:pt x="95" y="31"/>
                    </a:lnTo>
                    <a:lnTo>
                      <a:pt x="95" y="33"/>
                    </a:lnTo>
                    <a:lnTo>
                      <a:pt x="95" y="36"/>
                    </a:lnTo>
                    <a:lnTo>
                      <a:pt x="95" y="41"/>
                    </a:lnTo>
                    <a:lnTo>
                      <a:pt x="95" y="43"/>
                    </a:lnTo>
                    <a:lnTo>
                      <a:pt x="95" y="45"/>
                    </a:lnTo>
                    <a:lnTo>
                      <a:pt x="95" y="48"/>
                    </a:lnTo>
                    <a:lnTo>
                      <a:pt x="95" y="52"/>
                    </a:lnTo>
                    <a:lnTo>
                      <a:pt x="95" y="55"/>
                    </a:lnTo>
                    <a:lnTo>
                      <a:pt x="95" y="57"/>
                    </a:lnTo>
                    <a:lnTo>
                      <a:pt x="95" y="59"/>
                    </a:lnTo>
                    <a:lnTo>
                      <a:pt x="95" y="62"/>
                    </a:lnTo>
                    <a:lnTo>
                      <a:pt x="95" y="67"/>
                    </a:lnTo>
                    <a:lnTo>
                      <a:pt x="95" y="69"/>
                    </a:lnTo>
                    <a:lnTo>
                      <a:pt x="95" y="71"/>
                    </a:lnTo>
                    <a:lnTo>
                      <a:pt x="95" y="74"/>
                    </a:lnTo>
                    <a:lnTo>
                      <a:pt x="95" y="76"/>
                    </a:lnTo>
                    <a:lnTo>
                      <a:pt x="95" y="81"/>
                    </a:lnTo>
                    <a:lnTo>
                      <a:pt x="92" y="83"/>
                    </a:lnTo>
                    <a:lnTo>
                      <a:pt x="92" y="83"/>
                    </a:lnTo>
                    <a:lnTo>
                      <a:pt x="90" y="83"/>
                    </a:lnTo>
                    <a:lnTo>
                      <a:pt x="88" y="86"/>
                    </a:lnTo>
                    <a:lnTo>
                      <a:pt x="83" y="86"/>
                    </a:lnTo>
                    <a:lnTo>
                      <a:pt x="83" y="86"/>
                    </a:lnTo>
                    <a:lnTo>
                      <a:pt x="81" y="88"/>
                    </a:lnTo>
                    <a:lnTo>
                      <a:pt x="78" y="90"/>
                    </a:lnTo>
                    <a:lnTo>
                      <a:pt x="73" y="93"/>
                    </a:lnTo>
                    <a:lnTo>
                      <a:pt x="73" y="95"/>
                    </a:lnTo>
                    <a:lnTo>
                      <a:pt x="71" y="95"/>
                    </a:lnTo>
                    <a:lnTo>
                      <a:pt x="71" y="97"/>
                    </a:lnTo>
                    <a:lnTo>
                      <a:pt x="71" y="97"/>
                    </a:lnTo>
                    <a:lnTo>
                      <a:pt x="73" y="102"/>
                    </a:lnTo>
                    <a:lnTo>
                      <a:pt x="73" y="102"/>
                    </a:lnTo>
                    <a:lnTo>
                      <a:pt x="73" y="104"/>
                    </a:lnTo>
                    <a:lnTo>
                      <a:pt x="73" y="107"/>
                    </a:lnTo>
                    <a:lnTo>
                      <a:pt x="73" y="109"/>
                    </a:lnTo>
                    <a:lnTo>
                      <a:pt x="73" y="114"/>
                    </a:lnTo>
                    <a:lnTo>
                      <a:pt x="73" y="116"/>
                    </a:lnTo>
                    <a:lnTo>
                      <a:pt x="73" y="119"/>
                    </a:lnTo>
                    <a:lnTo>
                      <a:pt x="73" y="121"/>
                    </a:lnTo>
                    <a:lnTo>
                      <a:pt x="73" y="123"/>
                    </a:lnTo>
                    <a:lnTo>
                      <a:pt x="73" y="128"/>
                    </a:lnTo>
                    <a:lnTo>
                      <a:pt x="71" y="128"/>
                    </a:lnTo>
                    <a:lnTo>
                      <a:pt x="66" y="128"/>
                    </a:lnTo>
                    <a:lnTo>
                      <a:pt x="62" y="128"/>
                    </a:lnTo>
                    <a:lnTo>
                      <a:pt x="59" y="128"/>
                    </a:lnTo>
                    <a:lnTo>
                      <a:pt x="55" y="128"/>
                    </a:lnTo>
                    <a:lnTo>
                      <a:pt x="50" y="128"/>
                    </a:lnTo>
                    <a:lnTo>
                      <a:pt x="45" y="128"/>
                    </a:lnTo>
                    <a:lnTo>
                      <a:pt x="40" y="128"/>
                    </a:lnTo>
                    <a:lnTo>
                      <a:pt x="38" y="128"/>
                    </a:lnTo>
                    <a:lnTo>
                      <a:pt x="33" y="128"/>
                    </a:lnTo>
                    <a:lnTo>
                      <a:pt x="28" y="128"/>
                    </a:lnTo>
                    <a:lnTo>
                      <a:pt x="24" y="128"/>
                    </a:lnTo>
                    <a:lnTo>
                      <a:pt x="21" y="128"/>
                    </a:lnTo>
                    <a:lnTo>
                      <a:pt x="17" y="128"/>
                    </a:lnTo>
                    <a:lnTo>
                      <a:pt x="12" y="128"/>
                    </a:lnTo>
                    <a:lnTo>
                      <a:pt x="7" y="128"/>
                    </a:lnTo>
                    <a:lnTo>
                      <a:pt x="5" y="128"/>
                    </a:lnTo>
                    <a:lnTo>
                      <a:pt x="2" y="128"/>
                    </a:lnTo>
                    <a:lnTo>
                      <a:pt x="0" y="131"/>
                    </a:lnTo>
                    <a:lnTo>
                      <a:pt x="0" y="133"/>
                    </a:lnTo>
                    <a:lnTo>
                      <a:pt x="0" y="135"/>
                    </a:lnTo>
                    <a:lnTo>
                      <a:pt x="0" y="138"/>
                    </a:lnTo>
                    <a:lnTo>
                      <a:pt x="0" y="133"/>
                    </a:lnTo>
                    <a:lnTo>
                      <a:pt x="0" y="133"/>
                    </a:lnTo>
                    <a:lnTo>
                      <a:pt x="2" y="133"/>
                    </a:lnTo>
                    <a:lnTo>
                      <a:pt x="2" y="133"/>
                    </a:lnTo>
                    <a:lnTo>
                      <a:pt x="5" y="138"/>
                    </a:lnTo>
                    <a:lnTo>
                      <a:pt x="7" y="142"/>
                    </a:lnTo>
                    <a:lnTo>
                      <a:pt x="7" y="142"/>
                    </a:lnTo>
                    <a:lnTo>
                      <a:pt x="10" y="142"/>
                    </a:lnTo>
                    <a:lnTo>
                      <a:pt x="10" y="140"/>
                    </a:lnTo>
                    <a:lnTo>
                      <a:pt x="10" y="140"/>
                    </a:lnTo>
                    <a:lnTo>
                      <a:pt x="10" y="142"/>
                    </a:lnTo>
                    <a:lnTo>
                      <a:pt x="12" y="147"/>
                    </a:lnTo>
                    <a:lnTo>
                      <a:pt x="14" y="149"/>
                    </a:lnTo>
                    <a:lnTo>
                      <a:pt x="14" y="152"/>
                    </a:lnTo>
                    <a:lnTo>
                      <a:pt x="14" y="154"/>
                    </a:lnTo>
                    <a:lnTo>
                      <a:pt x="12" y="159"/>
                    </a:lnTo>
                    <a:lnTo>
                      <a:pt x="10" y="166"/>
                    </a:lnTo>
                    <a:lnTo>
                      <a:pt x="12" y="166"/>
                    </a:lnTo>
                    <a:lnTo>
                      <a:pt x="10" y="168"/>
                    </a:lnTo>
                    <a:lnTo>
                      <a:pt x="10" y="168"/>
                    </a:lnTo>
                    <a:lnTo>
                      <a:pt x="7" y="168"/>
                    </a:lnTo>
                    <a:lnTo>
                      <a:pt x="10" y="171"/>
                    </a:lnTo>
                    <a:lnTo>
                      <a:pt x="12" y="173"/>
                    </a:lnTo>
                    <a:lnTo>
                      <a:pt x="14" y="175"/>
                    </a:lnTo>
                    <a:lnTo>
                      <a:pt x="14" y="183"/>
                    </a:lnTo>
                    <a:lnTo>
                      <a:pt x="14" y="187"/>
                    </a:lnTo>
                    <a:lnTo>
                      <a:pt x="17" y="192"/>
                    </a:lnTo>
                    <a:lnTo>
                      <a:pt x="17" y="199"/>
                    </a:lnTo>
                    <a:lnTo>
                      <a:pt x="14" y="206"/>
                    </a:lnTo>
                    <a:lnTo>
                      <a:pt x="12" y="216"/>
                    </a:lnTo>
                    <a:lnTo>
                      <a:pt x="10" y="220"/>
                    </a:lnTo>
                    <a:lnTo>
                      <a:pt x="7" y="228"/>
                    </a:lnTo>
                    <a:lnTo>
                      <a:pt x="7" y="230"/>
                    </a:lnTo>
                    <a:lnTo>
                      <a:pt x="5" y="235"/>
                    </a:lnTo>
                    <a:lnTo>
                      <a:pt x="5" y="244"/>
                    </a:lnTo>
                    <a:lnTo>
                      <a:pt x="5" y="242"/>
                    </a:lnTo>
                    <a:lnTo>
                      <a:pt x="5" y="237"/>
                    </a:lnTo>
                    <a:lnTo>
                      <a:pt x="7" y="235"/>
                    </a:lnTo>
                    <a:lnTo>
                      <a:pt x="7" y="235"/>
                    </a:lnTo>
                    <a:lnTo>
                      <a:pt x="7" y="232"/>
                    </a:lnTo>
                    <a:lnTo>
                      <a:pt x="10" y="230"/>
                    </a:lnTo>
                    <a:lnTo>
                      <a:pt x="10" y="228"/>
                    </a:lnTo>
                    <a:lnTo>
                      <a:pt x="12" y="228"/>
                    </a:lnTo>
                    <a:lnTo>
                      <a:pt x="12" y="228"/>
                    </a:lnTo>
                    <a:lnTo>
                      <a:pt x="14" y="230"/>
                    </a:lnTo>
                    <a:lnTo>
                      <a:pt x="17" y="230"/>
                    </a:lnTo>
                    <a:lnTo>
                      <a:pt x="19" y="230"/>
                    </a:lnTo>
                    <a:lnTo>
                      <a:pt x="21" y="230"/>
                    </a:lnTo>
                    <a:lnTo>
                      <a:pt x="24" y="228"/>
                    </a:lnTo>
                    <a:lnTo>
                      <a:pt x="26" y="228"/>
                    </a:lnTo>
                    <a:lnTo>
                      <a:pt x="28" y="228"/>
                    </a:lnTo>
                    <a:lnTo>
                      <a:pt x="31" y="228"/>
                    </a:lnTo>
                    <a:lnTo>
                      <a:pt x="31" y="225"/>
                    </a:lnTo>
                    <a:lnTo>
                      <a:pt x="31" y="225"/>
                    </a:lnTo>
                    <a:lnTo>
                      <a:pt x="33" y="225"/>
                    </a:lnTo>
                    <a:lnTo>
                      <a:pt x="33" y="225"/>
                    </a:lnTo>
                    <a:lnTo>
                      <a:pt x="33" y="225"/>
                    </a:lnTo>
                    <a:lnTo>
                      <a:pt x="33" y="225"/>
                    </a:lnTo>
                    <a:lnTo>
                      <a:pt x="36" y="225"/>
                    </a:lnTo>
                    <a:lnTo>
                      <a:pt x="38" y="225"/>
                    </a:lnTo>
                    <a:lnTo>
                      <a:pt x="43" y="225"/>
                    </a:lnTo>
                    <a:lnTo>
                      <a:pt x="47" y="228"/>
                    </a:lnTo>
                    <a:lnTo>
                      <a:pt x="50" y="230"/>
                    </a:lnTo>
                    <a:lnTo>
                      <a:pt x="52" y="232"/>
                    </a:lnTo>
                    <a:lnTo>
                      <a:pt x="52" y="235"/>
                    </a:lnTo>
                    <a:lnTo>
                      <a:pt x="52" y="235"/>
                    </a:lnTo>
                    <a:lnTo>
                      <a:pt x="55" y="237"/>
                    </a:lnTo>
                    <a:lnTo>
                      <a:pt x="55" y="237"/>
                    </a:lnTo>
                    <a:lnTo>
                      <a:pt x="57" y="237"/>
                    </a:lnTo>
                    <a:lnTo>
                      <a:pt x="57" y="237"/>
                    </a:lnTo>
                    <a:lnTo>
                      <a:pt x="57" y="237"/>
                    </a:lnTo>
                    <a:lnTo>
                      <a:pt x="59" y="237"/>
                    </a:lnTo>
                    <a:lnTo>
                      <a:pt x="59" y="237"/>
                    </a:lnTo>
                    <a:lnTo>
                      <a:pt x="62" y="237"/>
                    </a:lnTo>
                    <a:lnTo>
                      <a:pt x="62" y="237"/>
                    </a:lnTo>
                    <a:lnTo>
                      <a:pt x="62" y="237"/>
                    </a:lnTo>
                    <a:lnTo>
                      <a:pt x="62" y="237"/>
                    </a:lnTo>
                    <a:lnTo>
                      <a:pt x="62" y="239"/>
                    </a:lnTo>
                    <a:lnTo>
                      <a:pt x="64" y="239"/>
                    </a:lnTo>
                    <a:lnTo>
                      <a:pt x="64" y="242"/>
                    </a:lnTo>
                    <a:lnTo>
                      <a:pt x="64" y="247"/>
                    </a:lnTo>
                    <a:lnTo>
                      <a:pt x="66" y="249"/>
                    </a:lnTo>
                    <a:lnTo>
                      <a:pt x="66" y="249"/>
                    </a:lnTo>
                    <a:lnTo>
                      <a:pt x="69" y="249"/>
                    </a:lnTo>
                    <a:lnTo>
                      <a:pt x="69" y="249"/>
                    </a:lnTo>
                    <a:lnTo>
                      <a:pt x="69" y="251"/>
                    </a:lnTo>
                    <a:lnTo>
                      <a:pt x="69" y="251"/>
                    </a:lnTo>
                    <a:lnTo>
                      <a:pt x="69" y="251"/>
                    </a:lnTo>
                    <a:lnTo>
                      <a:pt x="71" y="251"/>
                    </a:lnTo>
                    <a:lnTo>
                      <a:pt x="71" y="254"/>
                    </a:lnTo>
                    <a:lnTo>
                      <a:pt x="73" y="256"/>
                    </a:lnTo>
                    <a:lnTo>
                      <a:pt x="71" y="256"/>
                    </a:lnTo>
                    <a:lnTo>
                      <a:pt x="71" y="256"/>
                    </a:lnTo>
                    <a:lnTo>
                      <a:pt x="73" y="256"/>
                    </a:lnTo>
                    <a:lnTo>
                      <a:pt x="73" y="256"/>
                    </a:lnTo>
                    <a:lnTo>
                      <a:pt x="73" y="258"/>
                    </a:lnTo>
                    <a:lnTo>
                      <a:pt x="76" y="258"/>
                    </a:lnTo>
                    <a:lnTo>
                      <a:pt x="78" y="261"/>
                    </a:lnTo>
                    <a:lnTo>
                      <a:pt x="78" y="261"/>
                    </a:lnTo>
                    <a:lnTo>
                      <a:pt x="81" y="263"/>
                    </a:lnTo>
                    <a:lnTo>
                      <a:pt x="83" y="265"/>
                    </a:lnTo>
                    <a:lnTo>
                      <a:pt x="83" y="265"/>
                    </a:lnTo>
                    <a:lnTo>
                      <a:pt x="85" y="265"/>
                    </a:lnTo>
                    <a:lnTo>
                      <a:pt x="85" y="265"/>
                    </a:lnTo>
                    <a:lnTo>
                      <a:pt x="88" y="265"/>
                    </a:lnTo>
                    <a:lnTo>
                      <a:pt x="90" y="263"/>
                    </a:lnTo>
                    <a:lnTo>
                      <a:pt x="90" y="261"/>
                    </a:lnTo>
                    <a:lnTo>
                      <a:pt x="90" y="258"/>
                    </a:lnTo>
                    <a:lnTo>
                      <a:pt x="90" y="256"/>
                    </a:lnTo>
                    <a:lnTo>
                      <a:pt x="92" y="254"/>
                    </a:lnTo>
                    <a:lnTo>
                      <a:pt x="92" y="251"/>
                    </a:lnTo>
                    <a:lnTo>
                      <a:pt x="95" y="251"/>
                    </a:lnTo>
                    <a:lnTo>
                      <a:pt x="95" y="249"/>
                    </a:lnTo>
                    <a:lnTo>
                      <a:pt x="97" y="247"/>
                    </a:lnTo>
                    <a:lnTo>
                      <a:pt x="97" y="249"/>
                    </a:lnTo>
                    <a:lnTo>
                      <a:pt x="99" y="249"/>
                    </a:lnTo>
                    <a:lnTo>
                      <a:pt x="104" y="254"/>
                    </a:lnTo>
                    <a:lnTo>
                      <a:pt x="107" y="256"/>
                    </a:lnTo>
                    <a:lnTo>
                      <a:pt x="107" y="258"/>
                    </a:lnTo>
                    <a:lnTo>
                      <a:pt x="109" y="258"/>
                    </a:lnTo>
                    <a:lnTo>
                      <a:pt x="109" y="256"/>
                    </a:lnTo>
                    <a:lnTo>
                      <a:pt x="111" y="254"/>
                    </a:lnTo>
                    <a:lnTo>
                      <a:pt x="111" y="251"/>
                    </a:lnTo>
                    <a:lnTo>
                      <a:pt x="114" y="251"/>
                    </a:lnTo>
                    <a:lnTo>
                      <a:pt x="116" y="251"/>
                    </a:lnTo>
                    <a:lnTo>
                      <a:pt x="118" y="251"/>
                    </a:lnTo>
                    <a:lnTo>
                      <a:pt x="121" y="251"/>
                    </a:lnTo>
                    <a:lnTo>
                      <a:pt x="121" y="254"/>
                    </a:lnTo>
                    <a:lnTo>
                      <a:pt x="123" y="254"/>
                    </a:lnTo>
                    <a:lnTo>
                      <a:pt x="125" y="254"/>
                    </a:lnTo>
                    <a:lnTo>
                      <a:pt x="130" y="254"/>
                    </a:lnTo>
                    <a:lnTo>
                      <a:pt x="133" y="251"/>
                    </a:lnTo>
                    <a:lnTo>
                      <a:pt x="135" y="251"/>
                    </a:lnTo>
                    <a:lnTo>
                      <a:pt x="135" y="251"/>
                    </a:lnTo>
                    <a:lnTo>
                      <a:pt x="135" y="249"/>
                    </a:lnTo>
                    <a:lnTo>
                      <a:pt x="135" y="249"/>
                    </a:lnTo>
                    <a:lnTo>
                      <a:pt x="137" y="247"/>
                    </a:lnTo>
                    <a:lnTo>
                      <a:pt x="137" y="247"/>
                    </a:lnTo>
                    <a:lnTo>
                      <a:pt x="137" y="249"/>
                    </a:lnTo>
                    <a:lnTo>
                      <a:pt x="137" y="251"/>
                    </a:lnTo>
                    <a:lnTo>
                      <a:pt x="140" y="251"/>
                    </a:lnTo>
                    <a:lnTo>
                      <a:pt x="147" y="251"/>
                    </a:lnTo>
                    <a:lnTo>
                      <a:pt x="151" y="251"/>
                    </a:lnTo>
                    <a:lnTo>
                      <a:pt x="170" y="251"/>
                    </a:lnTo>
                    <a:lnTo>
                      <a:pt x="173" y="251"/>
                    </a:lnTo>
                    <a:lnTo>
                      <a:pt x="192" y="251"/>
                    </a:lnTo>
                    <a:lnTo>
                      <a:pt x="201" y="251"/>
                    </a:lnTo>
                    <a:lnTo>
                      <a:pt x="208" y="251"/>
                    </a:lnTo>
                    <a:lnTo>
                      <a:pt x="208" y="244"/>
                    </a:lnTo>
                    <a:lnTo>
                      <a:pt x="211" y="239"/>
                    </a:lnTo>
                    <a:lnTo>
                      <a:pt x="211" y="235"/>
                    </a:lnTo>
                    <a:lnTo>
                      <a:pt x="208" y="230"/>
                    </a:lnTo>
                    <a:lnTo>
                      <a:pt x="206" y="228"/>
                    </a:lnTo>
                    <a:lnTo>
                      <a:pt x="206" y="223"/>
                    </a:lnTo>
                    <a:lnTo>
                      <a:pt x="206" y="218"/>
                    </a:lnTo>
                    <a:lnTo>
                      <a:pt x="206" y="213"/>
                    </a:lnTo>
                    <a:lnTo>
                      <a:pt x="204" y="206"/>
                    </a:lnTo>
                    <a:lnTo>
                      <a:pt x="204" y="202"/>
                    </a:lnTo>
                    <a:lnTo>
                      <a:pt x="204" y="197"/>
                    </a:lnTo>
                    <a:lnTo>
                      <a:pt x="204" y="192"/>
                    </a:lnTo>
                    <a:lnTo>
                      <a:pt x="204" y="185"/>
                    </a:lnTo>
                    <a:lnTo>
                      <a:pt x="204" y="180"/>
                    </a:lnTo>
                    <a:lnTo>
                      <a:pt x="201" y="175"/>
                    </a:lnTo>
                    <a:lnTo>
                      <a:pt x="201" y="171"/>
                    </a:lnTo>
                    <a:lnTo>
                      <a:pt x="201" y="166"/>
                    </a:lnTo>
                    <a:lnTo>
                      <a:pt x="201" y="159"/>
                    </a:lnTo>
                    <a:lnTo>
                      <a:pt x="201" y="154"/>
                    </a:lnTo>
                    <a:lnTo>
                      <a:pt x="201" y="149"/>
                    </a:lnTo>
                    <a:lnTo>
                      <a:pt x="199" y="145"/>
                    </a:lnTo>
                    <a:lnTo>
                      <a:pt x="199" y="138"/>
                    </a:lnTo>
                    <a:lnTo>
                      <a:pt x="199" y="133"/>
                    </a:lnTo>
                    <a:lnTo>
                      <a:pt x="199" y="128"/>
                    </a:lnTo>
                    <a:lnTo>
                      <a:pt x="199" y="123"/>
                    </a:lnTo>
                    <a:lnTo>
                      <a:pt x="199" y="119"/>
                    </a:lnTo>
                    <a:lnTo>
                      <a:pt x="196" y="112"/>
                    </a:lnTo>
                    <a:lnTo>
                      <a:pt x="196" y="107"/>
                    </a:lnTo>
                    <a:lnTo>
                      <a:pt x="196" y="102"/>
                    </a:lnTo>
                    <a:lnTo>
                      <a:pt x="196" y="97"/>
                    </a:lnTo>
                    <a:lnTo>
                      <a:pt x="196" y="90"/>
                    </a:lnTo>
                    <a:lnTo>
                      <a:pt x="196" y="86"/>
                    </a:lnTo>
                    <a:lnTo>
                      <a:pt x="196" y="81"/>
                    </a:lnTo>
                    <a:lnTo>
                      <a:pt x="194" y="76"/>
                    </a:lnTo>
                    <a:lnTo>
                      <a:pt x="194" y="71"/>
                    </a:lnTo>
                    <a:lnTo>
                      <a:pt x="194" y="64"/>
                    </a:lnTo>
                    <a:lnTo>
                      <a:pt x="194" y="59"/>
                    </a:lnTo>
                    <a:lnTo>
                      <a:pt x="194" y="55"/>
                    </a:lnTo>
                    <a:lnTo>
                      <a:pt x="194" y="50"/>
                    </a:lnTo>
                    <a:lnTo>
                      <a:pt x="199" y="50"/>
                    </a:lnTo>
                    <a:lnTo>
                      <a:pt x="206" y="50"/>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97"/>
              <p:cNvSpPr>
                <a:spLocks/>
              </p:cNvSpPr>
              <p:nvPr/>
            </p:nvSpPr>
            <p:spPr bwMode="auto">
              <a:xfrm>
                <a:off x="1620" y="2485"/>
                <a:ext cx="5" cy="10"/>
              </a:xfrm>
              <a:custGeom>
                <a:avLst/>
                <a:gdLst>
                  <a:gd name="T0" fmla="*/ 5 w 5"/>
                  <a:gd name="T1" fmla="*/ 7 h 10"/>
                  <a:gd name="T2" fmla="*/ 5 w 5"/>
                  <a:gd name="T3" fmla="*/ 5 h 10"/>
                  <a:gd name="T4" fmla="*/ 5 w 5"/>
                  <a:gd name="T5" fmla="*/ 5 h 10"/>
                  <a:gd name="T6" fmla="*/ 5 w 5"/>
                  <a:gd name="T7" fmla="*/ 2 h 10"/>
                  <a:gd name="T8" fmla="*/ 5 w 5"/>
                  <a:gd name="T9" fmla="*/ 2 h 10"/>
                  <a:gd name="T10" fmla="*/ 5 w 5"/>
                  <a:gd name="T11" fmla="*/ 2 h 10"/>
                  <a:gd name="T12" fmla="*/ 3 w 5"/>
                  <a:gd name="T13" fmla="*/ 2 h 10"/>
                  <a:gd name="T14" fmla="*/ 0 w 5"/>
                  <a:gd name="T15" fmla="*/ 0 h 10"/>
                  <a:gd name="T16" fmla="*/ 0 w 5"/>
                  <a:gd name="T17" fmla="*/ 0 h 10"/>
                  <a:gd name="T18" fmla="*/ 0 w 5"/>
                  <a:gd name="T19" fmla="*/ 0 h 10"/>
                  <a:gd name="T20" fmla="*/ 0 w 5"/>
                  <a:gd name="T21" fmla="*/ 2 h 10"/>
                  <a:gd name="T22" fmla="*/ 0 w 5"/>
                  <a:gd name="T23" fmla="*/ 5 h 10"/>
                  <a:gd name="T24" fmla="*/ 0 w 5"/>
                  <a:gd name="T25" fmla="*/ 5 h 10"/>
                  <a:gd name="T26" fmla="*/ 3 w 5"/>
                  <a:gd name="T27" fmla="*/ 7 h 10"/>
                  <a:gd name="T28" fmla="*/ 0 w 5"/>
                  <a:gd name="T29" fmla="*/ 7 h 10"/>
                  <a:gd name="T30" fmla="*/ 0 w 5"/>
                  <a:gd name="T31" fmla="*/ 7 h 10"/>
                  <a:gd name="T32" fmla="*/ 0 w 5"/>
                  <a:gd name="T33" fmla="*/ 10 h 10"/>
                  <a:gd name="T34" fmla="*/ 5 w 5"/>
                  <a:gd name="T35" fmla="*/ 10 h 10"/>
                  <a:gd name="T36" fmla="*/ 5 w 5"/>
                  <a:gd name="T37" fmla="*/ 10 h 10"/>
                  <a:gd name="T38" fmla="*/ 5 w 5"/>
                  <a:gd name="T39" fmla="*/ 10 h 10"/>
                  <a:gd name="T40" fmla="*/ 5 w 5"/>
                  <a:gd name="T41" fmla="*/ 10 h 10"/>
                  <a:gd name="T42" fmla="*/ 5 w 5"/>
                  <a:gd name="T43" fmla="*/ 7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 h="10">
                    <a:moveTo>
                      <a:pt x="5" y="7"/>
                    </a:moveTo>
                    <a:lnTo>
                      <a:pt x="5" y="5"/>
                    </a:lnTo>
                    <a:lnTo>
                      <a:pt x="5" y="5"/>
                    </a:lnTo>
                    <a:lnTo>
                      <a:pt x="5" y="2"/>
                    </a:lnTo>
                    <a:lnTo>
                      <a:pt x="5" y="2"/>
                    </a:lnTo>
                    <a:lnTo>
                      <a:pt x="5" y="2"/>
                    </a:lnTo>
                    <a:lnTo>
                      <a:pt x="3" y="2"/>
                    </a:lnTo>
                    <a:lnTo>
                      <a:pt x="0" y="0"/>
                    </a:lnTo>
                    <a:lnTo>
                      <a:pt x="0" y="0"/>
                    </a:lnTo>
                    <a:lnTo>
                      <a:pt x="0" y="0"/>
                    </a:lnTo>
                    <a:lnTo>
                      <a:pt x="0" y="2"/>
                    </a:lnTo>
                    <a:lnTo>
                      <a:pt x="0" y="5"/>
                    </a:lnTo>
                    <a:lnTo>
                      <a:pt x="0" y="5"/>
                    </a:lnTo>
                    <a:lnTo>
                      <a:pt x="3" y="7"/>
                    </a:lnTo>
                    <a:lnTo>
                      <a:pt x="0" y="7"/>
                    </a:lnTo>
                    <a:lnTo>
                      <a:pt x="0" y="7"/>
                    </a:lnTo>
                    <a:lnTo>
                      <a:pt x="0" y="10"/>
                    </a:lnTo>
                    <a:lnTo>
                      <a:pt x="5" y="10"/>
                    </a:lnTo>
                    <a:lnTo>
                      <a:pt x="5" y="10"/>
                    </a:lnTo>
                    <a:lnTo>
                      <a:pt x="5" y="10"/>
                    </a:lnTo>
                    <a:lnTo>
                      <a:pt x="5" y="10"/>
                    </a:lnTo>
                    <a:lnTo>
                      <a:pt x="5" y="7"/>
                    </a:lnTo>
                    <a:close/>
                  </a:path>
                </a:pathLst>
              </a:custGeom>
              <a:solidFill>
                <a:srgbClr val="8787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6" name="Freeform 98"/>
              <p:cNvSpPr>
                <a:spLocks/>
              </p:cNvSpPr>
              <p:nvPr/>
            </p:nvSpPr>
            <p:spPr bwMode="auto">
              <a:xfrm>
                <a:off x="1620" y="2485"/>
                <a:ext cx="5" cy="10"/>
              </a:xfrm>
              <a:custGeom>
                <a:avLst/>
                <a:gdLst>
                  <a:gd name="T0" fmla="*/ 5 w 5"/>
                  <a:gd name="T1" fmla="*/ 7 h 10"/>
                  <a:gd name="T2" fmla="*/ 5 w 5"/>
                  <a:gd name="T3" fmla="*/ 5 h 10"/>
                  <a:gd name="T4" fmla="*/ 5 w 5"/>
                  <a:gd name="T5" fmla="*/ 5 h 10"/>
                  <a:gd name="T6" fmla="*/ 5 w 5"/>
                  <a:gd name="T7" fmla="*/ 2 h 10"/>
                  <a:gd name="T8" fmla="*/ 5 w 5"/>
                  <a:gd name="T9" fmla="*/ 2 h 10"/>
                  <a:gd name="T10" fmla="*/ 5 w 5"/>
                  <a:gd name="T11" fmla="*/ 2 h 10"/>
                  <a:gd name="T12" fmla="*/ 3 w 5"/>
                  <a:gd name="T13" fmla="*/ 2 h 10"/>
                  <a:gd name="T14" fmla="*/ 0 w 5"/>
                  <a:gd name="T15" fmla="*/ 0 h 10"/>
                  <a:gd name="T16" fmla="*/ 0 w 5"/>
                  <a:gd name="T17" fmla="*/ 0 h 10"/>
                  <a:gd name="T18" fmla="*/ 0 w 5"/>
                  <a:gd name="T19" fmla="*/ 0 h 10"/>
                  <a:gd name="T20" fmla="*/ 0 w 5"/>
                  <a:gd name="T21" fmla="*/ 2 h 10"/>
                  <a:gd name="T22" fmla="*/ 0 w 5"/>
                  <a:gd name="T23" fmla="*/ 5 h 10"/>
                  <a:gd name="T24" fmla="*/ 0 w 5"/>
                  <a:gd name="T25" fmla="*/ 5 h 10"/>
                  <a:gd name="T26" fmla="*/ 3 w 5"/>
                  <a:gd name="T27" fmla="*/ 7 h 10"/>
                  <a:gd name="T28" fmla="*/ 0 w 5"/>
                  <a:gd name="T29" fmla="*/ 7 h 10"/>
                  <a:gd name="T30" fmla="*/ 0 w 5"/>
                  <a:gd name="T31" fmla="*/ 7 h 10"/>
                  <a:gd name="T32" fmla="*/ 0 w 5"/>
                  <a:gd name="T33" fmla="*/ 10 h 10"/>
                  <a:gd name="T34" fmla="*/ 5 w 5"/>
                  <a:gd name="T35" fmla="*/ 10 h 10"/>
                  <a:gd name="T36" fmla="*/ 5 w 5"/>
                  <a:gd name="T37" fmla="*/ 10 h 10"/>
                  <a:gd name="T38" fmla="*/ 5 w 5"/>
                  <a:gd name="T39" fmla="*/ 10 h 10"/>
                  <a:gd name="T40" fmla="*/ 5 w 5"/>
                  <a:gd name="T41" fmla="*/ 10 h 10"/>
                  <a:gd name="T42" fmla="*/ 5 w 5"/>
                  <a:gd name="T43" fmla="*/ 7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 h="10">
                    <a:moveTo>
                      <a:pt x="5" y="7"/>
                    </a:moveTo>
                    <a:lnTo>
                      <a:pt x="5" y="5"/>
                    </a:lnTo>
                    <a:lnTo>
                      <a:pt x="5" y="5"/>
                    </a:lnTo>
                    <a:lnTo>
                      <a:pt x="5" y="2"/>
                    </a:lnTo>
                    <a:lnTo>
                      <a:pt x="5" y="2"/>
                    </a:lnTo>
                    <a:lnTo>
                      <a:pt x="5" y="2"/>
                    </a:lnTo>
                    <a:lnTo>
                      <a:pt x="3" y="2"/>
                    </a:lnTo>
                    <a:lnTo>
                      <a:pt x="0" y="0"/>
                    </a:lnTo>
                    <a:lnTo>
                      <a:pt x="0" y="0"/>
                    </a:lnTo>
                    <a:lnTo>
                      <a:pt x="0" y="0"/>
                    </a:lnTo>
                    <a:lnTo>
                      <a:pt x="0" y="2"/>
                    </a:lnTo>
                    <a:lnTo>
                      <a:pt x="0" y="5"/>
                    </a:lnTo>
                    <a:lnTo>
                      <a:pt x="0" y="5"/>
                    </a:lnTo>
                    <a:lnTo>
                      <a:pt x="3" y="7"/>
                    </a:lnTo>
                    <a:lnTo>
                      <a:pt x="0" y="7"/>
                    </a:lnTo>
                    <a:lnTo>
                      <a:pt x="0" y="7"/>
                    </a:lnTo>
                    <a:lnTo>
                      <a:pt x="0" y="10"/>
                    </a:lnTo>
                    <a:lnTo>
                      <a:pt x="5" y="10"/>
                    </a:lnTo>
                    <a:lnTo>
                      <a:pt x="5" y="10"/>
                    </a:lnTo>
                    <a:lnTo>
                      <a:pt x="5" y="10"/>
                    </a:lnTo>
                    <a:lnTo>
                      <a:pt x="5" y="10"/>
                    </a:lnTo>
                    <a:lnTo>
                      <a:pt x="5" y="7"/>
                    </a:lnTo>
                    <a:close/>
                  </a:path>
                </a:pathLst>
              </a:custGeom>
              <a:noFill/>
              <a:ln w="3175" cap="rnd">
                <a:solidFill>
                  <a:srgbClr val="F9F9F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7" name="Freeform 99"/>
              <p:cNvSpPr>
                <a:spLocks/>
              </p:cNvSpPr>
              <p:nvPr/>
            </p:nvSpPr>
            <p:spPr bwMode="auto">
              <a:xfrm>
                <a:off x="1620" y="2485"/>
                <a:ext cx="5" cy="10"/>
              </a:xfrm>
              <a:custGeom>
                <a:avLst/>
                <a:gdLst>
                  <a:gd name="T0" fmla="*/ 5 w 5"/>
                  <a:gd name="T1" fmla="*/ 7 h 10"/>
                  <a:gd name="T2" fmla="*/ 5 w 5"/>
                  <a:gd name="T3" fmla="*/ 5 h 10"/>
                  <a:gd name="T4" fmla="*/ 5 w 5"/>
                  <a:gd name="T5" fmla="*/ 5 h 10"/>
                  <a:gd name="T6" fmla="*/ 5 w 5"/>
                  <a:gd name="T7" fmla="*/ 2 h 10"/>
                  <a:gd name="T8" fmla="*/ 5 w 5"/>
                  <a:gd name="T9" fmla="*/ 2 h 10"/>
                  <a:gd name="T10" fmla="*/ 5 w 5"/>
                  <a:gd name="T11" fmla="*/ 2 h 10"/>
                  <a:gd name="T12" fmla="*/ 3 w 5"/>
                  <a:gd name="T13" fmla="*/ 2 h 10"/>
                  <a:gd name="T14" fmla="*/ 0 w 5"/>
                  <a:gd name="T15" fmla="*/ 0 h 10"/>
                  <a:gd name="T16" fmla="*/ 0 w 5"/>
                  <a:gd name="T17" fmla="*/ 0 h 10"/>
                  <a:gd name="T18" fmla="*/ 0 w 5"/>
                  <a:gd name="T19" fmla="*/ 0 h 10"/>
                  <a:gd name="T20" fmla="*/ 0 w 5"/>
                  <a:gd name="T21" fmla="*/ 2 h 10"/>
                  <a:gd name="T22" fmla="*/ 0 w 5"/>
                  <a:gd name="T23" fmla="*/ 5 h 10"/>
                  <a:gd name="T24" fmla="*/ 0 w 5"/>
                  <a:gd name="T25" fmla="*/ 5 h 10"/>
                  <a:gd name="T26" fmla="*/ 3 w 5"/>
                  <a:gd name="T27" fmla="*/ 7 h 10"/>
                  <a:gd name="T28" fmla="*/ 0 w 5"/>
                  <a:gd name="T29" fmla="*/ 7 h 10"/>
                  <a:gd name="T30" fmla="*/ 0 w 5"/>
                  <a:gd name="T31" fmla="*/ 7 h 10"/>
                  <a:gd name="T32" fmla="*/ 0 w 5"/>
                  <a:gd name="T33" fmla="*/ 10 h 10"/>
                  <a:gd name="T34" fmla="*/ 5 w 5"/>
                  <a:gd name="T35" fmla="*/ 10 h 10"/>
                  <a:gd name="T36" fmla="*/ 5 w 5"/>
                  <a:gd name="T37" fmla="*/ 10 h 10"/>
                  <a:gd name="T38" fmla="*/ 5 w 5"/>
                  <a:gd name="T39" fmla="*/ 10 h 10"/>
                  <a:gd name="T40" fmla="*/ 5 w 5"/>
                  <a:gd name="T41" fmla="*/ 10 h 10"/>
                  <a:gd name="T42" fmla="*/ 5 w 5"/>
                  <a:gd name="T43" fmla="*/ 7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 h="10">
                    <a:moveTo>
                      <a:pt x="5" y="7"/>
                    </a:moveTo>
                    <a:lnTo>
                      <a:pt x="5" y="5"/>
                    </a:lnTo>
                    <a:lnTo>
                      <a:pt x="5" y="5"/>
                    </a:lnTo>
                    <a:lnTo>
                      <a:pt x="5" y="2"/>
                    </a:lnTo>
                    <a:lnTo>
                      <a:pt x="5" y="2"/>
                    </a:lnTo>
                    <a:lnTo>
                      <a:pt x="5" y="2"/>
                    </a:lnTo>
                    <a:lnTo>
                      <a:pt x="3" y="2"/>
                    </a:lnTo>
                    <a:lnTo>
                      <a:pt x="0" y="0"/>
                    </a:lnTo>
                    <a:lnTo>
                      <a:pt x="0" y="0"/>
                    </a:lnTo>
                    <a:lnTo>
                      <a:pt x="0" y="0"/>
                    </a:lnTo>
                    <a:lnTo>
                      <a:pt x="0" y="2"/>
                    </a:lnTo>
                    <a:lnTo>
                      <a:pt x="0" y="5"/>
                    </a:lnTo>
                    <a:lnTo>
                      <a:pt x="0" y="5"/>
                    </a:lnTo>
                    <a:lnTo>
                      <a:pt x="3" y="7"/>
                    </a:lnTo>
                    <a:lnTo>
                      <a:pt x="0" y="7"/>
                    </a:lnTo>
                    <a:lnTo>
                      <a:pt x="0" y="7"/>
                    </a:lnTo>
                    <a:lnTo>
                      <a:pt x="0" y="10"/>
                    </a:lnTo>
                    <a:lnTo>
                      <a:pt x="5" y="10"/>
                    </a:lnTo>
                    <a:lnTo>
                      <a:pt x="5" y="10"/>
                    </a:lnTo>
                    <a:lnTo>
                      <a:pt x="5" y="10"/>
                    </a:lnTo>
                    <a:lnTo>
                      <a:pt x="5" y="10"/>
                    </a:lnTo>
                    <a:lnTo>
                      <a:pt x="5" y="7"/>
                    </a:lnTo>
                    <a:close/>
                  </a:path>
                </a:pathLst>
              </a:custGeom>
              <a:solidFill>
                <a:srgbClr val="8787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8" name="Freeform 100"/>
              <p:cNvSpPr>
                <a:spLocks/>
              </p:cNvSpPr>
              <p:nvPr/>
            </p:nvSpPr>
            <p:spPr bwMode="auto">
              <a:xfrm>
                <a:off x="1620" y="2485"/>
                <a:ext cx="5" cy="10"/>
              </a:xfrm>
              <a:custGeom>
                <a:avLst/>
                <a:gdLst>
                  <a:gd name="T0" fmla="*/ 5 w 5"/>
                  <a:gd name="T1" fmla="*/ 7 h 10"/>
                  <a:gd name="T2" fmla="*/ 5 w 5"/>
                  <a:gd name="T3" fmla="*/ 5 h 10"/>
                  <a:gd name="T4" fmla="*/ 5 w 5"/>
                  <a:gd name="T5" fmla="*/ 5 h 10"/>
                  <a:gd name="T6" fmla="*/ 5 w 5"/>
                  <a:gd name="T7" fmla="*/ 2 h 10"/>
                  <a:gd name="T8" fmla="*/ 5 w 5"/>
                  <a:gd name="T9" fmla="*/ 2 h 10"/>
                  <a:gd name="T10" fmla="*/ 5 w 5"/>
                  <a:gd name="T11" fmla="*/ 2 h 10"/>
                  <a:gd name="T12" fmla="*/ 3 w 5"/>
                  <a:gd name="T13" fmla="*/ 2 h 10"/>
                  <a:gd name="T14" fmla="*/ 0 w 5"/>
                  <a:gd name="T15" fmla="*/ 0 h 10"/>
                  <a:gd name="T16" fmla="*/ 0 w 5"/>
                  <a:gd name="T17" fmla="*/ 0 h 10"/>
                  <a:gd name="T18" fmla="*/ 0 w 5"/>
                  <a:gd name="T19" fmla="*/ 0 h 10"/>
                  <a:gd name="T20" fmla="*/ 0 w 5"/>
                  <a:gd name="T21" fmla="*/ 2 h 10"/>
                  <a:gd name="T22" fmla="*/ 0 w 5"/>
                  <a:gd name="T23" fmla="*/ 5 h 10"/>
                  <a:gd name="T24" fmla="*/ 0 w 5"/>
                  <a:gd name="T25" fmla="*/ 5 h 10"/>
                  <a:gd name="T26" fmla="*/ 3 w 5"/>
                  <a:gd name="T27" fmla="*/ 7 h 10"/>
                  <a:gd name="T28" fmla="*/ 0 w 5"/>
                  <a:gd name="T29" fmla="*/ 7 h 10"/>
                  <a:gd name="T30" fmla="*/ 0 w 5"/>
                  <a:gd name="T31" fmla="*/ 7 h 10"/>
                  <a:gd name="T32" fmla="*/ 0 w 5"/>
                  <a:gd name="T33" fmla="*/ 10 h 10"/>
                  <a:gd name="T34" fmla="*/ 5 w 5"/>
                  <a:gd name="T35" fmla="*/ 10 h 10"/>
                  <a:gd name="T36" fmla="*/ 5 w 5"/>
                  <a:gd name="T37" fmla="*/ 10 h 10"/>
                  <a:gd name="T38" fmla="*/ 5 w 5"/>
                  <a:gd name="T39" fmla="*/ 10 h 10"/>
                  <a:gd name="T40" fmla="*/ 5 w 5"/>
                  <a:gd name="T41" fmla="*/ 10 h 10"/>
                  <a:gd name="T42" fmla="*/ 5 w 5"/>
                  <a:gd name="T43" fmla="*/ 7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 h="10">
                    <a:moveTo>
                      <a:pt x="5" y="7"/>
                    </a:moveTo>
                    <a:lnTo>
                      <a:pt x="5" y="5"/>
                    </a:lnTo>
                    <a:lnTo>
                      <a:pt x="5" y="5"/>
                    </a:lnTo>
                    <a:lnTo>
                      <a:pt x="5" y="2"/>
                    </a:lnTo>
                    <a:lnTo>
                      <a:pt x="5" y="2"/>
                    </a:lnTo>
                    <a:lnTo>
                      <a:pt x="5" y="2"/>
                    </a:lnTo>
                    <a:lnTo>
                      <a:pt x="3" y="2"/>
                    </a:lnTo>
                    <a:lnTo>
                      <a:pt x="0" y="0"/>
                    </a:lnTo>
                    <a:lnTo>
                      <a:pt x="0" y="0"/>
                    </a:lnTo>
                    <a:lnTo>
                      <a:pt x="0" y="0"/>
                    </a:lnTo>
                    <a:lnTo>
                      <a:pt x="0" y="2"/>
                    </a:lnTo>
                    <a:lnTo>
                      <a:pt x="0" y="5"/>
                    </a:lnTo>
                    <a:lnTo>
                      <a:pt x="0" y="5"/>
                    </a:lnTo>
                    <a:lnTo>
                      <a:pt x="3" y="7"/>
                    </a:lnTo>
                    <a:lnTo>
                      <a:pt x="0" y="7"/>
                    </a:lnTo>
                    <a:lnTo>
                      <a:pt x="0" y="7"/>
                    </a:lnTo>
                    <a:lnTo>
                      <a:pt x="0" y="10"/>
                    </a:lnTo>
                    <a:lnTo>
                      <a:pt x="5" y="10"/>
                    </a:lnTo>
                    <a:lnTo>
                      <a:pt x="5" y="10"/>
                    </a:lnTo>
                    <a:lnTo>
                      <a:pt x="5" y="10"/>
                    </a:lnTo>
                    <a:lnTo>
                      <a:pt x="5" y="10"/>
                    </a:lnTo>
                    <a:lnTo>
                      <a:pt x="5" y="7"/>
                    </a:lnTo>
                    <a:close/>
                  </a:path>
                </a:pathLst>
              </a:custGeom>
              <a:noFill/>
              <a:ln w="3175" cap="rnd">
                <a:solidFill>
                  <a:srgbClr val="F9F9F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9" name="Freeform 101"/>
              <p:cNvSpPr>
                <a:spLocks noEditPoints="1"/>
              </p:cNvSpPr>
              <p:nvPr/>
            </p:nvSpPr>
            <p:spPr bwMode="auto">
              <a:xfrm>
                <a:off x="3009" y="2038"/>
                <a:ext cx="7" cy="4"/>
              </a:xfrm>
              <a:custGeom>
                <a:avLst/>
                <a:gdLst>
                  <a:gd name="T0" fmla="*/ 7 w 7"/>
                  <a:gd name="T1" fmla="*/ 4 h 4"/>
                  <a:gd name="T2" fmla="*/ 5 w 7"/>
                  <a:gd name="T3" fmla="*/ 2 h 4"/>
                  <a:gd name="T4" fmla="*/ 5 w 7"/>
                  <a:gd name="T5" fmla="*/ 2 h 4"/>
                  <a:gd name="T6" fmla="*/ 5 w 7"/>
                  <a:gd name="T7" fmla="*/ 4 h 4"/>
                  <a:gd name="T8" fmla="*/ 5 w 7"/>
                  <a:gd name="T9" fmla="*/ 4 h 4"/>
                  <a:gd name="T10" fmla="*/ 7 w 7"/>
                  <a:gd name="T11" fmla="*/ 4 h 4"/>
                  <a:gd name="T12" fmla="*/ 7 w 7"/>
                  <a:gd name="T13" fmla="*/ 4 h 4"/>
                  <a:gd name="T14" fmla="*/ 7 w 7"/>
                  <a:gd name="T15" fmla="*/ 4 h 4"/>
                  <a:gd name="T16" fmla="*/ 2 w 7"/>
                  <a:gd name="T17" fmla="*/ 0 h 4"/>
                  <a:gd name="T18" fmla="*/ 0 w 7"/>
                  <a:gd name="T19" fmla="*/ 0 h 4"/>
                  <a:gd name="T20" fmla="*/ 0 w 7"/>
                  <a:gd name="T21" fmla="*/ 0 h 4"/>
                  <a:gd name="T22" fmla="*/ 2 w 7"/>
                  <a:gd name="T23" fmla="*/ 0 h 4"/>
                  <a:gd name="T24" fmla="*/ 2 w 7"/>
                  <a:gd name="T25" fmla="*/ 0 h 4"/>
                  <a:gd name="T26" fmla="*/ 2 w 7"/>
                  <a:gd name="T27" fmla="*/ 0 h 4"/>
                  <a:gd name="T28" fmla="*/ 2 w 7"/>
                  <a:gd name="T29" fmla="*/ 0 h 4"/>
                  <a:gd name="T30" fmla="*/ 2 w 7"/>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 h="4">
                    <a:moveTo>
                      <a:pt x="7" y="4"/>
                    </a:moveTo>
                    <a:lnTo>
                      <a:pt x="5" y="2"/>
                    </a:lnTo>
                    <a:lnTo>
                      <a:pt x="5" y="2"/>
                    </a:lnTo>
                    <a:lnTo>
                      <a:pt x="5" y="4"/>
                    </a:lnTo>
                    <a:lnTo>
                      <a:pt x="5" y="4"/>
                    </a:lnTo>
                    <a:lnTo>
                      <a:pt x="7" y="4"/>
                    </a:lnTo>
                    <a:lnTo>
                      <a:pt x="7" y="4"/>
                    </a:lnTo>
                    <a:lnTo>
                      <a:pt x="7" y="4"/>
                    </a:lnTo>
                    <a:close/>
                    <a:moveTo>
                      <a:pt x="2" y="0"/>
                    </a:moveTo>
                    <a:lnTo>
                      <a:pt x="0" y="0"/>
                    </a:lnTo>
                    <a:lnTo>
                      <a:pt x="0" y="0"/>
                    </a:lnTo>
                    <a:lnTo>
                      <a:pt x="2" y="0"/>
                    </a:lnTo>
                    <a:lnTo>
                      <a:pt x="2" y="0"/>
                    </a:lnTo>
                    <a:lnTo>
                      <a:pt x="2" y="0"/>
                    </a:lnTo>
                    <a:lnTo>
                      <a:pt x="2" y="0"/>
                    </a:lnTo>
                    <a:lnTo>
                      <a:pt x="2" y="0"/>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102"/>
              <p:cNvSpPr>
                <a:spLocks/>
              </p:cNvSpPr>
              <p:nvPr/>
            </p:nvSpPr>
            <p:spPr bwMode="auto">
              <a:xfrm>
                <a:off x="2524" y="2272"/>
                <a:ext cx="305" cy="313"/>
              </a:xfrm>
              <a:custGeom>
                <a:avLst/>
                <a:gdLst>
                  <a:gd name="T0" fmla="*/ 286 w 305"/>
                  <a:gd name="T1" fmla="*/ 125 h 313"/>
                  <a:gd name="T2" fmla="*/ 288 w 305"/>
                  <a:gd name="T3" fmla="*/ 118 h 313"/>
                  <a:gd name="T4" fmla="*/ 281 w 305"/>
                  <a:gd name="T5" fmla="*/ 107 h 313"/>
                  <a:gd name="T6" fmla="*/ 262 w 305"/>
                  <a:gd name="T7" fmla="*/ 99 h 313"/>
                  <a:gd name="T8" fmla="*/ 251 w 305"/>
                  <a:gd name="T9" fmla="*/ 88 h 313"/>
                  <a:gd name="T10" fmla="*/ 229 w 305"/>
                  <a:gd name="T11" fmla="*/ 66 h 313"/>
                  <a:gd name="T12" fmla="*/ 182 w 305"/>
                  <a:gd name="T13" fmla="*/ 31 h 313"/>
                  <a:gd name="T14" fmla="*/ 137 w 305"/>
                  <a:gd name="T15" fmla="*/ 0 h 313"/>
                  <a:gd name="T16" fmla="*/ 111 w 305"/>
                  <a:gd name="T17" fmla="*/ 21 h 313"/>
                  <a:gd name="T18" fmla="*/ 113 w 305"/>
                  <a:gd name="T19" fmla="*/ 62 h 313"/>
                  <a:gd name="T20" fmla="*/ 118 w 305"/>
                  <a:gd name="T21" fmla="*/ 104 h 313"/>
                  <a:gd name="T22" fmla="*/ 121 w 305"/>
                  <a:gd name="T23" fmla="*/ 147 h 313"/>
                  <a:gd name="T24" fmla="*/ 128 w 305"/>
                  <a:gd name="T25" fmla="*/ 185 h 313"/>
                  <a:gd name="T26" fmla="*/ 68 w 305"/>
                  <a:gd name="T27" fmla="*/ 201 h 313"/>
                  <a:gd name="T28" fmla="*/ 52 w 305"/>
                  <a:gd name="T29" fmla="*/ 199 h 313"/>
                  <a:gd name="T30" fmla="*/ 38 w 305"/>
                  <a:gd name="T31" fmla="*/ 201 h 313"/>
                  <a:gd name="T32" fmla="*/ 24 w 305"/>
                  <a:gd name="T33" fmla="*/ 208 h 313"/>
                  <a:gd name="T34" fmla="*/ 9 w 305"/>
                  <a:gd name="T35" fmla="*/ 201 h 313"/>
                  <a:gd name="T36" fmla="*/ 2 w 305"/>
                  <a:gd name="T37" fmla="*/ 215 h 313"/>
                  <a:gd name="T38" fmla="*/ 5 w 305"/>
                  <a:gd name="T39" fmla="*/ 227 h 313"/>
                  <a:gd name="T40" fmla="*/ 2 w 305"/>
                  <a:gd name="T41" fmla="*/ 239 h 313"/>
                  <a:gd name="T42" fmla="*/ 9 w 305"/>
                  <a:gd name="T43" fmla="*/ 244 h 313"/>
                  <a:gd name="T44" fmla="*/ 14 w 305"/>
                  <a:gd name="T45" fmla="*/ 253 h 313"/>
                  <a:gd name="T46" fmla="*/ 14 w 305"/>
                  <a:gd name="T47" fmla="*/ 265 h 313"/>
                  <a:gd name="T48" fmla="*/ 16 w 305"/>
                  <a:gd name="T49" fmla="*/ 275 h 313"/>
                  <a:gd name="T50" fmla="*/ 26 w 305"/>
                  <a:gd name="T51" fmla="*/ 277 h 313"/>
                  <a:gd name="T52" fmla="*/ 33 w 305"/>
                  <a:gd name="T53" fmla="*/ 270 h 313"/>
                  <a:gd name="T54" fmla="*/ 47 w 305"/>
                  <a:gd name="T55" fmla="*/ 272 h 313"/>
                  <a:gd name="T56" fmla="*/ 52 w 305"/>
                  <a:gd name="T57" fmla="*/ 265 h 313"/>
                  <a:gd name="T58" fmla="*/ 59 w 305"/>
                  <a:gd name="T59" fmla="*/ 270 h 313"/>
                  <a:gd name="T60" fmla="*/ 66 w 305"/>
                  <a:gd name="T61" fmla="*/ 284 h 313"/>
                  <a:gd name="T62" fmla="*/ 68 w 305"/>
                  <a:gd name="T63" fmla="*/ 289 h 313"/>
                  <a:gd name="T64" fmla="*/ 68 w 305"/>
                  <a:gd name="T65" fmla="*/ 294 h 313"/>
                  <a:gd name="T66" fmla="*/ 71 w 305"/>
                  <a:gd name="T67" fmla="*/ 305 h 313"/>
                  <a:gd name="T68" fmla="*/ 80 w 305"/>
                  <a:gd name="T69" fmla="*/ 313 h 313"/>
                  <a:gd name="T70" fmla="*/ 87 w 305"/>
                  <a:gd name="T71" fmla="*/ 310 h 313"/>
                  <a:gd name="T72" fmla="*/ 97 w 305"/>
                  <a:gd name="T73" fmla="*/ 313 h 313"/>
                  <a:gd name="T74" fmla="*/ 102 w 305"/>
                  <a:gd name="T75" fmla="*/ 308 h 313"/>
                  <a:gd name="T76" fmla="*/ 106 w 305"/>
                  <a:gd name="T77" fmla="*/ 305 h 313"/>
                  <a:gd name="T78" fmla="*/ 109 w 305"/>
                  <a:gd name="T79" fmla="*/ 305 h 313"/>
                  <a:gd name="T80" fmla="*/ 111 w 305"/>
                  <a:gd name="T81" fmla="*/ 313 h 313"/>
                  <a:gd name="T82" fmla="*/ 123 w 305"/>
                  <a:gd name="T83" fmla="*/ 308 h 313"/>
                  <a:gd name="T84" fmla="*/ 125 w 305"/>
                  <a:gd name="T85" fmla="*/ 294 h 313"/>
                  <a:gd name="T86" fmla="*/ 128 w 305"/>
                  <a:gd name="T87" fmla="*/ 279 h 313"/>
                  <a:gd name="T88" fmla="*/ 139 w 305"/>
                  <a:gd name="T89" fmla="*/ 272 h 313"/>
                  <a:gd name="T90" fmla="*/ 142 w 305"/>
                  <a:gd name="T91" fmla="*/ 260 h 313"/>
                  <a:gd name="T92" fmla="*/ 149 w 305"/>
                  <a:gd name="T93" fmla="*/ 246 h 313"/>
                  <a:gd name="T94" fmla="*/ 165 w 305"/>
                  <a:gd name="T95" fmla="*/ 246 h 313"/>
                  <a:gd name="T96" fmla="*/ 173 w 305"/>
                  <a:gd name="T97" fmla="*/ 239 h 313"/>
                  <a:gd name="T98" fmla="*/ 187 w 305"/>
                  <a:gd name="T99" fmla="*/ 230 h 313"/>
                  <a:gd name="T100" fmla="*/ 203 w 305"/>
                  <a:gd name="T101" fmla="*/ 215 h 313"/>
                  <a:gd name="T102" fmla="*/ 218 w 305"/>
                  <a:gd name="T103" fmla="*/ 211 h 313"/>
                  <a:gd name="T104" fmla="*/ 239 w 305"/>
                  <a:gd name="T105" fmla="*/ 213 h 313"/>
                  <a:gd name="T106" fmla="*/ 272 w 305"/>
                  <a:gd name="T107" fmla="*/ 204 h 313"/>
                  <a:gd name="T108" fmla="*/ 291 w 305"/>
                  <a:gd name="T109" fmla="*/ 201 h 313"/>
                  <a:gd name="T110" fmla="*/ 300 w 305"/>
                  <a:gd name="T111" fmla="*/ 189 h 313"/>
                  <a:gd name="T112" fmla="*/ 305 w 305"/>
                  <a:gd name="T113" fmla="*/ 156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05" h="313">
                    <a:moveTo>
                      <a:pt x="300" y="125"/>
                    </a:moveTo>
                    <a:lnTo>
                      <a:pt x="296" y="125"/>
                    </a:lnTo>
                    <a:lnTo>
                      <a:pt x="291" y="125"/>
                    </a:lnTo>
                    <a:lnTo>
                      <a:pt x="291" y="125"/>
                    </a:lnTo>
                    <a:lnTo>
                      <a:pt x="288" y="128"/>
                    </a:lnTo>
                    <a:lnTo>
                      <a:pt x="288" y="125"/>
                    </a:lnTo>
                    <a:lnTo>
                      <a:pt x="288" y="125"/>
                    </a:lnTo>
                    <a:lnTo>
                      <a:pt x="286" y="125"/>
                    </a:lnTo>
                    <a:lnTo>
                      <a:pt x="286" y="123"/>
                    </a:lnTo>
                    <a:lnTo>
                      <a:pt x="284" y="123"/>
                    </a:lnTo>
                    <a:lnTo>
                      <a:pt x="286" y="121"/>
                    </a:lnTo>
                    <a:lnTo>
                      <a:pt x="286" y="121"/>
                    </a:lnTo>
                    <a:lnTo>
                      <a:pt x="286" y="121"/>
                    </a:lnTo>
                    <a:lnTo>
                      <a:pt x="286" y="118"/>
                    </a:lnTo>
                    <a:lnTo>
                      <a:pt x="288" y="118"/>
                    </a:lnTo>
                    <a:lnTo>
                      <a:pt x="288" y="118"/>
                    </a:lnTo>
                    <a:lnTo>
                      <a:pt x="286" y="116"/>
                    </a:lnTo>
                    <a:lnTo>
                      <a:pt x="286" y="114"/>
                    </a:lnTo>
                    <a:lnTo>
                      <a:pt x="286" y="111"/>
                    </a:lnTo>
                    <a:lnTo>
                      <a:pt x="286" y="111"/>
                    </a:lnTo>
                    <a:lnTo>
                      <a:pt x="286" y="109"/>
                    </a:lnTo>
                    <a:lnTo>
                      <a:pt x="286" y="109"/>
                    </a:lnTo>
                    <a:lnTo>
                      <a:pt x="284" y="107"/>
                    </a:lnTo>
                    <a:lnTo>
                      <a:pt x="281" y="107"/>
                    </a:lnTo>
                    <a:lnTo>
                      <a:pt x="279" y="107"/>
                    </a:lnTo>
                    <a:lnTo>
                      <a:pt x="277" y="107"/>
                    </a:lnTo>
                    <a:lnTo>
                      <a:pt x="274" y="104"/>
                    </a:lnTo>
                    <a:lnTo>
                      <a:pt x="272" y="104"/>
                    </a:lnTo>
                    <a:lnTo>
                      <a:pt x="270" y="102"/>
                    </a:lnTo>
                    <a:lnTo>
                      <a:pt x="270" y="99"/>
                    </a:lnTo>
                    <a:lnTo>
                      <a:pt x="262" y="99"/>
                    </a:lnTo>
                    <a:lnTo>
                      <a:pt x="262" y="99"/>
                    </a:lnTo>
                    <a:lnTo>
                      <a:pt x="260" y="99"/>
                    </a:lnTo>
                    <a:lnTo>
                      <a:pt x="260" y="97"/>
                    </a:lnTo>
                    <a:lnTo>
                      <a:pt x="258" y="95"/>
                    </a:lnTo>
                    <a:lnTo>
                      <a:pt x="258" y="95"/>
                    </a:lnTo>
                    <a:lnTo>
                      <a:pt x="258" y="95"/>
                    </a:lnTo>
                    <a:lnTo>
                      <a:pt x="253" y="90"/>
                    </a:lnTo>
                    <a:lnTo>
                      <a:pt x="251" y="90"/>
                    </a:lnTo>
                    <a:lnTo>
                      <a:pt x="251" y="88"/>
                    </a:lnTo>
                    <a:lnTo>
                      <a:pt x="251" y="88"/>
                    </a:lnTo>
                    <a:lnTo>
                      <a:pt x="251" y="85"/>
                    </a:lnTo>
                    <a:lnTo>
                      <a:pt x="251" y="83"/>
                    </a:lnTo>
                    <a:lnTo>
                      <a:pt x="251" y="83"/>
                    </a:lnTo>
                    <a:lnTo>
                      <a:pt x="246" y="81"/>
                    </a:lnTo>
                    <a:lnTo>
                      <a:pt x="241" y="76"/>
                    </a:lnTo>
                    <a:lnTo>
                      <a:pt x="234" y="71"/>
                    </a:lnTo>
                    <a:lnTo>
                      <a:pt x="229" y="66"/>
                    </a:lnTo>
                    <a:lnTo>
                      <a:pt x="222" y="62"/>
                    </a:lnTo>
                    <a:lnTo>
                      <a:pt x="218" y="57"/>
                    </a:lnTo>
                    <a:lnTo>
                      <a:pt x="210" y="52"/>
                    </a:lnTo>
                    <a:lnTo>
                      <a:pt x="206" y="47"/>
                    </a:lnTo>
                    <a:lnTo>
                      <a:pt x="199" y="43"/>
                    </a:lnTo>
                    <a:lnTo>
                      <a:pt x="194" y="40"/>
                    </a:lnTo>
                    <a:lnTo>
                      <a:pt x="187" y="36"/>
                    </a:lnTo>
                    <a:lnTo>
                      <a:pt x="182" y="31"/>
                    </a:lnTo>
                    <a:lnTo>
                      <a:pt x="177" y="26"/>
                    </a:lnTo>
                    <a:lnTo>
                      <a:pt x="170" y="21"/>
                    </a:lnTo>
                    <a:lnTo>
                      <a:pt x="165" y="17"/>
                    </a:lnTo>
                    <a:lnTo>
                      <a:pt x="158" y="12"/>
                    </a:lnTo>
                    <a:lnTo>
                      <a:pt x="154" y="7"/>
                    </a:lnTo>
                    <a:lnTo>
                      <a:pt x="149" y="5"/>
                    </a:lnTo>
                    <a:lnTo>
                      <a:pt x="142" y="0"/>
                    </a:lnTo>
                    <a:lnTo>
                      <a:pt x="137" y="0"/>
                    </a:lnTo>
                    <a:lnTo>
                      <a:pt x="128" y="0"/>
                    </a:lnTo>
                    <a:lnTo>
                      <a:pt x="123" y="0"/>
                    </a:lnTo>
                    <a:lnTo>
                      <a:pt x="116" y="0"/>
                    </a:lnTo>
                    <a:lnTo>
                      <a:pt x="111" y="0"/>
                    </a:lnTo>
                    <a:lnTo>
                      <a:pt x="111" y="5"/>
                    </a:lnTo>
                    <a:lnTo>
                      <a:pt x="111" y="9"/>
                    </a:lnTo>
                    <a:lnTo>
                      <a:pt x="111" y="14"/>
                    </a:lnTo>
                    <a:lnTo>
                      <a:pt x="111" y="21"/>
                    </a:lnTo>
                    <a:lnTo>
                      <a:pt x="111" y="26"/>
                    </a:lnTo>
                    <a:lnTo>
                      <a:pt x="113" y="31"/>
                    </a:lnTo>
                    <a:lnTo>
                      <a:pt x="113" y="36"/>
                    </a:lnTo>
                    <a:lnTo>
                      <a:pt x="113" y="40"/>
                    </a:lnTo>
                    <a:lnTo>
                      <a:pt x="113" y="47"/>
                    </a:lnTo>
                    <a:lnTo>
                      <a:pt x="113" y="52"/>
                    </a:lnTo>
                    <a:lnTo>
                      <a:pt x="113" y="57"/>
                    </a:lnTo>
                    <a:lnTo>
                      <a:pt x="113" y="62"/>
                    </a:lnTo>
                    <a:lnTo>
                      <a:pt x="116" y="69"/>
                    </a:lnTo>
                    <a:lnTo>
                      <a:pt x="116" y="73"/>
                    </a:lnTo>
                    <a:lnTo>
                      <a:pt x="116" y="78"/>
                    </a:lnTo>
                    <a:lnTo>
                      <a:pt x="116" y="83"/>
                    </a:lnTo>
                    <a:lnTo>
                      <a:pt x="116" y="88"/>
                    </a:lnTo>
                    <a:lnTo>
                      <a:pt x="116" y="95"/>
                    </a:lnTo>
                    <a:lnTo>
                      <a:pt x="118" y="99"/>
                    </a:lnTo>
                    <a:lnTo>
                      <a:pt x="118" y="104"/>
                    </a:lnTo>
                    <a:lnTo>
                      <a:pt x="118" y="109"/>
                    </a:lnTo>
                    <a:lnTo>
                      <a:pt x="118" y="116"/>
                    </a:lnTo>
                    <a:lnTo>
                      <a:pt x="118" y="121"/>
                    </a:lnTo>
                    <a:lnTo>
                      <a:pt x="118" y="125"/>
                    </a:lnTo>
                    <a:lnTo>
                      <a:pt x="121" y="130"/>
                    </a:lnTo>
                    <a:lnTo>
                      <a:pt x="121" y="135"/>
                    </a:lnTo>
                    <a:lnTo>
                      <a:pt x="121" y="142"/>
                    </a:lnTo>
                    <a:lnTo>
                      <a:pt x="121" y="147"/>
                    </a:lnTo>
                    <a:lnTo>
                      <a:pt x="121" y="152"/>
                    </a:lnTo>
                    <a:lnTo>
                      <a:pt x="121" y="156"/>
                    </a:lnTo>
                    <a:lnTo>
                      <a:pt x="123" y="163"/>
                    </a:lnTo>
                    <a:lnTo>
                      <a:pt x="123" y="168"/>
                    </a:lnTo>
                    <a:lnTo>
                      <a:pt x="123" y="173"/>
                    </a:lnTo>
                    <a:lnTo>
                      <a:pt x="123" y="178"/>
                    </a:lnTo>
                    <a:lnTo>
                      <a:pt x="125" y="180"/>
                    </a:lnTo>
                    <a:lnTo>
                      <a:pt x="128" y="185"/>
                    </a:lnTo>
                    <a:lnTo>
                      <a:pt x="128" y="189"/>
                    </a:lnTo>
                    <a:lnTo>
                      <a:pt x="125" y="194"/>
                    </a:lnTo>
                    <a:lnTo>
                      <a:pt x="125" y="201"/>
                    </a:lnTo>
                    <a:lnTo>
                      <a:pt x="118" y="201"/>
                    </a:lnTo>
                    <a:lnTo>
                      <a:pt x="109" y="201"/>
                    </a:lnTo>
                    <a:lnTo>
                      <a:pt x="90" y="201"/>
                    </a:lnTo>
                    <a:lnTo>
                      <a:pt x="87" y="201"/>
                    </a:lnTo>
                    <a:lnTo>
                      <a:pt x="68" y="201"/>
                    </a:lnTo>
                    <a:lnTo>
                      <a:pt x="64" y="201"/>
                    </a:lnTo>
                    <a:lnTo>
                      <a:pt x="57" y="201"/>
                    </a:lnTo>
                    <a:lnTo>
                      <a:pt x="54" y="201"/>
                    </a:lnTo>
                    <a:lnTo>
                      <a:pt x="54" y="199"/>
                    </a:lnTo>
                    <a:lnTo>
                      <a:pt x="54" y="197"/>
                    </a:lnTo>
                    <a:lnTo>
                      <a:pt x="54" y="197"/>
                    </a:lnTo>
                    <a:lnTo>
                      <a:pt x="52" y="199"/>
                    </a:lnTo>
                    <a:lnTo>
                      <a:pt x="52" y="199"/>
                    </a:lnTo>
                    <a:lnTo>
                      <a:pt x="52" y="201"/>
                    </a:lnTo>
                    <a:lnTo>
                      <a:pt x="52" y="201"/>
                    </a:lnTo>
                    <a:lnTo>
                      <a:pt x="50" y="201"/>
                    </a:lnTo>
                    <a:lnTo>
                      <a:pt x="47" y="204"/>
                    </a:lnTo>
                    <a:lnTo>
                      <a:pt x="42" y="204"/>
                    </a:lnTo>
                    <a:lnTo>
                      <a:pt x="40" y="204"/>
                    </a:lnTo>
                    <a:lnTo>
                      <a:pt x="38" y="204"/>
                    </a:lnTo>
                    <a:lnTo>
                      <a:pt x="38" y="201"/>
                    </a:lnTo>
                    <a:lnTo>
                      <a:pt x="35" y="201"/>
                    </a:lnTo>
                    <a:lnTo>
                      <a:pt x="33" y="201"/>
                    </a:lnTo>
                    <a:lnTo>
                      <a:pt x="31" y="201"/>
                    </a:lnTo>
                    <a:lnTo>
                      <a:pt x="28" y="201"/>
                    </a:lnTo>
                    <a:lnTo>
                      <a:pt x="28" y="204"/>
                    </a:lnTo>
                    <a:lnTo>
                      <a:pt x="26" y="206"/>
                    </a:lnTo>
                    <a:lnTo>
                      <a:pt x="26" y="208"/>
                    </a:lnTo>
                    <a:lnTo>
                      <a:pt x="24" y="208"/>
                    </a:lnTo>
                    <a:lnTo>
                      <a:pt x="24" y="206"/>
                    </a:lnTo>
                    <a:lnTo>
                      <a:pt x="21" y="204"/>
                    </a:lnTo>
                    <a:lnTo>
                      <a:pt x="16" y="199"/>
                    </a:lnTo>
                    <a:lnTo>
                      <a:pt x="14" y="199"/>
                    </a:lnTo>
                    <a:lnTo>
                      <a:pt x="14" y="197"/>
                    </a:lnTo>
                    <a:lnTo>
                      <a:pt x="12" y="199"/>
                    </a:lnTo>
                    <a:lnTo>
                      <a:pt x="12" y="201"/>
                    </a:lnTo>
                    <a:lnTo>
                      <a:pt x="9" y="201"/>
                    </a:lnTo>
                    <a:lnTo>
                      <a:pt x="9" y="204"/>
                    </a:lnTo>
                    <a:lnTo>
                      <a:pt x="7" y="206"/>
                    </a:lnTo>
                    <a:lnTo>
                      <a:pt x="7" y="208"/>
                    </a:lnTo>
                    <a:lnTo>
                      <a:pt x="7" y="211"/>
                    </a:lnTo>
                    <a:lnTo>
                      <a:pt x="7" y="213"/>
                    </a:lnTo>
                    <a:lnTo>
                      <a:pt x="5" y="215"/>
                    </a:lnTo>
                    <a:lnTo>
                      <a:pt x="2" y="215"/>
                    </a:lnTo>
                    <a:lnTo>
                      <a:pt x="2" y="215"/>
                    </a:lnTo>
                    <a:lnTo>
                      <a:pt x="0" y="215"/>
                    </a:lnTo>
                    <a:lnTo>
                      <a:pt x="2" y="218"/>
                    </a:lnTo>
                    <a:lnTo>
                      <a:pt x="0" y="220"/>
                    </a:lnTo>
                    <a:lnTo>
                      <a:pt x="0" y="223"/>
                    </a:lnTo>
                    <a:lnTo>
                      <a:pt x="2" y="225"/>
                    </a:lnTo>
                    <a:lnTo>
                      <a:pt x="2" y="225"/>
                    </a:lnTo>
                    <a:lnTo>
                      <a:pt x="2" y="227"/>
                    </a:lnTo>
                    <a:lnTo>
                      <a:pt x="5" y="227"/>
                    </a:lnTo>
                    <a:lnTo>
                      <a:pt x="5" y="230"/>
                    </a:lnTo>
                    <a:lnTo>
                      <a:pt x="5" y="232"/>
                    </a:lnTo>
                    <a:lnTo>
                      <a:pt x="5" y="234"/>
                    </a:lnTo>
                    <a:lnTo>
                      <a:pt x="5" y="234"/>
                    </a:lnTo>
                    <a:lnTo>
                      <a:pt x="5" y="237"/>
                    </a:lnTo>
                    <a:lnTo>
                      <a:pt x="5" y="237"/>
                    </a:lnTo>
                    <a:lnTo>
                      <a:pt x="2" y="237"/>
                    </a:lnTo>
                    <a:lnTo>
                      <a:pt x="2" y="239"/>
                    </a:lnTo>
                    <a:lnTo>
                      <a:pt x="5" y="242"/>
                    </a:lnTo>
                    <a:lnTo>
                      <a:pt x="7" y="244"/>
                    </a:lnTo>
                    <a:lnTo>
                      <a:pt x="7" y="244"/>
                    </a:lnTo>
                    <a:lnTo>
                      <a:pt x="7" y="246"/>
                    </a:lnTo>
                    <a:lnTo>
                      <a:pt x="7" y="246"/>
                    </a:lnTo>
                    <a:lnTo>
                      <a:pt x="7" y="246"/>
                    </a:lnTo>
                    <a:lnTo>
                      <a:pt x="7" y="246"/>
                    </a:lnTo>
                    <a:lnTo>
                      <a:pt x="9" y="244"/>
                    </a:lnTo>
                    <a:lnTo>
                      <a:pt x="9" y="246"/>
                    </a:lnTo>
                    <a:lnTo>
                      <a:pt x="12" y="246"/>
                    </a:lnTo>
                    <a:lnTo>
                      <a:pt x="12" y="246"/>
                    </a:lnTo>
                    <a:lnTo>
                      <a:pt x="12" y="249"/>
                    </a:lnTo>
                    <a:lnTo>
                      <a:pt x="12" y="249"/>
                    </a:lnTo>
                    <a:lnTo>
                      <a:pt x="14" y="251"/>
                    </a:lnTo>
                    <a:lnTo>
                      <a:pt x="14" y="253"/>
                    </a:lnTo>
                    <a:lnTo>
                      <a:pt x="14" y="253"/>
                    </a:lnTo>
                    <a:lnTo>
                      <a:pt x="14" y="253"/>
                    </a:lnTo>
                    <a:lnTo>
                      <a:pt x="14" y="256"/>
                    </a:lnTo>
                    <a:lnTo>
                      <a:pt x="14" y="258"/>
                    </a:lnTo>
                    <a:lnTo>
                      <a:pt x="14" y="260"/>
                    </a:lnTo>
                    <a:lnTo>
                      <a:pt x="14" y="263"/>
                    </a:lnTo>
                    <a:lnTo>
                      <a:pt x="14" y="263"/>
                    </a:lnTo>
                    <a:lnTo>
                      <a:pt x="14" y="265"/>
                    </a:lnTo>
                    <a:lnTo>
                      <a:pt x="14" y="265"/>
                    </a:lnTo>
                    <a:lnTo>
                      <a:pt x="14" y="268"/>
                    </a:lnTo>
                    <a:lnTo>
                      <a:pt x="14" y="268"/>
                    </a:lnTo>
                    <a:lnTo>
                      <a:pt x="14" y="270"/>
                    </a:lnTo>
                    <a:lnTo>
                      <a:pt x="12" y="270"/>
                    </a:lnTo>
                    <a:lnTo>
                      <a:pt x="12" y="270"/>
                    </a:lnTo>
                    <a:lnTo>
                      <a:pt x="14" y="272"/>
                    </a:lnTo>
                    <a:lnTo>
                      <a:pt x="16" y="275"/>
                    </a:lnTo>
                    <a:lnTo>
                      <a:pt x="16" y="275"/>
                    </a:lnTo>
                    <a:lnTo>
                      <a:pt x="19" y="275"/>
                    </a:lnTo>
                    <a:lnTo>
                      <a:pt x="19" y="272"/>
                    </a:lnTo>
                    <a:lnTo>
                      <a:pt x="21" y="270"/>
                    </a:lnTo>
                    <a:lnTo>
                      <a:pt x="21" y="270"/>
                    </a:lnTo>
                    <a:lnTo>
                      <a:pt x="24" y="270"/>
                    </a:lnTo>
                    <a:lnTo>
                      <a:pt x="24" y="272"/>
                    </a:lnTo>
                    <a:lnTo>
                      <a:pt x="26" y="275"/>
                    </a:lnTo>
                    <a:lnTo>
                      <a:pt x="26" y="277"/>
                    </a:lnTo>
                    <a:lnTo>
                      <a:pt x="26" y="277"/>
                    </a:lnTo>
                    <a:lnTo>
                      <a:pt x="28" y="277"/>
                    </a:lnTo>
                    <a:lnTo>
                      <a:pt x="28" y="277"/>
                    </a:lnTo>
                    <a:lnTo>
                      <a:pt x="28" y="277"/>
                    </a:lnTo>
                    <a:lnTo>
                      <a:pt x="28" y="275"/>
                    </a:lnTo>
                    <a:lnTo>
                      <a:pt x="28" y="275"/>
                    </a:lnTo>
                    <a:lnTo>
                      <a:pt x="31" y="272"/>
                    </a:lnTo>
                    <a:lnTo>
                      <a:pt x="33" y="270"/>
                    </a:lnTo>
                    <a:lnTo>
                      <a:pt x="33" y="270"/>
                    </a:lnTo>
                    <a:lnTo>
                      <a:pt x="35" y="270"/>
                    </a:lnTo>
                    <a:lnTo>
                      <a:pt x="38" y="270"/>
                    </a:lnTo>
                    <a:lnTo>
                      <a:pt x="40" y="272"/>
                    </a:lnTo>
                    <a:lnTo>
                      <a:pt x="45" y="275"/>
                    </a:lnTo>
                    <a:lnTo>
                      <a:pt x="45" y="275"/>
                    </a:lnTo>
                    <a:lnTo>
                      <a:pt x="45" y="275"/>
                    </a:lnTo>
                    <a:lnTo>
                      <a:pt x="47" y="272"/>
                    </a:lnTo>
                    <a:lnTo>
                      <a:pt x="47" y="270"/>
                    </a:lnTo>
                    <a:lnTo>
                      <a:pt x="50" y="270"/>
                    </a:lnTo>
                    <a:lnTo>
                      <a:pt x="52" y="270"/>
                    </a:lnTo>
                    <a:lnTo>
                      <a:pt x="52" y="270"/>
                    </a:lnTo>
                    <a:lnTo>
                      <a:pt x="52" y="268"/>
                    </a:lnTo>
                    <a:lnTo>
                      <a:pt x="52" y="268"/>
                    </a:lnTo>
                    <a:lnTo>
                      <a:pt x="52" y="268"/>
                    </a:lnTo>
                    <a:lnTo>
                      <a:pt x="52" y="265"/>
                    </a:lnTo>
                    <a:lnTo>
                      <a:pt x="52" y="265"/>
                    </a:lnTo>
                    <a:lnTo>
                      <a:pt x="52" y="265"/>
                    </a:lnTo>
                    <a:lnTo>
                      <a:pt x="54" y="265"/>
                    </a:lnTo>
                    <a:lnTo>
                      <a:pt x="54" y="265"/>
                    </a:lnTo>
                    <a:lnTo>
                      <a:pt x="57" y="265"/>
                    </a:lnTo>
                    <a:lnTo>
                      <a:pt x="59" y="265"/>
                    </a:lnTo>
                    <a:lnTo>
                      <a:pt x="59" y="268"/>
                    </a:lnTo>
                    <a:lnTo>
                      <a:pt x="59" y="270"/>
                    </a:lnTo>
                    <a:lnTo>
                      <a:pt x="61" y="272"/>
                    </a:lnTo>
                    <a:lnTo>
                      <a:pt x="61" y="277"/>
                    </a:lnTo>
                    <a:lnTo>
                      <a:pt x="61" y="279"/>
                    </a:lnTo>
                    <a:lnTo>
                      <a:pt x="61" y="282"/>
                    </a:lnTo>
                    <a:lnTo>
                      <a:pt x="64" y="282"/>
                    </a:lnTo>
                    <a:lnTo>
                      <a:pt x="64" y="282"/>
                    </a:lnTo>
                    <a:lnTo>
                      <a:pt x="64" y="282"/>
                    </a:lnTo>
                    <a:lnTo>
                      <a:pt x="66" y="284"/>
                    </a:lnTo>
                    <a:lnTo>
                      <a:pt x="66" y="284"/>
                    </a:lnTo>
                    <a:lnTo>
                      <a:pt x="66" y="287"/>
                    </a:lnTo>
                    <a:lnTo>
                      <a:pt x="68" y="287"/>
                    </a:lnTo>
                    <a:lnTo>
                      <a:pt x="71" y="287"/>
                    </a:lnTo>
                    <a:lnTo>
                      <a:pt x="71" y="289"/>
                    </a:lnTo>
                    <a:lnTo>
                      <a:pt x="71" y="289"/>
                    </a:lnTo>
                    <a:lnTo>
                      <a:pt x="68" y="289"/>
                    </a:lnTo>
                    <a:lnTo>
                      <a:pt x="68" y="289"/>
                    </a:lnTo>
                    <a:lnTo>
                      <a:pt x="68" y="291"/>
                    </a:lnTo>
                    <a:lnTo>
                      <a:pt x="66" y="291"/>
                    </a:lnTo>
                    <a:lnTo>
                      <a:pt x="64" y="294"/>
                    </a:lnTo>
                    <a:lnTo>
                      <a:pt x="64" y="296"/>
                    </a:lnTo>
                    <a:lnTo>
                      <a:pt x="66" y="296"/>
                    </a:lnTo>
                    <a:lnTo>
                      <a:pt x="66" y="296"/>
                    </a:lnTo>
                    <a:lnTo>
                      <a:pt x="66" y="296"/>
                    </a:lnTo>
                    <a:lnTo>
                      <a:pt x="68" y="294"/>
                    </a:lnTo>
                    <a:lnTo>
                      <a:pt x="68" y="296"/>
                    </a:lnTo>
                    <a:lnTo>
                      <a:pt x="71" y="296"/>
                    </a:lnTo>
                    <a:lnTo>
                      <a:pt x="71" y="296"/>
                    </a:lnTo>
                    <a:lnTo>
                      <a:pt x="71" y="298"/>
                    </a:lnTo>
                    <a:lnTo>
                      <a:pt x="71" y="298"/>
                    </a:lnTo>
                    <a:lnTo>
                      <a:pt x="71" y="301"/>
                    </a:lnTo>
                    <a:lnTo>
                      <a:pt x="71" y="303"/>
                    </a:lnTo>
                    <a:lnTo>
                      <a:pt x="71" y="305"/>
                    </a:lnTo>
                    <a:lnTo>
                      <a:pt x="73" y="308"/>
                    </a:lnTo>
                    <a:lnTo>
                      <a:pt x="78" y="310"/>
                    </a:lnTo>
                    <a:lnTo>
                      <a:pt x="78" y="310"/>
                    </a:lnTo>
                    <a:lnTo>
                      <a:pt x="78" y="313"/>
                    </a:lnTo>
                    <a:lnTo>
                      <a:pt x="78" y="313"/>
                    </a:lnTo>
                    <a:lnTo>
                      <a:pt x="78" y="313"/>
                    </a:lnTo>
                    <a:lnTo>
                      <a:pt x="78" y="313"/>
                    </a:lnTo>
                    <a:lnTo>
                      <a:pt x="80" y="313"/>
                    </a:lnTo>
                    <a:lnTo>
                      <a:pt x="83" y="310"/>
                    </a:lnTo>
                    <a:lnTo>
                      <a:pt x="83" y="308"/>
                    </a:lnTo>
                    <a:lnTo>
                      <a:pt x="85" y="308"/>
                    </a:lnTo>
                    <a:lnTo>
                      <a:pt x="85" y="308"/>
                    </a:lnTo>
                    <a:lnTo>
                      <a:pt x="87" y="308"/>
                    </a:lnTo>
                    <a:lnTo>
                      <a:pt x="87" y="308"/>
                    </a:lnTo>
                    <a:lnTo>
                      <a:pt x="87" y="310"/>
                    </a:lnTo>
                    <a:lnTo>
                      <a:pt x="87" y="310"/>
                    </a:lnTo>
                    <a:lnTo>
                      <a:pt x="90" y="310"/>
                    </a:lnTo>
                    <a:lnTo>
                      <a:pt x="92" y="313"/>
                    </a:lnTo>
                    <a:lnTo>
                      <a:pt x="95" y="313"/>
                    </a:lnTo>
                    <a:lnTo>
                      <a:pt x="95" y="313"/>
                    </a:lnTo>
                    <a:lnTo>
                      <a:pt x="95" y="313"/>
                    </a:lnTo>
                    <a:lnTo>
                      <a:pt x="95" y="313"/>
                    </a:lnTo>
                    <a:lnTo>
                      <a:pt x="97" y="313"/>
                    </a:lnTo>
                    <a:lnTo>
                      <a:pt x="97" y="313"/>
                    </a:lnTo>
                    <a:lnTo>
                      <a:pt x="95" y="310"/>
                    </a:lnTo>
                    <a:lnTo>
                      <a:pt x="97" y="310"/>
                    </a:lnTo>
                    <a:lnTo>
                      <a:pt x="97" y="310"/>
                    </a:lnTo>
                    <a:lnTo>
                      <a:pt x="97" y="310"/>
                    </a:lnTo>
                    <a:lnTo>
                      <a:pt x="99" y="310"/>
                    </a:lnTo>
                    <a:lnTo>
                      <a:pt x="99" y="310"/>
                    </a:lnTo>
                    <a:lnTo>
                      <a:pt x="102" y="310"/>
                    </a:lnTo>
                    <a:lnTo>
                      <a:pt x="102" y="308"/>
                    </a:lnTo>
                    <a:lnTo>
                      <a:pt x="102" y="305"/>
                    </a:lnTo>
                    <a:lnTo>
                      <a:pt x="102" y="305"/>
                    </a:lnTo>
                    <a:lnTo>
                      <a:pt x="102" y="303"/>
                    </a:lnTo>
                    <a:lnTo>
                      <a:pt x="102" y="303"/>
                    </a:lnTo>
                    <a:lnTo>
                      <a:pt x="104" y="305"/>
                    </a:lnTo>
                    <a:lnTo>
                      <a:pt x="104" y="305"/>
                    </a:lnTo>
                    <a:lnTo>
                      <a:pt x="106" y="305"/>
                    </a:lnTo>
                    <a:lnTo>
                      <a:pt x="106" y="305"/>
                    </a:lnTo>
                    <a:lnTo>
                      <a:pt x="106" y="303"/>
                    </a:lnTo>
                    <a:lnTo>
                      <a:pt x="106" y="303"/>
                    </a:lnTo>
                    <a:lnTo>
                      <a:pt x="106" y="303"/>
                    </a:lnTo>
                    <a:lnTo>
                      <a:pt x="106" y="303"/>
                    </a:lnTo>
                    <a:lnTo>
                      <a:pt x="109" y="301"/>
                    </a:lnTo>
                    <a:lnTo>
                      <a:pt x="109" y="301"/>
                    </a:lnTo>
                    <a:lnTo>
                      <a:pt x="109" y="303"/>
                    </a:lnTo>
                    <a:lnTo>
                      <a:pt x="109" y="305"/>
                    </a:lnTo>
                    <a:lnTo>
                      <a:pt x="111" y="305"/>
                    </a:lnTo>
                    <a:lnTo>
                      <a:pt x="111" y="308"/>
                    </a:lnTo>
                    <a:lnTo>
                      <a:pt x="111" y="308"/>
                    </a:lnTo>
                    <a:lnTo>
                      <a:pt x="111" y="310"/>
                    </a:lnTo>
                    <a:lnTo>
                      <a:pt x="109" y="310"/>
                    </a:lnTo>
                    <a:lnTo>
                      <a:pt x="109" y="310"/>
                    </a:lnTo>
                    <a:lnTo>
                      <a:pt x="111" y="313"/>
                    </a:lnTo>
                    <a:lnTo>
                      <a:pt x="111" y="313"/>
                    </a:lnTo>
                    <a:lnTo>
                      <a:pt x="113" y="313"/>
                    </a:lnTo>
                    <a:lnTo>
                      <a:pt x="113" y="313"/>
                    </a:lnTo>
                    <a:lnTo>
                      <a:pt x="116" y="310"/>
                    </a:lnTo>
                    <a:lnTo>
                      <a:pt x="116" y="310"/>
                    </a:lnTo>
                    <a:lnTo>
                      <a:pt x="116" y="310"/>
                    </a:lnTo>
                    <a:lnTo>
                      <a:pt x="116" y="308"/>
                    </a:lnTo>
                    <a:lnTo>
                      <a:pt x="121" y="308"/>
                    </a:lnTo>
                    <a:lnTo>
                      <a:pt x="123" y="308"/>
                    </a:lnTo>
                    <a:lnTo>
                      <a:pt x="123" y="308"/>
                    </a:lnTo>
                    <a:lnTo>
                      <a:pt x="123" y="305"/>
                    </a:lnTo>
                    <a:lnTo>
                      <a:pt x="123" y="305"/>
                    </a:lnTo>
                    <a:lnTo>
                      <a:pt x="123" y="303"/>
                    </a:lnTo>
                    <a:lnTo>
                      <a:pt x="125" y="301"/>
                    </a:lnTo>
                    <a:lnTo>
                      <a:pt x="125" y="296"/>
                    </a:lnTo>
                    <a:lnTo>
                      <a:pt x="123" y="294"/>
                    </a:lnTo>
                    <a:lnTo>
                      <a:pt x="125" y="294"/>
                    </a:lnTo>
                    <a:lnTo>
                      <a:pt x="125" y="294"/>
                    </a:lnTo>
                    <a:lnTo>
                      <a:pt x="128" y="291"/>
                    </a:lnTo>
                    <a:lnTo>
                      <a:pt x="128" y="287"/>
                    </a:lnTo>
                    <a:lnTo>
                      <a:pt x="128" y="284"/>
                    </a:lnTo>
                    <a:lnTo>
                      <a:pt x="128" y="284"/>
                    </a:lnTo>
                    <a:lnTo>
                      <a:pt x="128" y="282"/>
                    </a:lnTo>
                    <a:lnTo>
                      <a:pt x="128" y="282"/>
                    </a:lnTo>
                    <a:lnTo>
                      <a:pt x="128" y="279"/>
                    </a:lnTo>
                    <a:lnTo>
                      <a:pt x="128" y="277"/>
                    </a:lnTo>
                    <a:lnTo>
                      <a:pt x="128" y="277"/>
                    </a:lnTo>
                    <a:lnTo>
                      <a:pt x="130" y="275"/>
                    </a:lnTo>
                    <a:lnTo>
                      <a:pt x="130" y="275"/>
                    </a:lnTo>
                    <a:lnTo>
                      <a:pt x="135" y="275"/>
                    </a:lnTo>
                    <a:lnTo>
                      <a:pt x="137" y="275"/>
                    </a:lnTo>
                    <a:lnTo>
                      <a:pt x="139" y="272"/>
                    </a:lnTo>
                    <a:lnTo>
                      <a:pt x="139" y="272"/>
                    </a:lnTo>
                    <a:lnTo>
                      <a:pt x="142" y="272"/>
                    </a:lnTo>
                    <a:lnTo>
                      <a:pt x="142" y="270"/>
                    </a:lnTo>
                    <a:lnTo>
                      <a:pt x="142" y="268"/>
                    </a:lnTo>
                    <a:lnTo>
                      <a:pt x="144" y="268"/>
                    </a:lnTo>
                    <a:lnTo>
                      <a:pt x="144" y="263"/>
                    </a:lnTo>
                    <a:lnTo>
                      <a:pt x="144" y="263"/>
                    </a:lnTo>
                    <a:lnTo>
                      <a:pt x="144" y="260"/>
                    </a:lnTo>
                    <a:lnTo>
                      <a:pt x="142" y="260"/>
                    </a:lnTo>
                    <a:lnTo>
                      <a:pt x="147" y="258"/>
                    </a:lnTo>
                    <a:lnTo>
                      <a:pt x="147" y="256"/>
                    </a:lnTo>
                    <a:lnTo>
                      <a:pt x="147" y="253"/>
                    </a:lnTo>
                    <a:lnTo>
                      <a:pt x="147" y="251"/>
                    </a:lnTo>
                    <a:lnTo>
                      <a:pt x="147" y="251"/>
                    </a:lnTo>
                    <a:lnTo>
                      <a:pt x="147" y="249"/>
                    </a:lnTo>
                    <a:lnTo>
                      <a:pt x="149" y="249"/>
                    </a:lnTo>
                    <a:lnTo>
                      <a:pt x="149" y="246"/>
                    </a:lnTo>
                    <a:lnTo>
                      <a:pt x="151" y="246"/>
                    </a:lnTo>
                    <a:lnTo>
                      <a:pt x="154" y="244"/>
                    </a:lnTo>
                    <a:lnTo>
                      <a:pt x="154" y="246"/>
                    </a:lnTo>
                    <a:lnTo>
                      <a:pt x="161" y="249"/>
                    </a:lnTo>
                    <a:lnTo>
                      <a:pt x="161" y="249"/>
                    </a:lnTo>
                    <a:lnTo>
                      <a:pt x="161" y="249"/>
                    </a:lnTo>
                    <a:lnTo>
                      <a:pt x="163" y="249"/>
                    </a:lnTo>
                    <a:lnTo>
                      <a:pt x="165" y="246"/>
                    </a:lnTo>
                    <a:lnTo>
                      <a:pt x="165" y="244"/>
                    </a:lnTo>
                    <a:lnTo>
                      <a:pt x="165" y="242"/>
                    </a:lnTo>
                    <a:lnTo>
                      <a:pt x="165" y="239"/>
                    </a:lnTo>
                    <a:lnTo>
                      <a:pt x="168" y="239"/>
                    </a:lnTo>
                    <a:lnTo>
                      <a:pt x="170" y="239"/>
                    </a:lnTo>
                    <a:lnTo>
                      <a:pt x="170" y="239"/>
                    </a:lnTo>
                    <a:lnTo>
                      <a:pt x="173" y="239"/>
                    </a:lnTo>
                    <a:lnTo>
                      <a:pt x="173" y="239"/>
                    </a:lnTo>
                    <a:lnTo>
                      <a:pt x="173" y="237"/>
                    </a:lnTo>
                    <a:lnTo>
                      <a:pt x="173" y="237"/>
                    </a:lnTo>
                    <a:lnTo>
                      <a:pt x="173" y="232"/>
                    </a:lnTo>
                    <a:lnTo>
                      <a:pt x="175" y="230"/>
                    </a:lnTo>
                    <a:lnTo>
                      <a:pt x="177" y="227"/>
                    </a:lnTo>
                    <a:lnTo>
                      <a:pt x="180" y="227"/>
                    </a:lnTo>
                    <a:lnTo>
                      <a:pt x="182" y="227"/>
                    </a:lnTo>
                    <a:lnTo>
                      <a:pt x="187" y="230"/>
                    </a:lnTo>
                    <a:lnTo>
                      <a:pt x="189" y="227"/>
                    </a:lnTo>
                    <a:lnTo>
                      <a:pt x="189" y="223"/>
                    </a:lnTo>
                    <a:lnTo>
                      <a:pt x="192" y="223"/>
                    </a:lnTo>
                    <a:lnTo>
                      <a:pt x="194" y="223"/>
                    </a:lnTo>
                    <a:lnTo>
                      <a:pt x="196" y="220"/>
                    </a:lnTo>
                    <a:lnTo>
                      <a:pt x="196" y="220"/>
                    </a:lnTo>
                    <a:lnTo>
                      <a:pt x="199" y="218"/>
                    </a:lnTo>
                    <a:lnTo>
                      <a:pt x="203" y="215"/>
                    </a:lnTo>
                    <a:lnTo>
                      <a:pt x="208" y="215"/>
                    </a:lnTo>
                    <a:lnTo>
                      <a:pt x="208" y="215"/>
                    </a:lnTo>
                    <a:lnTo>
                      <a:pt x="210" y="213"/>
                    </a:lnTo>
                    <a:lnTo>
                      <a:pt x="213" y="211"/>
                    </a:lnTo>
                    <a:lnTo>
                      <a:pt x="215" y="208"/>
                    </a:lnTo>
                    <a:lnTo>
                      <a:pt x="218" y="208"/>
                    </a:lnTo>
                    <a:lnTo>
                      <a:pt x="218" y="211"/>
                    </a:lnTo>
                    <a:lnTo>
                      <a:pt x="218" y="211"/>
                    </a:lnTo>
                    <a:lnTo>
                      <a:pt x="220" y="211"/>
                    </a:lnTo>
                    <a:lnTo>
                      <a:pt x="222" y="211"/>
                    </a:lnTo>
                    <a:lnTo>
                      <a:pt x="227" y="211"/>
                    </a:lnTo>
                    <a:lnTo>
                      <a:pt x="229" y="213"/>
                    </a:lnTo>
                    <a:lnTo>
                      <a:pt x="232" y="211"/>
                    </a:lnTo>
                    <a:lnTo>
                      <a:pt x="232" y="211"/>
                    </a:lnTo>
                    <a:lnTo>
                      <a:pt x="234" y="211"/>
                    </a:lnTo>
                    <a:lnTo>
                      <a:pt x="239" y="213"/>
                    </a:lnTo>
                    <a:lnTo>
                      <a:pt x="244" y="211"/>
                    </a:lnTo>
                    <a:lnTo>
                      <a:pt x="244" y="211"/>
                    </a:lnTo>
                    <a:lnTo>
                      <a:pt x="248" y="208"/>
                    </a:lnTo>
                    <a:lnTo>
                      <a:pt x="251" y="206"/>
                    </a:lnTo>
                    <a:lnTo>
                      <a:pt x="255" y="206"/>
                    </a:lnTo>
                    <a:lnTo>
                      <a:pt x="260" y="204"/>
                    </a:lnTo>
                    <a:lnTo>
                      <a:pt x="265" y="204"/>
                    </a:lnTo>
                    <a:lnTo>
                      <a:pt x="272" y="204"/>
                    </a:lnTo>
                    <a:lnTo>
                      <a:pt x="277" y="204"/>
                    </a:lnTo>
                    <a:lnTo>
                      <a:pt x="281" y="204"/>
                    </a:lnTo>
                    <a:lnTo>
                      <a:pt x="281" y="201"/>
                    </a:lnTo>
                    <a:lnTo>
                      <a:pt x="284" y="201"/>
                    </a:lnTo>
                    <a:lnTo>
                      <a:pt x="284" y="201"/>
                    </a:lnTo>
                    <a:lnTo>
                      <a:pt x="288" y="204"/>
                    </a:lnTo>
                    <a:lnTo>
                      <a:pt x="291" y="204"/>
                    </a:lnTo>
                    <a:lnTo>
                      <a:pt x="291" y="201"/>
                    </a:lnTo>
                    <a:lnTo>
                      <a:pt x="296" y="197"/>
                    </a:lnTo>
                    <a:lnTo>
                      <a:pt x="298" y="197"/>
                    </a:lnTo>
                    <a:lnTo>
                      <a:pt x="298" y="197"/>
                    </a:lnTo>
                    <a:lnTo>
                      <a:pt x="298" y="194"/>
                    </a:lnTo>
                    <a:lnTo>
                      <a:pt x="298" y="194"/>
                    </a:lnTo>
                    <a:lnTo>
                      <a:pt x="298" y="192"/>
                    </a:lnTo>
                    <a:lnTo>
                      <a:pt x="300" y="192"/>
                    </a:lnTo>
                    <a:lnTo>
                      <a:pt x="300" y="189"/>
                    </a:lnTo>
                    <a:lnTo>
                      <a:pt x="300" y="185"/>
                    </a:lnTo>
                    <a:lnTo>
                      <a:pt x="303" y="182"/>
                    </a:lnTo>
                    <a:lnTo>
                      <a:pt x="305" y="178"/>
                    </a:lnTo>
                    <a:lnTo>
                      <a:pt x="305" y="173"/>
                    </a:lnTo>
                    <a:lnTo>
                      <a:pt x="305" y="170"/>
                    </a:lnTo>
                    <a:lnTo>
                      <a:pt x="305" y="168"/>
                    </a:lnTo>
                    <a:lnTo>
                      <a:pt x="305" y="163"/>
                    </a:lnTo>
                    <a:lnTo>
                      <a:pt x="305" y="156"/>
                    </a:lnTo>
                    <a:lnTo>
                      <a:pt x="305" y="152"/>
                    </a:lnTo>
                    <a:lnTo>
                      <a:pt x="305" y="144"/>
                    </a:lnTo>
                    <a:lnTo>
                      <a:pt x="305" y="140"/>
                    </a:lnTo>
                    <a:lnTo>
                      <a:pt x="305" y="133"/>
                    </a:lnTo>
                    <a:lnTo>
                      <a:pt x="305" y="128"/>
                    </a:lnTo>
                    <a:lnTo>
                      <a:pt x="305" y="123"/>
                    </a:lnTo>
                    <a:lnTo>
                      <a:pt x="300" y="125"/>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103"/>
              <p:cNvSpPr>
                <a:spLocks noEditPoints="1"/>
              </p:cNvSpPr>
              <p:nvPr/>
            </p:nvSpPr>
            <p:spPr bwMode="auto">
              <a:xfrm>
                <a:off x="4606" y="2644"/>
                <a:ext cx="366" cy="137"/>
              </a:xfrm>
              <a:custGeom>
                <a:avLst/>
                <a:gdLst>
                  <a:gd name="T0" fmla="*/ 220 w 366"/>
                  <a:gd name="T1" fmla="*/ 99 h 137"/>
                  <a:gd name="T2" fmla="*/ 85 w 366"/>
                  <a:gd name="T3" fmla="*/ 97 h 137"/>
                  <a:gd name="T4" fmla="*/ 33 w 366"/>
                  <a:gd name="T5" fmla="*/ 92 h 137"/>
                  <a:gd name="T6" fmla="*/ 338 w 366"/>
                  <a:gd name="T7" fmla="*/ 66 h 137"/>
                  <a:gd name="T8" fmla="*/ 11 w 366"/>
                  <a:gd name="T9" fmla="*/ 40 h 137"/>
                  <a:gd name="T10" fmla="*/ 0 w 366"/>
                  <a:gd name="T11" fmla="*/ 23 h 137"/>
                  <a:gd name="T12" fmla="*/ 82 w 366"/>
                  <a:gd name="T13" fmla="*/ 109 h 137"/>
                  <a:gd name="T14" fmla="*/ 73 w 366"/>
                  <a:gd name="T15" fmla="*/ 83 h 137"/>
                  <a:gd name="T16" fmla="*/ 63 w 366"/>
                  <a:gd name="T17" fmla="*/ 42 h 137"/>
                  <a:gd name="T18" fmla="*/ 45 w 366"/>
                  <a:gd name="T19" fmla="*/ 26 h 137"/>
                  <a:gd name="T20" fmla="*/ 37 w 366"/>
                  <a:gd name="T21" fmla="*/ 33 h 137"/>
                  <a:gd name="T22" fmla="*/ 28 w 366"/>
                  <a:gd name="T23" fmla="*/ 38 h 137"/>
                  <a:gd name="T24" fmla="*/ 26 w 366"/>
                  <a:gd name="T25" fmla="*/ 26 h 137"/>
                  <a:gd name="T26" fmla="*/ 18 w 366"/>
                  <a:gd name="T27" fmla="*/ 19 h 137"/>
                  <a:gd name="T28" fmla="*/ 7 w 366"/>
                  <a:gd name="T29" fmla="*/ 19 h 137"/>
                  <a:gd name="T30" fmla="*/ 18 w 366"/>
                  <a:gd name="T31" fmla="*/ 57 h 137"/>
                  <a:gd name="T32" fmla="*/ 23 w 366"/>
                  <a:gd name="T33" fmla="*/ 76 h 137"/>
                  <a:gd name="T34" fmla="*/ 35 w 366"/>
                  <a:gd name="T35" fmla="*/ 97 h 137"/>
                  <a:gd name="T36" fmla="*/ 71 w 366"/>
                  <a:gd name="T37" fmla="*/ 123 h 137"/>
                  <a:gd name="T38" fmla="*/ 82 w 366"/>
                  <a:gd name="T39" fmla="*/ 125 h 137"/>
                  <a:gd name="T40" fmla="*/ 87 w 366"/>
                  <a:gd name="T41" fmla="*/ 128 h 137"/>
                  <a:gd name="T42" fmla="*/ 364 w 366"/>
                  <a:gd name="T43" fmla="*/ 42 h 137"/>
                  <a:gd name="T44" fmla="*/ 350 w 366"/>
                  <a:gd name="T45" fmla="*/ 35 h 137"/>
                  <a:gd name="T46" fmla="*/ 340 w 366"/>
                  <a:gd name="T47" fmla="*/ 33 h 137"/>
                  <a:gd name="T48" fmla="*/ 333 w 366"/>
                  <a:gd name="T49" fmla="*/ 31 h 137"/>
                  <a:gd name="T50" fmla="*/ 333 w 366"/>
                  <a:gd name="T51" fmla="*/ 19 h 137"/>
                  <a:gd name="T52" fmla="*/ 324 w 366"/>
                  <a:gd name="T53" fmla="*/ 9 h 137"/>
                  <a:gd name="T54" fmla="*/ 319 w 366"/>
                  <a:gd name="T55" fmla="*/ 12 h 137"/>
                  <a:gd name="T56" fmla="*/ 305 w 366"/>
                  <a:gd name="T57" fmla="*/ 33 h 137"/>
                  <a:gd name="T58" fmla="*/ 295 w 366"/>
                  <a:gd name="T59" fmla="*/ 38 h 137"/>
                  <a:gd name="T60" fmla="*/ 293 w 366"/>
                  <a:gd name="T61" fmla="*/ 52 h 137"/>
                  <a:gd name="T62" fmla="*/ 293 w 366"/>
                  <a:gd name="T63" fmla="*/ 64 h 137"/>
                  <a:gd name="T64" fmla="*/ 286 w 366"/>
                  <a:gd name="T65" fmla="*/ 54 h 137"/>
                  <a:gd name="T66" fmla="*/ 283 w 366"/>
                  <a:gd name="T67" fmla="*/ 64 h 137"/>
                  <a:gd name="T68" fmla="*/ 279 w 366"/>
                  <a:gd name="T69" fmla="*/ 71 h 137"/>
                  <a:gd name="T70" fmla="*/ 272 w 366"/>
                  <a:gd name="T71" fmla="*/ 61 h 137"/>
                  <a:gd name="T72" fmla="*/ 267 w 366"/>
                  <a:gd name="T73" fmla="*/ 64 h 137"/>
                  <a:gd name="T74" fmla="*/ 250 w 366"/>
                  <a:gd name="T75" fmla="*/ 90 h 137"/>
                  <a:gd name="T76" fmla="*/ 222 w 366"/>
                  <a:gd name="T77" fmla="*/ 104 h 137"/>
                  <a:gd name="T78" fmla="*/ 217 w 366"/>
                  <a:gd name="T79" fmla="*/ 109 h 137"/>
                  <a:gd name="T80" fmla="*/ 215 w 366"/>
                  <a:gd name="T81" fmla="*/ 121 h 137"/>
                  <a:gd name="T82" fmla="*/ 212 w 366"/>
                  <a:gd name="T83" fmla="*/ 123 h 137"/>
                  <a:gd name="T84" fmla="*/ 194 w 366"/>
                  <a:gd name="T85" fmla="*/ 121 h 137"/>
                  <a:gd name="T86" fmla="*/ 189 w 366"/>
                  <a:gd name="T87" fmla="*/ 118 h 137"/>
                  <a:gd name="T88" fmla="*/ 198 w 366"/>
                  <a:gd name="T89" fmla="*/ 130 h 137"/>
                  <a:gd name="T90" fmla="*/ 215 w 366"/>
                  <a:gd name="T91" fmla="*/ 135 h 137"/>
                  <a:gd name="T92" fmla="*/ 231 w 366"/>
                  <a:gd name="T93" fmla="*/ 132 h 137"/>
                  <a:gd name="T94" fmla="*/ 250 w 366"/>
                  <a:gd name="T95" fmla="*/ 123 h 137"/>
                  <a:gd name="T96" fmla="*/ 260 w 366"/>
                  <a:gd name="T97" fmla="*/ 128 h 137"/>
                  <a:gd name="T98" fmla="*/ 272 w 366"/>
                  <a:gd name="T99" fmla="*/ 125 h 137"/>
                  <a:gd name="T100" fmla="*/ 283 w 366"/>
                  <a:gd name="T101" fmla="*/ 118 h 137"/>
                  <a:gd name="T102" fmla="*/ 283 w 366"/>
                  <a:gd name="T103" fmla="*/ 111 h 137"/>
                  <a:gd name="T104" fmla="*/ 291 w 366"/>
                  <a:gd name="T105" fmla="*/ 102 h 137"/>
                  <a:gd name="T106" fmla="*/ 291 w 366"/>
                  <a:gd name="T107" fmla="*/ 94 h 137"/>
                  <a:gd name="T108" fmla="*/ 298 w 366"/>
                  <a:gd name="T109" fmla="*/ 87 h 137"/>
                  <a:gd name="T110" fmla="*/ 298 w 366"/>
                  <a:gd name="T111" fmla="*/ 73 h 137"/>
                  <a:gd name="T112" fmla="*/ 307 w 366"/>
                  <a:gd name="T113" fmla="*/ 64 h 137"/>
                  <a:gd name="T114" fmla="*/ 317 w 366"/>
                  <a:gd name="T115" fmla="*/ 64 h 137"/>
                  <a:gd name="T116" fmla="*/ 335 w 366"/>
                  <a:gd name="T117" fmla="*/ 68 h 137"/>
                  <a:gd name="T118" fmla="*/ 350 w 366"/>
                  <a:gd name="T119" fmla="*/ 64 h 137"/>
                  <a:gd name="T120" fmla="*/ 347 w 366"/>
                  <a:gd name="T121" fmla="*/ 49 h 137"/>
                  <a:gd name="T122" fmla="*/ 364 w 366"/>
                  <a:gd name="T123" fmla="*/ 47 h 137"/>
                  <a:gd name="T124" fmla="*/ 326 w 366"/>
                  <a:gd name="T125" fmla="*/ 2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66" h="137">
                    <a:moveTo>
                      <a:pt x="220" y="106"/>
                    </a:moveTo>
                    <a:lnTo>
                      <a:pt x="220" y="104"/>
                    </a:lnTo>
                    <a:lnTo>
                      <a:pt x="220" y="104"/>
                    </a:lnTo>
                    <a:lnTo>
                      <a:pt x="220" y="102"/>
                    </a:lnTo>
                    <a:lnTo>
                      <a:pt x="220" y="99"/>
                    </a:lnTo>
                    <a:lnTo>
                      <a:pt x="220" y="97"/>
                    </a:lnTo>
                    <a:lnTo>
                      <a:pt x="220" y="97"/>
                    </a:lnTo>
                    <a:lnTo>
                      <a:pt x="220" y="99"/>
                    </a:lnTo>
                    <a:lnTo>
                      <a:pt x="220" y="104"/>
                    </a:lnTo>
                    <a:lnTo>
                      <a:pt x="220" y="106"/>
                    </a:lnTo>
                    <a:close/>
                    <a:moveTo>
                      <a:pt x="85" y="99"/>
                    </a:moveTo>
                    <a:lnTo>
                      <a:pt x="87" y="99"/>
                    </a:lnTo>
                    <a:lnTo>
                      <a:pt x="87" y="97"/>
                    </a:lnTo>
                    <a:lnTo>
                      <a:pt x="85" y="94"/>
                    </a:lnTo>
                    <a:lnTo>
                      <a:pt x="85" y="97"/>
                    </a:lnTo>
                    <a:lnTo>
                      <a:pt x="85" y="97"/>
                    </a:lnTo>
                    <a:lnTo>
                      <a:pt x="85" y="99"/>
                    </a:lnTo>
                    <a:lnTo>
                      <a:pt x="85" y="99"/>
                    </a:lnTo>
                    <a:close/>
                    <a:moveTo>
                      <a:pt x="33" y="92"/>
                    </a:moveTo>
                    <a:lnTo>
                      <a:pt x="33" y="92"/>
                    </a:lnTo>
                    <a:lnTo>
                      <a:pt x="30" y="92"/>
                    </a:lnTo>
                    <a:lnTo>
                      <a:pt x="30" y="92"/>
                    </a:lnTo>
                    <a:lnTo>
                      <a:pt x="30" y="94"/>
                    </a:lnTo>
                    <a:lnTo>
                      <a:pt x="33" y="92"/>
                    </a:lnTo>
                    <a:lnTo>
                      <a:pt x="33" y="92"/>
                    </a:lnTo>
                    <a:close/>
                    <a:moveTo>
                      <a:pt x="338" y="66"/>
                    </a:moveTo>
                    <a:lnTo>
                      <a:pt x="335" y="66"/>
                    </a:lnTo>
                    <a:lnTo>
                      <a:pt x="335" y="66"/>
                    </a:lnTo>
                    <a:lnTo>
                      <a:pt x="335" y="68"/>
                    </a:lnTo>
                    <a:lnTo>
                      <a:pt x="338" y="68"/>
                    </a:lnTo>
                    <a:lnTo>
                      <a:pt x="340" y="68"/>
                    </a:lnTo>
                    <a:lnTo>
                      <a:pt x="338" y="66"/>
                    </a:lnTo>
                    <a:lnTo>
                      <a:pt x="338" y="66"/>
                    </a:lnTo>
                    <a:close/>
                    <a:moveTo>
                      <a:pt x="11" y="40"/>
                    </a:moveTo>
                    <a:lnTo>
                      <a:pt x="9" y="40"/>
                    </a:lnTo>
                    <a:lnTo>
                      <a:pt x="9" y="45"/>
                    </a:lnTo>
                    <a:lnTo>
                      <a:pt x="11" y="45"/>
                    </a:lnTo>
                    <a:lnTo>
                      <a:pt x="11" y="45"/>
                    </a:lnTo>
                    <a:lnTo>
                      <a:pt x="11" y="42"/>
                    </a:lnTo>
                    <a:lnTo>
                      <a:pt x="11" y="40"/>
                    </a:lnTo>
                    <a:lnTo>
                      <a:pt x="11" y="40"/>
                    </a:lnTo>
                    <a:close/>
                    <a:moveTo>
                      <a:pt x="2" y="19"/>
                    </a:moveTo>
                    <a:lnTo>
                      <a:pt x="0" y="21"/>
                    </a:lnTo>
                    <a:lnTo>
                      <a:pt x="0" y="21"/>
                    </a:lnTo>
                    <a:lnTo>
                      <a:pt x="0" y="21"/>
                    </a:lnTo>
                    <a:lnTo>
                      <a:pt x="0" y="21"/>
                    </a:lnTo>
                    <a:lnTo>
                      <a:pt x="0" y="21"/>
                    </a:lnTo>
                    <a:lnTo>
                      <a:pt x="0" y="23"/>
                    </a:lnTo>
                    <a:lnTo>
                      <a:pt x="2" y="23"/>
                    </a:lnTo>
                    <a:lnTo>
                      <a:pt x="2" y="23"/>
                    </a:lnTo>
                    <a:lnTo>
                      <a:pt x="2" y="23"/>
                    </a:lnTo>
                    <a:lnTo>
                      <a:pt x="2" y="23"/>
                    </a:lnTo>
                    <a:lnTo>
                      <a:pt x="4" y="21"/>
                    </a:lnTo>
                    <a:lnTo>
                      <a:pt x="2" y="19"/>
                    </a:lnTo>
                    <a:lnTo>
                      <a:pt x="2" y="19"/>
                    </a:lnTo>
                    <a:close/>
                    <a:moveTo>
                      <a:pt x="82" y="109"/>
                    </a:moveTo>
                    <a:lnTo>
                      <a:pt x="80" y="104"/>
                    </a:lnTo>
                    <a:lnTo>
                      <a:pt x="80" y="102"/>
                    </a:lnTo>
                    <a:lnTo>
                      <a:pt x="73" y="97"/>
                    </a:lnTo>
                    <a:lnTo>
                      <a:pt x="73" y="97"/>
                    </a:lnTo>
                    <a:lnTo>
                      <a:pt x="73" y="94"/>
                    </a:lnTo>
                    <a:lnTo>
                      <a:pt x="73" y="87"/>
                    </a:lnTo>
                    <a:lnTo>
                      <a:pt x="71" y="85"/>
                    </a:lnTo>
                    <a:lnTo>
                      <a:pt x="73" y="83"/>
                    </a:lnTo>
                    <a:lnTo>
                      <a:pt x="71" y="78"/>
                    </a:lnTo>
                    <a:lnTo>
                      <a:pt x="71" y="76"/>
                    </a:lnTo>
                    <a:lnTo>
                      <a:pt x="71" y="73"/>
                    </a:lnTo>
                    <a:lnTo>
                      <a:pt x="71" y="64"/>
                    </a:lnTo>
                    <a:lnTo>
                      <a:pt x="71" y="57"/>
                    </a:lnTo>
                    <a:lnTo>
                      <a:pt x="71" y="54"/>
                    </a:lnTo>
                    <a:lnTo>
                      <a:pt x="66" y="45"/>
                    </a:lnTo>
                    <a:lnTo>
                      <a:pt x="63" y="42"/>
                    </a:lnTo>
                    <a:lnTo>
                      <a:pt x="61" y="40"/>
                    </a:lnTo>
                    <a:lnTo>
                      <a:pt x="59" y="38"/>
                    </a:lnTo>
                    <a:lnTo>
                      <a:pt x="59" y="38"/>
                    </a:lnTo>
                    <a:lnTo>
                      <a:pt x="54" y="33"/>
                    </a:lnTo>
                    <a:lnTo>
                      <a:pt x="49" y="26"/>
                    </a:lnTo>
                    <a:lnTo>
                      <a:pt x="47" y="26"/>
                    </a:lnTo>
                    <a:lnTo>
                      <a:pt x="45" y="23"/>
                    </a:lnTo>
                    <a:lnTo>
                      <a:pt x="45" y="26"/>
                    </a:lnTo>
                    <a:lnTo>
                      <a:pt x="45" y="28"/>
                    </a:lnTo>
                    <a:lnTo>
                      <a:pt x="42" y="31"/>
                    </a:lnTo>
                    <a:lnTo>
                      <a:pt x="42" y="31"/>
                    </a:lnTo>
                    <a:lnTo>
                      <a:pt x="40" y="33"/>
                    </a:lnTo>
                    <a:lnTo>
                      <a:pt x="40" y="33"/>
                    </a:lnTo>
                    <a:lnTo>
                      <a:pt x="37" y="35"/>
                    </a:lnTo>
                    <a:lnTo>
                      <a:pt x="37" y="33"/>
                    </a:lnTo>
                    <a:lnTo>
                      <a:pt x="37" y="33"/>
                    </a:lnTo>
                    <a:lnTo>
                      <a:pt x="35" y="33"/>
                    </a:lnTo>
                    <a:lnTo>
                      <a:pt x="35" y="31"/>
                    </a:lnTo>
                    <a:lnTo>
                      <a:pt x="35" y="31"/>
                    </a:lnTo>
                    <a:lnTo>
                      <a:pt x="33" y="33"/>
                    </a:lnTo>
                    <a:lnTo>
                      <a:pt x="28" y="33"/>
                    </a:lnTo>
                    <a:lnTo>
                      <a:pt x="28" y="35"/>
                    </a:lnTo>
                    <a:lnTo>
                      <a:pt x="28" y="35"/>
                    </a:lnTo>
                    <a:lnTo>
                      <a:pt x="28" y="38"/>
                    </a:lnTo>
                    <a:lnTo>
                      <a:pt x="26" y="38"/>
                    </a:lnTo>
                    <a:lnTo>
                      <a:pt x="26" y="35"/>
                    </a:lnTo>
                    <a:lnTo>
                      <a:pt x="26" y="35"/>
                    </a:lnTo>
                    <a:lnTo>
                      <a:pt x="23" y="35"/>
                    </a:lnTo>
                    <a:lnTo>
                      <a:pt x="23" y="33"/>
                    </a:lnTo>
                    <a:lnTo>
                      <a:pt x="26" y="31"/>
                    </a:lnTo>
                    <a:lnTo>
                      <a:pt x="26" y="28"/>
                    </a:lnTo>
                    <a:lnTo>
                      <a:pt x="26" y="26"/>
                    </a:lnTo>
                    <a:lnTo>
                      <a:pt x="26" y="23"/>
                    </a:lnTo>
                    <a:lnTo>
                      <a:pt x="26" y="23"/>
                    </a:lnTo>
                    <a:lnTo>
                      <a:pt x="23" y="23"/>
                    </a:lnTo>
                    <a:lnTo>
                      <a:pt x="21" y="23"/>
                    </a:lnTo>
                    <a:lnTo>
                      <a:pt x="21" y="21"/>
                    </a:lnTo>
                    <a:lnTo>
                      <a:pt x="21" y="21"/>
                    </a:lnTo>
                    <a:lnTo>
                      <a:pt x="18" y="19"/>
                    </a:lnTo>
                    <a:lnTo>
                      <a:pt x="18" y="19"/>
                    </a:lnTo>
                    <a:lnTo>
                      <a:pt x="16" y="19"/>
                    </a:lnTo>
                    <a:lnTo>
                      <a:pt x="16" y="19"/>
                    </a:lnTo>
                    <a:lnTo>
                      <a:pt x="11" y="19"/>
                    </a:lnTo>
                    <a:lnTo>
                      <a:pt x="9" y="14"/>
                    </a:lnTo>
                    <a:lnTo>
                      <a:pt x="9" y="14"/>
                    </a:lnTo>
                    <a:lnTo>
                      <a:pt x="9" y="14"/>
                    </a:lnTo>
                    <a:lnTo>
                      <a:pt x="9" y="16"/>
                    </a:lnTo>
                    <a:lnTo>
                      <a:pt x="7" y="19"/>
                    </a:lnTo>
                    <a:lnTo>
                      <a:pt x="7" y="21"/>
                    </a:lnTo>
                    <a:lnTo>
                      <a:pt x="9" y="23"/>
                    </a:lnTo>
                    <a:lnTo>
                      <a:pt x="11" y="26"/>
                    </a:lnTo>
                    <a:lnTo>
                      <a:pt x="11" y="31"/>
                    </a:lnTo>
                    <a:lnTo>
                      <a:pt x="14" y="33"/>
                    </a:lnTo>
                    <a:lnTo>
                      <a:pt x="11" y="38"/>
                    </a:lnTo>
                    <a:lnTo>
                      <a:pt x="16" y="49"/>
                    </a:lnTo>
                    <a:lnTo>
                      <a:pt x="18" y="57"/>
                    </a:lnTo>
                    <a:lnTo>
                      <a:pt x="18" y="64"/>
                    </a:lnTo>
                    <a:lnTo>
                      <a:pt x="18" y="66"/>
                    </a:lnTo>
                    <a:lnTo>
                      <a:pt x="21" y="68"/>
                    </a:lnTo>
                    <a:lnTo>
                      <a:pt x="21" y="71"/>
                    </a:lnTo>
                    <a:lnTo>
                      <a:pt x="21" y="71"/>
                    </a:lnTo>
                    <a:lnTo>
                      <a:pt x="21" y="73"/>
                    </a:lnTo>
                    <a:lnTo>
                      <a:pt x="21" y="76"/>
                    </a:lnTo>
                    <a:lnTo>
                      <a:pt x="23" y="76"/>
                    </a:lnTo>
                    <a:lnTo>
                      <a:pt x="26" y="80"/>
                    </a:lnTo>
                    <a:lnTo>
                      <a:pt x="28" y="83"/>
                    </a:lnTo>
                    <a:lnTo>
                      <a:pt x="33" y="87"/>
                    </a:lnTo>
                    <a:lnTo>
                      <a:pt x="33" y="90"/>
                    </a:lnTo>
                    <a:lnTo>
                      <a:pt x="33" y="92"/>
                    </a:lnTo>
                    <a:lnTo>
                      <a:pt x="33" y="94"/>
                    </a:lnTo>
                    <a:lnTo>
                      <a:pt x="33" y="97"/>
                    </a:lnTo>
                    <a:lnTo>
                      <a:pt x="35" y="97"/>
                    </a:lnTo>
                    <a:lnTo>
                      <a:pt x="37" y="99"/>
                    </a:lnTo>
                    <a:lnTo>
                      <a:pt x="42" y="102"/>
                    </a:lnTo>
                    <a:lnTo>
                      <a:pt x="42" y="104"/>
                    </a:lnTo>
                    <a:lnTo>
                      <a:pt x="49" y="109"/>
                    </a:lnTo>
                    <a:lnTo>
                      <a:pt x="56" y="113"/>
                    </a:lnTo>
                    <a:lnTo>
                      <a:pt x="59" y="116"/>
                    </a:lnTo>
                    <a:lnTo>
                      <a:pt x="63" y="118"/>
                    </a:lnTo>
                    <a:lnTo>
                      <a:pt x="71" y="123"/>
                    </a:lnTo>
                    <a:lnTo>
                      <a:pt x="73" y="125"/>
                    </a:lnTo>
                    <a:lnTo>
                      <a:pt x="73" y="125"/>
                    </a:lnTo>
                    <a:lnTo>
                      <a:pt x="73" y="128"/>
                    </a:lnTo>
                    <a:lnTo>
                      <a:pt x="75" y="128"/>
                    </a:lnTo>
                    <a:lnTo>
                      <a:pt x="78" y="125"/>
                    </a:lnTo>
                    <a:lnTo>
                      <a:pt x="80" y="125"/>
                    </a:lnTo>
                    <a:lnTo>
                      <a:pt x="82" y="125"/>
                    </a:lnTo>
                    <a:lnTo>
                      <a:pt x="82" y="125"/>
                    </a:lnTo>
                    <a:lnTo>
                      <a:pt x="82" y="123"/>
                    </a:lnTo>
                    <a:lnTo>
                      <a:pt x="82" y="123"/>
                    </a:lnTo>
                    <a:lnTo>
                      <a:pt x="82" y="123"/>
                    </a:lnTo>
                    <a:lnTo>
                      <a:pt x="85" y="123"/>
                    </a:lnTo>
                    <a:lnTo>
                      <a:pt x="85" y="125"/>
                    </a:lnTo>
                    <a:lnTo>
                      <a:pt x="85" y="125"/>
                    </a:lnTo>
                    <a:lnTo>
                      <a:pt x="85" y="125"/>
                    </a:lnTo>
                    <a:lnTo>
                      <a:pt x="87" y="128"/>
                    </a:lnTo>
                    <a:lnTo>
                      <a:pt x="87" y="128"/>
                    </a:lnTo>
                    <a:lnTo>
                      <a:pt x="89" y="125"/>
                    </a:lnTo>
                    <a:lnTo>
                      <a:pt x="89" y="125"/>
                    </a:lnTo>
                    <a:lnTo>
                      <a:pt x="87" y="121"/>
                    </a:lnTo>
                    <a:lnTo>
                      <a:pt x="82" y="109"/>
                    </a:lnTo>
                    <a:close/>
                    <a:moveTo>
                      <a:pt x="364" y="42"/>
                    </a:moveTo>
                    <a:lnTo>
                      <a:pt x="364" y="42"/>
                    </a:lnTo>
                    <a:lnTo>
                      <a:pt x="364" y="42"/>
                    </a:lnTo>
                    <a:lnTo>
                      <a:pt x="361" y="42"/>
                    </a:lnTo>
                    <a:lnTo>
                      <a:pt x="359" y="42"/>
                    </a:lnTo>
                    <a:lnTo>
                      <a:pt x="359" y="42"/>
                    </a:lnTo>
                    <a:lnTo>
                      <a:pt x="354" y="38"/>
                    </a:lnTo>
                    <a:lnTo>
                      <a:pt x="352" y="38"/>
                    </a:lnTo>
                    <a:lnTo>
                      <a:pt x="352" y="35"/>
                    </a:lnTo>
                    <a:lnTo>
                      <a:pt x="350" y="35"/>
                    </a:lnTo>
                    <a:lnTo>
                      <a:pt x="350" y="35"/>
                    </a:lnTo>
                    <a:lnTo>
                      <a:pt x="347" y="33"/>
                    </a:lnTo>
                    <a:lnTo>
                      <a:pt x="347" y="33"/>
                    </a:lnTo>
                    <a:lnTo>
                      <a:pt x="345" y="33"/>
                    </a:lnTo>
                    <a:lnTo>
                      <a:pt x="343" y="35"/>
                    </a:lnTo>
                    <a:lnTo>
                      <a:pt x="343" y="35"/>
                    </a:lnTo>
                    <a:lnTo>
                      <a:pt x="340" y="35"/>
                    </a:lnTo>
                    <a:lnTo>
                      <a:pt x="340" y="35"/>
                    </a:lnTo>
                    <a:lnTo>
                      <a:pt x="340" y="33"/>
                    </a:lnTo>
                    <a:lnTo>
                      <a:pt x="343" y="33"/>
                    </a:lnTo>
                    <a:lnTo>
                      <a:pt x="343" y="33"/>
                    </a:lnTo>
                    <a:lnTo>
                      <a:pt x="343" y="31"/>
                    </a:lnTo>
                    <a:lnTo>
                      <a:pt x="340" y="28"/>
                    </a:lnTo>
                    <a:lnTo>
                      <a:pt x="338" y="31"/>
                    </a:lnTo>
                    <a:lnTo>
                      <a:pt x="338" y="31"/>
                    </a:lnTo>
                    <a:lnTo>
                      <a:pt x="331" y="31"/>
                    </a:lnTo>
                    <a:lnTo>
                      <a:pt x="333" y="31"/>
                    </a:lnTo>
                    <a:lnTo>
                      <a:pt x="333" y="28"/>
                    </a:lnTo>
                    <a:lnTo>
                      <a:pt x="333" y="28"/>
                    </a:lnTo>
                    <a:lnTo>
                      <a:pt x="333" y="26"/>
                    </a:lnTo>
                    <a:lnTo>
                      <a:pt x="335" y="23"/>
                    </a:lnTo>
                    <a:lnTo>
                      <a:pt x="335" y="21"/>
                    </a:lnTo>
                    <a:lnTo>
                      <a:pt x="333" y="21"/>
                    </a:lnTo>
                    <a:lnTo>
                      <a:pt x="333" y="19"/>
                    </a:lnTo>
                    <a:lnTo>
                      <a:pt x="333" y="19"/>
                    </a:lnTo>
                    <a:lnTo>
                      <a:pt x="331" y="16"/>
                    </a:lnTo>
                    <a:lnTo>
                      <a:pt x="328" y="16"/>
                    </a:lnTo>
                    <a:lnTo>
                      <a:pt x="326" y="14"/>
                    </a:lnTo>
                    <a:lnTo>
                      <a:pt x="326" y="12"/>
                    </a:lnTo>
                    <a:lnTo>
                      <a:pt x="326" y="12"/>
                    </a:lnTo>
                    <a:lnTo>
                      <a:pt x="326" y="9"/>
                    </a:lnTo>
                    <a:lnTo>
                      <a:pt x="326" y="9"/>
                    </a:lnTo>
                    <a:lnTo>
                      <a:pt x="324" y="9"/>
                    </a:lnTo>
                    <a:lnTo>
                      <a:pt x="324" y="9"/>
                    </a:lnTo>
                    <a:lnTo>
                      <a:pt x="321" y="12"/>
                    </a:lnTo>
                    <a:lnTo>
                      <a:pt x="319" y="16"/>
                    </a:lnTo>
                    <a:lnTo>
                      <a:pt x="319" y="16"/>
                    </a:lnTo>
                    <a:lnTo>
                      <a:pt x="317" y="16"/>
                    </a:lnTo>
                    <a:lnTo>
                      <a:pt x="319" y="14"/>
                    </a:lnTo>
                    <a:lnTo>
                      <a:pt x="319" y="14"/>
                    </a:lnTo>
                    <a:lnTo>
                      <a:pt x="319" y="12"/>
                    </a:lnTo>
                    <a:lnTo>
                      <a:pt x="319" y="9"/>
                    </a:lnTo>
                    <a:lnTo>
                      <a:pt x="317" y="9"/>
                    </a:lnTo>
                    <a:lnTo>
                      <a:pt x="317" y="9"/>
                    </a:lnTo>
                    <a:lnTo>
                      <a:pt x="312" y="16"/>
                    </a:lnTo>
                    <a:lnTo>
                      <a:pt x="312" y="19"/>
                    </a:lnTo>
                    <a:lnTo>
                      <a:pt x="307" y="26"/>
                    </a:lnTo>
                    <a:lnTo>
                      <a:pt x="305" y="28"/>
                    </a:lnTo>
                    <a:lnTo>
                      <a:pt x="305" y="33"/>
                    </a:lnTo>
                    <a:lnTo>
                      <a:pt x="302" y="35"/>
                    </a:lnTo>
                    <a:lnTo>
                      <a:pt x="302" y="38"/>
                    </a:lnTo>
                    <a:lnTo>
                      <a:pt x="300" y="40"/>
                    </a:lnTo>
                    <a:lnTo>
                      <a:pt x="300" y="40"/>
                    </a:lnTo>
                    <a:lnTo>
                      <a:pt x="298" y="40"/>
                    </a:lnTo>
                    <a:lnTo>
                      <a:pt x="298" y="38"/>
                    </a:lnTo>
                    <a:lnTo>
                      <a:pt x="298" y="38"/>
                    </a:lnTo>
                    <a:lnTo>
                      <a:pt x="295" y="38"/>
                    </a:lnTo>
                    <a:lnTo>
                      <a:pt x="293" y="42"/>
                    </a:lnTo>
                    <a:lnTo>
                      <a:pt x="293" y="42"/>
                    </a:lnTo>
                    <a:lnTo>
                      <a:pt x="295" y="45"/>
                    </a:lnTo>
                    <a:lnTo>
                      <a:pt x="298" y="47"/>
                    </a:lnTo>
                    <a:lnTo>
                      <a:pt x="295" y="49"/>
                    </a:lnTo>
                    <a:lnTo>
                      <a:pt x="295" y="49"/>
                    </a:lnTo>
                    <a:lnTo>
                      <a:pt x="293" y="52"/>
                    </a:lnTo>
                    <a:lnTo>
                      <a:pt x="293" y="52"/>
                    </a:lnTo>
                    <a:lnTo>
                      <a:pt x="288" y="52"/>
                    </a:lnTo>
                    <a:lnTo>
                      <a:pt x="288" y="54"/>
                    </a:lnTo>
                    <a:lnTo>
                      <a:pt x="291" y="57"/>
                    </a:lnTo>
                    <a:lnTo>
                      <a:pt x="291" y="59"/>
                    </a:lnTo>
                    <a:lnTo>
                      <a:pt x="291" y="61"/>
                    </a:lnTo>
                    <a:lnTo>
                      <a:pt x="293" y="64"/>
                    </a:lnTo>
                    <a:lnTo>
                      <a:pt x="293" y="64"/>
                    </a:lnTo>
                    <a:lnTo>
                      <a:pt x="293" y="64"/>
                    </a:lnTo>
                    <a:lnTo>
                      <a:pt x="291" y="64"/>
                    </a:lnTo>
                    <a:lnTo>
                      <a:pt x="291" y="64"/>
                    </a:lnTo>
                    <a:lnTo>
                      <a:pt x="288" y="64"/>
                    </a:lnTo>
                    <a:lnTo>
                      <a:pt x="288" y="59"/>
                    </a:lnTo>
                    <a:lnTo>
                      <a:pt x="286" y="57"/>
                    </a:lnTo>
                    <a:lnTo>
                      <a:pt x="286" y="54"/>
                    </a:lnTo>
                    <a:lnTo>
                      <a:pt x="286" y="52"/>
                    </a:lnTo>
                    <a:lnTo>
                      <a:pt x="286" y="54"/>
                    </a:lnTo>
                    <a:lnTo>
                      <a:pt x="283" y="54"/>
                    </a:lnTo>
                    <a:lnTo>
                      <a:pt x="281" y="57"/>
                    </a:lnTo>
                    <a:lnTo>
                      <a:pt x="281" y="57"/>
                    </a:lnTo>
                    <a:lnTo>
                      <a:pt x="281" y="57"/>
                    </a:lnTo>
                    <a:lnTo>
                      <a:pt x="281" y="59"/>
                    </a:lnTo>
                    <a:lnTo>
                      <a:pt x="283" y="61"/>
                    </a:lnTo>
                    <a:lnTo>
                      <a:pt x="283" y="61"/>
                    </a:lnTo>
                    <a:lnTo>
                      <a:pt x="283" y="64"/>
                    </a:lnTo>
                    <a:lnTo>
                      <a:pt x="283" y="64"/>
                    </a:lnTo>
                    <a:lnTo>
                      <a:pt x="283" y="66"/>
                    </a:lnTo>
                    <a:lnTo>
                      <a:pt x="283" y="66"/>
                    </a:lnTo>
                    <a:lnTo>
                      <a:pt x="283" y="68"/>
                    </a:lnTo>
                    <a:lnTo>
                      <a:pt x="281" y="68"/>
                    </a:lnTo>
                    <a:lnTo>
                      <a:pt x="281" y="71"/>
                    </a:lnTo>
                    <a:lnTo>
                      <a:pt x="279" y="71"/>
                    </a:lnTo>
                    <a:lnTo>
                      <a:pt x="279" y="71"/>
                    </a:lnTo>
                    <a:lnTo>
                      <a:pt x="279" y="68"/>
                    </a:lnTo>
                    <a:lnTo>
                      <a:pt x="276" y="66"/>
                    </a:lnTo>
                    <a:lnTo>
                      <a:pt x="276" y="66"/>
                    </a:lnTo>
                    <a:lnTo>
                      <a:pt x="274" y="66"/>
                    </a:lnTo>
                    <a:lnTo>
                      <a:pt x="274" y="66"/>
                    </a:lnTo>
                    <a:lnTo>
                      <a:pt x="274" y="64"/>
                    </a:lnTo>
                    <a:lnTo>
                      <a:pt x="272" y="64"/>
                    </a:lnTo>
                    <a:lnTo>
                      <a:pt x="272" y="61"/>
                    </a:lnTo>
                    <a:lnTo>
                      <a:pt x="272" y="61"/>
                    </a:lnTo>
                    <a:lnTo>
                      <a:pt x="269" y="59"/>
                    </a:lnTo>
                    <a:lnTo>
                      <a:pt x="269" y="59"/>
                    </a:lnTo>
                    <a:lnTo>
                      <a:pt x="269" y="59"/>
                    </a:lnTo>
                    <a:lnTo>
                      <a:pt x="267" y="59"/>
                    </a:lnTo>
                    <a:lnTo>
                      <a:pt x="267" y="59"/>
                    </a:lnTo>
                    <a:lnTo>
                      <a:pt x="267" y="61"/>
                    </a:lnTo>
                    <a:lnTo>
                      <a:pt x="267" y="64"/>
                    </a:lnTo>
                    <a:lnTo>
                      <a:pt x="267" y="66"/>
                    </a:lnTo>
                    <a:lnTo>
                      <a:pt x="267" y="66"/>
                    </a:lnTo>
                    <a:lnTo>
                      <a:pt x="262" y="71"/>
                    </a:lnTo>
                    <a:lnTo>
                      <a:pt x="257" y="78"/>
                    </a:lnTo>
                    <a:lnTo>
                      <a:pt x="255" y="80"/>
                    </a:lnTo>
                    <a:lnTo>
                      <a:pt x="253" y="85"/>
                    </a:lnTo>
                    <a:lnTo>
                      <a:pt x="250" y="87"/>
                    </a:lnTo>
                    <a:lnTo>
                      <a:pt x="250" y="90"/>
                    </a:lnTo>
                    <a:lnTo>
                      <a:pt x="248" y="90"/>
                    </a:lnTo>
                    <a:lnTo>
                      <a:pt x="246" y="92"/>
                    </a:lnTo>
                    <a:lnTo>
                      <a:pt x="234" y="94"/>
                    </a:lnTo>
                    <a:lnTo>
                      <a:pt x="227" y="97"/>
                    </a:lnTo>
                    <a:lnTo>
                      <a:pt x="224" y="97"/>
                    </a:lnTo>
                    <a:lnTo>
                      <a:pt x="222" y="99"/>
                    </a:lnTo>
                    <a:lnTo>
                      <a:pt x="222" y="102"/>
                    </a:lnTo>
                    <a:lnTo>
                      <a:pt x="222" y="104"/>
                    </a:lnTo>
                    <a:lnTo>
                      <a:pt x="222" y="104"/>
                    </a:lnTo>
                    <a:lnTo>
                      <a:pt x="222" y="106"/>
                    </a:lnTo>
                    <a:lnTo>
                      <a:pt x="222" y="106"/>
                    </a:lnTo>
                    <a:lnTo>
                      <a:pt x="220" y="106"/>
                    </a:lnTo>
                    <a:lnTo>
                      <a:pt x="220" y="106"/>
                    </a:lnTo>
                    <a:lnTo>
                      <a:pt x="217" y="104"/>
                    </a:lnTo>
                    <a:lnTo>
                      <a:pt x="217" y="106"/>
                    </a:lnTo>
                    <a:lnTo>
                      <a:pt x="217" y="109"/>
                    </a:lnTo>
                    <a:lnTo>
                      <a:pt x="217" y="109"/>
                    </a:lnTo>
                    <a:lnTo>
                      <a:pt x="217" y="111"/>
                    </a:lnTo>
                    <a:lnTo>
                      <a:pt x="217" y="113"/>
                    </a:lnTo>
                    <a:lnTo>
                      <a:pt x="217" y="113"/>
                    </a:lnTo>
                    <a:lnTo>
                      <a:pt x="217" y="116"/>
                    </a:lnTo>
                    <a:lnTo>
                      <a:pt x="217" y="121"/>
                    </a:lnTo>
                    <a:lnTo>
                      <a:pt x="215" y="121"/>
                    </a:lnTo>
                    <a:lnTo>
                      <a:pt x="215" y="121"/>
                    </a:lnTo>
                    <a:lnTo>
                      <a:pt x="215" y="123"/>
                    </a:lnTo>
                    <a:lnTo>
                      <a:pt x="215" y="125"/>
                    </a:lnTo>
                    <a:lnTo>
                      <a:pt x="215" y="125"/>
                    </a:lnTo>
                    <a:lnTo>
                      <a:pt x="217" y="128"/>
                    </a:lnTo>
                    <a:lnTo>
                      <a:pt x="217" y="128"/>
                    </a:lnTo>
                    <a:lnTo>
                      <a:pt x="215" y="128"/>
                    </a:lnTo>
                    <a:lnTo>
                      <a:pt x="212" y="123"/>
                    </a:lnTo>
                    <a:lnTo>
                      <a:pt x="212" y="123"/>
                    </a:lnTo>
                    <a:lnTo>
                      <a:pt x="210" y="123"/>
                    </a:lnTo>
                    <a:lnTo>
                      <a:pt x="208" y="123"/>
                    </a:lnTo>
                    <a:lnTo>
                      <a:pt x="203" y="121"/>
                    </a:lnTo>
                    <a:lnTo>
                      <a:pt x="201" y="121"/>
                    </a:lnTo>
                    <a:lnTo>
                      <a:pt x="201" y="121"/>
                    </a:lnTo>
                    <a:lnTo>
                      <a:pt x="201" y="121"/>
                    </a:lnTo>
                    <a:lnTo>
                      <a:pt x="196" y="121"/>
                    </a:lnTo>
                    <a:lnTo>
                      <a:pt x="194" y="121"/>
                    </a:lnTo>
                    <a:lnTo>
                      <a:pt x="194" y="118"/>
                    </a:lnTo>
                    <a:lnTo>
                      <a:pt x="189" y="116"/>
                    </a:lnTo>
                    <a:lnTo>
                      <a:pt x="189" y="116"/>
                    </a:lnTo>
                    <a:lnTo>
                      <a:pt x="189" y="113"/>
                    </a:lnTo>
                    <a:lnTo>
                      <a:pt x="186" y="116"/>
                    </a:lnTo>
                    <a:lnTo>
                      <a:pt x="186" y="118"/>
                    </a:lnTo>
                    <a:lnTo>
                      <a:pt x="186" y="118"/>
                    </a:lnTo>
                    <a:lnTo>
                      <a:pt x="189" y="118"/>
                    </a:lnTo>
                    <a:lnTo>
                      <a:pt x="189" y="123"/>
                    </a:lnTo>
                    <a:lnTo>
                      <a:pt x="191" y="123"/>
                    </a:lnTo>
                    <a:lnTo>
                      <a:pt x="191" y="125"/>
                    </a:lnTo>
                    <a:lnTo>
                      <a:pt x="194" y="128"/>
                    </a:lnTo>
                    <a:lnTo>
                      <a:pt x="194" y="128"/>
                    </a:lnTo>
                    <a:lnTo>
                      <a:pt x="196" y="130"/>
                    </a:lnTo>
                    <a:lnTo>
                      <a:pt x="196" y="130"/>
                    </a:lnTo>
                    <a:lnTo>
                      <a:pt x="198" y="130"/>
                    </a:lnTo>
                    <a:lnTo>
                      <a:pt x="201" y="135"/>
                    </a:lnTo>
                    <a:lnTo>
                      <a:pt x="203" y="137"/>
                    </a:lnTo>
                    <a:lnTo>
                      <a:pt x="203" y="137"/>
                    </a:lnTo>
                    <a:lnTo>
                      <a:pt x="205" y="137"/>
                    </a:lnTo>
                    <a:lnTo>
                      <a:pt x="208" y="137"/>
                    </a:lnTo>
                    <a:lnTo>
                      <a:pt x="212" y="135"/>
                    </a:lnTo>
                    <a:lnTo>
                      <a:pt x="215" y="135"/>
                    </a:lnTo>
                    <a:lnTo>
                      <a:pt x="215" y="135"/>
                    </a:lnTo>
                    <a:lnTo>
                      <a:pt x="220" y="135"/>
                    </a:lnTo>
                    <a:lnTo>
                      <a:pt x="222" y="135"/>
                    </a:lnTo>
                    <a:lnTo>
                      <a:pt x="224" y="135"/>
                    </a:lnTo>
                    <a:lnTo>
                      <a:pt x="224" y="135"/>
                    </a:lnTo>
                    <a:lnTo>
                      <a:pt x="227" y="135"/>
                    </a:lnTo>
                    <a:lnTo>
                      <a:pt x="229" y="135"/>
                    </a:lnTo>
                    <a:lnTo>
                      <a:pt x="229" y="135"/>
                    </a:lnTo>
                    <a:lnTo>
                      <a:pt x="231" y="132"/>
                    </a:lnTo>
                    <a:lnTo>
                      <a:pt x="234" y="132"/>
                    </a:lnTo>
                    <a:lnTo>
                      <a:pt x="234" y="130"/>
                    </a:lnTo>
                    <a:lnTo>
                      <a:pt x="236" y="128"/>
                    </a:lnTo>
                    <a:lnTo>
                      <a:pt x="236" y="125"/>
                    </a:lnTo>
                    <a:lnTo>
                      <a:pt x="236" y="125"/>
                    </a:lnTo>
                    <a:lnTo>
                      <a:pt x="238" y="125"/>
                    </a:lnTo>
                    <a:lnTo>
                      <a:pt x="241" y="123"/>
                    </a:lnTo>
                    <a:lnTo>
                      <a:pt x="250" y="123"/>
                    </a:lnTo>
                    <a:lnTo>
                      <a:pt x="250" y="123"/>
                    </a:lnTo>
                    <a:lnTo>
                      <a:pt x="250" y="125"/>
                    </a:lnTo>
                    <a:lnTo>
                      <a:pt x="250" y="125"/>
                    </a:lnTo>
                    <a:lnTo>
                      <a:pt x="250" y="125"/>
                    </a:lnTo>
                    <a:lnTo>
                      <a:pt x="253" y="125"/>
                    </a:lnTo>
                    <a:lnTo>
                      <a:pt x="253" y="125"/>
                    </a:lnTo>
                    <a:lnTo>
                      <a:pt x="257" y="128"/>
                    </a:lnTo>
                    <a:lnTo>
                      <a:pt x="260" y="128"/>
                    </a:lnTo>
                    <a:lnTo>
                      <a:pt x="260" y="128"/>
                    </a:lnTo>
                    <a:lnTo>
                      <a:pt x="262" y="130"/>
                    </a:lnTo>
                    <a:lnTo>
                      <a:pt x="265" y="130"/>
                    </a:lnTo>
                    <a:lnTo>
                      <a:pt x="265" y="128"/>
                    </a:lnTo>
                    <a:lnTo>
                      <a:pt x="267" y="128"/>
                    </a:lnTo>
                    <a:lnTo>
                      <a:pt x="267" y="125"/>
                    </a:lnTo>
                    <a:lnTo>
                      <a:pt x="269" y="125"/>
                    </a:lnTo>
                    <a:lnTo>
                      <a:pt x="272" y="125"/>
                    </a:lnTo>
                    <a:lnTo>
                      <a:pt x="274" y="125"/>
                    </a:lnTo>
                    <a:lnTo>
                      <a:pt x="276" y="125"/>
                    </a:lnTo>
                    <a:lnTo>
                      <a:pt x="279" y="125"/>
                    </a:lnTo>
                    <a:lnTo>
                      <a:pt x="279" y="125"/>
                    </a:lnTo>
                    <a:lnTo>
                      <a:pt x="281" y="125"/>
                    </a:lnTo>
                    <a:lnTo>
                      <a:pt x="281" y="123"/>
                    </a:lnTo>
                    <a:lnTo>
                      <a:pt x="281" y="121"/>
                    </a:lnTo>
                    <a:lnTo>
                      <a:pt x="283" y="118"/>
                    </a:lnTo>
                    <a:lnTo>
                      <a:pt x="283" y="118"/>
                    </a:lnTo>
                    <a:lnTo>
                      <a:pt x="283" y="116"/>
                    </a:lnTo>
                    <a:lnTo>
                      <a:pt x="283" y="116"/>
                    </a:lnTo>
                    <a:lnTo>
                      <a:pt x="283" y="116"/>
                    </a:lnTo>
                    <a:lnTo>
                      <a:pt x="286" y="113"/>
                    </a:lnTo>
                    <a:lnTo>
                      <a:pt x="286" y="113"/>
                    </a:lnTo>
                    <a:lnTo>
                      <a:pt x="283" y="113"/>
                    </a:lnTo>
                    <a:lnTo>
                      <a:pt x="283" y="111"/>
                    </a:lnTo>
                    <a:lnTo>
                      <a:pt x="283" y="109"/>
                    </a:lnTo>
                    <a:lnTo>
                      <a:pt x="283" y="109"/>
                    </a:lnTo>
                    <a:lnTo>
                      <a:pt x="286" y="109"/>
                    </a:lnTo>
                    <a:lnTo>
                      <a:pt x="288" y="106"/>
                    </a:lnTo>
                    <a:lnTo>
                      <a:pt x="291" y="104"/>
                    </a:lnTo>
                    <a:lnTo>
                      <a:pt x="291" y="104"/>
                    </a:lnTo>
                    <a:lnTo>
                      <a:pt x="291" y="104"/>
                    </a:lnTo>
                    <a:lnTo>
                      <a:pt x="291" y="102"/>
                    </a:lnTo>
                    <a:lnTo>
                      <a:pt x="291" y="102"/>
                    </a:lnTo>
                    <a:lnTo>
                      <a:pt x="288" y="102"/>
                    </a:lnTo>
                    <a:lnTo>
                      <a:pt x="288" y="99"/>
                    </a:lnTo>
                    <a:lnTo>
                      <a:pt x="288" y="99"/>
                    </a:lnTo>
                    <a:lnTo>
                      <a:pt x="291" y="97"/>
                    </a:lnTo>
                    <a:lnTo>
                      <a:pt x="288" y="97"/>
                    </a:lnTo>
                    <a:lnTo>
                      <a:pt x="288" y="97"/>
                    </a:lnTo>
                    <a:lnTo>
                      <a:pt x="291" y="94"/>
                    </a:lnTo>
                    <a:lnTo>
                      <a:pt x="291" y="92"/>
                    </a:lnTo>
                    <a:lnTo>
                      <a:pt x="293" y="92"/>
                    </a:lnTo>
                    <a:lnTo>
                      <a:pt x="293" y="92"/>
                    </a:lnTo>
                    <a:lnTo>
                      <a:pt x="295" y="92"/>
                    </a:lnTo>
                    <a:lnTo>
                      <a:pt x="295" y="92"/>
                    </a:lnTo>
                    <a:lnTo>
                      <a:pt x="298" y="90"/>
                    </a:lnTo>
                    <a:lnTo>
                      <a:pt x="298" y="90"/>
                    </a:lnTo>
                    <a:lnTo>
                      <a:pt x="298" y="87"/>
                    </a:lnTo>
                    <a:lnTo>
                      <a:pt x="298" y="85"/>
                    </a:lnTo>
                    <a:lnTo>
                      <a:pt x="298" y="85"/>
                    </a:lnTo>
                    <a:lnTo>
                      <a:pt x="298" y="83"/>
                    </a:lnTo>
                    <a:lnTo>
                      <a:pt x="298" y="83"/>
                    </a:lnTo>
                    <a:lnTo>
                      <a:pt x="298" y="80"/>
                    </a:lnTo>
                    <a:lnTo>
                      <a:pt x="298" y="78"/>
                    </a:lnTo>
                    <a:lnTo>
                      <a:pt x="298" y="73"/>
                    </a:lnTo>
                    <a:lnTo>
                      <a:pt x="298" y="73"/>
                    </a:lnTo>
                    <a:lnTo>
                      <a:pt x="298" y="71"/>
                    </a:lnTo>
                    <a:lnTo>
                      <a:pt x="300" y="68"/>
                    </a:lnTo>
                    <a:lnTo>
                      <a:pt x="300" y="66"/>
                    </a:lnTo>
                    <a:lnTo>
                      <a:pt x="302" y="64"/>
                    </a:lnTo>
                    <a:lnTo>
                      <a:pt x="302" y="64"/>
                    </a:lnTo>
                    <a:lnTo>
                      <a:pt x="302" y="64"/>
                    </a:lnTo>
                    <a:lnTo>
                      <a:pt x="305" y="66"/>
                    </a:lnTo>
                    <a:lnTo>
                      <a:pt x="307" y="64"/>
                    </a:lnTo>
                    <a:lnTo>
                      <a:pt x="309" y="64"/>
                    </a:lnTo>
                    <a:lnTo>
                      <a:pt x="312" y="64"/>
                    </a:lnTo>
                    <a:lnTo>
                      <a:pt x="312" y="64"/>
                    </a:lnTo>
                    <a:lnTo>
                      <a:pt x="312" y="66"/>
                    </a:lnTo>
                    <a:lnTo>
                      <a:pt x="314" y="64"/>
                    </a:lnTo>
                    <a:lnTo>
                      <a:pt x="317" y="64"/>
                    </a:lnTo>
                    <a:lnTo>
                      <a:pt x="317" y="64"/>
                    </a:lnTo>
                    <a:lnTo>
                      <a:pt x="317" y="64"/>
                    </a:lnTo>
                    <a:lnTo>
                      <a:pt x="319" y="64"/>
                    </a:lnTo>
                    <a:lnTo>
                      <a:pt x="321" y="64"/>
                    </a:lnTo>
                    <a:lnTo>
                      <a:pt x="326" y="64"/>
                    </a:lnTo>
                    <a:lnTo>
                      <a:pt x="328" y="66"/>
                    </a:lnTo>
                    <a:lnTo>
                      <a:pt x="333" y="68"/>
                    </a:lnTo>
                    <a:lnTo>
                      <a:pt x="333" y="68"/>
                    </a:lnTo>
                    <a:lnTo>
                      <a:pt x="335" y="68"/>
                    </a:lnTo>
                    <a:lnTo>
                      <a:pt x="335" y="68"/>
                    </a:lnTo>
                    <a:lnTo>
                      <a:pt x="335" y="66"/>
                    </a:lnTo>
                    <a:lnTo>
                      <a:pt x="338" y="64"/>
                    </a:lnTo>
                    <a:lnTo>
                      <a:pt x="338" y="64"/>
                    </a:lnTo>
                    <a:lnTo>
                      <a:pt x="340" y="66"/>
                    </a:lnTo>
                    <a:lnTo>
                      <a:pt x="343" y="66"/>
                    </a:lnTo>
                    <a:lnTo>
                      <a:pt x="345" y="66"/>
                    </a:lnTo>
                    <a:lnTo>
                      <a:pt x="347" y="64"/>
                    </a:lnTo>
                    <a:lnTo>
                      <a:pt x="350" y="64"/>
                    </a:lnTo>
                    <a:lnTo>
                      <a:pt x="352" y="64"/>
                    </a:lnTo>
                    <a:lnTo>
                      <a:pt x="352" y="64"/>
                    </a:lnTo>
                    <a:lnTo>
                      <a:pt x="354" y="64"/>
                    </a:lnTo>
                    <a:lnTo>
                      <a:pt x="354" y="61"/>
                    </a:lnTo>
                    <a:lnTo>
                      <a:pt x="352" y="61"/>
                    </a:lnTo>
                    <a:lnTo>
                      <a:pt x="347" y="57"/>
                    </a:lnTo>
                    <a:lnTo>
                      <a:pt x="345" y="54"/>
                    </a:lnTo>
                    <a:lnTo>
                      <a:pt x="347" y="49"/>
                    </a:lnTo>
                    <a:lnTo>
                      <a:pt x="347" y="49"/>
                    </a:lnTo>
                    <a:lnTo>
                      <a:pt x="350" y="49"/>
                    </a:lnTo>
                    <a:lnTo>
                      <a:pt x="352" y="52"/>
                    </a:lnTo>
                    <a:lnTo>
                      <a:pt x="354" y="52"/>
                    </a:lnTo>
                    <a:lnTo>
                      <a:pt x="359" y="49"/>
                    </a:lnTo>
                    <a:lnTo>
                      <a:pt x="364" y="47"/>
                    </a:lnTo>
                    <a:lnTo>
                      <a:pt x="364" y="47"/>
                    </a:lnTo>
                    <a:lnTo>
                      <a:pt x="364" y="47"/>
                    </a:lnTo>
                    <a:lnTo>
                      <a:pt x="366" y="45"/>
                    </a:lnTo>
                    <a:lnTo>
                      <a:pt x="366" y="45"/>
                    </a:lnTo>
                    <a:lnTo>
                      <a:pt x="364" y="42"/>
                    </a:lnTo>
                    <a:close/>
                    <a:moveTo>
                      <a:pt x="321" y="7"/>
                    </a:moveTo>
                    <a:lnTo>
                      <a:pt x="324" y="4"/>
                    </a:lnTo>
                    <a:lnTo>
                      <a:pt x="326" y="4"/>
                    </a:lnTo>
                    <a:lnTo>
                      <a:pt x="326" y="4"/>
                    </a:lnTo>
                    <a:lnTo>
                      <a:pt x="326" y="2"/>
                    </a:lnTo>
                    <a:lnTo>
                      <a:pt x="326" y="0"/>
                    </a:lnTo>
                    <a:lnTo>
                      <a:pt x="324" y="2"/>
                    </a:lnTo>
                    <a:lnTo>
                      <a:pt x="321" y="2"/>
                    </a:lnTo>
                    <a:lnTo>
                      <a:pt x="321" y="4"/>
                    </a:lnTo>
                    <a:lnTo>
                      <a:pt x="321" y="7"/>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104"/>
              <p:cNvSpPr>
                <a:spLocks noEditPoints="1"/>
              </p:cNvSpPr>
              <p:nvPr/>
            </p:nvSpPr>
            <p:spPr bwMode="auto">
              <a:xfrm>
                <a:off x="3354" y="2999"/>
                <a:ext cx="59" cy="163"/>
              </a:xfrm>
              <a:custGeom>
                <a:avLst/>
                <a:gdLst>
                  <a:gd name="T0" fmla="*/ 38 w 59"/>
                  <a:gd name="T1" fmla="*/ 57 h 163"/>
                  <a:gd name="T2" fmla="*/ 40 w 59"/>
                  <a:gd name="T3" fmla="*/ 54 h 163"/>
                  <a:gd name="T4" fmla="*/ 38 w 59"/>
                  <a:gd name="T5" fmla="*/ 54 h 163"/>
                  <a:gd name="T6" fmla="*/ 38 w 59"/>
                  <a:gd name="T7" fmla="*/ 57 h 163"/>
                  <a:gd name="T8" fmla="*/ 59 w 59"/>
                  <a:gd name="T9" fmla="*/ 116 h 163"/>
                  <a:gd name="T10" fmla="*/ 52 w 59"/>
                  <a:gd name="T11" fmla="*/ 102 h 163"/>
                  <a:gd name="T12" fmla="*/ 43 w 59"/>
                  <a:gd name="T13" fmla="*/ 88 h 163"/>
                  <a:gd name="T14" fmla="*/ 36 w 59"/>
                  <a:gd name="T15" fmla="*/ 83 h 163"/>
                  <a:gd name="T16" fmla="*/ 36 w 59"/>
                  <a:gd name="T17" fmla="*/ 69 h 163"/>
                  <a:gd name="T18" fmla="*/ 33 w 59"/>
                  <a:gd name="T19" fmla="*/ 59 h 163"/>
                  <a:gd name="T20" fmla="*/ 36 w 59"/>
                  <a:gd name="T21" fmla="*/ 52 h 163"/>
                  <a:gd name="T22" fmla="*/ 43 w 59"/>
                  <a:gd name="T23" fmla="*/ 45 h 163"/>
                  <a:gd name="T24" fmla="*/ 43 w 59"/>
                  <a:gd name="T25" fmla="*/ 43 h 163"/>
                  <a:gd name="T26" fmla="*/ 40 w 59"/>
                  <a:gd name="T27" fmla="*/ 40 h 163"/>
                  <a:gd name="T28" fmla="*/ 38 w 59"/>
                  <a:gd name="T29" fmla="*/ 35 h 163"/>
                  <a:gd name="T30" fmla="*/ 38 w 59"/>
                  <a:gd name="T31" fmla="*/ 28 h 163"/>
                  <a:gd name="T32" fmla="*/ 38 w 59"/>
                  <a:gd name="T33" fmla="*/ 24 h 163"/>
                  <a:gd name="T34" fmla="*/ 38 w 59"/>
                  <a:gd name="T35" fmla="*/ 16 h 163"/>
                  <a:gd name="T36" fmla="*/ 33 w 59"/>
                  <a:gd name="T37" fmla="*/ 7 h 163"/>
                  <a:gd name="T38" fmla="*/ 26 w 59"/>
                  <a:gd name="T39" fmla="*/ 2 h 163"/>
                  <a:gd name="T40" fmla="*/ 26 w 59"/>
                  <a:gd name="T41" fmla="*/ 5 h 163"/>
                  <a:gd name="T42" fmla="*/ 21 w 59"/>
                  <a:gd name="T43" fmla="*/ 5 h 163"/>
                  <a:gd name="T44" fmla="*/ 14 w 59"/>
                  <a:gd name="T45" fmla="*/ 2 h 163"/>
                  <a:gd name="T46" fmla="*/ 7 w 59"/>
                  <a:gd name="T47" fmla="*/ 0 h 163"/>
                  <a:gd name="T48" fmla="*/ 7 w 59"/>
                  <a:gd name="T49" fmla="*/ 2 h 163"/>
                  <a:gd name="T50" fmla="*/ 10 w 59"/>
                  <a:gd name="T51" fmla="*/ 5 h 163"/>
                  <a:gd name="T52" fmla="*/ 12 w 59"/>
                  <a:gd name="T53" fmla="*/ 5 h 163"/>
                  <a:gd name="T54" fmla="*/ 14 w 59"/>
                  <a:gd name="T55" fmla="*/ 12 h 163"/>
                  <a:gd name="T56" fmla="*/ 19 w 59"/>
                  <a:gd name="T57" fmla="*/ 16 h 163"/>
                  <a:gd name="T58" fmla="*/ 21 w 59"/>
                  <a:gd name="T59" fmla="*/ 24 h 163"/>
                  <a:gd name="T60" fmla="*/ 14 w 59"/>
                  <a:gd name="T61" fmla="*/ 31 h 163"/>
                  <a:gd name="T62" fmla="*/ 14 w 59"/>
                  <a:gd name="T63" fmla="*/ 33 h 163"/>
                  <a:gd name="T64" fmla="*/ 12 w 59"/>
                  <a:gd name="T65" fmla="*/ 43 h 163"/>
                  <a:gd name="T66" fmla="*/ 12 w 59"/>
                  <a:gd name="T67" fmla="*/ 47 h 163"/>
                  <a:gd name="T68" fmla="*/ 12 w 59"/>
                  <a:gd name="T69" fmla="*/ 57 h 163"/>
                  <a:gd name="T70" fmla="*/ 17 w 59"/>
                  <a:gd name="T71" fmla="*/ 61 h 163"/>
                  <a:gd name="T72" fmla="*/ 12 w 59"/>
                  <a:gd name="T73" fmla="*/ 66 h 163"/>
                  <a:gd name="T74" fmla="*/ 7 w 59"/>
                  <a:gd name="T75" fmla="*/ 73 h 163"/>
                  <a:gd name="T76" fmla="*/ 7 w 59"/>
                  <a:gd name="T77" fmla="*/ 80 h 163"/>
                  <a:gd name="T78" fmla="*/ 5 w 59"/>
                  <a:gd name="T79" fmla="*/ 85 h 163"/>
                  <a:gd name="T80" fmla="*/ 0 w 59"/>
                  <a:gd name="T81" fmla="*/ 90 h 163"/>
                  <a:gd name="T82" fmla="*/ 3 w 59"/>
                  <a:gd name="T83" fmla="*/ 92 h 163"/>
                  <a:gd name="T84" fmla="*/ 5 w 59"/>
                  <a:gd name="T85" fmla="*/ 95 h 163"/>
                  <a:gd name="T86" fmla="*/ 7 w 59"/>
                  <a:gd name="T87" fmla="*/ 97 h 163"/>
                  <a:gd name="T88" fmla="*/ 10 w 59"/>
                  <a:gd name="T89" fmla="*/ 97 h 163"/>
                  <a:gd name="T90" fmla="*/ 19 w 59"/>
                  <a:gd name="T91" fmla="*/ 109 h 163"/>
                  <a:gd name="T92" fmla="*/ 24 w 59"/>
                  <a:gd name="T93" fmla="*/ 106 h 163"/>
                  <a:gd name="T94" fmla="*/ 31 w 59"/>
                  <a:gd name="T95" fmla="*/ 106 h 163"/>
                  <a:gd name="T96" fmla="*/ 36 w 59"/>
                  <a:gd name="T97" fmla="*/ 116 h 163"/>
                  <a:gd name="T98" fmla="*/ 33 w 59"/>
                  <a:gd name="T99" fmla="*/ 128 h 163"/>
                  <a:gd name="T100" fmla="*/ 29 w 59"/>
                  <a:gd name="T101" fmla="*/ 135 h 163"/>
                  <a:gd name="T102" fmla="*/ 31 w 59"/>
                  <a:gd name="T103" fmla="*/ 142 h 163"/>
                  <a:gd name="T104" fmla="*/ 31 w 59"/>
                  <a:gd name="T105" fmla="*/ 144 h 163"/>
                  <a:gd name="T106" fmla="*/ 40 w 59"/>
                  <a:gd name="T107" fmla="*/ 156 h 163"/>
                  <a:gd name="T108" fmla="*/ 43 w 59"/>
                  <a:gd name="T109" fmla="*/ 161 h 163"/>
                  <a:gd name="T110" fmla="*/ 45 w 59"/>
                  <a:gd name="T111" fmla="*/ 163 h 163"/>
                  <a:gd name="T112" fmla="*/ 48 w 59"/>
                  <a:gd name="T113" fmla="*/ 156 h 163"/>
                  <a:gd name="T114" fmla="*/ 45 w 59"/>
                  <a:gd name="T115" fmla="*/ 149 h 163"/>
                  <a:gd name="T116" fmla="*/ 50 w 59"/>
                  <a:gd name="T117" fmla="*/ 142 h 163"/>
                  <a:gd name="T118" fmla="*/ 57 w 59"/>
                  <a:gd name="T119" fmla="*/ 140 h 163"/>
                  <a:gd name="T120" fmla="*/ 59 w 59"/>
                  <a:gd name="T121" fmla="*/ 118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9" h="163">
                    <a:moveTo>
                      <a:pt x="38" y="54"/>
                    </a:moveTo>
                    <a:lnTo>
                      <a:pt x="38" y="57"/>
                    </a:lnTo>
                    <a:lnTo>
                      <a:pt x="38" y="57"/>
                    </a:lnTo>
                    <a:lnTo>
                      <a:pt x="38" y="57"/>
                    </a:lnTo>
                    <a:lnTo>
                      <a:pt x="40" y="57"/>
                    </a:lnTo>
                    <a:lnTo>
                      <a:pt x="40" y="57"/>
                    </a:lnTo>
                    <a:lnTo>
                      <a:pt x="40" y="57"/>
                    </a:lnTo>
                    <a:lnTo>
                      <a:pt x="40" y="54"/>
                    </a:lnTo>
                    <a:lnTo>
                      <a:pt x="40" y="54"/>
                    </a:lnTo>
                    <a:lnTo>
                      <a:pt x="40" y="54"/>
                    </a:lnTo>
                    <a:lnTo>
                      <a:pt x="38" y="54"/>
                    </a:lnTo>
                    <a:close/>
                    <a:moveTo>
                      <a:pt x="38" y="54"/>
                    </a:moveTo>
                    <a:lnTo>
                      <a:pt x="36" y="54"/>
                    </a:lnTo>
                    <a:lnTo>
                      <a:pt x="36" y="54"/>
                    </a:lnTo>
                    <a:lnTo>
                      <a:pt x="38" y="57"/>
                    </a:lnTo>
                    <a:lnTo>
                      <a:pt x="38" y="57"/>
                    </a:lnTo>
                    <a:lnTo>
                      <a:pt x="38" y="54"/>
                    </a:lnTo>
                    <a:lnTo>
                      <a:pt x="38" y="54"/>
                    </a:lnTo>
                    <a:lnTo>
                      <a:pt x="38" y="54"/>
                    </a:lnTo>
                    <a:close/>
                    <a:moveTo>
                      <a:pt x="59" y="116"/>
                    </a:moveTo>
                    <a:lnTo>
                      <a:pt x="59" y="116"/>
                    </a:lnTo>
                    <a:lnTo>
                      <a:pt x="59" y="111"/>
                    </a:lnTo>
                    <a:lnTo>
                      <a:pt x="57" y="106"/>
                    </a:lnTo>
                    <a:lnTo>
                      <a:pt x="52" y="102"/>
                    </a:lnTo>
                    <a:lnTo>
                      <a:pt x="50" y="99"/>
                    </a:lnTo>
                    <a:lnTo>
                      <a:pt x="48" y="95"/>
                    </a:lnTo>
                    <a:lnTo>
                      <a:pt x="45" y="90"/>
                    </a:lnTo>
                    <a:lnTo>
                      <a:pt x="43" y="88"/>
                    </a:lnTo>
                    <a:lnTo>
                      <a:pt x="40" y="88"/>
                    </a:lnTo>
                    <a:lnTo>
                      <a:pt x="38" y="85"/>
                    </a:lnTo>
                    <a:lnTo>
                      <a:pt x="36" y="85"/>
                    </a:lnTo>
                    <a:lnTo>
                      <a:pt x="36" y="83"/>
                    </a:lnTo>
                    <a:lnTo>
                      <a:pt x="36" y="80"/>
                    </a:lnTo>
                    <a:lnTo>
                      <a:pt x="36" y="78"/>
                    </a:lnTo>
                    <a:lnTo>
                      <a:pt x="36" y="73"/>
                    </a:lnTo>
                    <a:lnTo>
                      <a:pt x="36" y="69"/>
                    </a:lnTo>
                    <a:lnTo>
                      <a:pt x="36" y="66"/>
                    </a:lnTo>
                    <a:lnTo>
                      <a:pt x="33" y="64"/>
                    </a:lnTo>
                    <a:lnTo>
                      <a:pt x="33" y="59"/>
                    </a:lnTo>
                    <a:lnTo>
                      <a:pt x="33" y="59"/>
                    </a:lnTo>
                    <a:lnTo>
                      <a:pt x="33" y="57"/>
                    </a:lnTo>
                    <a:lnTo>
                      <a:pt x="36" y="54"/>
                    </a:lnTo>
                    <a:lnTo>
                      <a:pt x="36" y="52"/>
                    </a:lnTo>
                    <a:lnTo>
                      <a:pt x="36" y="52"/>
                    </a:lnTo>
                    <a:lnTo>
                      <a:pt x="38" y="47"/>
                    </a:lnTo>
                    <a:lnTo>
                      <a:pt x="38" y="47"/>
                    </a:lnTo>
                    <a:lnTo>
                      <a:pt x="38" y="45"/>
                    </a:lnTo>
                    <a:lnTo>
                      <a:pt x="43" y="45"/>
                    </a:lnTo>
                    <a:lnTo>
                      <a:pt x="45" y="45"/>
                    </a:lnTo>
                    <a:lnTo>
                      <a:pt x="45" y="45"/>
                    </a:lnTo>
                    <a:lnTo>
                      <a:pt x="43" y="43"/>
                    </a:lnTo>
                    <a:lnTo>
                      <a:pt x="43" y="43"/>
                    </a:lnTo>
                    <a:lnTo>
                      <a:pt x="43" y="40"/>
                    </a:lnTo>
                    <a:lnTo>
                      <a:pt x="40" y="40"/>
                    </a:lnTo>
                    <a:lnTo>
                      <a:pt x="40" y="40"/>
                    </a:lnTo>
                    <a:lnTo>
                      <a:pt x="40" y="40"/>
                    </a:lnTo>
                    <a:lnTo>
                      <a:pt x="40" y="38"/>
                    </a:lnTo>
                    <a:lnTo>
                      <a:pt x="40" y="38"/>
                    </a:lnTo>
                    <a:lnTo>
                      <a:pt x="38" y="35"/>
                    </a:lnTo>
                    <a:lnTo>
                      <a:pt x="38" y="35"/>
                    </a:lnTo>
                    <a:lnTo>
                      <a:pt x="38" y="35"/>
                    </a:lnTo>
                    <a:lnTo>
                      <a:pt x="38" y="33"/>
                    </a:lnTo>
                    <a:lnTo>
                      <a:pt x="38" y="31"/>
                    </a:lnTo>
                    <a:lnTo>
                      <a:pt x="38" y="28"/>
                    </a:lnTo>
                    <a:lnTo>
                      <a:pt x="38" y="28"/>
                    </a:lnTo>
                    <a:lnTo>
                      <a:pt x="38" y="26"/>
                    </a:lnTo>
                    <a:lnTo>
                      <a:pt x="38" y="24"/>
                    </a:lnTo>
                    <a:lnTo>
                      <a:pt x="38" y="24"/>
                    </a:lnTo>
                    <a:lnTo>
                      <a:pt x="38" y="21"/>
                    </a:lnTo>
                    <a:lnTo>
                      <a:pt x="38" y="21"/>
                    </a:lnTo>
                    <a:lnTo>
                      <a:pt x="38" y="19"/>
                    </a:lnTo>
                    <a:lnTo>
                      <a:pt x="38" y="16"/>
                    </a:lnTo>
                    <a:lnTo>
                      <a:pt x="36" y="14"/>
                    </a:lnTo>
                    <a:lnTo>
                      <a:pt x="36" y="14"/>
                    </a:lnTo>
                    <a:lnTo>
                      <a:pt x="36" y="12"/>
                    </a:lnTo>
                    <a:lnTo>
                      <a:pt x="33" y="7"/>
                    </a:lnTo>
                    <a:lnTo>
                      <a:pt x="33" y="7"/>
                    </a:lnTo>
                    <a:lnTo>
                      <a:pt x="29" y="2"/>
                    </a:lnTo>
                    <a:lnTo>
                      <a:pt x="26" y="2"/>
                    </a:lnTo>
                    <a:lnTo>
                      <a:pt x="26" y="2"/>
                    </a:lnTo>
                    <a:lnTo>
                      <a:pt x="26" y="2"/>
                    </a:lnTo>
                    <a:lnTo>
                      <a:pt x="26" y="5"/>
                    </a:lnTo>
                    <a:lnTo>
                      <a:pt x="26" y="5"/>
                    </a:lnTo>
                    <a:lnTo>
                      <a:pt x="26" y="5"/>
                    </a:lnTo>
                    <a:lnTo>
                      <a:pt x="26" y="5"/>
                    </a:lnTo>
                    <a:lnTo>
                      <a:pt x="24" y="5"/>
                    </a:lnTo>
                    <a:lnTo>
                      <a:pt x="24" y="5"/>
                    </a:lnTo>
                    <a:lnTo>
                      <a:pt x="21" y="5"/>
                    </a:lnTo>
                    <a:lnTo>
                      <a:pt x="19" y="5"/>
                    </a:lnTo>
                    <a:lnTo>
                      <a:pt x="17" y="5"/>
                    </a:lnTo>
                    <a:lnTo>
                      <a:pt x="17" y="5"/>
                    </a:lnTo>
                    <a:lnTo>
                      <a:pt x="14" y="2"/>
                    </a:lnTo>
                    <a:lnTo>
                      <a:pt x="12" y="2"/>
                    </a:lnTo>
                    <a:lnTo>
                      <a:pt x="12" y="2"/>
                    </a:lnTo>
                    <a:lnTo>
                      <a:pt x="7" y="0"/>
                    </a:lnTo>
                    <a:lnTo>
                      <a:pt x="7" y="0"/>
                    </a:lnTo>
                    <a:lnTo>
                      <a:pt x="7" y="0"/>
                    </a:lnTo>
                    <a:lnTo>
                      <a:pt x="7" y="0"/>
                    </a:lnTo>
                    <a:lnTo>
                      <a:pt x="7" y="2"/>
                    </a:lnTo>
                    <a:lnTo>
                      <a:pt x="7" y="2"/>
                    </a:lnTo>
                    <a:lnTo>
                      <a:pt x="7" y="5"/>
                    </a:lnTo>
                    <a:lnTo>
                      <a:pt x="10" y="5"/>
                    </a:lnTo>
                    <a:lnTo>
                      <a:pt x="10" y="5"/>
                    </a:lnTo>
                    <a:lnTo>
                      <a:pt x="10" y="5"/>
                    </a:lnTo>
                    <a:lnTo>
                      <a:pt x="10" y="5"/>
                    </a:lnTo>
                    <a:lnTo>
                      <a:pt x="12" y="5"/>
                    </a:lnTo>
                    <a:lnTo>
                      <a:pt x="12" y="5"/>
                    </a:lnTo>
                    <a:lnTo>
                      <a:pt x="12" y="5"/>
                    </a:lnTo>
                    <a:lnTo>
                      <a:pt x="12" y="7"/>
                    </a:lnTo>
                    <a:lnTo>
                      <a:pt x="14" y="9"/>
                    </a:lnTo>
                    <a:lnTo>
                      <a:pt x="14" y="9"/>
                    </a:lnTo>
                    <a:lnTo>
                      <a:pt x="14" y="12"/>
                    </a:lnTo>
                    <a:lnTo>
                      <a:pt x="14" y="14"/>
                    </a:lnTo>
                    <a:lnTo>
                      <a:pt x="17" y="14"/>
                    </a:lnTo>
                    <a:lnTo>
                      <a:pt x="17" y="16"/>
                    </a:lnTo>
                    <a:lnTo>
                      <a:pt x="19" y="16"/>
                    </a:lnTo>
                    <a:lnTo>
                      <a:pt x="19" y="19"/>
                    </a:lnTo>
                    <a:lnTo>
                      <a:pt x="19" y="21"/>
                    </a:lnTo>
                    <a:lnTo>
                      <a:pt x="19" y="24"/>
                    </a:lnTo>
                    <a:lnTo>
                      <a:pt x="21" y="24"/>
                    </a:lnTo>
                    <a:lnTo>
                      <a:pt x="21" y="26"/>
                    </a:lnTo>
                    <a:lnTo>
                      <a:pt x="17" y="28"/>
                    </a:lnTo>
                    <a:lnTo>
                      <a:pt x="17" y="28"/>
                    </a:lnTo>
                    <a:lnTo>
                      <a:pt x="14" y="31"/>
                    </a:lnTo>
                    <a:lnTo>
                      <a:pt x="14" y="31"/>
                    </a:lnTo>
                    <a:lnTo>
                      <a:pt x="12" y="31"/>
                    </a:lnTo>
                    <a:lnTo>
                      <a:pt x="12" y="31"/>
                    </a:lnTo>
                    <a:lnTo>
                      <a:pt x="14" y="33"/>
                    </a:lnTo>
                    <a:lnTo>
                      <a:pt x="14" y="35"/>
                    </a:lnTo>
                    <a:lnTo>
                      <a:pt x="14" y="38"/>
                    </a:lnTo>
                    <a:lnTo>
                      <a:pt x="14" y="38"/>
                    </a:lnTo>
                    <a:lnTo>
                      <a:pt x="12" y="43"/>
                    </a:lnTo>
                    <a:lnTo>
                      <a:pt x="12" y="43"/>
                    </a:lnTo>
                    <a:lnTo>
                      <a:pt x="12" y="45"/>
                    </a:lnTo>
                    <a:lnTo>
                      <a:pt x="12" y="45"/>
                    </a:lnTo>
                    <a:lnTo>
                      <a:pt x="12" y="47"/>
                    </a:lnTo>
                    <a:lnTo>
                      <a:pt x="14" y="47"/>
                    </a:lnTo>
                    <a:lnTo>
                      <a:pt x="14" y="50"/>
                    </a:lnTo>
                    <a:lnTo>
                      <a:pt x="14" y="52"/>
                    </a:lnTo>
                    <a:lnTo>
                      <a:pt x="12" y="57"/>
                    </a:lnTo>
                    <a:lnTo>
                      <a:pt x="14" y="61"/>
                    </a:lnTo>
                    <a:lnTo>
                      <a:pt x="14" y="61"/>
                    </a:lnTo>
                    <a:lnTo>
                      <a:pt x="17" y="61"/>
                    </a:lnTo>
                    <a:lnTo>
                      <a:pt x="17" y="61"/>
                    </a:lnTo>
                    <a:lnTo>
                      <a:pt x="17" y="64"/>
                    </a:lnTo>
                    <a:lnTo>
                      <a:pt x="14" y="64"/>
                    </a:lnTo>
                    <a:lnTo>
                      <a:pt x="14" y="66"/>
                    </a:lnTo>
                    <a:lnTo>
                      <a:pt x="12" y="66"/>
                    </a:lnTo>
                    <a:lnTo>
                      <a:pt x="7" y="69"/>
                    </a:lnTo>
                    <a:lnTo>
                      <a:pt x="7" y="69"/>
                    </a:lnTo>
                    <a:lnTo>
                      <a:pt x="7" y="71"/>
                    </a:lnTo>
                    <a:lnTo>
                      <a:pt x="7" y="73"/>
                    </a:lnTo>
                    <a:lnTo>
                      <a:pt x="7" y="73"/>
                    </a:lnTo>
                    <a:lnTo>
                      <a:pt x="7" y="76"/>
                    </a:lnTo>
                    <a:lnTo>
                      <a:pt x="7" y="78"/>
                    </a:lnTo>
                    <a:lnTo>
                      <a:pt x="7" y="80"/>
                    </a:lnTo>
                    <a:lnTo>
                      <a:pt x="7" y="80"/>
                    </a:lnTo>
                    <a:lnTo>
                      <a:pt x="5" y="80"/>
                    </a:lnTo>
                    <a:lnTo>
                      <a:pt x="5" y="83"/>
                    </a:lnTo>
                    <a:lnTo>
                      <a:pt x="5" y="85"/>
                    </a:lnTo>
                    <a:lnTo>
                      <a:pt x="3" y="88"/>
                    </a:lnTo>
                    <a:lnTo>
                      <a:pt x="3" y="88"/>
                    </a:lnTo>
                    <a:lnTo>
                      <a:pt x="0" y="88"/>
                    </a:lnTo>
                    <a:lnTo>
                      <a:pt x="0" y="90"/>
                    </a:lnTo>
                    <a:lnTo>
                      <a:pt x="3" y="90"/>
                    </a:lnTo>
                    <a:lnTo>
                      <a:pt x="3" y="90"/>
                    </a:lnTo>
                    <a:lnTo>
                      <a:pt x="3" y="90"/>
                    </a:lnTo>
                    <a:lnTo>
                      <a:pt x="3" y="92"/>
                    </a:lnTo>
                    <a:lnTo>
                      <a:pt x="3" y="92"/>
                    </a:lnTo>
                    <a:lnTo>
                      <a:pt x="3" y="92"/>
                    </a:lnTo>
                    <a:lnTo>
                      <a:pt x="5" y="92"/>
                    </a:lnTo>
                    <a:lnTo>
                      <a:pt x="5" y="95"/>
                    </a:lnTo>
                    <a:lnTo>
                      <a:pt x="7" y="97"/>
                    </a:lnTo>
                    <a:lnTo>
                      <a:pt x="7" y="97"/>
                    </a:lnTo>
                    <a:lnTo>
                      <a:pt x="7" y="97"/>
                    </a:lnTo>
                    <a:lnTo>
                      <a:pt x="7" y="97"/>
                    </a:lnTo>
                    <a:lnTo>
                      <a:pt x="7" y="97"/>
                    </a:lnTo>
                    <a:lnTo>
                      <a:pt x="10" y="97"/>
                    </a:lnTo>
                    <a:lnTo>
                      <a:pt x="10" y="95"/>
                    </a:lnTo>
                    <a:lnTo>
                      <a:pt x="10" y="97"/>
                    </a:lnTo>
                    <a:lnTo>
                      <a:pt x="12" y="97"/>
                    </a:lnTo>
                    <a:lnTo>
                      <a:pt x="14" y="104"/>
                    </a:lnTo>
                    <a:lnTo>
                      <a:pt x="17" y="106"/>
                    </a:lnTo>
                    <a:lnTo>
                      <a:pt x="19" y="109"/>
                    </a:lnTo>
                    <a:lnTo>
                      <a:pt x="19" y="109"/>
                    </a:lnTo>
                    <a:lnTo>
                      <a:pt x="19" y="109"/>
                    </a:lnTo>
                    <a:lnTo>
                      <a:pt x="21" y="109"/>
                    </a:lnTo>
                    <a:lnTo>
                      <a:pt x="24" y="106"/>
                    </a:lnTo>
                    <a:lnTo>
                      <a:pt x="26" y="106"/>
                    </a:lnTo>
                    <a:lnTo>
                      <a:pt x="26" y="106"/>
                    </a:lnTo>
                    <a:lnTo>
                      <a:pt x="29" y="106"/>
                    </a:lnTo>
                    <a:lnTo>
                      <a:pt x="31" y="106"/>
                    </a:lnTo>
                    <a:lnTo>
                      <a:pt x="31" y="106"/>
                    </a:lnTo>
                    <a:lnTo>
                      <a:pt x="33" y="109"/>
                    </a:lnTo>
                    <a:lnTo>
                      <a:pt x="36" y="114"/>
                    </a:lnTo>
                    <a:lnTo>
                      <a:pt x="36" y="116"/>
                    </a:lnTo>
                    <a:lnTo>
                      <a:pt x="36" y="118"/>
                    </a:lnTo>
                    <a:lnTo>
                      <a:pt x="36" y="121"/>
                    </a:lnTo>
                    <a:lnTo>
                      <a:pt x="33" y="125"/>
                    </a:lnTo>
                    <a:lnTo>
                      <a:pt x="33" y="128"/>
                    </a:lnTo>
                    <a:lnTo>
                      <a:pt x="31" y="130"/>
                    </a:lnTo>
                    <a:lnTo>
                      <a:pt x="31" y="133"/>
                    </a:lnTo>
                    <a:lnTo>
                      <a:pt x="29" y="135"/>
                    </a:lnTo>
                    <a:lnTo>
                      <a:pt x="29" y="135"/>
                    </a:lnTo>
                    <a:lnTo>
                      <a:pt x="29" y="137"/>
                    </a:lnTo>
                    <a:lnTo>
                      <a:pt x="29" y="137"/>
                    </a:lnTo>
                    <a:lnTo>
                      <a:pt x="31" y="140"/>
                    </a:lnTo>
                    <a:lnTo>
                      <a:pt x="31" y="142"/>
                    </a:lnTo>
                    <a:lnTo>
                      <a:pt x="31" y="142"/>
                    </a:lnTo>
                    <a:lnTo>
                      <a:pt x="31" y="144"/>
                    </a:lnTo>
                    <a:lnTo>
                      <a:pt x="31" y="144"/>
                    </a:lnTo>
                    <a:lnTo>
                      <a:pt x="31" y="144"/>
                    </a:lnTo>
                    <a:lnTo>
                      <a:pt x="33" y="147"/>
                    </a:lnTo>
                    <a:lnTo>
                      <a:pt x="36" y="149"/>
                    </a:lnTo>
                    <a:lnTo>
                      <a:pt x="38" y="151"/>
                    </a:lnTo>
                    <a:lnTo>
                      <a:pt x="40" y="156"/>
                    </a:lnTo>
                    <a:lnTo>
                      <a:pt x="43" y="156"/>
                    </a:lnTo>
                    <a:lnTo>
                      <a:pt x="43" y="156"/>
                    </a:lnTo>
                    <a:lnTo>
                      <a:pt x="45" y="159"/>
                    </a:lnTo>
                    <a:lnTo>
                      <a:pt x="43" y="161"/>
                    </a:lnTo>
                    <a:lnTo>
                      <a:pt x="43" y="161"/>
                    </a:lnTo>
                    <a:lnTo>
                      <a:pt x="43" y="163"/>
                    </a:lnTo>
                    <a:lnTo>
                      <a:pt x="43" y="163"/>
                    </a:lnTo>
                    <a:lnTo>
                      <a:pt x="45" y="163"/>
                    </a:lnTo>
                    <a:lnTo>
                      <a:pt x="45" y="163"/>
                    </a:lnTo>
                    <a:lnTo>
                      <a:pt x="48" y="163"/>
                    </a:lnTo>
                    <a:lnTo>
                      <a:pt x="48" y="163"/>
                    </a:lnTo>
                    <a:lnTo>
                      <a:pt x="48" y="156"/>
                    </a:lnTo>
                    <a:lnTo>
                      <a:pt x="48" y="154"/>
                    </a:lnTo>
                    <a:lnTo>
                      <a:pt x="45" y="151"/>
                    </a:lnTo>
                    <a:lnTo>
                      <a:pt x="45" y="151"/>
                    </a:lnTo>
                    <a:lnTo>
                      <a:pt x="45" y="149"/>
                    </a:lnTo>
                    <a:lnTo>
                      <a:pt x="48" y="147"/>
                    </a:lnTo>
                    <a:lnTo>
                      <a:pt x="48" y="144"/>
                    </a:lnTo>
                    <a:lnTo>
                      <a:pt x="48" y="144"/>
                    </a:lnTo>
                    <a:lnTo>
                      <a:pt x="50" y="142"/>
                    </a:lnTo>
                    <a:lnTo>
                      <a:pt x="55" y="142"/>
                    </a:lnTo>
                    <a:lnTo>
                      <a:pt x="55" y="142"/>
                    </a:lnTo>
                    <a:lnTo>
                      <a:pt x="57" y="140"/>
                    </a:lnTo>
                    <a:lnTo>
                      <a:pt x="57" y="140"/>
                    </a:lnTo>
                    <a:lnTo>
                      <a:pt x="57" y="133"/>
                    </a:lnTo>
                    <a:lnTo>
                      <a:pt x="59" y="128"/>
                    </a:lnTo>
                    <a:lnTo>
                      <a:pt x="57" y="123"/>
                    </a:lnTo>
                    <a:lnTo>
                      <a:pt x="59" y="118"/>
                    </a:lnTo>
                    <a:lnTo>
                      <a:pt x="59" y="116"/>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105"/>
              <p:cNvSpPr>
                <a:spLocks noEditPoints="1"/>
              </p:cNvSpPr>
              <p:nvPr/>
            </p:nvSpPr>
            <p:spPr bwMode="auto">
              <a:xfrm>
                <a:off x="3543" y="3056"/>
                <a:ext cx="140" cy="284"/>
              </a:xfrm>
              <a:custGeom>
                <a:avLst/>
                <a:gdLst>
                  <a:gd name="T0" fmla="*/ 128 w 140"/>
                  <a:gd name="T1" fmla="*/ 97 h 284"/>
                  <a:gd name="T2" fmla="*/ 102 w 140"/>
                  <a:gd name="T3" fmla="*/ 23 h 284"/>
                  <a:gd name="T4" fmla="*/ 102 w 140"/>
                  <a:gd name="T5" fmla="*/ 28 h 284"/>
                  <a:gd name="T6" fmla="*/ 135 w 140"/>
                  <a:gd name="T7" fmla="*/ 40 h 284"/>
                  <a:gd name="T8" fmla="*/ 131 w 140"/>
                  <a:gd name="T9" fmla="*/ 16 h 284"/>
                  <a:gd name="T10" fmla="*/ 121 w 140"/>
                  <a:gd name="T11" fmla="*/ 2 h 284"/>
                  <a:gd name="T12" fmla="*/ 116 w 140"/>
                  <a:gd name="T13" fmla="*/ 4 h 284"/>
                  <a:gd name="T14" fmla="*/ 112 w 140"/>
                  <a:gd name="T15" fmla="*/ 12 h 284"/>
                  <a:gd name="T16" fmla="*/ 107 w 140"/>
                  <a:gd name="T17" fmla="*/ 28 h 284"/>
                  <a:gd name="T18" fmla="*/ 100 w 140"/>
                  <a:gd name="T19" fmla="*/ 33 h 284"/>
                  <a:gd name="T20" fmla="*/ 93 w 140"/>
                  <a:gd name="T21" fmla="*/ 35 h 284"/>
                  <a:gd name="T22" fmla="*/ 95 w 140"/>
                  <a:gd name="T23" fmla="*/ 40 h 284"/>
                  <a:gd name="T24" fmla="*/ 93 w 140"/>
                  <a:gd name="T25" fmla="*/ 54 h 284"/>
                  <a:gd name="T26" fmla="*/ 86 w 140"/>
                  <a:gd name="T27" fmla="*/ 61 h 284"/>
                  <a:gd name="T28" fmla="*/ 86 w 140"/>
                  <a:gd name="T29" fmla="*/ 57 h 284"/>
                  <a:gd name="T30" fmla="*/ 81 w 140"/>
                  <a:gd name="T31" fmla="*/ 57 h 284"/>
                  <a:gd name="T32" fmla="*/ 79 w 140"/>
                  <a:gd name="T33" fmla="*/ 66 h 284"/>
                  <a:gd name="T34" fmla="*/ 76 w 140"/>
                  <a:gd name="T35" fmla="*/ 71 h 284"/>
                  <a:gd name="T36" fmla="*/ 69 w 140"/>
                  <a:gd name="T37" fmla="*/ 68 h 284"/>
                  <a:gd name="T38" fmla="*/ 62 w 140"/>
                  <a:gd name="T39" fmla="*/ 78 h 284"/>
                  <a:gd name="T40" fmla="*/ 60 w 140"/>
                  <a:gd name="T41" fmla="*/ 78 h 284"/>
                  <a:gd name="T42" fmla="*/ 50 w 140"/>
                  <a:gd name="T43" fmla="*/ 78 h 284"/>
                  <a:gd name="T44" fmla="*/ 48 w 140"/>
                  <a:gd name="T45" fmla="*/ 83 h 284"/>
                  <a:gd name="T46" fmla="*/ 41 w 140"/>
                  <a:gd name="T47" fmla="*/ 83 h 284"/>
                  <a:gd name="T48" fmla="*/ 29 w 140"/>
                  <a:gd name="T49" fmla="*/ 87 h 284"/>
                  <a:gd name="T50" fmla="*/ 26 w 140"/>
                  <a:gd name="T51" fmla="*/ 97 h 284"/>
                  <a:gd name="T52" fmla="*/ 17 w 140"/>
                  <a:gd name="T53" fmla="*/ 123 h 284"/>
                  <a:gd name="T54" fmla="*/ 22 w 140"/>
                  <a:gd name="T55" fmla="*/ 142 h 284"/>
                  <a:gd name="T56" fmla="*/ 24 w 140"/>
                  <a:gd name="T57" fmla="*/ 158 h 284"/>
                  <a:gd name="T58" fmla="*/ 19 w 140"/>
                  <a:gd name="T59" fmla="*/ 175 h 284"/>
                  <a:gd name="T60" fmla="*/ 10 w 140"/>
                  <a:gd name="T61" fmla="*/ 192 h 284"/>
                  <a:gd name="T62" fmla="*/ 3 w 140"/>
                  <a:gd name="T63" fmla="*/ 203 h 284"/>
                  <a:gd name="T64" fmla="*/ 0 w 140"/>
                  <a:gd name="T65" fmla="*/ 210 h 284"/>
                  <a:gd name="T66" fmla="*/ 0 w 140"/>
                  <a:gd name="T67" fmla="*/ 227 h 284"/>
                  <a:gd name="T68" fmla="*/ 8 w 140"/>
                  <a:gd name="T69" fmla="*/ 241 h 284"/>
                  <a:gd name="T70" fmla="*/ 5 w 140"/>
                  <a:gd name="T71" fmla="*/ 258 h 284"/>
                  <a:gd name="T72" fmla="*/ 10 w 140"/>
                  <a:gd name="T73" fmla="*/ 270 h 284"/>
                  <a:gd name="T74" fmla="*/ 17 w 140"/>
                  <a:gd name="T75" fmla="*/ 277 h 284"/>
                  <a:gd name="T76" fmla="*/ 29 w 140"/>
                  <a:gd name="T77" fmla="*/ 284 h 284"/>
                  <a:gd name="T78" fmla="*/ 45 w 140"/>
                  <a:gd name="T79" fmla="*/ 279 h 284"/>
                  <a:gd name="T80" fmla="*/ 64 w 140"/>
                  <a:gd name="T81" fmla="*/ 274 h 284"/>
                  <a:gd name="T82" fmla="*/ 71 w 140"/>
                  <a:gd name="T83" fmla="*/ 258 h 284"/>
                  <a:gd name="T84" fmla="*/ 76 w 140"/>
                  <a:gd name="T85" fmla="*/ 244 h 284"/>
                  <a:gd name="T86" fmla="*/ 86 w 140"/>
                  <a:gd name="T87" fmla="*/ 218 h 284"/>
                  <a:gd name="T88" fmla="*/ 102 w 140"/>
                  <a:gd name="T89" fmla="*/ 170 h 284"/>
                  <a:gd name="T90" fmla="*/ 114 w 140"/>
                  <a:gd name="T91" fmla="*/ 137 h 284"/>
                  <a:gd name="T92" fmla="*/ 119 w 140"/>
                  <a:gd name="T93" fmla="*/ 109 h 284"/>
                  <a:gd name="T94" fmla="*/ 126 w 140"/>
                  <a:gd name="T95" fmla="*/ 99 h 284"/>
                  <a:gd name="T96" fmla="*/ 126 w 140"/>
                  <a:gd name="T97" fmla="*/ 87 h 284"/>
                  <a:gd name="T98" fmla="*/ 126 w 140"/>
                  <a:gd name="T99" fmla="*/ 78 h 284"/>
                  <a:gd name="T100" fmla="*/ 128 w 140"/>
                  <a:gd name="T101" fmla="*/ 71 h 284"/>
                  <a:gd name="T102" fmla="*/ 133 w 140"/>
                  <a:gd name="T103" fmla="*/ 83 h 284"/>
                  <a:gd name="T104" fmla="*/ 140 w 140"/>
                  <a:gd name="T105" fmla="*/ 68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0" h="284">
                    <a:moveTo>
                      <a:pt x="126" y="102"/>
                    </a:moveTo>
                    <a:lnTo>
                      <a:pt x="126" y="106"/>
                    </a:lnTo>
                    <a:lnTo>
                      <a:pt x="128" y="102"/>
                    </a:lnTo>
                    <a:lnTo>
                      <a:pt x="131" y="97"/>
                    </a:lnTo>
                    <a:lnTo>
                      <a:pt x="128" y="97"/>
                    </a:lnTo>
                    <a:lnTo>
                      <a:pt x="126" y="102"/>
                    </a:lnTo>
                    <a:close/>
                    <a:moveTo>
                      <a:pt x="102" y="28"/>
                    </a:moveTo>
                    <a:lnTo>
                      <a:pt x="102" y="26"/>
                    </a:lnTo>
                    <a:lnTo>
                      <a:pt x="102" y="26"/>
                    </a:lnTo>
                    <a:lnTo>
                      <a:pt x="102" y="23"/>
                    </a:lnTo>
                    <a:lnTo>
                      <a:pt x="100" y="23"/>
                    </a:lnTo>
                    <a:lnTo>
                      <a:pt x="100" y="23"/>
                    </a:lnTo>
                    <a:lnTo>
                      <a:pt x="100" y="23"/>
                    </a:lnTo>
                    <a:lnTo>
                      <a:pt x="100" y="28"/>
                    </a:lnTo>
                    <a:lnTo>
                      <a:pt x="102" y="28"/>
                    </a:lnTo>
                    <a:close/>
                    <a:moveTo>
                      <a:pt x="140" y="64"/>
                    </a:moveTo>
                    <a:lnTo>
                      <a:pt x="138" y="59"/>
                    </a:lnTo>
                    <a:lnTo>
                      <a:pt x="135" y="57"/>
                    </a:lnTo>
                    <a:lnTo>
                      <a:pt x="135" y="52"/>
                    </a:lnTo>
                    <a:lnTo>
                      <a:pt x="135" y="40"/>
                    </a:lnTo>
                    <a:lnTo>
                      <a:pt x="133" y="31"/>
                    </a:lnTo>
                    <a:lnTo>
                      <a:pt x="133" y="26"/>
                    </a:lnTo>
                    <a:lnTo>
                      <a:pt x="133" y="21"/>
                    </a:lnTo>
                    <a:lnTo>
                      <a:pt x="131" y="19"/>
                    </a:lnTo>
                    <a:lnTo>
                      <a:pt x="131" y="16"/>
                    </a:lnTo>
                    <a:lnTo>
                      <a:pt x="126" y="12"/>
                    </a:lnTo>
                    <a:lnTo>
                      <a:pt x="126" y="9"/>
                    </a:lnTo>
                    <a:lnTo>
                      <a:pt x="126" y="7"/>
                    </a:lnTo>
                    <a:lnTo>
                      <a:pt x="123" y="4"/>
                    </a:lnTo>
                    <a:lnTo>
                      <a:pt x="121" y="2"/>
                    </a:lnTo>
                    <a:lnTo>
                      <a:pt x="121" y="2"/>
                    </a:lnTo>
                    <a:lnTo>
                      <a:pt x="121" y="0"/>
                    </a:lnTo>
                    <a:lnTo>
                      <a:pt x="121" y="0"/>
                    </a:lnTo>
                    <a:lnTo>
                      <a:pt x="119" y="0"/>
                    </a:lnTo>
                    <a:lnTo>
                      <a:pt x="116" y="4"/>
                    </a:lnTo>
                    <a:lnTo>
                      <a:pt x="114" y="7"/>
                    </a:lnTo>
                    <a:lnTo>
                      <a:pt x="114" y="7"/>
                    </a:lnTo>
                    <a:lnTo>
                      <a:pt x="112" y="7"/>
                    </a:lnTo>
                    <a:lnTo>
                      <a:pt x="112" y="7"/>
                    </a:lnTo>
                    <a:lnTo>
                      <a:pt x="112" y="12"/>
                    </a:lnTo>
                    <a:lnTo>
                      <a:pt x="114" y="14"/>
                    </a:lnTo>
                    <a:lnTo>
                      <a:pt x="114" y="16"/>
                    </a:lnTo>
                    <a:lnTo>
                      <a:pt x="114" y="19"/>
                    </a:lnTo>
                    <a:lnTo>
                      <a:pt x="112" y="23"/>
                    </a:lnTo>
                    <a:lnTo>
                      <a:pt x="107" y="28"/>
                    </a:lnTo>
                    <a:lnTo>
                      <a:pt x="105" y="28"/>
                    </a:lnTo>
                    <a:lnTo>
                      <a:pt x="102" y="31"/>
                    </a:lnTo>
                    <a:lnTo>
                      <a:pt x="102" y="33"/>
                    </a:lnTo>
                    <a:lnTo>
                      <a:pt x="100" y="35"/>
                    </a:lnTo>
                    <a:lnTo>
                      <a:pt x="100" y="33"/>
                    </a:lnTo>
                    <a:lnTo>
                      <a:pt x="97" y="33"/>
                    </a:lnTo>
                    <a:lnTo>
                      <a:pt x="97" y="31"/>
                    </a:lnTo>
                    <a:lnTo>
                      <a:pt x="95" y="33"/>
                    </a:lnTo>
                    <a:lnTo>
                      <a:pt x="95" y="33"/>
                    </a:lnTo>
                    <a:lnTo>
                      <a:pt x="93" y="35"/>
                    </a:lnTo>
                    <a:lnTo>
                      <a:pt x="93" y="35"/>
                    </a:lnTo>
                    <a:lnTo>
                      <a:pt x="93" y="38"/>
                    </a:lnTo>
                    <a:lnTo>
                      <a:pt x="95" y="40"/>
                    </a:lnTo>
                    <a:lnTo>
                      <a:pt x="95" y="40"/>
                    </a:lnTo>
                    <a:lnTo>
                      <a:pt x="95" y="40"/>
                    </a:lnTo>
                    <a:lnTo>
                      <a:pt x="95" y="42"/>
                    </a:lnTo>
                    <a:lnTo>
                      <a:pt x="90" y="47"/>
                    </a:lnTo>
                    <a:lnTo>
                      <a:pt x="90" y="52"/>
                    </a:lnTo>
                    <a:lnTo>
                      <a:pt x="95" y="54"/>
                    </a:lnTo>
                    <a:lnTo>
                      <a:pt x="93" y="54"/>
                    </a:lnTo>
                    <a:lnTo>
                      <a:pt x="90" y="54"/>
                    </a:lnTo>
                    <a:lnTo>
                      <a:pt x="90" y="54"/>
                    </a:lnTo>
                    <a:lnTo>
                      <a:pt x="88" y="57"/>
                    </a:lnTo>
                    <a:lnTo>
                      <a:pt x="88" y="59"/>
                    </a:lnTo>
                    <a:lnTo>
                      <a:pt x="86" y="61"/>
                    </a:lnTo>
                    <a:lnTo>
                      <a:pt x="86" y="61"/>
                    </a:lnTo>
                    <a:lnTo>
                      <a:pt x="83" y="61"/>
                    </a:lnTo>
                    <a:lnTo>
                      <a:pt x="83" y="59"/>
                    </a:lnTo>
                    <a:lnTo>
                      <a:pt x="86" y="59"/>
                    </a:lnTo>
                    <a:lnTo>
                      <a:pt x="86" y="57"/>
                    </a:lnTo>
                    <a:lnTo>
                      <a:pt x="86" y="57"/>
                    </a:lnTo>
                    <a:lnTo>
                      <a:pt x="86" y="54"/>
                    </a:lnTo>
                    <a:lnTo>
                      <a:pt x="83" y="54"/>
                    </a:lnTo>
                    <a:lnTo>
                      <a:pt x="83" y="57"/>
                    </a:lnTo>
                    <a:lnTo>
                      <a:pt x="81" y="57"/>
                    </a:lnTo>
                    <a:lnTo>
                      <a:pt x="81" y="59"/>
                    </a:lnTo>
                    <a:lnTo>
                      <a:pt x="79" y="61"/>
                    </a:lnTo>
                    <a:lnTo>
                      <a:pt x="79" y="64"/>
                    </a:lnTo>
                    <a:lnTo>
                      <a:pt x="79" y="66"/>
                    </a:lnTo>
                    <a:lnTo>
                      <a:pt x="79" y="66"/>
                    </a:lnTo>
                    <a:lnTo>
                      <a:pt x="79" y="68"/>
                    </a:lnTo>
                    <a:lnTo>
                      <a:pt x="79" y="68"/>
                    </a:lnTo>
                    <a:lnTo>
                      <a:pt x="76" y="71"/>
                    </a:lnTo>
                    <a:lnTo>
                      <a:pt x="76" y="71"/>
                    </a:lnTo>
                    <a:lnTo>
                      <a:pt x="76" y="71"/>
                    </a:lnTo>
                    <a:lnTo>
                      <a:pt x="76" y="71"/>
                    </a:lnTo>
                    <a:lnTo>
                      <a:pt x="76" y="66"/>
                    </a:lnTo>
                    <a:lnTo>
                      <a:pt x="74" y="66"/>
                    </a:lnTo>
                    <a:lnTo>
                      <a:pt x="74" y="66"/>
                    </a:lnTo>
                    <a:lnTo>
                      <a:pt x="69" y="68"/>
                    </a:lnTo>
                    <a:lnTo>
                      <a:pt x="67" y="73"/>
                    </a:lnTo>
                    <a:lnTo>
                      <a:pt x="64" y="73"/>
                    </a:lnTo>
                    <a:lnTo>
                      <a:pt x="62" y="76"/>
                    </a:lnTo>
                    <a:lnTo>
                      <a:pt x="62" y="78"/>
                    </a:lnTo>
                    <a:lnTo>
                      <a:pt x="62" y="78"/>
                    </a:lnTo>
                    <a:lnTo>
                      <a:pt x="64" y="80"/>
                    </a:lnTo>
                    <a:lnTo>
                      <a:pt x="64" y="80"/>
                    </a:lnTo>
                    <a:lnTo>
                      <a:pt x="62" y="80"/>
                    </a:lnTo>
                    <a:lnTo>
                      <a:pt x="62" y="80"/>
                    </a:lnTo>
                    <a:lnTo>
                      <a:pt x="60" y="78"/>
                    </a:lnTo>
                    <a:lnTo>
                      <a:pt x="60" y="78"/>
                    </a:lnTo>
                    <a:lnTo>
                      <a:pt x="57" y="78"/>
                    </a:lnTo>
                    <a:lnTo>
                      <a:pt x="55" y="78"/>
                    </a:lnTo>
                    <a:lnTo>
                      <a:pt x="50" y="78"/>
                    </a:lnTo>
                    <a:lnTo>
                      <a:pt x="50" y="78"/>
                    </a:lnTo>
                    <a:lnTo>
                      <a:pt x="50" y="80"/>
                    </a:lnTo>
                    <a:lnTo>
                      <a:pt x="50" y="80"/>
                    </a:lnTo>
                    <a:lnTo>
                      <a:pt x="50" y="83"/>
                    </a:lnTo>
                    <a:lnTo>
                      <a:pt x="48" y="83"/>
                    </a:lnTo>
                    <a:lnTo>
                      <a:pt x="48" y="83"/>
                    </a:lnTo>
                    <a:lnTo>
                      <a:pt x="45" y="83"/>
                    </a:lnTo>
                    <a:lnTo>
                      <a:pt x="43" y="83"/>
                    </a:lnTo>
                    <a:lnTo>
                      <a:pt x="43" y="83"/>
                    </a:lnTo>
                    <a:lnTo>
                      <a:pt x="43" y="80"/>
                    </a:lnTo>
                    <a:lnTo>
                      <a:pt x="41" y="83"/>
                    </a:lnTo>
                    <a:lnTo>
                      <a:pt x="38" y="85"/>
                    </a:lnTo>
                    <a:lnTo>
                      <a:pt x="36" y="85"/>
                    </a:lnTo>
                    <a:lnTo>
                      <a:pt x="36" y="85"/>
                    </a:lnTo>
                    <a:lnTo>
                      <a:pt x="29" y="87"/>
                    </a:lnTo>
                    <a:lnTo>
                      <a:pt x="29" y="87"/>
                    </a:lnTo>
                    <a:lnTo>
                      <a:pt x="26" y="87"/>
                    </a:lnTo>
                    <a:lnTo>
                      <a:pt x="26" y="87"/>
                    </a:lnTo>
                    <a:lnTo>
                      <a:pt x="26" y="92"/>
                    </a:lnTo>
                    <a:lnTo>
                      <a:pt x="26" y="94"/>
                    </a:lnTo>
                    <a:lnTo>
                      <a:pt x="26" y="97"/>
                    </a:lnTo>
                    <a:lnTo>
                      <a:pt x="17" y="111"/>
                    </a:lnTo>
                    <a:lnTo>
                      <a:pt x="17" y="116"/>
                    </a:lnTo>
                    <a:lnTo>
                      <a:pt x="17" y="118"/>
                    </a:lnTo>
                    <a:lnTo>
                      <a:pt x="17" y="120"/>
                    </a:lnTo>
                    <a:lnTo>
                      <a:pt x="17" y="123"/>
                    </a:lnTo>
                    <a:lnTo>
                      <a:pt x="17" y="130"/>
                    </a:lnTo>
                    <a:lnTo>
                      <a:pt x="19" y="135"/>
                    </a:lnTo>
                    <a:lnTo>
                      <a:pt x="19" y="137"/>
                    </a:lnTo>
                    <a:lnTo>
                      <a:pt x="22" y="139"/>
                    </a:lnTo>
                    <a:lnTo>
                      <a:pt x="22" y="142"/>
                    </a:lnTo>
                    <a:lnTo>
                      <a:pt x="22" y="147"/>
                    </a:lnTo>
                    <a:lnTo>
                      <a:pt x="22" y="147"/>
                    </a:lnTo>
                    <a:lnTo>
                      <a:pt x="24" y="151"/>
                    </a:lnTo>
                    <a:lnTo>
                      <a:pt x="24" y="154"/>
                    </a:lnTo>
                    <a:lnTo>
                      <a:pt x="24" y="158"/>
                    </a:lnTo>
                    <a:lnTo>
                      <a:pt x="24" y="161"/>
                    </a:lnTo>
                    <a:lnTo>
                      <a:pt x="24" y="165"/>
                    </a:lnTo>
                    <a:lnTo>
                      <a:pt x="22" y="168"/>
                    </a:lnTo>
                    <a:lnTo>
                      <a:pt x="22" y="170"/>
                    </a:lnTo>
                    <a:lnTo>
                      <a:pt x="19" y="175"/>
                    </a:lnTo>
                    <a:lnTo>
                      <a:pt x="17" y="177"/>
                    </a:lnTo>
                    <a:lnTo>
                      <a:pt x="17" y="180"/>
                    </a:lnTo>
                    <a:lnTo>
                      <a:pt x="12" y="184"/>
                    </a:lnTo>
                    <a:lnTo>
                      <a:pt x="12" y="189"/>
                    </a:lnTo>
                    <a:lnTo>
                      <a:pt x="10" y="192"/>
                    </a:lnTo>
                    <a:lnTo>
                      <a:pt x="10" y="194"/>
                    </a:lnTo>
                    <a:lnTo>
                      <a:pt x="8" y="194"/>
                    </a:lnTo>
                    <a:lnTo>
                      <a:pt x="5" y="196"/>
                    </a:lnTo>
                    <a:lnTo>
                      <a:pt x="3" y="201"/>
                    </a:lnTo>
                    <a:lnTo>
                      <a:pt x="3" y="203"/>
                    </a:lnTo>
                    <a:lnTo>
                      <a:pt x="3" y="203"/>
                    </a:lnTo>
                    <a:lnTo>
                      <a:pt x="3" y="206"/>
                    </a:lnTo>
                    <a:lnTo>
                      <a:pt x="0" y="206"/>
                    </a:lnTo>
                    <a:lnTo>
                      <a:pt x="0" y="208"/>
                    </a:lnTo>
                    <a:lnTo>
                      <a:pt x="0" y="210"/>
                    </a:lnTo>
                    <a:lnTo>
                      <a:pt x="0" y="215"/>
                    </a:lnTo>
                    <a:lnTo>
                      <a:pt x="0" y="218"/>
                    </a:lnTo>
                    <a:lnTo>
                      <a:pt x="0" y="225"/>
                    </a:lnTo>
                    <a:lnTo>
                      <a:pt x="0" y="227"/>
                    </a:lnTo>
                    <a:lnTo>
                      <a:pt x="0" y="227"/>
                    </a:lnTo>
                    <a:lnTo>
                      <a:pt x="5" y="232"/>
                    </a:lnTo>
                    <a:lnTo>
                      <a:pt x="5" y="234"/>
                    </a:lnTo>
                    <a:lnTo>
                      <a:pt x="5" y="237"/>
                    </a:lnTo>
                    <a:lnTo>
                      <a:pt x="8" y="239"/>
                    </a:lnTo>
                    <a:lnTo>
                      <a:pt x="8" y="241"/>
                    </a:lnTo>
                    <a:lnTo>
                      <a:pt x="5" y="244"/>
                    </a:lnTo>
                    <a:lnTo>
                      <a:pt x="5" y="246"/>
                    </a:lnTo>
                    <a:lnTo>
                      <a:pt x="5" y="251"/>
                    </a:lnTo>
                    <a:lnTo>
                      <a:pt x="5" y="253"/>
                    </a:lnTo>
                    <a:lnTo>
                      <a:pt x="5" y="258"/>
                    </a:lnTo>
                    <a:lnTo>
                      <a:pt x="5" y="260"/>
                    </a:lnTo>
                    <a:lnTo>
                      <a:pt x="8" y="263"/>
                    </a:lnTo>
                    <a:lnTo>
                      <a:pt x="10" y="265"/>
                    </a:lnTo>
                    <a:lnTo>
                      <a:pt x="10" y="267"/>
                    </a:lnTo>
                    <a:lnTo>
                      <a:pt x="10" y="270"/>
                    </a:lnTo>
                    <a:lnTo>
                      <a:pt x="10" y="272"/>
                    </a:lnTo>
                    <a:lnTo>
                      <a:pt x="10" y="272"/>
                    </a:lnTo>
                    <a:lnTo>
                      <a:pt x="12" y="272"/>
                    </a:lnTo>
                    <a:lnTo>
                      <a:pt x="15" y="274"/>
                    </a:lnTo>
                    <a:lnTo>
                      <a:pt x="17" y="277"/>
                    </a:lnTo>
                    <a:lnTo>
                      <a:pt x="17" y="279"/>
                    </a:lnTo>
                    <a:lnTo>
                      <a:pt x="19" y="279"/>
                    </a:lnTo>
                    <a:lnTo>
                      <a:pt x="22" y="279"/>
                    </a:lnTo>
                    <a:lnTo>
                      <a:pt x="24" y="279"/>
                    </a:lnTo>
                    <a:lnTo>
                      <a:pt x="29" y="284"/>
                    </a:lnTo>
                    <a:lnTo>
                      <a:pt x="31" y="284"/>
                    </a:lnTo>
                    <a:lnTo>
                      <a:pt x="36" y="284"/>
                    </a:lnTo>
                    <a:lnTo>
                      <a:pt x="38" y="284"/>
                    </a:lnTo>
                    <a:lnTo>
                      <a:pt x="41" y="282"/>
                    </a:lnTo>
                    <a:lnTo>
                      <a:pt x="45" y="279"/>
                    </a:lnTo>
                    <a:lnTo>
                      <a:pt x="48" y="277"/>
                    </a:lnTo>
                    <a:lnTo>
                      <a:pt x="52" y="277"/>
                    </a:lnTo>
                    <a:lnTo>
                      <a:pt x="57" y="277"/>
                    </a:lnTo>
                    <a:lnTo>
                      <a:pt x="60" y="277"/>
                    </a:lnTo>
                    <a:lnTo>
                      <a:pt x="64" y="274"/>
                    </a:lnTo>
                    <a:lnTo>
                      <a:pt x="64" y="272"/>
                    </a:lnTo>
                    <a:lnTo>
                      <a:pt x="69" y="267"/>
                    </a:lnTo>
                    <a:lnTo>
                      <a:pt x="69" y="263"/>
                    </a:lnTo>
                    <a:lnTo>
                      <a:pt x="71" y="260"/>
                    </a:lnTo>
                    <a:lnTo>
                      <a:pt x="71" y="258"/>
                    </a:lnTo>
                    <a:lnTo>
                      <a:pt x="71" y="255"/>
                    </a:lnTo>
                    <a:lnTo>
                      <a:pt x="74" y="253"/>
                    </a:lnTo>
                    <a:lnTo>
                      <a:pt x="76" y="248"/>
                    </a:lnTo>
                    <a:lnTo>
                      <a:pt x="76" y="246"/>
                    </a:lnTo>
                    <a:lnTo>
                      <a:pt x="76" y="244"/>
                    </a:lnTo>
                    <a:lnTo>
                      <a:pt x="81" y="234"/>
                    </a:lnTo>
                    <a:lnTo>
                      <a:pt x="81" y="229"/>
                    </a:lnTo>
                    <a:lnTo>
                      <a:pt x="83" y="225"/>
                    </a:lnTo>
                    <a:lnTo>
                      <a:pt x="83" y="220"/>
                    </a:lnTo>
                    <a:lnTo>
                      <a:pt x="86" y="218"/>
                    </a:lnTo>
                    <a:lnTo>
                      <a:pt x="90" y="206"/>
                    </a:lnTo>
                    <a:lnTo>
                      <a:pt x="93" y="196"/>
                    </a:lnTo>
                    <a:lnTo>
                      <a:pt x="97" y="187"/>
                    </a:lnTo>
                    <a:lnTo>
                      <a:pt x="100" y="177"/>
                    </a:lnTo>
                    <a:lnTo>
                      <a:pt x="102" y="170"/>
                    </a:lnTo>
                    <a:lnTo>
                      <a:pt x="105" y="165"/>
                    </a:lnTo>
                    <a:lnTo>
                      <a:pt x="107" y="156"/>
                    </a:lnTo>
                    <a:lnTo>
                      <a:pt x="109" y="149"/>
                    </a:lnTo>
                    <a:lnTo>
                      <a:pt x="112" y="142"/>
                    </a:lnTo>
                    <a:lnTo>
                      <a:pt x="114" y="137"/>
                    </a:lnTo>
                    <a:lnTo>
                      <a:pt x="116" y="132"/>
                    </a:lnTo>
                    <a:lnTo>
                      <a:pt x="119" y="123"/>
                    </a:lnTo>
                    <a:lnTo>
                      <a:pt x="119" y="118"/>
                    </a:lnTo>
                    <a:lnTo>
                      <a:pt x="119" y="111"/>
                    </a:lnTo>
                    <a:lnTo>
                      <a:pt x="119" y="109"/>
                    </a:lnTo>
                    <a:lnTo>
                      <a:pt x="121" y="104"/>
                    </a:lnTo>
                    <a:lnTo>
                      <a:pt x="121" y="102"/>
                    </a:lnTo>
                    <a:lnTo>
                      <a:pt x="123" y="102"/>
                    </a:lnTo>
                    <a:lnTo>
                      <a:pt x="123" y="99"/>
                    </a:lnTo>
                    <a:lnTo>
                      <a:pt x="126" y="99"/>
                    </a:lnTo>
                    <a:lnTo>
                      <a:pt x="123" y="99"/>
                    </a:lnTo>
                    <a:lnTo>
                      <a:pt x="123" y="97"/>
                    </a:lnTo>
                    <a:lnTo>
                      <a:pt x="126" y="94"/>
                    </a:lnTo>
                    <a:lnTo>
                      <a:pt x="126" y="92"/>
                    </a:lnTo>
                    <a:lnTo>
                      <a:pt x="126" y="87"/>
                    </a:lnTo>
                    <a:lnTo>
                      <a:pt x="126" y="85"/>
                    </a:lnTo>
                    <a:lnTo>
                      <a:pt x="126" y="85"/>
                    </a:lnTo>
                    <a:lnTo>
                      <a:pt x="126" y="85"/>
                    </a:lnTo>
                    <a:lnTo>
                      <a:pt x="126" y="80"/>
                    </a:lnTo>
                    <a:lnTo>
                      <a:pt x="126" y="78"/>
                    </a:lnTo>
                    <a:lnTo>
                      <a:pt x="123" y="76"/>
                    </a:lnTo>
                    <a:lnTo>
                      <a:pt x="123" y="73"/>
                    </a:lnTo>
                    <a:lnTo>
                      <a:pt x="123" y="73"/>
                    </a:lnTo>
                    <a:lnTo>
                      <a:pt x="126" y="71"/>
                    </a:lnTo>
                    <a:lnTo>
                      <a:pt x="128" y="71"/>
                    </a:lnTo>
                    <a:lnTo>
                      <a:pt x="128" y="71"/>
                    </a:lnTo>
                    <a:lnTo>
                      <a:pt x="128" y="73"/>
                    </a:lnTo>
                    <a:lnTo>
                      <a:pt x="131" y="78"/>
                    </a:lnTo>
                    <a:lnTo>
                      <a:pt x="133" y="80"/>
                    </a:lnTo>
                    <a:lnTo>
                      <a:pt x="133" y="83"/>
                    </a:lnTo>
                    <a:lnTo>
                      <a:pt x="135" y="83"/>
                    </a:lnTo>
                    <a:lnTo>
                      <a:pt x="135" y="80"/>
                    </a:lnTo>
                    <a:lnTo>
                      <a:pt x="135" y="80"/>
                    </a:lnTo>
                    <a:lnTo>
                      <a:pt x="138" y="76"/>
                    </a:lnTo>
                    <a:lnTo>
                      <a:pt x="140" y="68"/>
                    </a:lnTo>
                    <a:lnTo>
                      <a:pt x="140" y="64"/>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106"/>
              <p:cNvSpPr>
                <a:spLocks/>
              </p:cNvSpPr>
              <p:nvPr/>
            </p:nvSpPr>
            <p:spPr bwMode="auto">
              <a:xfrm>
                <a:off x="3115" y="1905"/>
                <a:ext cx="43" cy="33"/>
              </a:xfrm>
              <a:custGeom>
                <a:avLst/>
                <a:gdLst>
                  <a:gd name="T0" fmla="*/ 43 w 43"/>
                  <a:gd name="T1" fmla="*/ 14 h 33"/>
                  <a:gd name="T2" fmla="*/ 40 w 43"/>
                  <a:gd name="T3" fmla="*/ 12 h 33"/>
                  <a:gd name="T4" fmla="*/ 40 w 43"/>
                  <a:gd name="T5" fmla="*/ 7 h 33"/>
                  <a:gd name="T6" fmla="*/ 36 w 43"/>
                  <a:gd name="T7" fmla="*/ 7 h 33"/>
                  <a:gd name="T8" fmla="*/ 31 w 43"/>
                  <a:gd name="T9" fmla="*/ 2 h 33"/>
                  <a:gd name="T10" fmla="*/ 31 w 43"/>
                  <a:gd name="T11" fmla="*/ 0 h 33"/>
                  <a:gd name="T12" fmla="*/ 29 w 43"/>
                  <a:gd name="T13" fmla="*/ 2 h 33"/>
                  <a:gd name="T14" fmla="*/ 26 w 43"/>
                  <a:gd name="T15" fmla="*/ 2 h 33"/>
                  <a:gd name="T16" fmla="*/ 24 w 43"/>
                  <a:gd name="T17" fmla="*/ 2 h 33"/>
                  <a:gd name="T18" fmla="*/ 22 w 43"/>
                  <a:gd name="T19" fmla="*/ 2 h 33"/>
                  <a:gd name="T20" fmla="*/ 19 w 43"/>
                  <a:gd name="T21" fmla="*/ 2 h 33"/>
                  <a:gd name="T22" fmla="*/ 14 w 43"/>
                  <a:gd name="T23" fmla="*/ 5 h 33"/>
                  <a:gd name="T24" fmla="*/ 14 w 43"/>
                  <a:gd name="T25" fmla="*/ 5 h 33"/>
                  <a:gd name="T26" fmla="*/ 12 w 43"/>
                  <a:gd name="T27" fmla="*/ 7 h 33"/>
                  <a:gd name="T28" fmla="*/ 12 w 43"/>
                  <a:gd name="T29" fmla="*/ 5 h 33"/>
                  <a:gd name="T30" fmla="*/ 5 w 43"/>
                  <a:gd name="T31" fmla="*/ 7 h 33"/>
                  <a:gd name="T32" fmla="*/ 5 w 43"/>
                  <a:gd name="T33" fmla="*/ 9 h 33"/>
                  <a:gd name="T34" fmla="*/ 5 w 43"/>
                  <a:gd name="T35" fmla="*/ 12 h 33"/>
                  <a:gd name="T36" fmla="*/ 3 w 43"/>
                  <a:gd name="T37" fmla="*/ 12 h 33"/>
                  <a:gd name="T38" fmla="*/ 0 w 43"/>
                  <a:gd name="T39" fmla="*/ 14 h 33"/>
                  <a:gd name="T40" fmla="*/ 0 w 43"/>
                  <a:gd name="T41" fmla="*/ 17 h 33"/>
                  <a:gd name="T42" fmla="*/ 0 w 43"/>
                  <a:gd name="T43" fmla="*/ 19 h 33"/>
                  <a:gd name="T44" fmla="*/ 0 w 43"/>
                  <a:gd name="T45" fmla="*/ 21 h 33"/>
                  <a:gd name="T46" fmla="*/ 3 w 43"/>
                  <a:gd name="T47" fmla="*/ 26 h 33"/>
                  <a:gd name="T48" fmla="*/ 5 w 43"/>
                  <a:gd name="T49" fmla="*/ 28 h 33"/>
                  <a:gd name="T50" fmla="*/ 5 w 43"/>
                  <a:gd name="T51" fmla="*/ 31 h 33"/>
                  <a:gd name="T52" fmla="*/ 10 w 43"/>
                  <a:gd name="T53" fmla="*/ 31 h 33"/>
                  <a:gd name="T54" fmla="*/ 10 w 43"/>
                  <a:gd name="T55" fmla="*/ 33 h 33"/>
                  <a:gd name="T56" fmla="*/ 12 w 43"/>
                  <a:gd name="T57" fmla="*/ 31 h 33"/>
                  <a:gd name="T58" fmla="*/ 17 w 43"/>
                  <a:gd name="T59" fmla="*/ 31 h 33"/>
                  <a:gd name="T60" fmla="*/ 19 w 43"/>
                  <a:gd name="T61" fmla="*/ 31 h 33"/>
                  <a:gd name="T62" fmla="*/ 24 w 43"/>
                  <a:gd name="T63" fmla="*/ 31 h 33"/>
                  <a:gd name="T64" fmla="*/ 26 w 43"/>
                  <a:gd name="T65" fmla="*/ 26 h 33"/>
                  <a:gd name="T66" fmla="*/ 31 w 43"/>
                  <a:gd name="T67" fmla="*/ 26 h 33"/>
                  <a:gd name="T68" fmla="*/ 33 w 43"/>
                  <a:gd name="T69" fmla="*/ 26 h 33"/>
                  <a:gd name="T70" fmla="*/ 38 w 43"/>
                  <a:gd name="T71" fmla="*/ 26 h 33"/>
                  <a:gd name="T72" fmla="*/ 40 w 43"/>
                  <a:gd name="T73" fmla="*/ 24 h 33"/>
                  <a:gd name="T74" fmla="*/ 40 w 43"/>
                  <a:gd name="T75" fmla="*/ 21 h 33"/>
                  <a:gd name="T76" fmla="*/ 43 w 43"/>
                  <a:gd name="T77" fmla="*/ 21 h 33"/>
                  <a:gd name="T78" fmla="*/ 43 w 43"/>
                  <a:gd name="T79" fmla="*/ 14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3" h="33">
                    <a:moveTo>
                      <a:pt x="43" y="14"/>
                    </a:moveTo>
                    <a:lnTo>
                      <a:pt x="43" y="14"/>
                    </a:lnTo>
                    <a:lnTo>
                      <a:pt x="43" y="12"/>
                    </a:lnTo>
                    <a:lnTo>
                      <a:pt x="40" y="12"/>
                    </a:lnTo>
                    <a:lnTo>
                      <a:pt x="40" y="9"/>
                    </a:lnTo>
                    <a:lnTo>
                      <a:pt x="40" y="7"/>
                    </a:lnTo>
                    <a:lnTo>
                      <a:pt x="38" y="7"/>
                    </a:lnTo>
                    <a:lnTo>
                      <a:pt x="36" y="7"/>
                    </a:lnTo>
                    <a:lnTo>
                      <a:pt x="33" y="5"/>
                    </a:lnTo>
                    <a:lnTo>
                      <a:pt x="31" y="2"/>
                    </a:lnTo>
                    <a:lnTo>
                      <a:pt x="31" y="2"/>
                    </a:lnTo>
                    <a:lnTo>
                      <a:pt x="31" y="0"/>
                    </a:lnTo>
                    <a:lnTo>
                      <a:pt x="29" y="0"/>
                    </a:lnTo>
                    <a:lnTo>
                      <a:pt x="29" y="2"/>
                    </a:lnTo>
                    <a:lnTo>
                      <a:pt x="26" y="2"/>
                    </a:lnTo>
                    <a:lnTo>
                      <a:pt x="26" y="2"/>
                    </a:lnTo>
                    <a:lnTo>
                      <a:pt x="24" y="2"/>
                    </a:lnTo>
                    <a:lnTo>
                      <a:pt x="24" y="2"/>
                    </a:lnTo>
                    <a:lnTo>
                      <a:pt x="22" y="2"/>
                    </a:lnTo>
                    <a:lnTo>
                      <a:pt x="22" y="2"/>
                    </a:lnTo>
                    <a:lnTo>
                      <a:pt x="19" y="2"/>
                    </a:lnTo>
                    <a:lnTo>
                      <a:pt x="19" y="2"/>
                    </a:lnTo>
                    <a:lnTo>
                      <a:pt x="19" y="2"/>
                    </a:lnTo>
                    <a:lnTo>
                      <a:pt x="14" y="5"/>
                    </a:lnTo>
                    <a:lnTo>
                      <a:pt x="14" y="5"/>
                    </a:lnTo>
                    <a:lnTo>
                      <a:pt x="14" y="5"/>
                    </a:lnTo>
                    <a:lnTo>
                      <a:pt x="14" y="7"/>
                    </a:lnTo>
                    <a:lnTo>
                      <a:pt x="12" y="7"/>
                    </a:lnTo>
                    <a:lnTo>
                      <a:pt x="12" y="5"/>
                    </a:lnTo>
                    <a:lnTo>
                      <a:pt x="12" y="5"/>
                    </a:lnTo>
                    <a:lnTo>
                      <a:pt x="10" y="5"/>
                    </a:lnTo>
                    <a:lnTo>
                      <a:pt x="5" y="7"/>
                    </a:lnTo>
                    <a:lnTo>
                      <a:pt x="5" y="7"/>
                    </a:lnTo>
                    <a:lnTo>
                      <a:pt x="5" y="9"/>
                    </a:lnTo>
                    <a:lnTo>
                      <a:pt x="5" y="12"/>
                    </a:lnTo>
                    <a:lnTo>
                      <a:pt x="5" y="12"/>
                    </a:lnTo>
                    <a:lnTo>
                      <a:pt x="3" y="12"/>
                    </a:lnTo>
                    <a:lnTo>
                      <a:pt x="3" y="12"/>
                    </a:lnTo>
                    <a:lnTo>
                      <a:pt x="0" y="12"/>
                    </a:lnTo>
                    <a:lnTo>
                      <a:pt x="0" y="14"/>
                    </a:lnTo>
                    <a:lnTo>
                      <a:pt x="0" y="17"/>
                    </a:lnTo>
                    <a:lnTo>
                      <a:pt x="0" y="17"/>
                    </a:lnTo>
                    <a:lnTo>
                      <a:pt x="0" y="17"/>
                    </a:lnTo>
                    <a:lnTo>
                      <a:pt x="0" y="19"/>
                    </a:lnTo>
                    <a:lnTo>
                      <a:pt x="0" y="21"/>
                    </a:lnTo>
                    <a:lnTo>
                      <a:pt x="0" y="21"/>
                    </a:lnTo>
                    <a:lnTo>
                      <a:pt x="0" y="24"/>
                    </a:lnTo>
                    <a:lnTo>
                      <a:pt x="3" y="26"/>
                    </a:lnTo>
                    <a:lnTo>
                      <a:pt x="3" y="28"/>
                    </a:lnTo>
                    <a:lnTo>
                      <a:pt x="5" y="28"/>
                    </a:lnTo>
                    <a:lnTo>
                      <a:pt x="5" y="31"/>
                    </a:lnTo>
                    <a:lnTo>
                      <a:pt x="5" y="31"/>
                    </a:lnTo>
                    <a:lnTo>
                      <a:pt x="7" y="31"/>
                    </a:lnTo>
                    <a:lnTo>
                      <a:pt x="10" y="31"/>
                    </a:lnTo>
                    <a:lnTo>
                      <a:pt x="10" y="31"/>
                    </a:lnTo>
                    <a:lnTo>
                      <a:pt x="10" y="33"/>
                    </a:lnTo>
                    <a:lnTo>
                      <a:pt x="12" y="31"/>
                    </a:lnTo>
                    <a:lnTo>
                      <a:pt x="12" y="31"/>
                    </a:lnTo>
                    <a:lnTo>
                      <a:pt x="14" y="31"/>
                    </a:lnTo>
                    <a:lnTo>
                      <a:pt x="17" y="31"/>
                    </a:lnTo>
                    <a:lnTo>
                      <a:pt x="17" y="31"/>
                    </a:lnTo>
                    <a:lnTo>
                      <a:pt x="19" y="31"/>
                    </a:lnTo>
                    <a:lnTo>
                      <a:pt x="22" y="31"/>
                    </a:lnTo>
                    <a:lnTo>
                      <a:pt x="24" y="31"/>
                    </a:lnTo>
                    <a:lnTo>
                      <a:pt x="26" y="26"/>
                    </a:lnTo>
                    <a:lnTo>
                      <a:pt x="26" y="26"/>
                    </a:lnTo>
                    <a:lnTo>
                      <a:pt x="29" y="26"/>
                    </a:lnTo>
                    <a:lnTo>
                      <a:pt x="31" y="26"/>
                    </a:lnTo>
                    <a:lnTo>
                      <a:pt x="31" y="26"/>
                    </a:lnTo>
                    <a:lnTo>
                      <a:pt x="33" y="26"/>
                    </a:lnTo>
                    <a:lnTo>
                      <a:pt x="36" y="26"/>
                    </a:lnTo>
                    <a:lnTo>
                      <a:pt x="38" y="26"/>
                    </a:lnTo>
                    <a:lnTo>
                      <a:pt x="38" y="26"/>
                    </a:lnTo>
                    <a:lnTo>
                      <a:pt x="40" y="24"/>
                    </a:lnTo>
                    <a:lnTo>
                      <a:pt x="40" y="21"/>
                    </a:lnTo>
                    <a:lnTo>
                      <a:pt x="40" y="21"/>
                    </a:lnTo>
                    <a:lnTo>
                      <a:pt x="43" y="21"/>
                    </a:lnTo>
                    <a:lnTo>
                      <a:pt x="43" y="21"/>
                    </a:lnTo>
                    <a:lnTo>
                      <a:pt x="43" y="17"/>
                    </a:lnTo>
                    <a:lnTo>
                      <a:pt x="43" y="14"/>
                    </a:lnTo>
                    <a:lnTo>
                      <a:pt x="43" y="14"/>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5" name="Freeform 107"/>
              <p:cNvSpPr>
                <a:spLocks/>
              </p:cNvSpPr>
              <p:nvPr/>
            </p:nvSpPr>
            <p:spPr bwMode="auto">
              <a:xfrm>
                <a:off x="4826" y="2329"/>
                <a:ext cx="0" cy="2"/>
              </a:xfrm>
              <a:custGeom>
                <a:avLst/>
                <a:gdLst>
                  <a:gd name="T0" fmla="*/ 0 h 2"/>
                  <a:gd name="T1" fmla="*/ 0 h 2"/>
                  <a:gd name="T2" fmla="*/ 2 h 2"/>
                  <a:gd name="T3" fmla="*/ 2 h 2"/>
                  <a:gd name="T4" fmla="*/ 2 h 2"/>
                  <a:gd name="T5" fmla="*/ 2 h 2"/>
                  <a:gd name="T6" fmla="*/ 2 h 2"/>
                  <a:gd name="T7" fmla="*/ 2 h 2"/>
                  <a:gd name="T8" fmla="*/ 0 h 2"/>
                </a:gdLst>
                <a:ahLst/>
                <a:cxnLst>
                  <a:cxn ang="0">
                    <a:pos x="0" y="T0"/>
                  </a:cxn>
                  <a:cxn ang="0">
                    <a:pos x="0" y="T1"/>
                  </a:cxn>
                  <a:cxn ang="0">
                    <a:pos x="0" y="T2"/>
                  </a:cxn>
                  <a:cxn ang="0">
                    <a:pos x="0" y="T3"/>
                  </a:cxn>
                  <a:cxn ang="0">
                    <a:pos x="0" y="T4"/>
                  </a:cxn>
                  <a:cxn ang="0">
                    <a:pos x="0" y="T5"/>
                  </a:cxn>
                  <a:cxn ang="0">
                    <a:pos x="0" y="T6"/>
                  </a:cxn>
                  <a:cxn ang="0">
                    <a:pos x="0" y="T7"/>
                  </a:cxn>
                  <a:cxn ang="0">
                    <a:pos x="0" y="T8"/>
                  </a:cxn>
                </a:cxnLst>
                <a:rect l="0" t="0" r="r" b="b"/>
                <a:pathLst>
                  <a:path h="2">
                    <a:moveTo>
                      <a:pt x="0" y="0"/>
                    </a:moveTo>
                    <a:lnTo>
                      <a:pt x="0" y="0"/>
                    </a:lnTo>
                    <a:lnTo>
                      <a:pt x="0" y="2"/>
                    </a:lnTo>
                    <a:lnTo>
                      <a:pt x="0" y="2"/>
                    </a:lnTo>
                    <a:lnTo>
                      <a:pt x="0" y="2"/>
                    </a:lnTo>
                    <a:lnTo>
                      <a:pt x="0" y="2"/>
                    </a:lnTo>
                    <a:lnTo>
                      <a:pt x="0" y="2"/>
                    </a:lnTo>
                    <a:lnTo>
                      <a:pt x="0" y="2"/>
                    </a:lnTo>
                    <a:lnTo>
                      <a:pt x="0" y="0"/>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108"/>
              <p:cNvSpPr>
                <a:spLocks/>
              </p:cNvSpPr>
              <p:nvPr/>
            </p:nvSpPr>
            <p:spPr bwMode="auto">
              <a:xfrm>
                <a:off x="2869" y="1744"/>
                <a:ext cx="12" cy="14"/>
              </a:xfrm>
              <a:custGeom>
                <a:avLst/>
                <a:gdLst>
                  <a:gd name="T0" fmla="*/ 12 w 12"/>
                  <a:gd name="T1" fmla="*/ 7 h 14"/>
                  <a:gd name="T2" fmla="*/ 10 w 12"/>
                  <a:gd name="T3" fmla="*/ 7 h 14"/>
                  <a:gd name="T4" fmla="*/ 10 w 12"/>
                  <a:gd name="T5" fmla="*/ 7 h 14"/>
                  <a:gd name="T6" fmla="*/ 7 w 12"/>
                  <a:gd name="T7" fmla="*/ 5 h 14"/>
                  <a:gd name="T8" fmla="*/ 7 w 12"/>
                  <a:gd name="T9" fmla="*/ 5 h 14"/>
                  <a:gd name="T10" fmla="*/ 5 w 12"/>
                  <a:gd name="T11" fmla="*/ 5 h 14"/>
                  <a:gd name="T12" fmla="*/ 5 w 12"/>
                  <a:gd name="T13" fmla="*/ 2 h 14"/>
                  <a:gd name="T14" fmla="*/ 5 w 12"/>
                  <a:gd name="T15" fmla="*/ 2 h 14"/>
                  <a:gd name="T16" fmla="*/ 5 w 12"/>
                  <a:gd name="T17" fmla="*/ 0 h 14"/>
                  <a:gd name="T18" fmla="*/ 5 w 12"/>
                  <a:gd name="T19" fmla="*/ 0 h 14"/>
                  <a:gd name="T20" fmla="*/ 5 w 12"/>
                  <a:gd name="T21" fmla="*/ 0 h 14"/>
                  <a:gd name="T22" fmla="*/ 5 w 12"/>
                  <a:gd name="T23" fmla="*/ 0 h 14"/>
                  <a:gd name="T24" fmla="*/ 3 w 12"/>
                  <a:gd name="T25" fmla="*/ 0 h 14"/>
                  <a:gd name="T26" fmla="*/ 3 w 12"/>
                  <a:gd name="T27" fmla="*/ 2 h 14"/>
                  <a:gd name="T28" fmla="*/ 0 w 12"/>
                  <a:gd name="T29" fmla="*/ 2 h 14"/>
                  <a:gd name="T30" fmla="*/ 0 w 12"/>
                  <a:gd name="T31" fmla="*/ 5 h 14"/>
                  <a:gd name="T32" fmla="*/ 0 w 12"/>
                  <a:gd name="T33" fmla="*/ 5 h 14"/>
                  <a:gd name="T34" fmla="*/ 0 w 12"/>
                  <a:gd name="T35" fmla="*/ 5 h 14"/>
                  <a:gd name="T36" fmla="*/ 0 w 12"/>
                  <a:gd name="T37" fmla="*/ 7 h 14"/>
                  <a:gd name="T38" fmla="*/ 0 w 12"/>
                  <a:gd name="T39" fmla="*/ 7 h 14"/>
                  <a:gd name="T40" fmla="*/ 0 w 12"/>
                  <a:gd name="T41" fmla="*/ 7 h 14"/>
                  <a:gd name="T42" fmla="*/ 0 w 12"/>
                  <a:gd name="T43" fmla="*/ 7 h 14"/>
                  <a:gd name="T44" fmla="*/ 0 w 12"/>
                  <a:gd name="T45" fmla="*/ 9 h 14"/>
                  <a:gd name="T46" fmla="*/ 3 w 12"/>
                  <a:gd name="T47" fmla="*/ 9 h 14"/>
                  <a:gd name="T48" fmla="*/ 0 w 12"/>
                  <a:gd name="T49" fmla="*/ 12 h 14"/>
                  <a:gd name="T50" fmla="*/ 0 w 12"/>
                  <a:gd name="T51" fmla="*/ 12 h 14"/>
                  <a:gd name="T52" fmla="*/ 0 w 12"/>
                  <a:gd name="T53" fmla="*/ 12 h 14"/>
                  <a:gd name="T54" fmla="*/ 0 w 12"/>
                  <a:gd name="T55" fmla="*/ 12 h 14"/>
                  <a:gd name="T56" fmla="*/ 0 w 12"/>
                  <a:gd name="T57" fmla="*/ 14 h 14"/>
                  <a:gd name="T58" fmla="*/ 3 w 12"/>
                  <a:gd name="T59" fmla="*/ 14 h 14"/>
                  <a:gd name="T60" fmla="*/ 3 w 12"/>
                  <a:gd name="T61" fmla="*/ 14 h 14"/>
                  <a:gd name="T62" fmla="*/ 3 w 12"/>
                  <a:gd name="T63" fmla="*/ 14 h 14"/>
                  <a:gd name="T64" fmla="*/ 3 w 12"/>
                  <a:gd name="T65" fmla="*/ 14 h 14"/>
                  <a:gd name="T66" fmla="*/ 5 w 12"/>
                  <a:gd name="T67" fmla="*/ 14 h 14"/>
                  <a:gd name="T68" fmla="*/ 5 w 12"/>
                  <a:gd name="T69" fmla="*/ 14 h 14"/>
                  <a:gd name="T70" fmla="*/ 7 w 12"/>
                  <a:gd name="T71" fmla="*/ 14 h 14"/>
                  <a:gd name="T72" fmla="*/ 7 w 12"/>
                  <a:gd name="T73" fmla="*/ 14 h 14"/>
                  <a:gd name="T74" fmla="*/ 7 w 12"/>
                  <a:gd name="T75" fmla="*/ 14 h 14"/>
                  <a:gd name="T76" fmla="*/ 10 w 12"/>
                  <a:gd name="T77" fmla="*/ 14 h 14"/>
                  <a:gd name="T78" fmla="*/ 10 w 12"/>
                  <a:gd name="T79" fmla="*/ 14 h 14"/>
                  <a:gd name="T80" fmla="*/ 10 w 12"/>
                  <a:gd name="T81" fmla="*/ 12 h 14"/>
                  <a:gd name="T82" fmla="*/ 10 w 12"/>
                  <a:gd name="T83" fmla="*/ 9 h 14"/>
                  <a:gd name="T84" fmla="*/ 10 w 12"/>
                  <a:gd name="T85" fmla="*/ 9 h 14"/>
                  <a:gd name="T86" fmla="*/ 12 w 12"/>
                  <a:gd name="T87" fmla="*/ 9 h 14"/>
                  <a:gd name="T88" fmla="*/ 12 w 12"/>
                  <a:gd name="T89" fmla="*/ 7 h 14"/>
                  <a:gd name="T90" fmla="*/ 12 w 12"/>
                  <a:gd name="T91" fmla="*/ 7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 h="14">
                    <a:moveTo>
                      <a:pt x="12" y="7"/>
                    </a:moveTo>
                    <a:lnTo>
                      <a:pt x="10" y="7"/>
                    </a:lnTo>
                    <a:lnTo>
                      <a:pt x="10" y="7"/>
                    </a:lnTo>
                    <a:lnTo>
                      <a:pt x="7" y="5"/>
                    </a:lnTo>
                    <a:lnTo>
                      <a:pt x="7" y="5"/>
                    </a:lnTo>
                    <a:lnTo>
                      <a:pt x="5" y="5"/>
                    </a:lnTo>
                    <a:lnTo>
                      <a:pt x="5" y="2"/>
                    </a:lnTo>
                    <a:lnTo>
                      <a:pt x="5" y="2"/>
                    </a:lnTo>
                    <a:lnTo>
                      <a:pt x="5" y="0"/>
                    </a:lnTo>
                    <a:lnTo>
                      <a:pt x="5" y="0"/>
                    </a:lnTo>
                    <a:lnTo>
                      <a:pt x="5" y="0"/>
                    </a:lnTo>
                    <a:lnTo>
                      <a:pt x="5" y="0"/>
                    </a:lnTo>
                    <a:lnTo>
                      <a:pt x="3" y="0"/>
                    </a:lnTo>
                    <a:lnTo>
                      <a:pt x="3" y="2"/>
                    </a:lnTo>
                    <a:lnTo>
                      <a:pt x="0" y="2"/>
                    </a:lnTo>
                    <a:lnTo>
                      <a:pt x="0" y="5"/>
                    </a:lnTo>
                    <a:lnTo>
                      <a:pt x="0" y="5"/>
                    </a:lnTo>
                    <a:lnTo>
                      <a:pt x="0" y="5"/>
                    </a:lnTo>
                    <a:lnTo>
                      <a:pt x="0" y="7"/>
                    </a:lnTo>
                    <a:lnTo>
                      <a:pt x="0" y="7"/>
                    </a:lnTo>
                    <a:lnTo>
                      <a:pt x="0" y="7"/>
                    </a:lnTo>
                    <a:lnTo>
                      <a:pt x="0" y="7"/>
                    </a:lnTo>
                    <a:lnTo>
                      <a:pt x="0" y="9"/>
                    </a:lnTo>
                    <a:lnTo>
                      <a:pt x="3" y="9"/>
                    </a:lnTo>
                    <a:lnTo>
                      <a:pt x="0" y="12"/>
                    </a:lnTo>
                    <a:lnTo>
                      <a:pt x="0" y="12"/>
                    </a:lnTo>
                    <a:lnTo>
                      <a:pt x="0" y="12"/>
                    </a:lnTo>
                    <a:lnTo>
                      <a:pt x="0" y="12"/>
                    </a:lnTo>
                    <a:lnTo>
                      <a:pt x="0" y="14"/>
                    </a:lnTo>
                    <a:lnTo>
                      <a:pt x="3" y="14"/>
                    </a:lnTo>
                    <a:lnTo>
                      <a:pt x="3" y="14"/>
                    </a:lnTo>
                    <a:lnTo>
                      <a:pt x="3" y="14"/>
                    </a:lnTo>
                    <a:lnTo>
                      <a:pt x="3" y="14"/>
                    </a:lnTo>
                    <a:lnTo>
                      <a:pt x="5" y="14"/>
                    </a:lnTo>
                    <a:lnTo>
                      <a:pt x="5" y="14"/>
                    </a:lnTo>
                    <a:lnTo>
                      <a:pt x="7" y="14"/>
                    </a:lnTo>
                    <a:lnTo>
                      <a:pt x="7" y="14"/>
                    </a:lnTo>
                    <a:lnTo>
                      <a:pt x="7" y="14"/>
                    </a:lnTo>
                    <a:lnTo>
                      <a:pt x="10" y="14"/>
                    </a:lnTo>
                    <a:lnTo>
                      <a:pt x="10" y="14"/>
                    </a:lnTo>
                    <a:lnTo>
                      <a:pt x="10" y="12"/>
                    </a:lnTo>
                    <a:lnTo>
                      <a:pt x="10" y="9"/>
                    </a:lnTo>
                    <a:lnTo>
                      <a:pt x="10" y="9"/>
                    </a:lnTo>
                    <a:lnTo>
                      <a:pt x="12" y="9"/>
                    </a:lnTo>
                    <a:lnTo>
                      <a:pt x="12" y="7"/>
                    </a:lnTo>
                    <a:lnTo>
                      <a:pt x="12" y="7"/>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109"/>
              <p:cNvSpPr>
                <a:spLocks noEditPoints="1"/>
              </p:cNvSpPr>
              <p:nvPr/>
            </p:nvSpPr>
            <p:spPr bwMode="auto">
              <a:xfrm>
                <a:off x="3108" y="1618"/>
                <a:ext cx="90" cy="50"/>
              </a:xfrm>
              <a:custGeom>
                <a:avLst/>
                <a:gdLst>
                  <a:gd name="T0" fmla="*/ 0 w 90"/>
                  <a:gd name="T1" fmla="*/ 19 h 50"/>
                  <a:gd name="T2" fmla="*/ 3 w 90"/>
                  <a:gd name="T3" fmla="*/ 22 h 50"/>
                  <a:gd name="T4" fmla="*/ 3 w 90"/>
                  <a:gd name="T5" fmla="*/ 15 h 50"/>
                  <a:gd name="T6" fmla="*/ 90 w 90"/>
                  <a:gd name="T7" fmla="*/ 22 h 50"/>
                  <a:gd name="T8" fmla="*/ 85 w 90"/>
                  <a:gd name="T9" fmla="*/ 22 h 50"/>
                  <a:gd name="T10" fmla="*/ 88 w 90"/>
                  <a:gd name="T11" fmla="*/ 15 h 50"/>
                  <a:gd name="T12" fmla="*/ 85 w 90"/>
                  <a:gd name="T13" fmla="*/ 15 h 50"/>
                  <a:gd name="T14" fmla="*/ 78 w 90"/>
                  <a:gd name="T15" fmla="*/ 10 h 50"/>
                  <a:gd name="T16" fmla="*/ 71 w 90"/>
                  <a:gd name="T17" fmla="*/ 5 h 50"/>
                  <a:gd name="T18" fmla="*/ 62 w 90"/>
                  <a:gd name="T19" fmla="*/ 5 h 50"/>
                  <a:gd name="T20" fmla="*/ 59 w 90"/>
                  <a:gd name="T21" fmla="*/ 0 h 50"/>
                  <a:gd name="T22" fmla="*/ 55 w 90"/>
                  <a:gd name="T23" fmla="*/ 3 h 50"/>
                  <a:gd name="T24" fmla="*/ 47 w 90"/>
                  <a:gd name="T25" fmla="*/ 3 h 50"/>
                  <a:gd name="T26" fmla="*/ 40 w 90"/>
                  <a:gd name="T27" fmla="*/ 0 h 50"/>
                  <a:gd name="T28" fmla="*/ 33 w 90"/>
                  <a:gd name="T29" fmla="*/ 0 h 50"/>
                  <a:gd name="T30" fmla="*/ 29 w 90"/>
                  <a:gd name="T31" fmla="*/ 0 h 50"/>
                  <a:gd name="T32" fmla="*/ 21 w 90"/>
                  <a:gd name="T33" fmla="*/ 0 h 50"/>
                  <a:gd name="T34" fmla="*/ 12 w 90"/>
                  <a:gd name="T35" fmla="*/ 3 h 50"/>
                  <a:gd name="T36" fmla="*/ 0 w 90"/>
                  <a:gd name="T37" fmla="*/ 8 h 50"/>
                  <a:gd name="T38" fmla="*/ 3 w 90"/>
                  <a:gd name="T39" fmla="*/ 15 h 50"/>
                  <a:gd name="T40" fmla="*/ 5 w 90"/>
                  <a:gd name="T41" fmla="*/ 22 h 50"/>
                  <a:gd name="T42" fmla="*/ 7 w 90"/>
                  <a:gd name="T43" fmla="*/ 22 h 50"/>
                  <a:gd name="T44" fmla="*/ 12 w 90"/>
                  <a:gd name="T45" fmla="*/ 24 h 50"/>
                  <a:gd name="T46" fmla="*/ 19 w 90"/>
                  <a:gd name="T47" fmla="*/ 27 h 50"/>
                  <a:gd name="T48" fmla="*/ 26 w 90"/>
                  <a:gd name="T49" fmla="*/ 29 h 50"/>
                  <a:gd name="T50" fmla="*/ 31 w 90"/>
                  <a:gd name="T51" fmla="*/ 31 h 50"/>
                  <a:gd name="T52" fmla="*/ 29 w 90"/>
                  <a:gd name="T53" fmla="*/ 38 h 50"/>
                  <a:gd name="T54" fmla="*/ 31 w 90"/>
                  <a:gd name="T55" fmla="*/ 41 h 50"/>
                  <a:gd name="T56" fmla="*/ 33 w 90"/>
                  <a:gd name="T57" fmla="*/ 41 h 50"/>
                  <a:gd name="T58" fmla="*/ 36 w 90"/>
                  <a:gd name="T59" fmla="*/ 43 h 50"/>
                  <a:gd name="T60" fmla="*/ 40 w 90"/>
                  <a:gd name="T61" fmla="*/ 43 h 50"/>
                  <a:gd name="T62" fmla="*/ 43 w 90"/>
                  <a:gd name="T63" fmla="*/ 48 h 50"/>
                  <a:gd name="T64" fmla="*/ 43 w 90"/>
                  <a:gd name="T65" fmla="*/ 50 h 50"/>
                  <a:gd name="T66" fmla="*/ 50 w 90"/>
                  <a:gd name="T67" fmla="*/ 50 h 50"/>
                  <a:gd name="T68" fmla="*/ 52 w 90"/>
                  <a:gd name="T69" fmla="*/ 50 h 50"/>
                  <a:gd name="T70" fmla="*/ 57 w 90"/>
                  <a:gd name="T71" fmla="*/ 50 h 50"/>
                  <a:gd name="T72" fmla="*/ 62 w 90"/>
                  <a:gd name="T73" fmla="*/ 48 h 50"/>
                  <a:gd name="T74" fmla="*/ 66 w 90"/>
                  <a:gd name="T75" fmla="*/ 45 h 50"/>
                  <a:gd name="T76" fmla="*/ 69 w 90"/>
                  <a:gd name="T77" fmla="*/ 43 h 50"/>
                  <a:gd name="T78" fmla="*/ 74 w 90"/>
                  <a:gd name="T79" fmla="*/ 43 h 50"/>
                  <a:gd name="T80" fmla="*/ 74 w 90"/>
                  <a:gd name="T81" fmla="*/ 45 h 50"/>
                  <a:gd name="T82" fmla="*/ 78 w 90"/>
                  <a:gd name="T83" fmla="*/ 45 h 50"/>
                  <a:gd name="T84" fmla="*/ 76 w 90"/>
                  <a:gd name="T85" fmla="*/ 43 h 50"/>
                  <a:gd name="T86" fmla="*/ 74 w 90"/>
                  <a:gd name="T87" fmla="*/ 41 h 50"/>
                  <a:gd name="T88" fmla="*/ 74 w 90"/>
                  <a:gd name="T89" fmla="*/ 38 h 50"/>
                  <a:gd name="T90" fmla="*/ 76 w 90"/>
                  <a:gd name="T91" fmla="*/ 36 h 50"/>
                  <a:gd name="T92" fmla="*/ 76 w 90"/>
                  <a:gd name="T93" fmla="*/ 31 h 50"/>
                  <a:gd name="T94" fmla="*/ 81 w 90"/>
                  <a:gd name="T95" fmla="*/ 29 h 50"/>
                  <a:gd name="T96" fmla="*/ 83 w 90"/>
                  <a:gd name="T97" fmla="*/ 27 h 50"/>
                  <a:gd name="T98" fmla="*/ 88 w 90"/>
                  <a:gd name="T99" fmla="*/ 27 h 50"/>
                  <a:gd name="T100" fmla="*/ 90 w 90"/>
                  <a:gd name="T101" fmla="*/ 2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0" h="50">
                    <a:moveTo>
                      <a:pt x="3" y="17"/>
                    </a:moveTo>
                    <a:lnTo>
                      <a:pt x="3" y="19"/>
                    </a:lnTo>
                    <a:lnTo>
                      <a:pt x="0" y="19"/>
                    </a:lnTo>
                    <a:lnTo>
                      <a:pt x="0" y="22"/>
                    </a:lnTo>
                    <a:lnTo>
                      <a:pt x="0" y="22"/>
                    </a:lnTo>
                    <a:lnTo>
                      <a:pt x="3" y="22"/>
                    </a:lnTo>
                    <a:lnTo>
                      <a:pt x="3" y="19"/>
                    </a:lnTo>
                    <a:lnTo>
                      <a:pt x="3" y="17"/>
                    </a:lnTo>
                    <a:lnTo>
                      <a:pt x="3" y="15"/>
                    </a:lnTo>
                    <a:lnTo>
                      <a:pt x="3" y="17"/>
                    </a:lnTo>
                    <a:close/>
                    <a:moveTo>
                      <a:pt x="90" y="22"/>
                    </a:moveTo>
                    <a:lnTo>
                      <a:pt x="90" y="22"/>
                    </a:lnTo>
                    <a:lnTo>
                      <a:pt x="88" y="22"/>
                    </a:lnTo>
                    <a:lnTo>
                      <a:pt x="85" y="22"/>
                    </a:lnTo>
                    <a:lnTo>
                      <a:pt x="85" y="22"/>
                    </a:lnTo>
                    <a:lnTo>
                      <a:pt x="88" y="19"/>
                    </a:lnTo>
                    <a:lnTo>
                      <a:pt x="88" y="17"/>
                    </a:lnTo>
                    <a:lnTo>
                      <a:pt x="88" y="15"/>
                    </a:lnTo>
                    <a:lnTo>
                      <a:pt x="88" y="15"/>
                    </a:lnTo>
                    <a:lnTo>
                      <a:pt x="88" y="15"/>
                    </a:lnTo>
                    <a:lnTo>
                      <a:pt x="85" y="15"/>
                    </a:lnTo>
                    <a:lnTo>
                      <a:pt x="83" y="12"/>
                    </a:lnTo>
                    <a:lnTo>
                      <a:pt x="81" y="12"/>
                    </a:lnTo>
                    <a:lnTo>
                      <a:pt x="78" y="10"/>
                    </a:lnTo>
                    <a:lnTo>
                      <a:pt x="78" y="10"/>
                    </a:lnTo>
                    <a:lnTo>
                      <a:pt x="76" y="8"/>
                    </a:lnTo>
                    <a:lnTo>
                      <a:pt x="71" y="5"/>
                    </a:lnTo>
                    <a:lnTo>
                      <a:pt x="71" y="5"/>
                    </a:lnTo>
                    <a:lnTo>
                      <a:pt x="64" y="5"/>
                    </a:lnTo>
                    <a:lnTo>
                      <a:pt x="62" y="5"/>
                    </a:lnTo>
                    <a:lnTo>
                      <a:pt x="62" y="3"/>
                    </a:lnTo>
                    <a:lnTo>
                      <a:pt x="59" y="0"/>
                    </a:lnTo>
                    <a:lnTo>
                      <a:pt x="59" y="0"/>
                    </a:lnTo>
                    <a:lnTo>
                      <a:pt x="57" y="0"/>
                    </a:lnTo>
                    <a:lnTo>
                      <a:pt x="57" y="0"/>
                    </a:lnTo>
                    <a:lnTo>
                      <a:pt x="55" y="3"/>
                    </a:lnTo>
                    <a:lnTo>
                      <a:pt x="55" y="3"/>
                    </a:lnTo>
                    <a:lnTo>
                      <a:pt x="52" y="3"/>
                    </a:lnTo>
                    <a:lnTo>
                      <a:pt x="47" y="3"/>
                    </a:lnTo>
                    <a:lnTo>
                      <a:pt x="45" y="3"/>
                    </a:lnTo>
                    <a:lnTo>
                      <a:pt x="43" y="0"/>
                    </a:lnTo>
                    <a:lnTo>
                      <a:pt x="40" y="0"/>
                    </a:lnTo>
                    <a:lnTo>
                      <a:pt x="40" y="0"/>
                    </a:lnTo>
                    <a:lnTo>
                      <a:pt x="33" y="0"/>
                    </a:lnTo>
                    <a:lnTo>
                      <a:pt x="33" y="0"/>
                    </a:lnTo>
                    <a:lnTo>
                      <a:pt x="31" y="3"/>
                    </a:lnTo>
                    <a:lnTo>
                      <a:pt x="31" y="0"/>
                    </a:lnTo>
                    <a:lnTo>
                      <a:pt x="29" y="0"/>
                    </a:lnTo>
                    <a:lnTo>
                      <a:pt x="26" y="0"/>
                    </a:lnTo>
                    <a:lnTo>
                      <a:pt x="24" y="0"/>
                    </a:lnTo>
                    <a:lnTo>
                      <a:pt x="21" y="0"/>
                    </a:lnTo>
                    <a:lnTo>
                      <a:pt x="17" y="0"/>
                    </a:lnTo>
                    <a:lnTo>
                      <a:pt x="17" y="0"/>
                    </a:lnTo>
                    <a:lnTo>
                      <a:pt x="12" y="3"/>
                    </a:lnTo>
                    <a:lnTo>
                      <a:pt x="10" y="3"/>
                    </a:lnTo>
                    <a:lnTo>
                      <a:pt x="5" y="5"/>
                    </a:lnTo>
                    <a:lnTo>
                      <a:pt x="0" y="8"/>
                    </a:lnTo>
                    <a:lnTo>
                      <a:pt x="0" y="8"/>
                    </a:lnTo>
                    <a:lnTo>
                      <a:pt x="3" y="12"/>
                    </a:lnTo>
                    <a:lnTo>
                      <a:pt x="3" y="15"/>
                    </a:lnTo>
                    <a:lnTo>
                      <a:pt x="5" y="19"/>
                    </a:lnTo>
                    <a:lnTo>
                      <a:pt x="5" y="22"/>
                    </a:lnTo>
                    <a:lnTo>
                      <a:pt x="5" y="22"/>
                    </a:lnTo>
                    <a:lnTo>
                      <a:pt x="5" y="22"/>
                    </a:lnTo>
                    <a:lnTo>
                      <a:pt x="5" y="22"/>
                    </a:lnTo>
                    <a:lnTo>
                      <a:pt x="7" y="22"/>
                    </a:lnTo>
                    <a:lnTo>
                      <a:pt x="7" y="24"/>
                    </a:lnTo>
                    <a:lnTo>
                      <a:pt x="10" y="24"/>
                    </a:lnTo>
                    <a:lnTo>
                      <a:pt x="12" y="24"/>
                    </a:lnTo>
                    <a:lnTo>
                      <a:pt x="14" y="27"/>
                    </a:lnTo>
                    <a:lnTo>
                      <a:pt x="19" y="27"/>
                    </a:lnTo>
                    <a:lnTo>
                      <a:pt x="19" y="27"/>
                    </a:lnTo>
                    <a:lnTo>
                      <a:pt x="21" y="27"/>
                    </a:lnTo>
                    <a:lnTo>
                      <a:pt x="26" y="27"/>
                    </a:lnTo>
                    <a:lnTo>
                      <a:pt x="26" y="29"/>
                    </a:lnTo>
                    <a:lnTo>
                      <a:pt x="29" y="29"/>
                    </a:lnTo>
                    <a:lnTo>
                      <a:pt x="31" y="31"/>
                    </a:lnTo>
                    <a:lnTo>
                      <a:pt x="31" y="31"/>
                    </a:lnTo>
                    <a:lnTo>
                      <a:pt x="29" y="36"/>
                    </a:lnTo>
                    <a:lnTo>
                      <a:pt x="29" y="36"/>
                    </a:lnTo>
                    <a:lnTo>
                      <a:pt x="29" y="38"/>
                    </a:lnTo>
                    <a:lnTo>
                      <a:pt x="29" y="41"/>
                    </a:lnTo>
                    <a:lnTo>
                      <a:pt x="31" y="41"/>
                    </a:lnTo>
                    <a:lnTo>
                      <a:pt x="31" y="41"/>
                    </a:lnTo>
                    <a:lnTo>
                      <a:pt x="31" y="41"/>
                    </a:lnTo>
                    <a:lnTo>
                      <a:pt x="33" y="41"/>
                    </a:lnTo>
                    <a:lnTo>
                      <a:pt x="33" y="41"/>
                    </a:lnTo>
                    <a:lnTo>
                      <a:pt x="33" y="41"/>
                    </a:lnTo>
                    <a:lnTo>
                      <a:pt x="36" y="43"/>
                    </a:lnTo>
                    <a:lnTo>
                      <a:pt x="36" y="43"/>
                    </a:lnTo>
                    <a:lnTo>
                      <a:pt x="36" y="43"/>
                    </a:lnTo>
                    <a:lnTo>
                      <a:pt x="38" y="43"/>
                    </a:lnTo>
                    <a:lnTo>
                      <a:pt x="40" y="43"/>
                    </a:lnTo>
                    <a:lnTo>
                      <a:pt x="40" y="45"/>
                    </a:lnTo>
                    <a:lnTo>
                      <a:pt x="43" y="45"/>
                    </a:lnTo>
                    <a:lnTo>
                      <a:pt x="43" y="48"/>
                    </a:lnTo>
                    <a:lnTo>
                      <a:pt x="43" y="48"/>
                    </a:lnTo>
                    <a:lnTo>
                      <a:pt x="43" y="50"/>
                    </a:lnTo>
                    <a:lnTo>
                      <a:pt x="43" y="50"/>
                    </a:lnTo>
                    <a:lnTo>
                      <a:pt x="45" y="50"/>
                    </a:lnTo>
                    <a:lnTo>
                      <a:pt x="47" y="50"/>
                    </a:lnTo>
                    <a:lnTo>
                      <a:pt x="50" y="50"/>
                    </a:lnTo>
                    <a:lnTo>
                      <a:pt x="50" y="50"/>
                    </a:lnTo>
                    <a:lnTo>
                      <a:pt x="52" y="50"/>
                    </a:lnTo>
                    <a:lnTo>
                      <a:pt x="52" y="50"/>
                    </a:lnTo>
                    <a:lnTo>
                      <a:pt x="55" y="50"/>
                    </a:lnTo>
                    <a:lnTo>
                      <a:pt x="55" y="50"/>
                    </a:lnTo>
                    <a:lnTo>
                      <a:pt x="57" y="50"/>
                    </a:lnTo>
                    <a:lnTo>
                      <a:pt x="59" y="48"/>
                    </a:lnTo>
                    <a:lnTo>
                      <a:pt x="62" y="48"/>
                    </a:lnTo>
                    <a:lnTo>
                      <a:pt x="62" y="48"/>
                    </a:lnTo>
                    <a:lnTo>
                      <a:pt x="62" y="45"/>
                    </a:lnTo>
                    <a:lnTo>
                      <a:pt x="64" y="45"/>
                    </a:lnTo>
                    <a:lnTo>
                      <a:pt x="66" y="45"/>
                    </a:lnTo>
                    <a:lnTo>
                      <a:pt x="66" y="45"/>
                    </a:lnTo>
                    <a:lnTo>
                      <a:pt x="69" y="43"/>
                    </a:lnTo>
                    <a:lnTo>
                      <a:pt x="69" y="43"/>
                    </a:lnTo>
                    <a:lnTo>
                      <a:pt x="71" y="43"/>
                    </a:lnTo>
                    <a:lnTo>
                      <a:pt x="74" y="43"/>
                    </a:lnTo>
                    <a:lnTo>
                      <a:pt x="74" y="43"/>
                    </a:lnTo>
                    <a:lnTo>
                      <a:pt x="74" y="43"/>
                    </a:lnTo>
                    <a:lnTo>
                      <a:pt x="74" y="45"/>
                    </a:lnTo>
                    <a:lnTo>
                      <a:pt x="74" y="45"/>
                    </a:lnTo>
                    <a:lnTo>
                      <a:pt x="74" y="45"/>
                    </a:lnTo>
                    <a:lnTo>
                      <a:pt x="76" y="45"/>
                    </a:lnTo>
                    <a:lnTo>
                      <a:pt x="78" y="45"/>
                    </a:lnTo>
                    <a:lnTo>
                      <a:pt x="78" y="45"/>
                    </a:lnTo>
                    <a:lnTo>
                      <a:pt x="78" y="43"/>
                    </a:lnTo>
                    <a:lnTo>
                      <a:pt x="76" y="43"/>
                    </a:lnTo>
                    <a:lnTo>
                      <a:pt x="76" y="43"/>
                    </a:lnTo>
                    <a:lnTo>
                      <a:pt x="76" y="41"/>
                    </a:lnTo>
                    <a:lnTo>
                      <a:pt x="74" y="41"/>
                    </a:lnTo>
                    <a:lnTo>
                      <a:pt x="74" y="41"/>
                    </a:lnTo>
                    <a:lnTo>
                      <a:pt x="74" y="41"/>
                    </a:lnTo>
                    <a:lnTo>
                      <a:pt x="74" y="38"/>
                    </a:lnTo>
                    <a:lnTo>
                      <a:pt x="76" y="38"/>
                    </a:lnTo>
                    <a:lnTo>
                      <a:pt x="76" y="36"/>
                    </a:lnTo>
                    <a:lnTo>
                      <a:pt x="76" y="36"/>
                    </a:lnTo>
                    <a:lnTo>
                      <a:pt x="76" y="36"/>
                    </a:lnTo>
                    <a:lnTo>
                      <a:pt x="76" y="34"/>
                    </a:lnTo>
                    <a:lnTo>
                      <a:pt x="76" y="31"/>
                    </a:lnTo>
                    <a:lnTo>
                      <a:pt x="78" y="29"/>
                    </a:lnTo>
                    <a:lnTo>
                      <a:pt x="78" y="29"/>
                    </a:lnTo>
                    <a:lnTo>
                      <a:pt x="81" y="29"/>
                    </a:lnTo>
                    <a:lnTo>
                      <a:pt x="83" y="29"/>
                    </a:lnTo>
                    <a:lnTo>
                      <a:pt x="83" y="27"/>
                    </a:lnTo>
                    <a:lnTo>
                      <a:pt x="83" y="27"/>
                    </a:lnTo>
                    <a:lnTo>
                      <a:pt x="83" y="27"/>
                    </a:lnTo>
                    <a:lnTo>
                      <a:pt x="83" y="24"/>
                    </a:lnTo>
                    <a:lnTo>
                      <a:pt x="88" y="27"/>
                    </a:lnTo>
                    <a:lnTo>
                      <a:pt x="90" y="24"/>
                    </a:lnTo>
                    <a:lnTo>
                      <a:pt x="90" y="24"/>
                    </a:lnTo>
                    <a:lnTo>
                      <a:pt x="90" y="24"/>
                    </a:lnTo>
                    <a:lnTo>
                      <a:pt x="90" y="22"/>
                    </a:lnTo>
                    <a:lnTo>
                      <a:pt x="90" y="22"/>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110"/>
              <p:cNvSpPr>
                <a:spLocks/>
              </p:cNvSpPr>
              <p:nvPr/>
            </p:nvSpPr>
            <p:spPr bwMode="auto">
              <a:xfrm>
                <a:off x="2928" y="1803"/>
                <a:ext cx="3" cy="5"/>
              </a:xfrm>
              <a:custGeom>
                <a:avLst/>
                <a:gdLst>
                  <a:gd name="T0" fmla="*/ 3 w 3"/>
                  <a:gd name="T1" fmla="*/ 3 h 5"/>
                  <a:gd name="T2" fmla="*/ 3 w 3"/>
                  <a:gd name="T3" fmla="*/ 3 h 5"/>
                  <a:gd name="T4" fmla="*/ 3 w 3"/>
                  <a:gd name="T5" fmla="*/ 3 h 5"/>
                  <a:gd name="T6" fmla="*/ 3 w 3"/>
                  <a:gd name="T7" fmla="*/ 3 h 5"/>
                  <a:gd name="T8" fmla="*/ 3 w 3"/>
                  <a:gd name="T9" fmla="*/ 0 h 5"/>
                  <a:gd name="T10" fmla="*/ 3 w 3"/>
                  <a:gd name="T11" fmla="*/ 0 h 5"/>
                  <a:gd name="T12" fmla="*/ 0 w 3"/>
                  <a:gd name="T13" fmla="*/ 0 h 5"/>
                  <a:gd name="T14" fmla="*/ 0 w 3"/>
                  <a:gd name="T15" fmla="*/ 3 h 5"/>
                  <a:gd name="T16" fmla="*/ 0 w 3"/>
                  <a:gd name="T17" fmla="*/ 5 h 5"/>
                  <a:gd name="T18" fmla="*/ 0 w 3"/>
                  <a:gd name="T19" fmla="*/ 5 h 5"/>
                  <a:gd name="T20" fmla="*/ 0 w 3"/>
                  <a:gd name="T21" fmla="*/ 5 h 5"/>
                  <a:gd name="T22" fmla="*/ 3 w 3"/>
                  <a:gd name="T23" fmla="*/ 5 h 5"/>
                  <a:gd name="T24" fmla="*/ 3 w 3"/>
                  <a:gd name="T25" fmla="*/ 5 h 5"/>
                  <a:gd name="T26" fmla="*/ 3 w 3"/>
                  <a:gd name="T27" fmla="*/ 5 h 5"/>
                  <a:gd name="T28" fmla="*/ 3 w 3"/>
                  <a:gd name="T29"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 h="5">
                    <a:moveTo>
                      <a:pt x="3" y="3"/>
                    </a:moveTo>
                    <a:lnTo>
                      <a:pt x="3" y="3"/>
                    </a:lnTo>
                    <a:lnTo>
                      <a:pt x="3" y="3"/>
                    </a:lnTo>
                    <a:lnTo>
                      <a:pt x="3" y="3"/>
                    </a:lnTo>
                    <a:lnTo>
                      <a:pt x="3" y="0"/>
                    </a:lnTo>
                    <a:lnTo>
                      <a:pt x="3" y="0"/>
                    </a:lnTo>
                    <a:lnTo>
                      <a:pt x="0" y="0"/>
                    </a:lnTo>
                    <a:lnTo>
                      <a:pt x="0" y="3"/>
                    </a:lnTo>
                    <a:lnTo>
                      <a:pt x="0" y="5"/>
                    </a:lnTo>
                    <a:lnTo>
                      <a:pt x="0" y="5"/>
                    </a:lnTo>
                    <a:lnTo>
                      <a:pt x="0" y="5"/>
                    </a:lnTo>
                    <a:lnTo>
                      <a:pt x="3" y="5"/>
                    </a:lnTo>
                    <a:lnTo>
                      <a:pt x="3" y="5"/>
                    </a:lnTo>
                    <a:lnTo>
                      <a:pt x="3" y="5"/>
                    </a:lnTo>
                    <a:lnTo>
                      <a:pt x="3" y="3"/>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111"/>
              <p:cNvSpPr>
                <a:spLocks/>
              </p:cNvSpPr>
              <p:nvPr/>
            </p:nvSpPr>
            <p:spPr bwMode="auto">
              <a:xfrm>
                <a:off x="2924" y="2099"/>
                <a:ext cx="286" cy="289"/>
              </a:xfrm>
              <a:custGeom>
                <a:avLst/>
                <a:gdLst>
                  <a:gd name="T0" fmla="*/ 286 w 286"/>
                  <a:gd name="T1" fmla="*/ 232 h 289"/>
                  <a:gd name="T2" fmla="*/ 284 w 286"/>
                  <a:gd name="T3" fmla="*/ 209 h 289"/>
                  <a:gd name="T4" fmla="*/ 284 w 286"/>
                  <a:gd name="T5" fmla="*/ 185 h 289"/>
                  <a:gd name="T6" fmla="*/ 284 w 286"/>
                  <a:gd name="T7" fmla="*/ 161 h 289"/>
                  <a:gd name="T8" fmla="*/ 284 w 286"/>
                  <a:gd name="T9" fmla="*/ 137 h 289"/>
                  <a:gd name="T10" fmla="*/ 281 w 286"/>
                  <a:gd name="T11" fmla="*/ 111 h 289"/>
                  <a:gd name="T12" fmla="*/ 281 w 286"/>
                  <a:gd name="T13" fmla="*/ 88 h 289"/>
                  <a:gd name="T14" fmla="*/ 276 w 286"/>
                  <a:gd name="T15" fmla="*/ 71 h 289"/>
                  <a:gd name="T16" fmla="*/ 279 w 286"/>
                  <a:gd name="T17" fmla="*/ 57 h 289"/>
                  <a:gd name="T18" fmla="*/ 276 w 286"/>
                  <a:gd name="T19" fmla="*/ 45 h 289"/>
                  <a:gd name="T20" fmla="*/ 281 w 286"/>
                  <a:gd name="T21" fmla="*/ 33 h 289"/>
                  <a:gd name="T22" fmla="*/ 279 w 286"/>
                  <a:gd name="T23" fmla="*/ 26 h 289"/>
                  <a:gd name="T24" fmla="*/ 262 w 286"/>
                  <a:gd name="T25" fmla="*/ 24 h 289"/>
                  <a:gd name="T26" fmla="*/ 246 w 286"/>
                  <a:gd name="T27" fmla="*/ 17 h 289"/>
                  <a:gd name="T28" fmla="*/ 234 w 286"/>
                  <a:gd name="T29" fmla="*/ 7 h 289"/>
                  <a:gd name="T30" fmla="*/ 217 w 286"/>
                  <a:gd name="T31" fmla="*/ 5 h 289"/>
                  <a:gd name="T32" fmla="*/ 196 w 286"/>
                  <a:gd name="T33" fmla="*/ 17 h 289"/>
                  <a:gd name="T34" fmla="*/ 189 w 286"/>
                  <a:gd name="T35" fmla="*/ 33 h 289"/>
                  <a:gd name="T36" fmla="*/ 194 w 286"/>
                  <a:gd name="T37" fmla="*/ 48 h 289"/>
                  <a:gd name="T38" fmla="*/ 175 w 286"/>
                  <a:gd name="T39" fmla="*/ 62 h 289"/>
                  <a:gd name="T40" fmla="*/ 151 w 286"/>
                  <a:gd name="T41" fmla="*/ 48 h 289"/>
                  <a:gd name="T42" fmla="*/ 116 w 286"/>
                  <a:gd name="T43" fmla="*/ 38 h 289"/>
                  <a:gd name="T44" fmla="*/ 108 w 286"/>
                  <a:gd name="T45" fmla="*/ 26 h 289"/>
                  <a:gd name="T46" fmla="*/ 90 w 286"/>
                  <a:gd name="T47" fmla="*/ 12 h 289"/>
                  <a:gd name="T48" fmla="*/ 75 w 286"/>
                  <a:gd name="T49" fmla="*/ 7 h 289"/>
                  <a:gd name="T50" fmla="*/ 52 w 286"/>
                  <a:gd name="T51" fmla="*/ 7 h 289"/>
                  <a:gd name="T52" fmla="*/ 38 w 286"/>
                  <a:gd name="T53" fmla="*/ 5 h 289"/>
                  <a:gd name="T54" fmla="*/ 40 w 286"/>
                  <a:gd name="T55" fmla="*/ 14 h 289"/>
                  <a:gd name="T56" fmla="*/ 26 w 286"/>
                  <a:gd name="T57" fmla="*/ 24 h 289"/>
                  <a:gd name="T58" fmla="*/ 21 w 286"/>
                  <a:gd name="T59" fmla="*/ 29 h 289"/>
                  <a:gd name="T60" fmla="*/ 14 w 286"/>
                  <a:gd name="T61" fmla="*/ 33 h 289"/>
                  <a:gd name="T62" fmla="*/ 16 w 286"/>
                  <a:gd name="T63" fmla="*/ 48 h 289"/>
                  <a:gd name="T64" fmla="*/ 9 w 286"/>
                  <a:gd name="T65" fmla="*/ 59 h 289"/>
                  <a:gd name="T66" fmla="*/ 0 w 286"/>
                  <a:gd name="T67" fmla="*/ 64 h 289"/>
                  <a:gd name="T68" fmla="*/ 7 w 286"/>
                  <a:gd name="T69" fmla="*/ 81 h 289"/>
                  <a:gd name="T70" fmla="*/ 9 w 286"/>
                  <a:gd name="T71" fmla="*/ 109 h 289"/>
                  <a:gd name="T72" fmla="*/ 9 w 286"/>
                  <a:gd name="T73" fmla="*/ 130 h 289"/>
                  <a:gd name="T74" fmla="*/ 7 w 286"/>
                  <a:gd name="T75" fmla="*/ 142 h 289"/>
                  <a:gd name="T76" fmla="*/ 4 w 286"/>
                  <a:gd name="T77" fmla="*/ 154 h 289"/>
                  <a:gd name="T78" fmla="*/ 14 w 286"/>
                  <a:gd name="T79" fmla="*/ 178 h 289"/>
                  <a:gd name="T80" fmla="*/ 19 w 286"/>
                  <a:gd name="T81" fmla="*/ 182 h 289"/>
                  <a:gd name="T82" fmla="*/ 42 w 286"/>
                  <a:gd name="T83" fmla="*/ 192 h 289"/>
                  <a:gd name="T84" fmla="*/ 66 w 286"/>
                  <a:gd name="T85" fmla="*/ 209 h 289"/>
                  <a:gd name="T86" fmla="*/ 90 w 286"/>
                  <a:gd name="T87" fmla="*/ 223 h 289"/>
                  <a:gd name="T88" fmla="*/ 108 w 286"/>
                  <a:gd name="T89" fmla="*/ 211 h 289"/>
                  <a:gd name="T90" fmla="*/ 144 w 286"/>
                  <a:gd name="T91" fmla="*/ 218 h 289"/>
                  <a:gd name="T92" fmla="*/ 189 w 286"/>
                  <a:gd name="T93" fmla="*/ 244 h 289"/>
                  <a:gd name="T94" fmla="*/ 231 w 286"/>
                  <a:gd name="T95" fmla="*/ 270 h 289"/>
                  <a:gd name="T96" fmla="*/ 267 w 286"/>
                  <a:gd name="T97" fmla="*/ 287 h 289"/>
                  <a:gd name="T98" fmla="*/ 276 w 286"/>
                  <a:gd name="T99" fmla="*/ 280 h 289"/>
                  <a:gd name="T100" fmla="*/ 286 w 286"/>
                  <a:gd name="T101" fmla="*/ 277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6" h="289">
                    <a:moveTo>
                      <a:pt x="286" y="268"/>
                    </a:moveTo>
                    <a:lnTo>
                      <a:pt x="286" y="258"/>
                    </a:lnTo>
                    <a:lnTo>
                      <a:pt x="286" y="246"/>
                    </a:lnTo>
                    <a:lnTo>
                      <a:pt x="286" y="237"/>
                    </a:lnTo>
                    <a:lnTo>
                      <a:pt x="286" y="232"/>
                    </a:lnTo>
                    <a:lnTo>
                      <a:pt x="286" y="227"/>
                    </a:lnTo>
                    <a:lnTo>
                      <a:pt x="286" y="223"/>
                    </a:lnTo>
                    <a:lnTo>
                      <a:pt x="284" y="218"/>
                    </a:lnTo>
                    <a:lnTo>
                      <a:pt x="284" y="213"/>
                    </a:lnTo>
                    <a:lnTo>
                      <a:pt x="284" y="209"/>
                    </a:lnTo>
                    <a:lnTo>
                      <a:pt x="284" y="204"/>
                    </a:lnTo>
                    <a:lnTo>
                      <a:pt x="284" y="199"/>
                    </a:lnTo>
                    <a:lnTo>
                      <a:pt x="284" y="194"/>
                    </a:lnTo>
                    <a:lnTo>
                      <a:pt x="284" y="190"/>
                    </a:lnTo>
                    <a:lnTo>
                      <a:pt x="284" y="185"/>
                    </a:lnTo>
                    <a:lnTo>
                      <a:pt x="284" y="180"/>
                    </a:lnTo>
                    <a:lnTo>
                      <a:pt x="284" y="175"/>
                    </a:lnTo>
                    <a:lnTo>
                      <a:pt x="284" y="171"/>
                    </a:lnTo>
                    <a:lnTo>
                      <a:pt x="284" y="166"/>
                    </a:lnTo>
                    <a:lnTo>
                      <a:pt x="284" y="161"/>
                    </a:lnTo>
                    <a:lnTo>
                      <a:pt x="284" y="156"/>
                    </a:lnTo>
                    <a:lnTo>
                      <a:pt x="284" y="152"/>
                    </a:lnTo>
                    <a:lnTo>
                      <a:pt x="284" y="147"/>
                    </a:lnTo>
                    <a:lnTo>
                      <a:pt x="284" y="142"/>
                    </a:lnTo>
                    <a:lnTo>
                      <a:pt x="284" y="137"/>
                    </a:lnTo>
                    <a:lnTo>
                      <a:pt x="284" y="133"/>
                    </a:lnTo>
                    <a:lnTo>
                      <a:pt x="281" y="128"/>
                    </a:lnTo>
                    <a:lnTo>
                      <a:pt x="281" y="123"/>
                    </a:lnTo>
                    <a:lnTo>
                      <a:pt x="281" y="116"/>
                    </a:lnTo>
                    <a:lnTo>
                      <a:pt x="281" y="111"/>
                    </a:lnTo>
                    <a:lnTo>
                      <a:pt x="281" y="107"/>
                    </a:lnTo>
                    <a:lnTo>
                      <a:pt x="281" y="102"/>
                    </a:lnTo>
                    <a:lnTo>
                      <a:pt x="281" y="97"/>
                    </a:lnTo>
                    <a:lnTo>
                      <a:pt x="281" y="92"/>
                    </a:lnTo>
                    <a:lnTo>
                      <a:pt x="281" y="88"/>
                    </a:lnTo>
                    <a:lnTo>
                      <a:pt x="281" y="83"/>
                    </a:lnTo>
                    <a:lnTo>
                      <a:pt x="281" y="83"/>
                    </a:lnTo>
                    <a:lnTo>
                      <a:pt x="279" y="81"/>
                    </a:lnTo>
                    <a:lnTo>
                      <a:pt x="279" y="76"/>
                    </a:lnTo>
                    <a:lnTo>
                      <a:pt x="276" y="71"/>
                    </a:lnTo>
                    <a:lnTo>
                      <a:pt x="276" y="69"/>
                    </a:lnTo>
                    <a:lnTo>
                      <a:pt x="276" y="64"/>
                    </a:lnTo>
                    <a:lnTo>
                      <a:pt x="274" y="62"/>
                    </a:lnTo>
                    <a:lnTo>
                      <a:pt x="276" y="62"/>
                    </a:lnTo>
                    <a:lnTo>
                      <a:pt x="279" y="57"/>
                    </a:lnTo>
                    <a:lnTo>
                      <a:pt x="279" y="55"/>
                    </a:lnTo>
                    <a:lnTo>
                      <a:pt x="279" y="52"/>
                    </a:lnTo>
                    <a:lnTo>
                      <a:pt x="279" y="50"/>
                    </a:lnTo>
                    <a:lnTo>
                      <a:pt x="279" y="48"/>
                    </a:lnTo>
                    <a:lnTo>
                      <a:pt x="276" y="45"/>
                    </a:lnTo>
                    <a:lnTo>
                      <a:pt x="276" y="43"/>
                    </a:lnTo>
                    <a:lnTo>
                      <a:pt x="276" y="38"/>
                    </a:lnTo>
                    <a:lnTo>
                      <a:pt x="279" y="36"/>
                    </a:lnTo>
                    <a:lnTo>
                      <a:pt x="279" y="36"/>
                    </a:lnTo>
                    <a:lnTo>
                      <a:pt x="281" y="33"/>
                    </a:lnTo>
                    <a:lnTo>
                      <a:pt x="281" y="33"/>
                    </a:lnTo>
                    <a:lnTo>
                      <a:pt x="281" y="31"/>
                    </a:lnTo>
                    <a:lnTo>
                      <a:pt x="281" y="31"/>
                    </a:lnTo>
                    <a:lnTo>
                      <a:pt x="279" y="26"/>
                    </a:lnTo>
                    <a:lnTo>
                      <a:pt x="279" y="26"/>
                    </a:lnTo>
                    <a:lnTo>
                      <a:pt x="276" y="26"/>
                    </a:lnTo>
                    <a:lnTo>
                      <a:pt x="274" y="24"/>
                    </a:lnTo>
                    <a:lnTo>
                      <a:pt x="269" y="24"/>
                    </a:lnTo>
                    <a:lnTo>
                      <a:pt x="262" y="24"/>
                    </a:lnTo>
                    <a:lnTo>
                      <a:pt x="262" y="24"/>
                    </a:lnTo>
                    <a:lnTo>
                      <a:pt x="260" y="21"/>
                    </a:lnTo>
                    <a:lnTo>
                      <a:pt x="258" y="21"/>
                    </a:lnTo>
                    <a:lnTo>
                      <a:pt x="248" y="19"/>
                    </a:lnTo>
                    <a:lnTo>
                      <a:pt x="246" y="17"/>
                    </a:lnTo>
                    <a:lnTo>
                      <a:pt x="246" y="17"/>
                    </a:lnTo>
                    <a:lnTo>
                      <a:pt x="246" y="14"/>
                    </a:lnTo>
                    <a:lnTo>
                      <a:pt x="243" y="12"/>
                    </a:lnTo>
                    <a:lnTo>
                      <a:pt x="241" y="10"/>
                    </a:lnTo>
                    <a:lnTo>
                      <a:pt x="239" y="10"/>
                    </a:lnTo>
                    <a:lnTo>
                      <a:pt x="234" y="7"/>
                    </a:lnTo>
                    <a:lnTo>
                      <a:pt x="231" y="7"/>
                    </a:lnTo>
                    <a:lnTo>
                      <a:pt x="229" y="5"/>
                    </a:lnTo>
                    <a:lnTo>
                      <a:pt x="222" y="5"/>
                    </a:lnTo>
                    <a:lnTo>
                      <a:pt x="220" y="5"/>
                    </a:lnTo>
                    <a:lnTo>
                      <a:pt x="217" y="5"/>
                    </a:lnTo>
                    <a:lnTo>
                      <a:pt x="215" y="7"/>
                    </a:lnTo>
                    <a:lnTo>
                      <a:pt x="213" y="7"/>
                    </a:lnTo>
                    <a:lnTo>
                      <a:pt x="208" y="7"/>
                    </a:lnTo>
                    <a:lnTo>
                      <a:pt x="201" y="12"/>
                    </a:lnTo>
                    <a:lnTo>
                      <a:pt x="196" y="17"/>
                    </a:lnTo>
                    <a:lnTo>
                      <a:pt x="191" y="19"/>
                    </a:lnTo>
                    <a:lnTo>
                      <a:pt x="191" y="21"/>
                    </a:lnTo>
                    <a:lnTo>
                      <a:pt x="189" y="24"/>
                    </a:lnTo>
                    <a:lnTo>
                      <a:pt x="189" y="29"/>
                    </a:lnTo>
                    <a:lnTo>
                      <a:pt x="189" y="33"/>
                    </a:lnTo>
                    <a:lnTo>
                      <a:pt x="191" y="38"/>
                    </a:lnTo>
                    <a:lnTo>
                      <a:pt x="191" y="40"/>
                    </a:lnTo>
                    <a:lnTo>
                      <a:pt x="194" y="43"/>
                    </a:lnTo>
                    <a:lnTo>
                      <a:pt x="194" y="45"/>
                    </a:lnTo>
                    <a:lnTo>
                      <a:pt x="194" y="48"/>
                    </a:lnTo>
                    <a:lnTo>
                      <a:pt x="191" y="50"/>
                    </a:lnTo>
                    <a:lnTo>
                      <a:pt x="187" y="57"/>
                    </a:lnTo>
                    <a:lnTo>
                      <a:pt x="184" y="57"/>
                    </a:lnTo>
                    <a:lnTo>
                      <a:pt x="177" y="62"/>
                    </a:lnTo>
                    <a:lnTo>
                      <a:pt x="175" y="62"/>
                    </a:lnTo>
                    <a:lnTo>
                      <a:pt x="172" y="62"/>
                    </a:lnTo>
                    <a:lnTo>
                      <a:pt x="168" y="57"/>
                    </a:lnTo>
                    <a:lnTo>
                      <a:pt x="158" y="50"/>
                    </a:lnTo>
                    <a:lnTo>
                      <a:pt x="153" y="50"/>
                    </a:lnTo>
                    <a:lnTo>
                      <a:pt x="151" y="48"/>
                    </a:lnTo>
                    <a:lnTo>
                      <a:pt x="144" y="45"/>
                    </a:lnTo>
                    <a:lnTo>
                      <a:pt x="132" y="40"/>
                    </a:lnTo>
                    <a:lnTo>
                      <a:pt x="127" y="40"/>
                    </a:lnTo>
                    <a:lnTo>
                      <a:pt x="120" y="40"/>
                    </a:lnTo>
                    <a:lnTo>
                      <a:pt x="116" y="38"/>
                    </a:lnTo>
                    <a:lnTo>
                      <a:pt x="113" y="36"/>
                    </a:lnTo>
                    <a:lnTo>
                      <a:pt x="111" y="36"/>
                    </a:lnTo>
                    <a:lnTo>
                      <a:pt x="111" y="31"/>
                    </a:lnTo>
                    <a:lnTo>
                      <a:pt x="108" y="29"/>
                    </a:lnTo>
                    <a:lnTo>
                      <a:pt x="108" y="26"/>
                    </a:lnTo>
                    <a:lnTo>
                      <a:pt x="106" y="21"/>
                    </a:lnTo>
                    <a:lnTo>
                      <a:pt x="106" y="19"/>
                    </a:lnTo>
                    <a:lnTo>
                      <a:pt x="104" y="17"/>
                    </a:lnTo>
                    <a:lnTo>
                      <a:pt x="92" y="14"/>
                    </a:lnTo>
                    <a:lnTo>
                      <a:pt x="90" y="12"/>
                    </a:lnTo>
                    <a:lnTo>
                      <a:pt x="87" y="10"/>
                    </a:lnTo>
                    <a:lnTo>
                      <a:pt x="85" y="10"/>
                    </a:lnTo>
                    <a:lnTo>
                      <a:pt x="80" y="7"/>
                    </a:lnTo>
                    <a:lnTo>
                      <a:pt x="78" y="7"/>
                    </a:lnTo>
                    <a:lnTo>
                      <a:pt x="75" y="7"/>
                    </a:lnTo>
                    <a:lnTo>
                      <a:pt x="71" y="5"/>
                    </a:lnTo>
                    <a:lnTo>
                      <a:pt x="68" y="5"/>
                    </a:lnTo>
                    <a:lnTo>
                      <a:pt x="61" y="7"/>
                    </a:lnTo>
                    <a:lnTo>
                      <a:pt x="54" y="7"/>
                    </a:lnTo>
                    <a:lnTo>
                      <a:pt x="52" y="7"/>
                    </a:lnTo>
                    <a:lnTo>
                      <a:pt x="45" y="3"/>
                    </a:lnTo>
                    <a:lnTo>
                      <a:pt x="42" y="0"/>
                    </a:lnTo>
                    <a:lnTo>
                      <a:pt x="38" y="0"/>
                    </a:lnTo>
                    <a:lnTo>
                      <a:pt x="38" y="0"/>
                    </a:lnTo>
                    <a:lnTo>
                      <a:pt x="38" y="5"/>
                    </a:lnTo>
                    <a:lnTo>
                      <a:pt x="38" y="5"/>
                    </a:lnTo>
                    <a:lnTo>
                      <a:pt x="38" y="7"/>
                    </a:lnTo>
                    <a:lnTo>
                      <a:pt x="38" y="12"/>
                    </a:lnTo>
                    <a:lnTo>
                      <a:pt x="40" y="14"/>
                    </a:lnTo>
                    <a:lnTo>
                      <a:pt x="40" y="14"/>
                    </a:lnTo>
                    <a:lnTo>
                      <a:pt x="40" y="17"/>
                    </a:lnTo>
                    <a:lnTo>
                      <a:pt x="35" y="17"/>
                    </a:lnTo>
                    <a:lnTo>
                      <a:pt x="33" y="19"/>
                    </a:lnTo>
                    <a:lnTo>
                      <a:pt x="30" y="21"/>
                    </a:lnTo>
                    <a:lnTo>
                      <a:pt x="26" y="24"/>
                    </a:lnTo>
                    <a:lnTo>
                      <a:pt x="26" y="24"/>
                    </a:lnTo>
                    <a:lnTo>
                      <a:pt x="23" y="26"/>
                    </a:lnTo>
                    <a:lnTo>
                      <a:pt x="23" y="26"/>
                    </a:lnTo>
                    <a:lnTo>
                      <a:pt x="23" y="26"/>
                    </a:lnTo>
                    <a:lnTo>
                      <a:pt x="21" y="29"/>
                    </a:lnTo>
                    <a:lnTo>
                      <a:pt x="21" y="31"/>
                    </a:lnTo>
                    <a:lnTo>
                      <a:pt x="16" y="31"/>
                    </a:lnTo>
                    <a:lnTo>
                      <a:pt x="16" y="31"/>
                    </a:lnTo>
                    <a:lnTo>
                      <a:pt x="16" y="33"/>
                    </a:lnTo>
                    <a:lnTo>
                      <a:pt x="14" y="33"/>
                    </a:lnTo>
                    <a:lnTo>
                      <a:pt x="14" y="36"/>
                    </a:lnTo>
                    <a:lnTo>
                      <a:pt x="14" y="40"/>
                    </a:lnTo>
                    <a:lnTo>
                      <a:pt x="16" y="45"/>
                    </a:lnTo>
                    <a:lnTo>
                      <a:pt x="16" y="48"/>
                    </a:lnTo>
                    <a:lnTo>
                      <a:pt x="16" y="48"/>
                    </a:lnTo>
                    <a:lnTo>
                      <a:pt x="16" y="50"/>
                    </a:lnTo>
                    <a:lnTo>
                      <a:pt x="14" y="52"/>
                    </a:lnTo>
                    <a:lnTo>
                      <a:pt x="14" y="55"/>
                    </a:lnTo>
                    <a:lnTo>
                      <a:pt x="12" y="57"/>
                    </a:lnTo>
                    <a:lnTo>
                      <a:pt x="9" y="59"/>
                    </a:lnTo>
                    <a:lnTo>
                      <a:pt x="9" y="59"/>
                    </a:lnTo>
                    <a:lnTo>
                      <a:pt x="4" y="62"/>
                    </a:lnTo>
                    <a:lnTo>
                      <a:pt x="4" y="62"/>
                    </a:lnTo>
                    <a:lnTo>
                      <a:pt x="2" y="64"/>
                    </a:lnTo>
                    <a:lnTo>
                      <a:pt x="0" y="64"/>
                    </a:lnTo>
                    <a:lnTo>
                      <a:pt x="2" y="66"/>
                    </a:lnTo>
                    <a:lnTo>
                      <a:pt x="4" y="71"/>
                    </a:lnTo>
                    <a:lnTo>
                      <a:pt x="4" y="74"/>
                    </a:lnTo>
                    <a:lnTo>
                      <a:pt x="7" y="76"/>
                    </a:lnTo>
                    <a:lnTo>
                      <a:pt x="7" y="81"/>
                    </a:lnTo>
                    <a:lnTo>
                      <a:pt x="9" y="85"/>
                    </a:lnTo>
                    <a:lnTo>
                      <a:pt x="9" y="85"/>
                    </a:lnTo>
                    <a:lnTo>
                      <a:pt x="9" y="88"/>
                    </a:lnTo>
                    <a:lnTo>
                      <a:pt x="9" y="97"/>
                    </a:lnTo>
                    <a:lnTo>
                      <a:pt x="9" y="109"/>
                    </a:lnTo>
                    <a:lnTo>
                      <a:pt x="9" y="114"/>
                    </a:lnTo>
                    <a:lnTo>
                      <a:pt x="9" y="119"/>
                    </a:lnTo>
                    <a:lnTo>
                      <a:pt x="7" y="123"/>
                    </a:lnTo>
                    <a:lnTo>
                      <a:pt x="7" y="126"/>
                    </a:lnTo>
                    <a:lnTo>
                      <a:pt x="9" y="130"/>
                    </a:lnTo>
                    <a:lnTo>
                      <a:pt x="9" y="133"/>
                    </a:lnTo>
                    <a:lnTo>
                      <a:pt x="9" y="133"/>
                    </a:lnTo>
                    <a:lnTo>
                      <a:pt x="9" y="137"/>
                    </a:lnTo>
                    <a:lnTo>
                      <a:pt x="9" y="140"/>
                    </a:lnTo>
                    <a:lnTo>
                      <a:pt x="7" y="142"/>
                    </a:lnTo>
                    <a:lnTo>
                      <a:pt x="2" y="145"/>
                    </a:lnTo>
                    <a:lnTo>
                      <a:pt x="2" y="147"/>
                    </a:lnTo>
                    <a:lnTo>
                      <a:pt x="2" y="149"/>
                    </a:lnTo>
                    <a:lnTo>
                      <a:pt x="2" y="149"/>
                    </a:lnTo>
                    <a:lnTo>
                      <a:pt x="4" y="154"/>
                    </a:lnTo>
                    <a:lnTo>
                      <a:pt x="7" y="159"/>
                    </a:lnTo>
                    <a:lnTo>
                      <a:pt x="12" y="166"/>
                    </a:lnTo>
                    <a:lnTo>
                      <a:pt x="12" y="168"/>
                    </a:lnTo>
                    <a:lnTo>
                      <a:pt x="12" y="171"/>
                    </a:lnTo>
                    <a:lnTo>
                      <a:pt x="14" y="178"/>
                    </a:lnTo>
                    <a:lnTo>
                      <a:pt x="16" y="180"/>
                    </a:lnTo>
                    <a:lnTo>
                      <a:pt x="16" y="180"/>
                    </a:lnTo>
                    <a:lnTo>
                      <a:pt x="19" y="182"/>
                    </a:lnTo>
                    <a:lnTo>
                      <a:pt x="19" y="182"/>
                    </a:lnTo>
                    <a:lnTo>
                      <a:pt x="19" y="182"/>
                    </a:lnTo>
                    <a:lnTo>
                      <a:pt x="23" y="182"/>
                    </a:lnTo>
                    <a:lnTo>
                      <a:pt x="33" y="185"/>
                    </a:lnTo>
                    <a:lnTo>
                      <a:pt x="40" y="187"/>
                    </a:lnTo>
                    <a:lnTo>
                      <a:pt x="40" y="187"/>
                    </a:lnTo>
                    <a:lnTo>
                      <a:pt x="42" y="192"/>
                    </a:lnTo>
                    <a:lnTo>
                      <a:pt x="45" y="197"/>
                    </a:lnTo>
                    <a:lnTo>
                      <a:pt x="45" y="199"/>
                    </a:lnTo>
                    <a:lnTo>
                      <a:pt x="47" y="204"/>
                    </a:lnTo>
                    <a:lnTo>
                      <a:pt x="56" y="206"/>
                    </a:lnTo>
                    <a:lnTo>
                      <a:pt x="66" y="209"/>
                    </a:lnTo>
                    <a:lnTo>
                      <a:pt x="75" y="211"/>
                    </a:lnTo>
                    <a:lnTo>
                      <a:pt x="78" y="213"/>
                    </a:lnTo>
                    <a:lnTo>
                      <a:pt x="82" y="218"/>
                    </a:lnTo>
                    <a:lnTo>
                      <a:pt x="87" y="223"/>
                    </a:lnTo>
                    <a:lnTo>
                      <a:pt x="90" y="223"/>
                    </a:lnTo>
                    <a:lnTo>
                      <a:pt x="90" y="223"/>
                    </a:lnTo>
                    <a:lnTo>
                      <a:pt x="94" y="220"/>
                    </a:lnTo>
                    <a:lnTo>
                      <a:pt x="101" y="216"/>
                    </a:lnTo>
                    <a:lnTo>
                      <a:pt x="101" y="216"/>
                    </a:lnTo>
                    <a:lnTo>
                      <a:pt x="108" y="211"/>
                    </a:lnTo>
                    <a:lnTo>
                      <a:pt x="113" y="209"/>
                    </a:lnTo>
                    <a:lnTo>
                      <a:pt x="120" y="206"/>
                    </a:lnTo>
                    <a:lnTo>
                      <a:pt x="127" y="209"/>
                    </a:lnTo>
                    <a:lnTo>
                      <a:pt x="135" y="213"/>
                    </a:lnTo>
                    <a:lnTo>
                      <a:pt x="144" y="218"/>
                    </a:lnTo>
                    <a:lnTo>
                      <a:pt x="153" y="225"/>
                    </a:lnTo>
                    <a:lnTo>
                      <a:pt x="163" y="230"/>
                    </a:lnTo>
                    <a:lnTo>
                      <a:pt x="170" y="235"/>
                    </a:lnTo>
                    <a:lnTo>
                      <a:pt x="179" y="239"/>
                    </a:lnTo>
                    <a:lnTo>
                      <a:pt x="189" y="244"/>
                    </a:lnTo>
                    <a:lnTo>
                      <a:pt x="196" y="249"/>
                    </a:lnTo>
                    <a:lnTo>
                      <a:pt x="205" y="254"/>
                    </a:lnTo>
                    <a:lnTo>
                      <a:pt x="215" y="258"/>
                    </a:lnTo>
                    <a:lnTo>
                      <a:pt x="224" y="263"/>
                    </a:lnTo>
                    <a:lnTo>
                      <a:pt x="231" y="270"/>
                    </a:lnTo>
                    <a:lnTo>
                      <a:pt x="241" y="275"/>
                    </a:lnTo>
                    <a:lnTo>
                      <a:pt x="250" y="280"/>
                    </a:lnTo>
                    <a:lnTo>
                      <a:pt x="260" y="284"/>
                    </a:lnTo>
                    <a:lnTo>
                      <a:pt x="267" y="289"/>
                    </a:lnTo>
                    <a:lnTo>
                      <a:pt x="267" y="287"/>
                    </a:lnTo>
                    <a:lnTo>
                      <a:pt x="267" y="284"/>
                    </a:lnTo>
                    <a:lnTo>
                      <a:pt x="267" y="282"/>
                    </a:lnTo>
                    <a:lnTo>
                      <a:pt x="267" y="277"/>
                    </a:lnTo>
                    <a:lnTo>
                      <a:pt x="272" y="277"/>
                    </a:lnTo>
                    <a:lnTo>
                      <a:pt x="276" y="280"/>
                    </a:lnTo>
                    <a:lnTo>
                      <a:pt x="281" y="280"/>
                    </a:lnTo>
                    <a:lnTo>
                      <a:pt x="286" y="280"/>
                    </a:lnTo>
                    <a:lnTo>
                      <a:pt x="286" y="277"/>
                    </a:lnTo>
                    <a:lnTo>
                      <a:pt x="286" y="277"/>
                    </a:lnTo>
                    <a:lnTo>
                      <a:pt x="286" y="277"/>
                    </a:lnTo>
                    <a:lnTo>
                      <a:pt x="286" y="277"/>
                    </a:lnTo>
                    <a:lnTo>
                      <a:pt x="286" y="268"/>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Freeform 112"/>
              <p:cNvSpPr>
                <a:spLocks/>
              </p:cNvSpPr>
              <p:nvPr/>
            </p:nvSpPr>
            <p:spPr bwMode="auto">
              <a:xfrm>
                <a:off x="2536" y="2620"/>
                <a:ext cx="75" cy="88"/>
              </a:xfrm>
              <a:custGeom>
                <a:avLst/>
                <a:gdLst>
                  <a:gd name="T0" fmla="*/ 73 w 75"/>
                  <a:gd name="T1" fmla="*/ 57 h 88"/>
                  <a:gd name="T2" fmla="*/ 71 w 75"/>
                  <a:gd name="T3" fmla="*/ 55 h 88"/>
                  <a:gd name="T4" fmla="*/ 68 w 75"/>
                  <a:gd name="T5" fmla="*/ 52 h 88"/>
                  <a:gd name="T6" fmla="*/ 66 w 75"/>
                  <a:gd name="T7" fmla="*/ 47 h 88"/>
                  <a:gd name="T8" fmla="*/ 61 w 75"/>
                  <a:gd name="T9" fmla="*/ 47 h 88"/>
                  <a:gd name="T10" fmla="*/ 56 w 75"/>
                  <a:gd name="T11" fmla="*/ 45 h 88"/>
                  <a:gd name="T12" fmla="*/ 54 w 75"/>
                  <a:gd name="T13" fmla="*/ 43 h 88"/>
                  <a:gd name="T14" fmla="*/ 52 w 75"/>
                  <a:gd name="T15" fmla="*/ 43 h 88"/>
                  <a:gd name="T16" fmla="*/ 59 w 75"/>
                  <a:gd name="T17" fmla="*/ 36 h 88"/>
                  <a:gd name="T18" fmla="*/ 59 w 75"/>
                  <a:gd name="T19" fmla="*/ 31 h 88"/>
                  <a:gd name="T20" fmla="*/ 56 w 75"/>
                  <a:gd name="T21" fmla="*/ 21 h 88"/>
                  <a:gd name="T22" fmla="*/ 54 w 75"/>
                  <a:gd name="T23" fmla="*/ 19 h 88"/>
                  <a:gd name="T24" fmla="*/ 52 w 75"/>
                  <a:gd name="T25" fmla="*/ 17 h 88"/>
                  <a:gd name="T26" fmla="*/ 49 w 75"/>
                  <a:gd name="T27" fmla="*/ 21 h 88"/>
                  <a:gd name="T28" fmla="*/ 49 w 75"/>
                  <a:gd name="T29" fmla="*/ 24 h 88"/>
                  <a:gd name="T30" fmla="*/ 47 w 75"/>
                  <a:gd name="T31" fmla="*/ 26 h 88"/>
                  <a:gd name="T32" fmla="*/ 45 w 75"/>
                  <a:gd name="T33" fmla="*/ 28 h 88"/>
                  <a:gd name="T34" fmla="*/ 42 w 75"/>
                  <a:gd name="T35" fmla="*/ 26 h 88"/>
                  <a:gd name="T36" fmla="*/ 40 w 75"/>
                  <a:gd name="T37" fmla="*/ 24 h 88"/>
                  <a:gd name="T38" fmla="*/ 38 w 75"/>
                  <a:gd name="T39" fmla="*/ 24 h 88"/>
                  <a:gd name="T40" fmla="*/ 38 w 75"/>
                  <a:gd name="T41" fmla="*/ 19 h 88"/>
                  <a:gd name="T42" fmla="*/ 38 w 75"/>
                  <a:gd name="T43" fmla="*/ 14 h 88"/>
                  <a:gd name="T44" fmla="*/ 38 w 75"/>
                  <a:gd name="T45" fmla="*/ 12 h 88"/>
                  <a:gd name="T46" fmla="*/ 38 w 75"/>
                  <a:gd name="T47" fmla="*/ 10 h 88"/>
                  <a:gd name="T48" fmla="*/ 35 w 75"/>
                  <a:gd name="T49" fmla="*/ 5 h 88"/>
                  <a:gd name="T50" fmla="*/ 35 w 75"/>
                  <a:gd name="T51" fmla="*/ 2 h 88"/>
                  <a:gd name="T52" fmla="*/ 33 w 75"/>
                  <a:gd name="T53" fmla="*/ 0 h 88"/>
                  <a:gd name="T54" fmla="*/ 33 w 75"/>
                  <a:gd name="T55" fmla="*/ 2 h 88"/>
                  <a:gd name="T56" fmla="*/ 30 w 75"/>
                  <a:gd name="T57" fmla="*/ 0 h 88"/>
                  <a:gd name="T58" fmla="*/ 26 w 75"/>
                  <a:gd name="T59" fmla="*/ 0 h 88"/>
                  <a:gd name="T60" fmla="*/ 21 w 75"/>
                  <a:gd name="T61" fmla="*/ 0 h 88"/>
                  <a:gd name="T62" fmla="*/ 21 w 75"/>
                  <a:gd name="T63" fmla="*/ 7 h 88"/>
                  <a:gd name="T64" fmla="*/ 16 w 75"/>
                  <a:gd name="T65" fmla="*/ 10 h 88"/>
                  <a:gd name="T66" fmla="*/ 14 w 75"/>
                  <a:gd name="T67" fmla="*/ 17 h 88"/>
                  <a:gd name="T68" fmla="*/ 7 w 75"/>
                  <a:gd name="T69" fmla="*/ 24 h 88"/>
                  <a:gd name="T70" fmla="*/ 2 w 75"/>
                  <a:gd name="T71" fmla="*/ 31 h 88"/>
                  <a:gd name="T72" fmla="*/ 2 w 75"/>
                  <a:gd name="T73" fmla="*/ 38 h 88"/>
                  <a:gd name="T74" fmla="*/ 12 w 75"/>
                  <a:gd name="T75" fmla="*/ 47 h 88"/>
                  <a:gd name="T76" fmla="*/ 19 w 75"/>
                  <a:gd name="T77" fmla="*/ 50 h 88"/>
                  <a:gd name="T78" fmla="*/ 38 w 75"/>
                  <a:gd name="T79" fmla="*/ 69 h 88"/>
                  <a:gd name="T80" fmla="*/ 64 w 75"/>
                  <a:gd name="T81" fmla="*/ 85 h 88"/>
                  <a:gd name="T82" fmla="*/ 71 w 75"/>
                  <a:gd name="T83" fmla="*/ 88 h 88"/>
                  <a:gd name="T84" fmla="*/ 71 w 75"/>
                  <a:gd name="T85" fmla="*/ 76 h 88"/>
                  <a:gd name="T86" fmla="*/ 73 w 75"/>
                  <a:gd name="T87" fmla="*/ 71 h 88"/>
                  <a:gd name="T88" fmla="*/ 75 w 75"/>
                  <a:gd name="T89" fmla="*/ 66 h 88"/>
                  <a:gd name="T90" fmla="*/ 75 w 75"/>
                  <a:gd name="T91" fmla="*/ 62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5" h="88">
                    <a:moveTo>
                      <a:pt x="75" y="62"/>
                    </a:moveTo>
                    <a:lnTo>
                      <a:pt x="73" y="57"/>
                    </a:lnTo>
                    <a:lnTo>
                      <a:pt x="73" y="57"/>
                    </a:lnTo>
                    <a:lnTo>
                      <a:pt x="73" y="57"/>
                    </a:lnTo>
                    <a:lnTo>
                      <a:pt x="73" y="57"/>
                    </a:lnTo>
                    <a:lnTo>
                      <a:pt x="71" y="55"/>
                    </a:lnTo>
                    <a:lnTo>
                      <a:pt x="68" y="55"/>
                    </a:lnTo>
                    <a:lnTo>
                      <a:pt x="68" y="55"/>
                    </a:lnTo>
                    <a:lnTo>
                      <a:pt x="68" y="52"/>
                    </a:lnTo>
                    <a:lnTo>
                      <a:pt x="66" y="52"/>
                    </a:lnTo>
                    <a:lnTo>
                      <a:pt x="66" y="50"/>
                    </a:lnTo>
                    <a:lnTo>
                      <a:pt x="66" y="47"/>
                    </a:lnTo>
                    <a:lnTo>
                      <a:pt x="64" y="47"/>
                    </a:lnTo>
                    <a:lnTo>
                      <a:pt x="64" y="47"/>
                    </a:lnTo>
                    <a:lnTo>
                      <a:pt x="61" y="47"/>
                    </a:lnTo>
                    <a:lnTo>
                      <a:pt x="61" y="47"/>
                    </a:lnTo>
                    <a:lnTo>
                      <a:pt x="59" y="47"/>
                    </a:lnTo>
                    <a:lnTo>
                      <a:pt x="56" y="45"/>
                    </a:lnTo>
                    <a:lnTo>
                      <a:pt x="56" y="45"/>
                    </a:lnTo>
                    <a:lnTo>
                      <a:pt x="56" y="43"/>
                    </a:lnTo>
                    <a:lnTo>
                      <a:pt x="54" y="43"/>
                    </a:lnTo>
                    <a:lnTo>
                      <a:pt x="54" y="43"/>
                    </a:lnTo>
                    <a:lnTo>
                      <a:pt x="54" y="43"/>
                    </a:lnTo>
                    <a:lnTo>
                      <a:pt x="52" y="43"/>
                    </a:lnTo>
                    <a:lnTo>
                      <a:pt x="56" y="38"/>
                    </a:lnTo>
                    <a:lnTo>
                      <a:pt x="59" y="36"/>
                    </a:lnTo>
                    <a:lnTo>
                      <a:pt x="59" y="36"/>
                    </a:lnTo>
                    <a:lnTo>
                      <a:pt x="59" y="33"/>
                    </a:lnTo>
                    <a:lnTo>
                      <a:pt x="59" y="33"/>
                    </a:lnTo>
                    <a:lnTo>
                      <a:pt x="59" y="31"/>
                    </a:lnTo>
                    <a:lnTo>
                      <a:pt x="56" y="24"/>
                    </a:lnTo>
                    <a:lnTo>
                      <a:pt x="56" y="21"/>
                    </a:lnTo>
                    <a:lnTo>
                      <a:pt x="56" y="21"/>
                    </a:lnTo>
                    <a:lnTo>
                      <a:pt x="54" y="21"/>
                    </a:lnTo>
                    <a:lnTo>
                      <a:pt x="54" y="19"/>
                    </a:lnTo>
                    <a:lnTo>
                      <a:pt x="54" y="19"/>
                    </a:lnTo>
                    <a:lnTo>
                      <a:pt x="54" y="17"/>
                    </a:lnTo>
                    <a:lnTo>
                      <a:pt x="52" y="17"/>
                    </a:lnTo>
                    <a:lnTo>
                      <a:pt x="52" y="17"/>
                    </a:lnTo>
                    <a:lnTo>
                      <a:pt x="52" y="19"/>
                    </a:lnTo>
                    <a:lnTo>
                      <a:pt x="52" y="19"/>
                    </a:lnTo>
                    <a:lnTo>
                      <a:pt x="49" y="21"/>
                    </a:lnTo>
                    <a:lnTo>
                      <a:pt x="49" y="21"/>
                    </a:lnTo>
                    <a:lnTo>
                      <a:pt x="49" y="21"/>
                    </a:lnTo>
                    <a:lnTo>
                      <a:pt x="49" y="24"/>
                    </a:lnTo>
                    <a:lnTo>
                      <a:pt x="47" y="26"/>
                    </a:lnTo>
                    <a:lnTo>
                      <a:pt x="47" y="26"/>
                    </a:lnTo>
                    <a:lnTo>
                      <a:pt x="47" y="26"/>
                    </a:lnTo>
                    <a:lnTo>
                      <a:pt x="47" y="26"/>
                    </a:lnTo>
                    <a:lnTo>
                      <a:pt x="47" y="26"/>
                    </a:lnTo>
                    <a:lnTo>
                      <a:pt x="45" y="28"/>
                    </a:lnTo>
                    <a:lnTo>
                      <a:pt x="42" y="28"/>
                    </a:lnTo>
                    <a:lnTo>
                      <a:pt x="42" y="26"/>
                    </a:lnTo>
                    <a:lnTo>
                      <a:pt x="42" y="26"/>
                    </a:lnTo>
                    <a:lnTo>
                      <a:pt x="42" y="26"/>
                    </a:lnTo>
                    <a:lnTo>
                      <a:pt x="40" y="24"/>
                    </a:lnTo>
                    <a:lnTo>
                      <a:pt x="40" y="24"/>
                    </a:lnTo>
                    <a:lnTo>
                      <a:pt x="38" y="24"/>
                    </a:lnTo>
                    <a:lnTo>
                      <a:pt x="38" y="24"/>
                    </a:lnTo>
                    <a:lnTo>
                      <a:pt x="38" y="24"/>
                    </a:lnTo>
                    <a:lnTo>
                      <a:pt x="38" y="24"/>
                    </a:lnTo>
                    <a:lnTo>
                      <a:pt x="38" y="21"/>
                    </a:lnTo>
                    <a:lnTo>
                      <a:pt x="38" y="19"/>
                    </a:lnTo>
                    <a:lnTo>
                      <a:pt x="38" y="19"/>
                    </a:lnTo>
                    <a:lnTo>
                      <a:pt x="38" y="17"/>
                    </a:lnTo>
                    <a:lnTo>
                      <a:pt x="38" y="14"/>
                    </a:lnTo>
                    <a:lnTo>
                      <a:pt x="38" y="14"/>
                    </a:lnTo>
                    <a:lnTo>
                      <a:pt x="38" y="12"/>
                    </a:lnTo>
                    <a:lnTo>
                      <a:pt x="38" y="12"/>
                    </a:lnTo>
                    <a:lnTo>
                      <a:pt x="38" y="10"/>
                    </a:lnTo>
                    <a:lnTo>
                      <a:pt x="38" y="10"/>
                    </a:lnTo>
                    <a:lnTo>
                      <a:pt x="38" y="10"/>
                    </a:lnTo>
                    <a:lnTo>
                      <a:pt x="38" y="7"/>
                    </a:lnTo>
                    <a:lnTo>
                      <a:pt x="35" y="7"/>
                    </a:lnTo>
                    <a:lnTo>
                      <a:pt x="35" y="5"/>
                    </a:lnTo>
                    <a:lnTo>
                      <a:pt x="35" y="5"/>
                    </a:lnTo>
                    <a:lnTo>
                      <a:pt x="35" y="2"/>
                    </a:lnTo>
                    <a:lnTo>
                      <a:pt x="35" y="2"/>
                    </a:lnTo>
                    <a:lnTo>
                      <a:pt x="33" y="2"/>
                    </a:lnTo>
                    <a:lnTo>
                      <a:pt x="33" y="0"/>
                    </a:lnTo>
                    <a:lnTo>
                      <a:pt x="33" y="0"/>
                    </a:lnTo>
                    <a:lnTo>
                      <a:pt x="33" y="0"/>
                    </a:lnTo>
                    <a:lnTo>
                      <a:pt x="33" y="2"/>
                    </a:lnTo>
                    <a:lnTo>
                      <a:pt x="33" y="2"/>
                    </a:lnTo>
                    <a:lnTo>
                      <a:pt x="30" y="0"/>
                    </a:lnTo>
                    <a:lnTo>
                      <a:pt x="30" y="0"/>
                    </a:lnTo>
                    <a:lnTo>
                      <a:pt x="30" y="0"/>
                    </a:lnTo>
                    <a:lnTo>
                      <a:pt x="26" y="2"/>
                    </a:lnTo>
                    <a:lnTo>
                      <a:pt x="26" y="0"/>
                    </a:lnTo>
                    <a:lnTo>
                      <a:pt x="26" y="0"/>
                    </a:lnTo>
                    <a:lnTo>
                      <a:pt x="23" y="0"/>
                    </a:lnTo>
                    <a:lnTo>
                      <a:pt x="23" y="0"/>
                    </a:lnTo>
                    <a:lnTo>
                      <a:pt x="21" y="0"/>
                    </a:lnTo>
                    <a:lnTo>
                      <a:pt x="21" y="2"/>
                    </a:lnTo>
                    <a:lnTo>
                      <a:pt x="21" y="5"/>
                    </a:lnTo>
                    <a:lnTo>
                      <a:pt x="21" y="7"/>
                    </a:lnTo>
                    <a:lnTo>
                      <a:pt x="21" y="7"/>
                    </a:lnTo>
                    <a:lnTo>
                      <a:pt x="19" y="7"/>
                    </a:lnTo>
                    <a:lnTo>
                      <a:pt x="16" y="10"/>
                    </a:lnTo>
                    <a:lnTo>
                      <a:pt x="16" y="14"/>
                    </a:lnTo>
                    <a:lnTo>
                      <a:pt x="14" y="17"/>
                    </a:lnTo>
                    <a:lnTo>
                      <a:pt x="14" y="17"/>
                    </a:lnTo>
                    <a:lnTo>
                      <a:pt x="12" y="21"/>
                    </a:lnTo>
                    <a:lnTo>
                      <a:pt x="9" y="21"/>
                    </a:lnTo>
                    <a:lnTo>
                      <a:pt x="7" y="24"/>
                    </a:lnTo>
                    <a:lnTo>
                      <a:pt x="4" y="26"/>
                    </a:lnTo>
                    <a:lnTo>
                      <a:pt x="4" y="26"/>
                    </a:lnTo>
                    <a:lnTo>
                      <a:pt x="2" y="31"/>
                    </a:lnTo>
                    <a:lnTo>
                      <a:pt x="0" y="33"/>
                    </a:lnTo>
                    <a:lnTo>
                      <a:pt x="0" y="33"/>
                    </a:lnTo>
                    <a:lnTo>
                      <a:pt x="2" y="38"/>
                    </a:lnTo>
                    <a:lnTo>
                      <a:pt x="9" y="40"/>
                    </a:lnTo>
                    <a:lnTo>
                      <a:pt x="12" y="43"/>
                    </a:lnTo>
                    <a:lnTo>
                      <a:pt x="12" y="47"/>
                    </a:lnTo>
                    <a:lnTo>
                      <a:pt x="14" y="47"/>
                    </a:lnTo>
                    <a:lnTo>
                      <a:pt x="16" y="50"/>
                    </a:lnTo>
                    <a:lnTo>
                      <a:pt x="19" y="50"/>
                    </a:lnTo>
                    <a:lnTo>
                      <a:pt x="21" y="52"/>
                    </a:lnTo>
                    <a:lnTo>
                      <a:pt x="33" y="64"/>
                    </a:lnTo>
                    <a:lnTo>
                      <a:pt x="38" y="69"/>
                    </a:lnTo>
                    <a:lnTo>
                      <a:pt x="42" y="73"/>
                    </a:lnTo>
                    <a:lnTo>
                      <a:pt x="59" y="83"/>
                    </a:lnTo>
                    <a:lnTo>
                      <a:pt x="64" y="85"/>
                    </a:lnTo>
                    <a:lnTo>
                      <a:pt x="71" y="88"/>
                    </a:lnTo>
                    <a:lnTo>
                      <a:pt x="73" y="88"/>
                    </a:lnTo>
                    <a:lnTo>
                      <a:pt x="71" y="88"/>
                    </a:lnTo>
                    <a:lnTo>
                      <a:pt x="71" y="83"/>
                    </a:lnTo>
                    <a:lnTo>
                      <a:pt x="71" y="78"/>
                    </a:lnTo>
                    <a:lnTo>
                      <a:pt x="71" y="76"/>
                    </a:lnTo>
                    <a:lnTo>
                      <a:pt x="71" y="73"/>
                    </a:lnTo>
                    <a:lnTo>
                      <a:pt x="71" y="73"/>
                    </a:lnTo>
                    <a:lnTo>
                      <a:pt x="73" y="71"/>
                    </a:lnTo>
                    <a:lnTo>
                      <a:pt x="73" y="71"/>
                    </a:lnTo>
                    <a:lnTo>
                      <a:pt x="73" y="69"/>
                    </a:lnTo>
                    <a:lnTo>
                      <a:pt x="75" y="66"/>
                    </a:lnTo>
                    <a:lnTo>
                      <a:pt x="75" y="64"/>
                    </a:lnTo>
                    <a:lnTo>
                      <a:pt x="75" y="64"/>
                    </a:lnTo>
                    <a:lnTo>
                      <a:pt x="75" y="62"/>
                    </a:lnTo>
                    <a:lnTo>
                      <a:pt x="75" y="62"/>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113"/>
              <p:cNvSpPr>
                <a:spLocks/>
              </p:cNvSpPr>
              <p:nvPr/>
            </p:nvSpPr>
            <p:spPr bwMode="auto">
              <a:xfrm>
                <a:off x="3241" y="3404"/>
                <a:ext cx="42" cy="45"/>
              </a:xfrm>
              <a:custGeom>
                <a:avLst/>
                <a:gdLst>
                  <a:gd name="T0" fmla="*/ 42 w 42"/>
                  <a:gd name="T1" fmla="*/ 12 h 45"/>
                  <a:gd name="T2" fmla="*/ 40 w 42"/>
                  <a:gd name="T3" fmla="*/ 12 h 45"/>
                  <a:gd name="T4" fmla="*/ 38 w 42"/>
                  <a:gd name="T5" fmla="*/ 9 h 45"/>
                  <a:gd name="T6" fmla="*/ 33 w 42"/>
                  <a:gd name="T7" fmla="*/ 5 h 45"/>
                  <a:gd name="T8" fmla="*/ 30 w 42"/>
                  <a:gd name="T9" fmla="*/ 2 h 45"/>
                  <a:gd name="T10" fmla="*/ 30 w 42"/>
                  <a:gd name="T11" fmla="*/ 0 h 45"/>
                  <a:gd name="T12" fmla="*/ 28 w 42"/>
                  <a:gd name="T13" fmla="*/ 0 h 45"/>
                  <a:gd name="T14" fmla="*/ 23 w 42"/>
                  <a:gd name="T15" fmla="*/ 2 h 45"/>
                  <a:gd name="T16" fmla="*/ 19 w 42"/>
                  <a:gd name="T17" fmla="*/ 7 h 45"/>
                  <a:gd name="T18" fmla="*/ 14 w 42"/>
                  <a:gd name="T19" fmla="*/ 7 h 45"/>
                  <a:gd name="T20" fmla="*/ 11 w 42"/>
                  <a:gd name="T21" fmla="*/ 12 h 45"/>
                  <a:gd name="T22" fmla="*/ 9 w 42"/>
                  <a:gd name="T23" fmla="*/ 14 h 45"/>
                  <a:gd name="T24" fmla="*/ 7 w 42"/>
                  <a:gd name="T25" fmla="*/ 16 h 45"/>
                  <a:gd name="T26" fmla="*/ 4 w 42"/>
                  <a:gd name="T27" fmla="*/ 21 h 45"/>
                  <a:gd name="T28" fmla="*/ 2 w 42"/>
                  <a:gd name="T29" fmla="*/ 21 h 45"/>
                  <a:gd name="T30" fmla="*/ 0 w 42"/>
                  <a:gd name="T31" fmla="*/ 23 h 45"/>
                  <a:gd name="T32" fmla="*/ 2 w 42"/>
                  <a:gd name="T33" fmla="*/ 26 h 45"/>
                  <a:gd name="T34" fmla="*/ 4 w 42"/>
                  <a:gd name="T35" fmla="*/ 31 h 45"/>
                  <a:gd name="T36" fmla="*/ 7 w 42"/>
                  <a:gd name="T37" fmla="*/ 33 h 45"/>
                  <a:gd name="T38" fmla="*/ 7 w 42"/>
                  <a:gd name="T39" fmla="*/ 35 h 45"/>
                  <a:gd name="T40" fmla="*/ 7 w 42"/>
                  <a:gd name="T41" fmla="*/ 38 h 45"/>
                  <a:gd name="T42" fmla="*/ 7 w 42"/>
                  <a:gd name="T43" fmla="*/ 38 h 45"/>
                  <a:gd name="T44" fmla="*/ 9 w 42"/>
                  <a:gd name="T45" fmla="*/ 40 h 45"/>
                  <a:gd name="T46" fmla="*/ 11 w 42"/>
                  <a:gd name="T47" fmla="*/ 42 h 45"/>
                  <a:gd name="T48" fmla="*/ 14 w 42"/>
                  <a:gd name="T49" fmla="*/ 42 h 45"/>
                  <a:gd name="T50" fmla="*/ 19 w 42"/>
                  <a:gd name="T51" fmla="*/ 42 h 45"/>
                  <a:gd name="T52" fmla="*/ 19 w 42"/>
                  <a:gd name="T53" fmla="*/ 42 h 45"/>
                  <a:gd name="T54" fmla="*/ 21 w 42"/>
                  <a:gd name="T55" fmla="*/ 40 h 45"/>
                  <a:gd name="T56" fmla="*/ 23 w 42"/>
                  <a:gd name="T57" fmla="*/ 33 h 45"/>
                  <a:gd name="T58" fmla="*/ 26 w 42"/>
                  <a:gd name="T59" fmla="*/ 33 h 45"/>
                  <a:gd name="T60" fmla="*/ 28 w 42"/>
                  <a:gd name="T61" fmla="*/ 33 h 45"/>
                  <a:gd name="T62" fmla="*/ 30 w 42"/>
                  <a:gd name="T63" fmla="*/ 33 h 45"/>
                  <a:gd name="T64" fmla="*/ 35 w 42"/>
                  <a:gd name="T65" fmla="*/ 31 h 45"/>
                  <a:gd name="T66" fmla="*/ 38 w 42"/>
                  <a:gd name="T67" fmla="*/ 28 h 45"/>
                  <a:gd name="T68" fmla="*/ 38 w 42"/>
                  <a:gd name="T69" fmla="*/ 23 h 45"/>
                  <a:gd name="T70" fmla="*/ 40 w 42"/>
                  <a:gd name="T71" fmla="*/ 21 h 45"/>
                  <a:gd name="T72" fmla="*/ 42 w 42"/>
                  <a:gd name="T73" fmla="*/ 19 h 45"/>
                  <a:gd name="T74" fmla="*/ 42 w 42"/>
                  <a:gd name="T75" fmla="*/ 14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2" h="45">
                    <a:moveTo>
                      <a:pt x="42" y="14"/>
                    </a:moveTo>
                    <a:lnTo>
                      <a:pt x="42" y="12"/>
                    </a:lnTo>
                    <a:lnTo>
                      <a:pt x="42" y="12"/>
                    </a:lnTo>
                    <a:lnTo>
                      <a:pt x="40" y="12"/>
                    </a:lnTo>
                    <a:lnTo>
                      <a:pt x="40" y="9"/>
                    </a:lnTo>
                    <a:lnTo>
                      <a:pt x="38" y="9"/>
                    </a:lnTo>
                    <a:lnTo>
                      <a:pt x="35" y="7"/>
                    </a:lnTo>
                    <a:lnTo>
                      <a:pt x="33" y="5"/>
                    </a:lnTo>
                    <a:lnTo>
                      <a:pt x="33" y="5"/>
                    </a:lnTo>
                    <a:lnTo>
                      <a:pt x="30" y="2"/>
                    </a:lnTo>
                    <a:lnTo>
                      <a:pt x="30" y="2"/>
                    </a:lnTo>
                    <a:lnTo>
                      <a:pt x="30" y="0"/>
                    </a:lnTo>
                    <a:lnTo>
                      <a:pt x="30" y="0"/>
                    </a:lnTo>
                    <a:lnTo>
                      <a:pt x="28" y="0"/>
                    </a:lnTo>
                    <a:lnTo>
                      <a:pt x="28" y="2"/>
                    </a:lnTo>
                    <a:lnTo>
                      <a:pt x="23" y="2"/>
                    </a:lnTo>
                    <a:lnTo>
                      <a:pt x="21" y="5"/>
                    </a:lnTo>
                    <a:lnTo>
                      <a:pt x="19" y="7"/>
                    </a:lnTo>
                    <a:lnTo>
                      <a:pt x="16" y="7"/>
                    </a:lnTo>
                    <a:lnTo>
                      <a:pt x="14" y="7"/>
                    </a:lnTo>
                    <a:lnTo>
                      <a:pt x="11" y="9"/>
                    </a:lnTo>
                    <a:lnTo>
                      <a:pt x="11" y="12"/>
                    </a:lnTo>
                    <a:lnTo>
                      <a:pt x="9" y="14"/>
                    </a:lnTo>
                    <a:lnTo>
                      <a:pt x="9" y="14"/>
                    </a:lnTo>
                    <a:lnTo>
                      <a:pt x="9" y="16"/>
                    </a:lnTo>
                    <a:lnTo>
                      <a:pt x="7" y="16"/>
                    </a:lnTo>
                    <a:lnTo>
                      <a:pt x="7" y="19"/>
                    </a:lnTo>
                    <a:lnTo>
                      <a:pt x="4" y="21"/>
                    </a:lnTo>
                    <a:lnTo>
                      <a:pt x="4" y="21"/>
                    </a:lnTo>
                    <a:lnTo>
                      <a:pt x="2" y="21"/>
                    </a:lnTo>
                    <a:lnTo>
                      <a:pt x="0" y="23"/>
                    </a:lnTo>
                    <a:lnTo>
                      <a:pt x="0" y="23"/>
                    </a:lnTo>
                    <a:lnTo>
                      <a:pt x="2" y="26"/>
                    </a:lnTo>
                    <a:lnTo>
                      <a:pt x="2" y="26"/>
                    </a:lnTo>
                    <a:lnTo>
                      <a:pt x="2" y="28"/>
                    </a:lnTo>
                    <a:lnTo>
                      <a:pt x="4" y="31"/>
                    </a:lnTo>
                    <a:lnTo>
                      <a:pt x="4" y="33"/>
                    </a:lnTo>
                    <a:lnTo>
                      <a:pt x="7" y="33"/>
                    </a:lnTo>
                    <a:lnTo>
                      <a:pt x="4" y="35"/>
                    </a:lnTo>
                    <a:lnTo>
                      <a:pt x="7" y="35"/>
                    </a:lnTo>
                    <a:lnTo>
                      <a:pt x="7" y="38"/>
                    </a:lnTo>
                    <a:lnTo>
                      <a:pt x="7" y="38"/>
                    </a:lnTo>
                    <a:lnTo>
                      <a:pt x="7" y="38"/>
                    </a:lnTo>
                    <a:lnTo>
                      <a:pt x="7" y="38"/>
                    </a:lnTo>
                    <a:lnTo>
                      <a:pt x="9" y="38"/>
                    </a:lnTo>
                    <a:lnTo>
                      <a:pt x="9" y="40"/>
                    </a:lnTo>
                    <a:lnTo>
                      <a:pt x="9" y="40"/>
                    </a:lnTo>
                    <a:lnTo>
                      <a:pt x="11" y="42"/>
                    </a:lnTo>
                    <a:lnTo>
                      <a:pt x="11" y="42"/>
                    </a:lnTo>
                    <a:lnTo>
                      <a:pt x="14" y="42"/>
                    </a:lnTo>
                    <a:lnTo>
                      <a:pt x="16" y="45"/>
                    </a:lnTo>
                    <a:lnTo>
                      <a:pt x="19" y="42"/>
                    </a:lnTo>
                    <a:lnTo>
                      <a:pt x="19" y="42"/>
                    </a:lnTo>
                    <a:lnTo>
                      <a:pt x="19" y="42"/>
                    </a:lnTo>
                    <a:lnTo>
                      <a:pt x="19" y="40"/>
                    </a:lnTo>
                    <a:lnTo>
                      <a:pt x="21" y="40"/>
                    </a:lnTo>
                    <a:lnTo>
                      <a:pt x="23" y="35"/>
                    </a:lnTo>
                    <a:lnTo>
                      <a:pt x="23" y="33"/>
                    </a:lnTo>
                    <a:lnTo>
                      <a:pt x="26" y="33"/>
                    </a:lnTo>
                    <a:lnTo>
                      <a:pt x="26" y="33"/>
                    </a:lnTo>
                    <a:lnTo>
                      <a:pt x="28" y="33"/>
                    </a:lnTo>
                    <a:lnTo>
                      <a:pt x="28" y="33"/>
                    </a:lnTo>
                    <a:lnTo>
                      <a:pt x="28" y="33"/>
                    </a:lnTo>
                    <a:lnTo>
                      <a:pt x="30" y="33"/>
                    </a:lnTo>
                    <a:lnTo>
                      <a:pt x="33" y="31"/>
                    </a:lnTo>
                    <a:lnTo>
                      <a:pt x="35" y="31"/>
                    </a:lnTo>
                    <a:lnTo>
                      <a:pt x="35" y="31"/>
                    </a:lnTo>
                    <a:lnTo>
                      <a:pt x="38" y="28"/>
                    </a:lnTo>
                    <a:lnTo>
                      <a:pt x="38" y="26"/>
                    </a:lnTo>
                    <a:lnTo>
                      <a:pt x="38" y="23"/>
                    </a:lnTo>
                    <a:lnTo>
                      <a:pt x="40" y="23"/>
                    </a:lnTo>
                    <a:lnTo>
                      <a:pt x="40" y="21"/>
                    </a:lnTo>
                    <a:lnTo>
                      <a:pt x="40" y="21"/>
                    </a:lnTo>
                    <a:lnTo>
                      <a:pt x="42" y="19"/>
                    </a:lnTo>
                    <a:lnTo>
                      <a:pt x="42" y="16"/>
                    </a:lnTo>
                    <a:lnTo>
                      <a:pt x="42" y="14"/>
                    </a:lnTo>
                    <a:lnTo>
                      <a:pt x="42" y="14"/>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Freeform 114"/>
              <p:cNvSpPr>
                <a:spLocks/>
              </p:cNvSpPr>
              <p:nvPr/>
            </p:nvSpPr>
            <p:spPr bwMode="auto">
              <a:xfrm>
                <a:off x="3380" y="2066"/>
                <a:ext cx="26" cy="36"/>
              </a:xfrm>
              <a:custGeom>
                <a:avLst/>
                <a:gdLst>
                  <a:gd name="T0" fmla="*/ 24 w 26"/>
                  <a:gd name="T1" fmla="*/ 7 h 36"/>
                  <a:gd name="T2" fmla="*/ 22 w 26"/>
                  <a:gd name="T3" fmla="*/ 5 h 36"/>
                  <a:gd name="T4" fmla="*/ 22 w 26"/>
                  <a:gd name="T5" fmla="*/ 5 h 36"/>
                  <a:gd name="T6" fmla="*/ 19 w 26"/>
                  <a:gd name="T7" fmla="*/ 5 h 36"/>
                  <a:gd name="T8" fmla="*/ 19 w 26"/>
                  <a:gd name="T9" fmla="*/ 5 h 36"/>
                  <a:gd name="T10" fmla="*/ 22 w 26"/>
                  <a:gd name="T11" fmla="*/ 2 h 36"/>
                  <a:gd name="T12" fmla="*/ 22 w 26"/>
                  <a:gd name="T13" fmla="*/ 2 h 36"/>
                  <a:gd name="T14" fmla="*/ 22 w 26"/>
                  <a:gd name="T15" fmla="*/ 2 h 36"/>
                  <a:gd name="T16" fmla="*/ 19 w 26"/>
                  <a:gd name="T17" fmla="*/ 0 h 36"/>
                  <a:gd name="T18" fmla="*/ 19 w 26"/>
                  <a:gd name="T19" fmla="*/ 2 h 36"/>
                  <a:gd name="T20" fmla="*/ 17 w 26"/>
                  <a:gd name="T21" fmla="*/ 2 h 36"/>
                  <a:gd name="T22" fmla="*/ 14 w 26"/>
                  <a:gd name="T23" fmla="*/ 2 h 36"/>
                  <a:gd name="T24" fmla="*/ 14 w 26"/>
                  <a:gd name="T25" fmla="*/ 5 h 36"/>
                  <a:gd name="T26" fmla="*/ 12 w 26"/>
                  <a:gd name="T27" fmla="*/ 5 h 36"/>
                  <a:gd name="T28" fmla="*/ 12 w 26"/>
                  <a:gd name="T29" fmla="*/ 7 h 36"/>
                  <a:gd name="T30" fmla="*/ 10 w 26"/>
                  <a:gd name="T31" fmla="*/ 9 h 36"/>
                  <a:gd name="T32" fmla="*/ 7 w 26"/>
                  <a:gd name="T33" fmla="*/ 14 h 36"/>
                  <a:gd name="T34" fmla="*/ 7 w 26"/>
                  <a:gd name="T35" fmla="*/ 19 h 36"/>
                  <a:gd name="T36" fmla="*/ 5 w 26"/>
                  <a:gd name="T37" fmla="*/ 26 h 36"/>
                  <a:gd name="T38" fmla="*/ 3 w 26"/>
                  <a:gd name="T39" fmla="*/ 28 h 36"/>
                  <a:gd name="T40" fmla="*/ 3 w 26"/>
                  <a:gd name="T41" fmla="*/ 31 h 36"/>
                  <a:gd name="T42" fmla="*/ 3 w 26"/>
                  <a:gd name="T43" fmla="*/ 33 h 36"/>
                  <a:gd name="T44" fmla="*/ 0 w 26"/>
                  <a:gd name="T45" fmla="*/ 36 h 36"/>
                  <a:gd name="T46" fmla="*/ 3 w 26"/>
                  <a:gd name="T47" fmla="*/ 36 h 36"/>
                  <a:gd name="T48" fmla="*/ 5 w 26"/>
                  <a:gd name="T49" fmla="*/ 36 h 36"/>
                  <a:gd name="T50" fmla="*/ 7 w 26"/>
                  <a:gd name="T51" fmla="*/ 36 h 36"/>
                  <a:gd name="T52" fmla="*/ 7 w 26"/>
                  <a:gd name="T53" fmla="*/ 33 h 36"/>
                  <a:gd name="T54" fmla="*/ 7 w 26"/>
                  <a:gd name="T55" fmla="*/ 31 h 36"/>
                  <a:gd name="T56" fmla="*/ 10 w 26"/>
                  <a:gd name="T57" fmla="*/ 31 h 36"/>
                  <a:gd name="T58" fmla="*/ 10 w 26"/>
                  <a:gd name="T59" fmla="*/ 31 h 36"/>
                  <a:gd name="T60" fmla="*/ 10 w 26"/>
                  <a:gd name="T61" fmla="*/ 31 h 36"/>
                  <a:gd name="T62" fmla="*/ 12 w 26"/>
                  <a:gd name="T63" fmla="*/ 31 h 36"/>
                  <a:gd name="T64" fmla="*/ 12 w 26"/>
                  <a:gd name="T65" fmla="*/ 28 h 36"/>
                  <a:gd name="T66" fmla="*/ 14 w 26"/>
                  <a:gd name="T67" fmla="*/ 28 h 36"/>
                  <a:gd name="T68" fmla="*/ 14 w 26"/>
                  <a:gd name="T69" fmla="*/ 28 h 36"/>
                  <a:gd name="T70" fmla="*/ 14 w 26"/>
                  <a:gd name="T71" fmla="*/ 26 h 36"/>
                  <a:gd name="T72" fmla="*/ 14 w 26"/>
                  <a:gd name="T73" fmla="*/ 26 h 36"/>
                  <a:gd name="T74" fmla="*/ 14 w 26"/>
                  <a:gd name="T75" fmla="*/ 26 h 36"/>
                  <a:gd name="T76" fmla="*/ 17 w 26"/>
                  <a:gd name="T77" fmla="*/ 24 h 36"/>
                  <a:gd name="T78" fmla="*/ 17 w 26"/>
                  <a:gd name="T79" fmla="*/ 24 h 36"/>
                  <a:gd name="T80" fmla="*/ 17 w 26"/>
                  <a:gd name="T81" fmla="*/ 24 h 36"/>
                  <a:gd name="T82" fmla="*/ 14 w 26"/>
                  <a:gd name="T83" fmla="*/ 24 h 36"/>
                  <a:gd name="T84" fmla="*/ 14 w 26"/>
                  <a:gd name="T85" fmla="*/ 24 h 36"/>
                  <a:gd name="T86" fmla="*/ 14 w 26"/>
                  <a:gd name="T87" fmla="*/ 21 h 36"/>
                  <a:gd name="T88" fmla="*/ 14 w 26"/>
                  <a:gd name="T89" fmla="*/ 21 h 36"/>
                  <a:gd name="T90" fmla="*/ 17 w 26"/>
                  <a:gd name="T91" fmla="*/ 19 h 36"/>
                  <a:gd name="T92" fmla="*/ 17 w 26"/>
                  <a:gd name="T93" fmla="*/ 19 h 36"/>
                  <a:gd name="T94" fmla="*/ 19 w 26"/>
                  <a:gd name="T95" fmla="*/ 19 h 36"/>
                  <a:gd name="T96" fmla="*/ 19 w 26"/>
                  <a:gd name="T97" fmla="*/ 19 h 36"/>
                  <a:gd name="T98" fmla="*/ 22 w 26"/>
                  <a:gd name="T99" fmla="*/ 19 h 36"/>
                  <a:gd name="T100" fmla="*/ 22 w 26"/>
                  <a:gd name="T101" fmla="*/ 19 h 36"/>
                  <a:gd name="T102" fmla="*/ 22 w 26"/>
                  <a:gd name="T103" fmla="*/ 19 h 36"/>
                  <a:gd name="T104" fmla="*/ 22 w 26"/>
                  <a:gd name="T105" fmla="*/ 19 h 36"/>
                  <a:gd name="T106" fmla="*/ 22 w 26"/>
                  <a:gd name="T107" fmla="*/ 17 h 36"/>
                  <a:gd name="T108" fmla="*/ 22 w 26"/>
                  <a:gd name="T109" fmla="*/ 17 h 36"/>
                  <a:gd name="T110" fmla="*/ 22 w 26"/>
                  <a:gd name="T111" fmla="*/ 17 h 36"/>
                  <a:gd name="T112" fmla="*/ 22 w 26"/>
                  <a:gd name="T113" fmla="*/ 14 h 36"/>
                  <a:gd name="T114" fmla="*/ 24 w 26"/>
                  <a:gd name="T115" fmla="*/ 14 h 36"/>
                  <a:gd name="T116" fmla="*/ 24 w 26"/>
                  <a:gd name="T117" fmla="*/ 14 h 36"/>
                  <a:gd name="T118" fmla="*/ 24 w 26"/>
                  <a:gd name="T119" fmla="*/ 12 h 36"/>
                  <a:gd name="T120" fmla="*/ 26 w 26"/>
                  <a:gd name="T121" fmla="*/ 12 h 36"/>
                  <a:gd name="T122" fmla="*/ 24 w 26"/>
                  <a:gd name="T123" fmla="*/ 7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6" h="36">
                    <a:moveTo>
                      <a:pt x="24" y="7"/>
                    </a:moveTo>
                    <a:lnTo>
                      <a:pt x="22" y="5"/>
                    </a:lnTo>
                    <a:lnTo>
                      <a:pt x="22" y="5"/>
                    </a:lnTo>
                    <a:lnTo>
                      <a:pt x="19" y="5"/>
                    </a:lnTo>
                    <a:lnTo>
                      <a:pt x="19" y="5"/>
                    </a:lnTo>
                    <a:lnTo>
                      <a:pt x="22" y="2"/>
                    </a:lnTo>
                    <a:lnTo>
                      <a:pt x="22" y="2"/>
                    </a:lnTo>
                    <a:lnTo>
                      <a:pt x="22" y="2"/>
                    </a:lnTo>
                    <a:lnTo>
                      <a:pt x="19" y="0"/>
                    </a:lnTo>
                    <a:lnTo>
                      <a:pt x="19" y="2"/>
                    </a:lnTo>
                    <a:lnTo>
                      <a:pt x="17" y="2"/>
                    </a:lnTo>
                    <a:lnTo>
                      <a:pt x="14" y="2"/>
                    </a:lnTo>
                    <a:lnTo>
                      <a:pt x="14" y="5"/>
                    </a:lnTo>
                    <a:lnTo>
                      <a:pt x="12" y="5"/>
                    </a:lnTo>
                    <a:lnTo>
                      <a:pt x="12" y="7"/>
                    </a:lnTo>
                    <a:lnTo>
                      <a:pt x="10" y="9"/>
                    </a:lnTo>
                    <a:lnTo>
                      <a:pt x="7" y="14"/>
                    </a:lnTo>
                    <a:lnTo>
                      <a:pt x="7" y="19"/>
                    </a:lnTo>
                    <a:lnTo>
                      <a:pt x="5" y="26"/>
                    </a:lnTo>
                    <a:lnTo>
                      <a:pt x="3" y="28"/>
                    </a:lnTo>
                    <a:lnTo>
                      <a:pt x="3" y="31"/>
                    </a:lnTo>
                    <a:lnTo>
                      <a:pt x="3" y="33"/>
                    </a:lnTo>
                    <a:lnTo>
                      <a:pt x="0" y="36"/>
                    </a:lnTo>
                    <a:lnTo>
                      <a:pt x="3" y="36"/>
                    </a:lnTo>
                    <a:lnTo>
                      <a:pt x="5" y="36"/>
                    </a:lnTo>
                    <a:lnTo>
                      <a:pt x="7" y="36"/>
                    </a:lnTo>
                    <a:lnTo>
                      <a:pt x="7" y="33"/>
                    </a:lnTo>
                    <a:lnTo>
                      <a:pt x="7" y="31"/>
                    </a:lnTo>
                    <a:lnTo>
                      <a:pt x="10" y="31"/>
                    </a:lnTo>
                    <a:lnTo>
                      <a:pt x="10" y="31"/>
                    </a:lnTo>
                    <a:lnTo>
                      <a:pt x="10" y="31"/>
                    </a:lnTo>
                    <a:lnTo>
                      <a:pt x="12" y="31"/>
                    </a:lnTo>
                    <a:lnTo>
                      <a:pt x="12" y="28"/>
                    </a:lnTo>
                    <a:lnTo>
                      <a:pt x="14" y="28"/>
                    </a:lnTo>
                    <a:lnTo>
                      <a:pt x="14" y="28"/>
                    </a:lnTo>
                    <a:lnTo>
                      <a:pt x="14" y="26"/>
                    </a:lnTo>
                    <a:lnTo>
                      <a:pt x="14" y="26"/>
                    </a:lnTo>
                    <a:lnTo>
                      <a:pt x="14" y="26"/>
                    </a:lnTo>
                    <a:lnTo>
                      <a:pt x="17" y="24"/>
                    </a:lnTo>
                    <a:lnTo>
                      <a:pt x="17" y="24"/>
                    </a:lnTo>
                    <a:lnTo>
                      <a:pt x="17" y="24"/>
                    </a:lnTo>
                    <a:lnTo>
                      <a:pt x="14" y="24"/>
                    </a:lnTo>
                    <a:lnTo>
                      <a:pt x="14" y="24"/>
                    </a:lnTo>
                    <a:lnTo>
                      <a:pt x="14" y="21"/>
                    </a:lnTo>
                    <a:lnTo>
                      <a:pt x="14" y="21"/>
                    </a:lnTo>
                    <a:lnTo>
                      <a:pt x="17" y="19"/>
                    </a:lnTo>
                    <a:lnTo>
                      <a:pt x="17" y="19"/>
                    </a:lnTo>
                    <a:lnTo>
                      <a:pt x="19" y="19"/>
                    </a:lnTo>
                    <a:lnTo>
                      <a:pt x="19" y="19"/>
                    </a:lnTo>
                    <a:lnTo>
                      <a:pt x="22" y="19"/>
                    </a:lnTo>
                    <a:lnTo>
                      <a:pt x="22" y="19"/>
                    </a:lnTo>
                    <a:lnTo>
                      <a:pt x="22" y="19"/>
                    </a:lnTo>
                    <a:lnTo>
                      <a:pt x="22" y="19"/>
                    </a:lnTo>
                    <a:lnTo>
                      <a:pt x="22" y="17"/>
                    </a:lnTo>
                    <a:lnTo>
                      <a:pt x="22" y="17"/>
                    </a:lnTo>
                    <a:lnTo>
                      <a:pt x="22" y="17"/>
                    </a:lnTo>
                    <a:lnTo>
                      <a:pt x="22" y="14"/>
                    </a:lnTo>
                    <a:lnTo>
                      <a:pt x="24" y="14"/>
                    </a:lnTo>
                    <a:lnTo>
                      <a:pt x="24" y="14"/>
                    </a:lnTo>
                    <a:lnTo>
                      <a:pt x="24" y="12"/>
                    </a:lnTo>
                    <a:lnTo>
                      <a:pt x="26" y="12"/>
                    </a:lnTo>
                    <a:lnTo>
                      <a:pt x="24" y="7"/>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Freeform 115"/>
              <p:cNvSpPr>
                <a:spLocks/>
              </p:cNvSpPr>
              <p:nvPr/>
            </p:nvSpPr>
            <p:spPr bwMode="auto">
              <a:xfrm>
                <a:off x="3108" y="1585"/>
                <a:ext cx="111" cy="48"/>
              </a:xfrm>
              <a:custGeom>
                <a:avLst/>
                <a:gdLst>
                  <a:gd name="T0" fmla="*/ 109 w 111"/>
                  <a:gd name="T1" fmla="*/ 31 h 48"/>
                  <a:gd name="T2" fmla="*/ 107 w 111"/>
                  <a:gd name="T3" fmla="*/ 29 h 48"/>
                  <a:gd name="T4" fmla="*/ 104 w 111"/>
                  <a:gd name="T5" fmla="*/ 24 h 48"/>
                  <a:gd name="T6" fmla="*/ 102 w 111"/>
                  <a:gd name="T7" fmla="*/ 24 h 48"/>
                  <a:gd name="T8" fmla="*/ 102 w 111"/>
                  <a:gd name="T9" fmla="*/ 19 h 48"/>
                  <a:gd name="T10" fmla="*/ 104 w 111"/>
                  <a:gd name="T11" fmla="*/ 17 h 48"/>
                  <a:gd name="T12" fmla="*/ 102 w 111"/>
                  <a:gd name="T13" fmla="*/ 15 h 48"/>
                  <a:gd name="T14" fmla="*/ 97 w 111"/>
                  <a:gd name="T15" fmla="*/ 12 h 48"/>
                  <a:gd name="T16" fmla="*/ 95 w 111"/>
                  <a:gd name="T17" fmla="*/ 12 h 48"/>
                  <a:gd name="T18" fmla="*/ 90 w 111"/>
                  <a:gd name="T19" fmla="*/ 10 h 48"/>
                  <a:gd name="T20" fmla="*/ 83 w 111"/>
                  <a:gd name="T21" fmla="*/ 10 h 48"/>
                  <a:gd name="T22" fmla="*/ 78 w 111"/>
                  <a:gd name="T23" fmla="*/ 7 h 48"/>
                  <a:gd name="T24" fmla="*/ 74 w 111"/>
                  <a:gd name="T25" fmla="*/ 5 h 48"/>
                  <a:gd name="T26" fmla="*/ 69 w 111"/>
                  <a:gd name="T27" fmla="*/ 3 h 48"/>
                  <a:gd name="T28" fmla="*/ 62 w 111"/>
                  <a:gd name="T29" fmla="*/ 0 h 48"/>
                  <a:gd name="T30" fmla="*/ 62 w 111"/>
                  <a:gd name="T31" fmla="*/ 3 h 48"/>
                  <a:gd name="T32" fmla="*/ 59 w 111"/>
                  <a:gd name="T33" fmla="*/ 0 h 48"/>
                  <a:gd name="T34" fmla="*/ 55 w 111"/>
                  <a:gd name="T35" fmla="*/ 3 h 48"/>
                  <a:gd name="T36" fmla="*/ 47 w 111"/>
                  <a:gd name="T37" fmla="*/ 5 h 48"/>
                  <a:gd name="T38" fmla="*/ 50 w 111"/>
                  <a:gd name="T39" fmla="*/ 15 h 48"/>
                  <a:gd name="T40" fmla="*/ 45 w 111"/>
                  <a:gd name="T41" fmla="*/ 19 h 48"/>
                  <a:gd name="T42" fmla="*/ 33 w 111"/>
                  <a:gd name="T43" fmla="*/ 19 h 48"/>
                  <a:gd name="T44" fmla="*/ 24 w 111"/>
                  <a:gd name="T45" fmla="*/ 10 h 48"/>
                  <a:gd name="T46" fmla="*/ 17 w 111"/>
                  <a:gd name="T47" fmla="*/ 7 h 48"/>
                  <a:gd name="T48" fmla="*/ 5 w 111"/>
                  <a:gd name="T49" fmla="*/ 15 h 48"/>
                  <a:gd name="T50" fmla="*/ 5 w 111"/>
                  <a:gd name="T51" fmla="*/ 22 h 48"/>
                  <a:gd name="T52" fmla="*/ 0 w 111"/>
                  <a:gd name="T53" fmla="*/ 29 h 48"/>
                  <a:gd name="T54" fmla="*/ 5 w 111"/>
                  <a:gd name="T55" fmla="*/ 38 h 48"/>
                  <a:gd name="T56" fmla="*/ 17 w 111"/>
                  <a:gd name="T57" fmla="*/ 33 h 48"/>
                  <a:gd name="T58" fmla="*/ 24 w 111"/>
                  <a:gd name="T59" fmla="*/ 33 h 48"/>
                  <a:gd name="T60" fmla="*/ 31 w 111"/>
                  <a:gd name="T61" fmla="*/ 33 h 48"/>
                  <a:gd name="T62" fmla="*/ 33 w 111"/>
                  <a:gd name="T63" fmla="*/ 33 h 48"/>
                  <a:gd name="T64" fmla="*/ 43 w 111"/>
                  <a:gd name="T65" fmla="*/ 33 h 48"/>
                  <a:gd name="T66" fmla="*/ 52 w 111"/>
                  <a:gd name="T67" fmla="*/ 36 h 48"/>
                  <a:gd name="T68" fmla="*/ 57 w 111"/>
                  <a:gd name="T69" fmla="*/ 33 h 48"/>
                  <a:gd name="T70" fmla="*/ 59 w 111"/>
                  <a:gd name="T71" fmla="*/ 33 h 48"/>
                  <a:gd name="T72" fmla="*/ 64 w 111"/>
                  <a:gd name="T73" fmla="*/ 38 h 48"/>
                  <a:gd name="T74" fmla="*/ 76 w 111"/>
                  <a:gd name="T75" fmla="*/ 41 h 48"/>
                  <a:gd name="T76" fmla="*/ 81 w 111"/>
                  <a:gd name="T77" fmla="*/ 45 h 48"/>
                  <a:gd name="T78" fmla="*/ 88 w 111"/>
                  <a:gd name="T79" fmla="*/ 48 h 48"/>
                  <a:gd name="T80" fmla="*/ 90 w 111"/>
                  <a:gd name="T81" fmla="*/ 48 h 48"/>
                  <a:gd name="T82" fmla="*/ 95 w 111"/>
                  <a:gd name="T83" fmla="*/ 45 h 48"/>
                  <a:gd name="T84" fmla="*/ 100 w 111"/>
                  <a:gd name="T85" fmla="*/ 45 h 48"/>
                  <a:gd name="T86" fmla="*/ 104 w 111"/>
                  <a:gd name="T87" fmla="*/ 43 h 48"/>
                  <a:gd name="T88" fmla="*/ 109 w 111"/>
                  <a:gd name="T89" fmla="*/ 38 h 48"/>
                  <a:gd name="T90" fmla="*/ 111 w 111"/>
                  <a:gd name="T91" fmla="*/ 3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1" h="48">
                    <a:moveTo>
                      <a:pt x="111" y="36"/>
                    </a:moveTo>
                    <a:lnTo>
                      <a:pt x="109" y="33"/>
                    </a:lnTo>
                    <a:lnTo>
                      <a:pt x="109" y="31"/>
                    </a:lnTo>
                    <a:lnTo>
                      <a:pt x="109" y="31"/>
                    </a:lnTo>
                    <a:lnTo>
                      <a:pt x="107" y="29"/>
                    </a:lnTo>
                    <a:lnTo>
                      <a:pt x="107" y="29"/>
                    </a:lnTo>
                    <a:lnTo>
                      <a:pt x="107" y="26"/>
                    </a:lnTo>
                    <a:lnTo>
                      <a:pt x="104" y="26"/>
                    </a:lnTo>
                    <a:lnTo>
                      <a:pt x="104" y="24"/>
                    </a:lnTo>
                    <a:lnTo>
                      <a:pt x="104" y="24"/>
                    </a:lnTo>
                    <a:lnTo>
                      <a:pt x="104" y="24"/>
                    </a:lnTo>
                    <a:lnTo>
                      <a:pt x="102" y="24"/>
                    </a:lnTo>
                    <a:lnTo>
                      <a:pt x="102" y="24"/>
                    </a:lnTo>
                    <a:lnTo>
                      <a:pt x="102" y="22"/>
                    </a:lnTo>
                    <a:lnTo>
                      <a:pt x="102" y="19"/>
                    </a:lnTo>
                    <a:lnTo>
                      <a:pt x="102" y="19"/>
                    </a:lnTo>
                    <a:lnTo>
                      <a:pt x="102" y="17"/>
                    </a:lnTo>
                    <a:lnTo>
                      <a:pt x="104" y="17"/>
                    </a:lnTo>
                    <a:lnTo>
                      <a:pt x="104" y="17"/>
                    </a:lnTo>
                    <a:lnTo>
                      <a:pt x="102" y="15"/>
                    </a:lnTo>
                    <a:lnTo>
                      <a:pt x="102" y="15"/>
                    </a:lnTo>
                    <a:lnTo>
                      <a:pt x="100" y="15"/>
                    </a:lnTo>
                    <a:lnTo>
                      <a:pt x="97" y="12"/>
                    </a:lnTo>
                    <a:lnTo>
                      <a:pt x="97" y="12"/>
                    </a:lnTo>
                    <a:lnTo>
                      <a:pt x="97" y="12"/>
                    </a:lnTo>
                    <a:lnTo>
                      <a:pt x="95" y="10"/>
                    </a:lnTo>
                    <a:lnTo>
                      <a:pt x="95" y="12"/>
                    </a:lnTo>
                    <a:lnTo>
                      <a:pt x="92" y="10"/>
                    </a:lnTo>
                    <a:lnTo>
                      <a:pt x="90" y="10"/>
                    </a:lnTo>
                    <a:lnTo>
                      <a:pt x="90" y="10"/>
                    </a:lnTo>
                    <a:lnTo>
                      <a:pt x="88" y="10"/>
                    </a:lnTo>
                    <a:lnTo>
                      <a:pt x="88" y="10"/>
                    </a:lnTo>
                    <a:lnTo>
                      <a:pt x="83" y="10"/>
                    </a:lnTo>
                    <a:lnTo>
                      <a:pt x="81" y="10"/>
                    </a:lnTo>
                    <a:lnTo>
                      <a:pt x="78" y="10"/>
                    </a:lnTo>
                    <a:lnTo>
                      <a:pt x="78" y="7"/>
                    </a:lnTo>
                    <a:lnTo>
                      <a:pt x="74" y="5"/>
                    </a:lnTo>
                    <a:lnTo>
                      <a:pt x="74" y="5"/>
                    </a:lnTo>
                    <a:lnTo>
                      <a:pt x="74" y="5"/>
                    </a:lnTo>
                    <a:lnTo>
                      <a:pt x="71" y="5"/>
                    </a:lnTo>
                    <a:lnTo>
                      <a:pt x="69" y="3"/>
                    </a:lnTo>
                    <a:lnTo>
                      <a:pt x="69" y="3"/>
                    </a:lnTo>
                    <a:lnTo>
                      <a:pt x="66" y="3"/>
                    </a:lnTo>
                    <a:lnTo>
                      <a:pt x="64" y="0"/>
                    </a:lnTo>
                    <a:lnTo>
                      <a:pt x="62" y="0"/>
                    </a:lnTo>
                    <a:lnTo>
                      <a:pt x="62" y="0"/>
                    </a:lnTo>
                    <a:lnTo>
                      <a:pt x="62" y="0"/>
                    </a:lnTo>
                    <a:lnTo>
                      <a:pt x="62" y="3"/>
                    </a:lnTo>
                    <a:lnTo>
                      <a:pt x="62" y="3"/>
                    </a:lnTo>
                    <a:lnTo>
                      <a:pt x="62" y="0"/>
                    </a:lnTo>
                    <a:lnTo>
                      <a:pt x="59" y="0"/>
                    </a:lnTo>
                    <a:lnTo>
                      <a:pt x="57" y="3"/>
                    </a:lnTo>
                    <a:lnTo>
                      <a:pt x="57" y="3"/>
                    </a:lnTo>
                    <a:lnTo>
                      <a:pt x="55" y="3"/>
                    </a:lnTo>
                    <a:lnTo>
                      <a:pt x="50" y="3"/>
                    </a:lnTo>
                    <a:lnTo>
                      <a:pt x="50" y="5"/>
                    </a:lnTo>
                    <a:lnTo>
                      <a:pt x="47" y="5"/>
                    </a:lnTo>
                    <a:lnTo>
                      <a:pt x="47" y="5"/>
                    </a:lnTo>
                    <a:lnTo>
                      <a:pt x="50" y="10"/>
                    </a:lnTo>
                    <a:lnTo>
                      <a:pt x="50" y="15"/>
                    </a:lnTo>
                    <a:lnTo>
                      <a:pt x="50" y="17"/>
                    </a:lnTo>
                    <a:lnTo>
                      <a:pt x="50" y="17"/>
                    </a:lnTo>
                    <a:lnTo>
                      <a:pt x="45" y="19"/>
                    </a:lnTo>
                    <a:lnTo>
                      <a:pt x="43" y="22"/>
                    </a:lnTo>
                    <a:lnTo>
                      <a:pt x="40" y="22"/>
                    </a:lnTo>
                    <a:lnTo>
                      <a:pt x="33" y="19"/>
                    </a:lnTo>
                    <a:lnTo>
                      <a:pt x="31" y="15"/>
                    </a:lnTo>
                    <a:lnTo>
                      <a:pt x="29" y="15"/>
                    </a:lnTo>
                    <a:lnTo>
                      <a:pt x="24" y="10"/>
                    </a:lnTo>
                    <a:lnTo>
                      <a:pt x="24" y="7"/>
                    </a:lnTo>
                    <a:lnTo>
                      <a:pt x="21" y="7"/>
                    </a:lnTo>
                    <a:lnTo>
                      <a:pt x="17" y="7"/>
                    </a:lnTo>
                    <a:lnTo>
                      <a:pt x="12" y="10"/>
                    </a:lnTo>
                    <a:lnTo>
                      <a:pt x="10" y="10"/>
                    </a:lnTo>
                    <a:lnTo>
                      <a:pt x="5" y="15"/>
                    </a:lnTo>
                    <a:lnTo>
                      <a:pt x="5" y="17"/>
                    </a:lnTo>
                    <a:lnTo>
                      <a:pt x="5" y="19"/>
                    </a:lnTo>
                    <a:lnTo>
                      <a:pt x="5" y="22"/>
                    </a:lnTo>
                    <a:lnTo>
                      <a:pt x="3" y="22"/>
                    </a:lnTo>
                    <a:lnTo>
                      <a:pt x="0" y="24"/>
                    </a:lnTo>
                    <a:lnTo>
                      <a:pt x="0" y="29"/>
                    </a:lnTo>
                    <a:lnTo>
                      <a:pt x="0" y="36"/>
                    </a:lnTo>
                    <a:lnTo>
                      <a:pt x="0" y="41"/>
                    </a:lnTo>
                    <a:lnTo>
                      <a:pt x="5" y="38"/>
                    </a:lnTo>
                    <a:lnTo>
                      <a:pt x="10" y="36"/>
                    </a:lnTo>
                    <a:lnTo>
                      <a:pt x="12" y="36"/>
                    </a:lnTo>
                    <a:lnTo>
                      <a:pt x="17" y="33"/>
                    </a:lnTo>
                    <a:lnTo>
                      <a:pt x="17" y="33"/>
                    </a:lnTo>
                    <a:lnTo>
                      <a:pt x="21" y="33"/>
                    </a:lnTo>
                    <a:lnTo>
                      <a:pt x="24" y="33"/>
                    </a:lnTo>
                    <a:lnTo>
                      <a:pt x="26" y="33"/>
                    </a:lnTo>
                    <a:lnTo>
                      <a:pt x="29" y="33"/>
                    </a:lnTo>
                    <a:lnTo>
                      <a:pt x="31" y="33"/>
                    </a:lnTo>
                    <a:lnTo>
                      <a:pt x="31" y="36"/>
                    </a:lnTo>
                    <a:lnTo>
                      <a:pt x="33" y="33"/>
                    </a:lnTo>
                    <a:lnTo>
                      <a:pt x="33" y="33"/>
                    </a:lnTo>
                    <a:lnTo>
                      <a:pt x="40" y="33"/>
                    </a:lnTo>
                    <a:lnTo>
                      <a:pt x="40" y="33"/>
                    </a:lnTo>
                    <a:lnTo>
                      <a:pt x="43" y="33"/>
                    </a:lnTo>
                    <a:lnTo>
                      <a:pt x="45" y="36"/>
                    </a:lnTo>
                    <a:lnTo>
                      <a:pt x="47" y="36"/>
                    </a:lnTo>
                    <a:lnTo>
                      <a:pt x="52" y="36"/>
                    </a:lnTo>
                    <a:lnTo>
                      <a:pt x="55" y="36"/>
                    </a:lnTo>
                    <a:lnTo>
                      <a:pt x="55" y="36"/>
                    </a:lnTo>
                    <a:lnTo>
                      <a:pt x="57" y="33"/>
                    </a:lnTo>
                    <a:lnTo>
                      <a:pt x="57" y="33"/>
                    </a:lnTo>
                    <a:lnTo>
                      <a:pt x="59" y="33"/>
                    </a:lnTo>
                    <a:lnTo>
                      <a:pt x="59" y="33"/>
                    </a:lnTo>
                    <a:lnTo>
                      <a:pt x="62" y="36"/>
                    </a:lnTo>
                    <a:lnTo>
                      <a:pt x="62" y="38"/>
                    </a:lnTo>
                    <a:lnTo>
                      <a:pt x="64" y="38"/>
                    </a:lnTo>
                    <a:lnTo>
                      <a:pt x="71" y="38"/>
                    </a:lnTo>
                    <a:lnTo>
                      <a:pt x="71" y="38"/>
                    </a:lnTo>
                    <a:lnTo>
                      <a:pt x="76" y="41"/>
                    </a:lnTo>
                    <a:lnTo>
                      <a:pt x="78" y="43"/>
                    </a:lnTo>
                    <a:lnTo>
                      <a:pt x="78" y="43"/>
                    </a:lnTo>
                    <a:lnTo>
                      <a:pt x="81" y="45"/>
                    </a:lnTo>
                    <a:lnTo>
                      <a:pt x="83" y="45"/>
                    </a:lnTo>
                    <a:lnTo>
                      <a:pt x="85" y="48"/>
                    </a:lnTo>
                    <a:lnTo>
                      <a:pt x="88" y="48"/>
                    </a:lnTo>
                    <a:lnTo>
                      <a:pt x="88" y="48"/>
                    </a:lnTo>
                    <a:lnTo>
                      <a:pt x="88" y="48"/>
                    </a:lnTo>
                    <a:lnTo>
                      <a:pt x="90" y="48"/>
                    </a:lnTo>
                    <a:lnTo>
                      <a:pt x="90" y="48"/>
                    </a:lnTo>
                    <a:lnTo>
                      <a:pt x="92" y="45"/>
                    </a:lnTo>
                    <a:lnTo>
                      <a:pt x="95" y="45"/>
                    </a:lnTo>
                    <a:lnTo>
                      <a:pt x="97" y="45"/>
                    </a:lnTo>
                    <a:lnTo>
                      <a:pt x="100" y="45"/>
                    </a:lnTo>
                    <a:lnTo>
                      <a:pt x="100" y="45"/>
                    </a:lnTo>
                    <a:lnTo>
                      <a:pt x="102" y="45"/>
                    </a:lnTo>
                    <a:lnTo>
                      <a:pt x="102" y="45"/>
                    </a:lnTo>
                    <a:lnTo>
                      <a:pt x="104" y="43"/>
                    </a:lnTo>
                    <a:lnTo>
                      <a:pt x="104" y="43"/>
                    </a:lnTo>
                    <a:lnTo>
                      <a:pt x="107" y="41"/>
                    </a:lnTo>
                    <a:lnTo>
                      <a:pt x="109" y="38"/>
                    </a:lnTo>
                    <a:lnTo>
                      <a:pt x="109" y="38"/>
                    </a:lnTo>
                    <a:lnTo>
                      <a:pt x="111" y="38"/>
                    </a:lnTo>
                    <a:lnTo>
                      <a:pt x="111" y="38"/>
                    </a:lnTo>
                    <a:lnTo>
                      <a:pt x="111" y="36"/>
                    </a:lnTo>
                    <a:lnTo>
                      <a:pt x="111" y="36"/>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116"/>
              <p:cNvSpPr>
                <a:spLocks/>
              </p:cNvSpPr>
              <p:nvPr/>
            </p:nvSpPr>
            <p:spPr bwMode="auto">
              <a:xfrm>
                <a:off x="4587" y="2324"/>
                <a:ext cx="151" cy="182"/>
              </a:xfrm>
              <a:custGeom>
                <a:avLst/>
                <a:gdLst>
                  <a:gd name="T0" fmla="*/ 142 w 151"/>
                  <a:gd name="T1" fmla="*/ 142 h 182"/>
                  <a:gd name="T2" fmla="*/ 144 w 151"/>
                  <a:gd name="T3" fmla="*/ 137 h 182"/>
                  <a:gd name="T4" fmla="*/ 134 w 151"/>
                  <a:gd name="T5" fmla="*/ 128 h 182"/>
                  <a:gd name="T6" fmla="*/ 130 w 151"/>
                  <a:gd name="T7" fmla="*/ 126 h 182"/>
                  <a:gd name="T8" fmla="*/ 123 w 151"/>
                  <a:gd name="T9" fmla="*/ 114 h 182"/>
                  <a:gd name="T10" fmla="*/ 108 w 151"/>
                  <a:gd name="T11" fmla="*/ 100 h 182"/>
                  <a:gd name="T12" fmla="*/ 99 w 151"/>
                  <a:gd name="T13" fmla="*/ 90 h 182"/>
                  <a:gd name="T14" fmla="*/ 97 w 151"/>
                  <a:gd name="T15" fmla="*/ 83 h 182"/>
                  <a:gd name="T16" fmla="*/ 75 w 151"/>
                  <a:gd name="T17" fmla="*/ 71 h 182"/>
                  <a:gd name="T18" fmla="*/ 73 w 151"/>
                  <a:gd name="T19" fmla="*/ 64 h 182"/>
                  <a:gd name="T20" fmla="*/ 82 w 151"/>
                  <a:gd name="T21" fmla="*/ 62 h 182"/>
                  <a:gd name="T22" fmla="*/ 87 w 151"/>
                  <a:gd name="T23" fmla="*/ 52 h 182"/>
                  <a:gd name="T24" fmla="*/ 82 w 151"/>
                  <a:gd name="T25" fmla="*/ 47 h 182"/>
                  <a:gd name="T26" fmla="*/ 80 w 151"/>
                  <a:gd name="T27" fmla="*/ 43 h 182"/>
                  <a:gd name="T28" fmla="*/ 71 w 151"/>
                  <a:gd name="T29" fmla="*/ 33 h 182"/>
                  <a:gd name="T30" fmla="*/ 59 w 151"/>
                  <a:gd name="T31" fmla="*/ 38 h 182"/>
                  <a:gd name="T32" fmla="*/ 47 w 151"/>
                  <a:gd name="T33" fmla="*/ 21 h 182"/>
                  <a:gd name="T34" fmla="*/ 45 w 151"/>
                  <a:gd name="T35" fmla="*/ 14 h 182"/>
                  <a:gd name="T36" fmla="*/ 42 w 151"/>
                  <a:gd name="T37" fmla="*/ 17 h 182"/>
                  <a:gd name="T38" fmla="*/ 30 w 151"/>
                  <a:gd name="T39" fmla="*/ 2 h 182"/>
                  <a:gd name="T40" fmla="*/ 23 w 151"/>
                  <a:gd name="T41" fmla="*/ 0 h 182"/>
                  <a:gd name="T42" fmla="*/ 21 w 151"/>
                  <a:gd name="T43" fmla="*/ 7 h 182"/>
                  <a:gd name="T44" fmla="*/ 26 w 151"/>
                  <a:gd name="T45" fmla="*/ 19 h 182"/>
                  <a:gd name="T46" fmla="*/ 28 w 151"/>
                  <a:gd name="T47" fmla="*/ 29 h 182"/>
                  <a:gd name="T48" fmla="*/ 21 w 151"/>
                  <a:gd name="T49" fmla="*/ 26 h 182"/>
                  <a:gd name="T50" fmla="*/ 16 w 151"/>
                  <a:gd name="T51" fmla="*/ 24 h 182"/>
                  <a:gd name="T52" fmla="*/ 7 w 151"/>
                  <a:gd name="T53" fmla="*/ 26 h 182"/>
                  <a:gd name="T54" fmla="*/ 7 w 151"/>
                  <a:gd name="T55" fmla="*/ 36 h 182"/>
                  <a:gd name="T56" fmla="*/ 0 w 151"/>
                  <a:gd name="T57" fmla="*/ 40 h 182"/>
                  <a:gd name="T58" fmla="*/ 2 w 151"/>
                  <a:gd name="T59" fmla="*/ 45 h 182"/>
                  <a:gd name="T60" fmla="*/ 7 w 151"/>
                  <a:gd name="T61" fmla="*/ 52 h 182"/>
                  <a:gd name="T62" fmla="*/ 14 w 151"/>
                  <a:gd name="T63" fmla="*/ 64 h 182"/>
                  <a:gd name="T64" fmla="*/ 21 w 151"/>
                  <a:gd name="T65" fmla="*/ 64 h 182"/>
                  <a:gd name="T66" fmla="*/ 23 w 151"/>
                  <a:gd name="T67" fmla="*/ 85 h 182"/>
                  <a:gd name="T68" fmla="*/ 23 w 151"/>
                  <a:gd name="T69" fmla="*/ 92 h 182"/>
                  <a:gd name="T70" fmla="*/ 26 w 151"/>
                  <a:gd name="T71" fmla="*/ 107 h 182"/>
                  <a:gd name="T72" fmla="*/ 35 w 151"/>
                  <a:gd name="T73" fmla="*/ 95 h 182"/>
                  <a:gd name="T74" fmla="*/ 45 w 151"/>
                  <a:gd name="T75" fmla="*/ 92 h 182"/>
                  <a:gd name="T76" fmla="*/ 54 w 151"/>
                  <a:gd name="T77" fmla="*/ 100 h 182"/>
                  <a:gd name="T78" fmla="*/ 59 w 151"/>
                  <a:gd name="T79" fmla="*/ 95 h 182"/>
                  <a:gd name="T80" fmla="*/ 61 w 151"/>
                  <a:gd name="T81" fmla="*/ 88 h 182"/>
                  <a:gd name="T82" fmla="*/ 75 w 151"/>
                  <a:gd name="T83" fmla="*/ 88 h 182"/>
                  <a:gd name="T84" fmla="*/ 92 w 151"/>
                  <a:gd name="T85" fmla="*/ 107 h 182"/>
                  <a:gd name="T86" fmla="*/ 101 w 151"/>
                  <a:gd name="T87" fmla="*/ 133 h 182"/>
                  <a:gd name="T88" fmla="*/ 108 w 151"/>
                  <a:gd name="T89" fmla="*/ 142 h 182"/>
                  <a:gd name="T90" fmla="*/ 113 w 151"/>
                  <a:gd name="T91" fmla="*/ 149 h 182"/>
                  <a:gd name="T92" fmla="*/ 113 w 151"/>
                  <a:gd name="T93" fmla="*/ 163 h 182"/>
                  <a:gd name="T94" fmla="*/ 108 w 151"/>
                  <a:gd name="T95" fmla="*/ 173 h 182"/>
                  <a:gd name="T96" fmla="*/ 116 w 151"/>
                  <a:gd name="T97" fmla="*/ 178 h 182"/>
                  <a:gd name="T98" fmla="*/ 125 w 151"/>
                  <a:gd name="T99" fmla="*/ 178 h 182"/>
                  <a:gd name="T100" fmla="*/ 127 w 151"/>
                  <a:gd name="T101" fmla="*/ 171 h 182"/>
                  <a:gd name="T102" fmla="*/ 134 w 151"/>
                  <a:gd name="T103" fmla="*/ 171 h 182"/>
                  <a:gd name="T104" fmla="*/ 142 w 151"/>
                  <a:gd name="T105" fmla="*/ 171 h 182"/>
                  <a:gd name="T106" fmla="*/ 149 w 151"/>
                  <a:gd name="T107" fmla="*/ 168 h 182"/>
                  <a:gd name="T108" fmla="*/ 149 w 151"/>
                  <a:gd name="T109" fmla="*/ 159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51" h="182">
                    <a:moveTo>
                      <a:pt x="151" y="152"/>
                    </a:moveTo>
                    <a:lnTo>
                      <a:pt x="149" y="152"/>
                    </a:lnTo>
                    <a:lnTo>
                      <a:pt x="149" y="149"/>
                    </a:lnTo>
                    <a:lnTo>
                      <a:pt x="146" y="147"/>
                    </a:lnTo>
                    <a:lnTo>
                      <a:pt x="144" y="147"/>
                    </a:lnTo>
                    <a:lnTo>
                      <a:pt x="144" y="145"/>
                    </a:lnTo>
                    <a:lnTo>
                      <a:pt x="142" y="142"/>
                    </a:lnTo>
                    <a:lnTo>
                      <a:pt x="142" y="142"/>
                    </a:lnTo>
                    <a:lnTo>
                      <a:pt x="142" y="142"/>
                    </a:lnTo>
                    <a:lnTo>
                      <a:pt x="144" y="140"/>
                    </a:lnTo>
                    <a:lnTo>
                      <a:pt x="146" y="140"/>
                    </a:lnTo>
                    <a:lnTo>
                      <a:pt x="146" y="137"/>
                    </a:lnTo>
                    <a:lnTo>
                      <a:pt x="144" y="137"/>
                    </a:lnTo>
                    <a:lnTo>
                      <a:pt x="144" y="137"/>
                    </a:lnTo>
                    <a:lnTo>
                      <a:pt x="144" y="135"/>
                    </a:lnTo>
                    <a:lnTo>
                      <a:pt x="142" y="135"/>
                    </a:lnTo>
                    <a:lnTo>
                      <a:pt x="139" y="133"/>
                    </a:lnTo>
                    <a:lnTo>
                      <a:pt x="137" y="130"/>
                    </a:lnTo>
                    <a:lnTo>
                      <a:pt x="134" y="130"/>
                    </a:lnTo>
                    <a:lnTo>
                      <a:pt x="134" y="130"/>
                    </a:lnTo>
                    <a:lnTo>
                      <a:pt x="134" y="128"/>
                    </a:lnTo>
                    <a:lnTo>
                      <a:pt x="134" y="126"/>
                    </a:lnTo>
                    <a:lnTo>
                      <a:pt x="132" y="128"/>
                    </a:lnTo>
                    <a:lnTo>
                      <a:pt x="132" y="128"/>
                    </a:lnTo>
                    <a:lnTo>
                      <a:pt x="132" y="128"/>
                    </a:lnTo>
                    <a:lnTo>
                      <a:pt x="130" y="128"/>
                    </a:lnTo>
                    <a:lnTo>
                      <a:pt x="130" y="126"/>
                    </a:lnTo>
                    <a:lnTo>
                      <a:pt x="130" y="126"/>
                    </a:lnTo>
                    <a:lnTo>
                      <a:pt x="127" y="123"/>
                    </a:lnTo>
                    <a:lnTo>
                      <a:pt x="127" y="121"/>
                    </a:lnTo>
                    <a:lnTo>
                      <a:pt x="127" y="118"/>
                    </a:lnTo>
                    <a:lnTo>
                      <a:pt x="125" y="118"/>
                    </a:lnTo>
                    <a:lnTo>
                      <a:pt x="125" y="116"/>
                    </a:lnTo>
                    <a:lnTo>
                      <a:pt x="125" y="116"/>
                    </a:lnTo>
                    <a:lnTo>
                      <a:pt x="123" y="114"/>
                    </a:lnTo>
                    <a:lnTo>
                      <a:pt x="120" y="111"/>
                    </a:lnTo>
                    <a:lnTo>
                      <a:pt x="116" y="109"/>
                    </a:lnTo>
                    <a:lnTo>
                      <a:pt x="116" y="107"/>
                    </a:lnTo>
                    <a:lnTo>
                      <a:pt x="113" y="107"/>
                    </a:lnTo>
                    <a:lnTo>
                      <a:pt x="111" y="102"/>
                    </a:lnTo>
                    <a:lnTo>
                      <a:pt x="108" y="102"/>
                    </a:lnTo>
                    <a:lnTo>
                      <a:pt x="108" y="100"/>
                    </a:lnTo>
                    <a:lnTo>
                      <a:pt x="106" y="97"/>
                    </a:lnTo>
                    <a:lnTo>
                      <a:pt x="106" y="95"/>
                    </a:lnTo>
                    <a:lnTo>
                      <a:pt x="104" y="95"/>
                    </a:lnTo>
                    <a:lnTo>
                      <a:pt x="104" y="92"/>
                    </a:lnTo>
                    <a:lnTo>
                      <a:pt x="101" y="92"/>
                    </a:lnTo>
                    <a:lnTo>
                      <a:pt x="101" y="92"/>
                    </a:lnTo>
                    <a:lnTo>
                      <a:pt x="99" y="90"/>
                    </a:lnTo>
                    <a:lnTo>
                      <a:pt x="97" y="88"/>
                    </a:lnTo>
                    <a:lnTo>
                      <a:pt x="97" y="88"/>
                    </a:lnTo>
                    <a:lnTo>
                      <a:pt x="97" y="85"/>
                    </a:lnTo>
                    <a:lnTo>
                      <a:pt x="97" y="85"/>
                    </a:lnTo>
                    <a:lnTo>
                      <a:pt x="97" y="83"/>
                    </a:lnTo>
                    <a:lnTo>
                      <a:pt x="97" y="83"/>
                    </a:lnTo>
                    <a:lnTo>
                      <a:pt x="97" y="83"/>
                    </a:lnTo>
                    <a:lnTo>
                      <a:pt x="97" y="81"/>
                    </a:lnTo>
                    <a:lnTo>
                      <a:pt x="94" y="81"/>
                    </a:lnTo>
                    <a:lnTo>
                      <a:pt x="87" y="78"/>
                    </a:lnTo>
                    <a:lnTo>
                      <a:pt x="85" y="78"/>
                    </a:lnTo>
                    <a:lnTo>
                      <a:pt x="85" y="76"/>
                    </a:lnTo>
                    <a:lnTo>
                      <a:pt x="82" y="76"/>
                    </a:lnTo>
                    <a:lnTo>
                      <a:pt x="75" y="71"/>
                    </a:lnTo>
                    <a:lnTo>
                      <a:pt x="73" y="69"/>
                    </a:lnTo>
                    <a:lnTo>
                      <a:pt x="73" y="69"/>
                    </a:lnTo>
                    <a:lnTo>
                      <a:pt x="71" y="69"/>
                    </a:lnTo>
                    <a:lnTo>
                      <a:pt x="71" y="66"/>
                    </a:lnTo>
                    <a:lnTo>
                      <a:pt x="73" y="66"/>
                    </a:lnTo>
                    <a:lnTo>
                      <a:pt x="73" y="66"/>
                    </a:lnTo>
                    <a:lnTo>
                      <a:pt x="73" y="64"/>
                    </a:lnTo>
                    <a:lnTo>
                      <a:pt x="73" y="62"/>
                    </a:lnTo>
                    <a:lnTo>
                      <a:pt x="73" y="62"/>
                    </a:lnTo>
                    <a:lnTo>
                      <a:pt x="73" y="59"/>
                    </a:lnTo>
                    <a:lnTo>
                      <a:pt x="73" y="59"/>
                    </a:lnTo>
                    <a:lnTo>
                      <a:pt x="75" y="59"/>
                    </a:lnTo>
                    <a:lnTo>
                      <a:pt x="78" y="59"/>
                    </a:lnTo>
                    <a:lnTo>
                      <a:pt x="82" y="62"/>
                    </a:lnTo>
                    <a:lnTo>
                      <a:pt x="82" y="62"/>
                    </a:lnTo>
                    <a:lnTo>
                      <a:pt x="85" y="59"/>
                    </a:lnTo>
                    <a:lnTo>
                      <a:pt x="87" y="57"/>
                    </a:lnTo>
                    <a:lnTo>
                      <a:pt x="87" y="55"/>
                    </a:lnTo>
                    <a:lnTo>
                      <a:pt x="87" y="55"/>
                    </a:lnTo>
                    <a:lnTo>
                      <a:pt x="90" y="52"/>
                    </a:lnTo>
                    <a:lnTo>
                      <a:pt x="87" y="52"/>
                    </a:lnTo>
                    <a:lnTo>
                      <a:pt x="87" y="50"/>
                    </a:lnTo>
                    <a:lnTo>
                      <a:pt x="87" y="50"/>
                    </a:lnTo>
                    <a:lnTo>
                      <a:pt x="85" y="50"/>
                    </a:lnTo>
                    <a:lnTo>
                      <a:pt x="82" y="50"/>
                    </a:lnTo>
                    <a:lnTo>
                      <a:pt x="82" y="47"/>
                    </a:lnTo>
                    <a:lnTo>
                      <a:pt x="82" y="47"/>
                    </a:lnTo>
                    <a:lnTo>
                      <a:pt x="82" y="47"/>
                    </a:lnTo>
                    <a:lnTo>
                      <a:pt x="82" y="45"/>
                    </a:lnTo>
                    <a:lnTo>
                      <a:pt x="80" y="45"/>
                    </a:lnTo>
                    <a:lnTo>
                      <a:pt x="78" y="45"/>
                    </a:lnTo>
                    <a:lnTo>
                      <a:pt x="78" y="45"/>
                    </a:lnTo>
                    <a:lnTo>
                      <a:pt x="78" y="43"/>
                    </a:lnTo>
                    <a:lnTo>
                      <a:pt x="78" y="43"/>
                    </a:lnTo>
                    <a:lnTo>
                      <a:pt x="80" y="43"/>
                    </a:lnTo>
                    <a:lnTo>
                      <a:pt x="80" y="40"/>
                    </a:lnTo>
                    <a:lnTo>
                      <a:pt x="80" y="40"/>
                    </a:lnTo>
                    <a:lnTo>
                      <a:pt x="80" y="38"/>
                    </a:lnTo>
                    <a:lnTo>
                      <a:pt x="78" y="38"/>
                    </a:lnTo>
                    <a:lnTo>
                      <a:pt x="75" y="36"/>
                    </a:lnTo>
                    <a:lnTo>
                      <a:pt x="73" y="33"/>
                    </a:lnTo>
                    <a:lnTo>
                      <a:pt x="71" y="33"/>
                    </a:lnTo>
                    <a:lnTo>
                      <a:pt x="71" y="33"/>
                    </a:lnTo>
                    <a:lnTo>
                      <a:pt x="66" y="36"/>
                    </a:lnTo>
                    <a:lnTo>
                      <a:pt x="66" y="36"/>
                    </a:lnTo>
                    <a:lnTo>
                      <a:pt x="64" y="38"/>
                    </a:lnTo>
                    <a:lnTo>
                      <a:pt x="64" y="38"/>
                    </a:lnTo>
                    <a:lnTo>
                      <a:pt x="61" y="38"/>
                    </a:lnTo>
                    <a:lnTo>
                      <a:pt x="59" y="38"/>
                    </a:lnTo>
                    <a:lnTo>
                      <a:pt x="54" y="36"/>
                    </a:lnTo>
                    <a:lnTo>
                      <a:pt x="52" y="36"/>
                    </a:lnTo>
                    <a:lnTo>
                      <a:pt x="47" y="29"/>
                    </a:lnTo>
                    <a:lnTo>
                      <a:pt x="47" y="26"/>
                    </a:lnTo>
                    <a:lnTo>
                      <a:pt x="47" y="26"/>
                    </a:lnTo>
                    <a:lnTo>
                      <a:pt x="47" y="24"/>
                    </a:lnTo>
                    <a:lnTo>
                      <a:pt x="47" y="21"/>
                    </a:lnTo>
                    <a:lnTo>
                      <a:pt x="47" y="19"/>
                    </a:lnTo>
                    <a:lnTo>
                      <a:pt x="47" y="19"/>
                    </a:lnTo>
                    <a:lnTo>
                      <a:pt x="47" y="17"/>
                    </a:lnTo>
                    <a:lnTo>
                      <a:pt x="47" y="17"/>
                    </a:lnTo>
                    <a:lnTo>
                      <a:pt x="47" y="17"/>
                    </a:lnTo>
                    <a:lnTo>
                      <a:pt x="45" y="17"/>
                    </a:lnTo>
                    <a:lnTo>
                      <a:pt x="45" y="14"/>
                    </a:lnTo>
                    <a:lnTo>
                      <a:pt x="45" y="14"/>
                    </a:lnTo>
                    <a:lnTo>
                      <a:pt x="45" y="17"/>
                    </a:lnTo>
                    <a:lnTo>
                      <a:pt x="42" y="17"/>
                    </a:lnTo>
                    <a:lnTo>
                      <a:pt x="42" y="19"/>
                    </a:lnTo>
                    <a:lnTo>
                      <a:pt x="42" y="19"/>
                    </a:lnTo>
                    <a:lnTo>
                      <a:pt x="42" y="17"/>
                    </a:lnTo>
                    <a:lnTo>
                      <a:pt x="42" y="17"/>
                    </a:lnTo>
                    <a:lnTo>
                      <a:pt x="40" y="14"/>
                    </a:lnTo>
                    <a:lnTo>
                      <a:pt x="40" y="12"/>
                    </a:lnTo>
                    <a:lnTo>
                      <a:pt x="37" y="12"/>
                    </a:lnTo>
                    <a:lnTo>
                      <a:pt x="37" y="10"/>
                    </a:lnTo>
                    <a:lnTo>
                      <a:pt x="33" y="7"/>
                    </a:lnTo>
                    <a:lnTo>
                      <a:pt x="30" y="5"/>
                    </a:lnTo>
                    <a:lnTo>
                      <a:pt x="30" y="2"/>
                    </a:lnTo>
                    <a:lnTo>
                      <a:pt x="30" y="2"/>
                    </a:lnTo>
                    <a:lnTo>
                      <a:pt x="28" y="2"/>
                    </a:lnTo>
                    <a:lnTo>
                      <a:pt x="26" y="2"/>
                    </a:lnTo>
                    <a:lnTo>
                      <a:pt x="26" y="2"/>
                    </a:lnTo>
                    <a:lnTo>
                      <a:pt x="23" y="0"/>
                    </a:lnTo>
                    <a:lnTo>
                      <a:pt x="23" y="0"/>
                    </a:lnTo>
                    <a:lnTo>
                      <a:pt x="23" y="0"/>
                    </a:lnTo>
                    <a:lnTo>
                      <a:pt x="21" y="0"/>
                    </a:lnTo>
                    <a:lnTo>
                      <a:pt x="21" y="2"/>
                    </a:lnTo>
                    <a:lnTo>
                      <a:pt x="21" y="5"/>
                    </a:lnTo>
                    <a:lnTo>
                      <a:pt x="21" y="5"/>
                    </a:lnTo>
                    <a:lnTo>
                      <a:pt x="19" y="5"/>
                    </a:lnTo>
                    <a:lnTo>
                      <a:pt x="21" y="7"/>
                    </a:lnTo>
                    <a:lnTo>
                      <a:pt x="21" y="7"/>
                    </a:lnTo>
                    <a:lnTo>
                      <a:pt x="21" y="10"/>
                    </a:lnTo>
                    <a:lnTo>
                      <a:pt x="21" y="10"/>
                    </a:lnTo>
                    <a:lnTo>
                      <a:pt x="21" y="12"/>
                    </a:lnTo>
                    <a:lnTo>
                      <a:pt x="23" y="14"/>
                    </a:lnTo>
                    <a:lnTo>
                      <a:pt x="26" y="14"/>
                    </a:lnTo>
                    <a:lnTo>
                      <a:pt x="26" y="17"/>
                    </a:lnTo>
                    <a:lnTo>
                      <a:pt x="26" y="19"/>
                    </a:lnTo>
                    <a:lnTo>
                      <a:pt x="26" y="21"/>
                    </a:lnTo>
                    <a:lnTo>
                      <a:pt x="26" y="24"/>
                    </a:lnTo>
                    <a:lnTo>
                      <a:pt x="26" y="26"/>
                    </a:lnTo>
                    <a:lnTo>
                      <a:pt x="26" y="26"/>
                    </a:lnTo>
                    <a:lnTo>
                      <a:pt x="28" y="26"/>
                    </a:lnTo>
                    <a:lnTo>
                      <a:pt x="28" y="29"/>
                    </a:lnTo>
                    <a:lnTo>
                      <a:pt x="28" y="29"/>
                    </a:lnTo>
                    <a:lnTo>
                      <a:pt x="26" y="29"/>
                    </a:lnTo>
                    <a:lnTo>
                      <a:pt x="26" y="29"/>
                    </a:lnTo>
                    <a:lnTo>
                      <a:pt x="26" y="29"/>
                    </a:lnTo>
                    <a:lnTo>
                      <a:pt x="23" y="29"/>
                    </a:lnTo>
                    <a:lnTo>
                      <a:pt x="23" y="29"/>
                    </a:lnTo>
                    <a:lnTo>
                      <a:pt x="23" y="26"/>
                    </a:lnTo>
                    <a:lnTo>
                      <a:pt x="21" y="26"/>
                    </a:lnTo>
                    <a:lnTo>
                      <a:pt x="19" y="29"/>
                    </a:lnTo>
                    <a:lnTo>
                      <a:pt x="19" y="29"/>
                    </a:lnTo>
                    <a:lnTo>
                      <a:pt x="16" y="29"/>
                    </a:lnTo>
                    <a:lnTo>
                      <a:pt x="16" y="26"/>
                    </a:lnTo>
                    <a:lnTo>
                      <a:pt x="16" y="24"/>
                    </a:lnTo>
                    <a:lnTo>
                      <a:pt x="16" y="24"/>
                    </a:lnTo>
                    <a:lnTo>
                      <a:pt x="16" y="24"/>
                    </a:lnTo>
                    <a:lnTo>
                      <a:pt x="16" y="21"/>
                    </a:lnTo>
                    <a:lnTo>
                      <a:pt x="14" y="19"/>
                    </a:lnTo>
                    <a:lnTo>
                      <a:pt x="14" y="21"/>
                    </a:lnTo>
                    <a:lnTo>
                      <a:pt x="11" y="24"/>
                    </a:lnTo>
                    <a:lnTo>
                      <a:pt x="9" y="26"/>
                    </a:lnTo>
                    <a:lnTo>
                      <a:pt x="9" y="26"/>
                    </a:lnTo>
                    <a:lnTo>
                      <a:pt x="7" y="26"/>
                    </a:lnTo>
                    <a:lnTo>
                      <a:pt x="7" y="29"/>
                    </a:lnTo>
                    <a:lnTo>
                      <a:pt x="7" y="31"/>
                    </a:lnTo>
                    <a:lnTo>
                      <a:pt x="4" y="31"/>
                    </a:lnTo>
                    <a:lnTo>
                      <a:pt x="4" y="33"/>
                    </a:lnTo>
                    <a:lnTo>
                      <a:pt x="4" y="33"/>
                    </a:lnTo>
                    <a:lnTo>
                      <a:pt x="7" y="36"/>
                    </a:lnTo>
                    <a:lnTo>
                      <a:pt x="7" y="36"/>
                    </a:lnTo>
                    <a:lnTo>
                      <a:pt x="7" y="36"/>
                    </a:lnTo>
                    <a:lnTo>
                      <a:pt x="7" y="36"/>
                    </a:lnTo>
                    <a:lnTo>
                      <a:pt x="4" y="36"/>
                    </a:lnTo>
                    <a:lnTo>
                      <a:pt x="4" y="36"/>
                    </a:lnTo>
                    <a:lnTo>
                      <a:pt x="2" y="36"/>
                    </a:lnTo>
                    <a:lnTo>
                      <a:pt x="0" y="38"/>
                    </a:lnTo>
                    <a:lnTo>
                      <a:pt x="0" y="40"/>
                    </a:lnTo>
                    <a:lnTo>
                      <a:pt x="0" y="45"/>
                    </a:lnTo>
                    <a:lnTo>
                      <a:pt x="0" y="47"/>
                    </a:lnTo>
                    <a:lnTo>
                      <a:pt x="0" y="47"/>
                    </a:lnTo>
                    <a:lnTo>
                      <a:pt x="0" y="47"/>
                    </a:lnTo>
                    <a:lnTo>
                      <a:pt x="0" y="47"/>
                    </a:lnTo>
                    <a:lnTo>
                      <a:pt x="2" y="45"/>
                    </a:lnTo>
                    <a:lnTo>
                      <a:pt x="2" y="45"/>
                    </a:lnTo>
                    <a:lnTo>
                      <a:pt x="2" y="45"/>
                    </a:lnTo>
                    <a:lnTo>
                      <a:pt x="4" y="45"/>
                    </a:lnTo>
                    <a:lnTo>
                      <a:pt x="4" y="47"/>
                    </a:lnTo>
                    <a:lnTo>
                      <a:pt x="7" y="50"/>
                    </a:lnTo>
                    <a:lnTo>
                      <a:pt x="7" y="50"/>
                    </a:lnTo>
                    <a:lnTo>
                      <a:pt x="7" y="50"/>
                    </a:lnTo>
                    <a:lnTo>
                      <a:pt x="7" y="52"/>
                    </a:lnTo>
                    <a:lnTo>
                      <a:pt x="7" y="52"/>
                    </a:lnTo>
                    <a:lnTo>
                      <a:pt x="7" y="55"/>
                    </a:lnTo>
                    <a:lnTo>
                      <a:pt x="7" y="59"/>
                    </a:lnTo>
                    <a:lnTo>
                      <a:pt x="7" y="62"/>
                    </a:lnTo>
                    <a:lnTo>
                      <a:pt x="9" y="62"/>
                    </a:lnTo>
                    <a:lnTo>
                      <a:pt x="11" y="64"/>
                    </a:lnTo>
                    <a:lnTo>
                      <a:pt x="14" y="64"/>
                    </a:lnTo>
                    <a:lnTo>
                      <a:pt x="14" y="64"/>
                    </a:lnTo>
                    <a:lnTo>
                      <a:pt x="14" y="62"/>
                    </a:lnTo>
                    <a:lnTo>
                      <a:pt x="16" y="62"/>
                    </a:lnTo>
                    <a:lnTo>
                      <a:pt x="16" y="62"/>
                    </a:lnTo>
                    <a:lnTo>
                      <a:pt x="21" y="62"/>
                    </a:lnTo>
                    <a:lnTo>
                      <a:pt x="21" y="62"/>
                    </a:lnTo>
                    <a:lnTo>
                      <a:pt x="21" y="64"/>
                    </a:lnTo>
                    <a:lnTo>
                      <a:pt x="21" y="66"/>
                    </a:lnTo>
                    <a:lnTo>
                      <a:pt x="23" y="71"/>
                    </a:lnTo>
                    <a:lnTo>
                      <a:pt x="23" y="73"/>
                    </a:lnTo>
                    <a:lnTo>
                      <a:pt x="26" y="76"/>
                    </a:lnTo>
                    <a:lnTo>
                      <a:pt x="23" y="78"/>
                    </a:lnTo>
                    <a:lnTo>
                      <a:pt x="23" y="83"/>
                    </a:lnTo>
                    <a:lnTo>
                      <a:pt x="23" y="85"/>
                    </a:lnTo>
                    <a:lnTo>
                      <a:pt x="21" y="85"/>
                    </a:lnTo>
                    <a:lnTo>
                      <a:pt x="21" y="85"/>
                    </a:lnTo>
                    <a:lnTo>
                      <a:pt x="21" y="88"/>
                    </a:lnTo>
                    <a:lnTo>
                      <a:pt x="23" y="88"/>
                    </a:lnTo>
                    <a:lnTo>
                      <a:pt x="23" y="90"/>
                    </a:lnTo>
                    <a:lnTo>
                      <a:pt x="23" y="90"/>
                    </a:lnTo>
                    <a:lnTo>
                      <a:pt x="23" y="92"/>
                    </a:lnTo>
                    <a:lnTo>
                      <a:pt x="23" y="95"/>
                    </a:lnTo>
                    <a:lnTo>
                      <a:pt x="23" y="100"/>
                    </a:lnTo>
                    <a:lnTo>
                      <a:pt x="21" y="104"/>
                    </a:lnTo>
                    <a:lnTo>
                      <a:pt x="23" y="104"/>
                    </a:lnTo>
                    <a:lnTo>
                      <a:pt x="23" y="107"/>
                    </a:lnTo>
                    <a:lnTo>
                      <a:pt x="26" y="107"/>
                    </a:lnTo>
                    <a:lnTo>
                      <a:pt x="26" y="107"/>
                    </a:lnTo>
                    <a:lnTo>
                      <a:pt x="28" y="104"/>
                    </a:lnTo>
                    <a:lnTo>
                      <a:pt x="30" y="102"/>
                    </a:lnTo>
                    <a:lnTo>
                      <a:pt x="33" y="100"/>
                    </a:lnTo>
                    <a:lnTo>
                      <a:pt x="33" y="100"/>
                    </a:lnTo>
                    <a:lnTo>
                      <a:pt x="35" y="97"/>
                    </a:lnTo>
                    <a:lnTo>
                      <a:pt x="35" y="97"/>
                    </a:lnTo>
                    <a:lnTo>
                      <a:pt x="35" y="95"/>
                    </a:lnTo>
                    <a:lnTo>
                      <a:pt x="37" y="95"/>
                    </a:lnTo>
                    <a:lnTo>
                      <a:pt x="37" y="95"/>
                    </a:lnTo>
                    <a:lnTo>
                      <a:pt x="40" y="95"/>
                    </a:lnTo>
                    <a:lnTo>
                      <a:pt x="40" y="92"/>
                    </a:lnTo>
                    <a:lnTo>
                      <a:pt x="42" y="90"/>
                    </a:lnTo>
                    <a:lnTo>
                      <a:pt x="42" y="90"/>
                    </a:lnTo>
                    <a:lnTo>
                      <a:pt x="45" y="92"/>
                    </a:lnTo>
                    <a:lnTo>
                      <a:pt x="47" y="95"/>
                    </a:lnTo>
                    <a:lnTo>
                      <a:pt x="49" y="95"/>
                    </a:lnTo>
                    <a:lnTo>
                      <a:pt x="52" y="97"/>
                    </a:lnTo>
                    <a:lnTo>
                      <a:pt x="52" y="97"/>
                    </a:lnTo>
                    <a:lnTo>
                      <a:pt x="52" y="97"/>
                    </a:lnTo>
                    <a:lnTo>
                      <a:pt x="52" y="100"/>
                    </a:lnTo>
                    <a:lnTo>
                      <a:pt x="54" y="100"/>
                    </a:lnTo>
                    <a:lnTo>
                      <a:pt x="54" y="100"/>
                    </a:lnTo>
                    <a:lnTo>
                      <a:pt x="54" y="100"/>
                    </a:lnTo>
                    <a:lnTo>
                      <a:pt x="54" y="97"/>
                    </a:lnTo>
                    <a:lnTo>
                      <a:pt x="56" y="97"/>
                    </a:lnTo>
                    <a:lnTo>
                      <a:pt x="56" y="97"/>
                    </a:lnTo>
                    <a:lnTo>
                      <a:pt x="59" y="95"/>
                    </a:lnTo>
                    <a:lnTo>
                      <a:pt x="59" y="95"/>
                    </a:lnTo>
                    <a:lnTo>
                      <a:pt x="61" y="92"/>
                    </a:lnTo>
                    <a:lnTo>
                      <a:pt x="61" y="90"/>
                    </a:lnTo>
                    <a:lnTo>
                      <a:pt x="61" y="90"/>
                    </a:lnTo>
                    <a:lnTo>
                      <a:pt x="64" y="90"/>
                    </a:lnTo>
                    <a:lnTo>
                      <a:pt x="64" y="90"/>
                    </a:lnTo>
                    <a:lnTo>
                      <a:pt x="64" y="88"/>
                    </a:lnTo>
                    <a:lnTo>
                      <a:pt x="61" y="88"/>
                    </a:lnTo>
                    <a:lnTo>
                      <a:pt x="64" y="88"/>
                    </a:lnTo>
                    <a:lnTo>
                      <a:pt x="64" y="88"/>
                    </a:lnTo>
                    <a:lnTo>
                      <a:pt x="66" y="88"/>
                    </a:lnTo>
                    <a:lnTo>
                      <a:pt x="68" y="88"/>
                    </a:lnTo>
                    <a:lnTo>
                      <a:pt x="73" y="88"/>
                    </a:lnTo>
                    <a:lnTo>
                      <a:pt x="75" y="90"/>
                    </a:lnTo>
                    <a:lnTo>
                      <a:pt x="75" y="88"/>
                    </a:lnTo>
                    <a:lnTo>
                      <a:pt x="78" y="90"/>
                    </a:lnTo>
                    <a:lnTo>
                      <a:pt x="80" y="95"/>
                    </a:lnTo>
                    <a:lnTo>
                      <a:pt x="82" y="100"/>
                    </a:lnTo>
                    <a:lnTo>
                      <a:pt x="85" y="102"/>
                    </a:lnTo>
                    <a:lnTo>
                      <a:pt x="87" y="104"/>
                    </a:lnTo>
                    <a:lnTo>
                      <a:pt x="90" y="104"/>
                    </a:lnTo>
                    <a:lnTo>
                      <a:pt x="92" y="107"/>
                    </a:lnTo>
                    <a:lnTo>
                      <a:pt x="94" y="111"/>
                    </a:lnTo>
                    <a:lnTo>
                      <a:pt x="94" y="116"/>
                    </a:lnTo>
                    <a:lnTo>
                      <a:pt x="94" y="118"/>
                    </a:lnTo>
                    <a:lnTo>
                      <a:pt x="94" y="123"/>
                    </a:lnTo>
                    <a:lnTo>
                      <a:pt x="97" y="128"/>
                    </a:lnTo>
                    <a:lnTo>
                      <a:pt x="99" y="130"/>
                    </a:lnTo>
                    <a:lnTo>
                      <a:pt x="101" y="133"/>
                    </a:lnTo>
                    <a:lnTo>
                      <a:pt x="101" y="135"/>
                    </a:lnTo>
                    <a:lnTo>
                      <a:pt x="104" y="135"/>
                    </a:lnTo>
                    <a:lnTo>
                      <a:pt x="106" y="137"/>
                    </a:lnTo>
                    <a:lnTo>
                      <a:pt x="108" y="137"/>
                    </a:lnTo>
                    <a:lnTo>
                      <a:pt x="108" y="140"/>
                    </a:lnTo>
                    <a:lnTo>
                      <a:pt x="108" y="140"/>
                    </a:lnTo>
                    <a:lnTo>
                      <a:pt x="108" y="142"/>
                    </a:lnTo>
                    <a:lnTo>
                      <a:pt x="111" y="142"/>
                    </a:lnTo>
                    <a:lnTo>
                      <a:pt x="111" y="142"/>
                    </a:lnTo>
                    <a:lnTo>
                      <a:pt x="113" y="145"/>
                    </a:lnTo>
                    <a:lnTo>
                      <a:pt x="113" y="145"/>
                    </a:lnTo>
                    <a:lnTo>
                      <a:pt x="113" y="147"/>
                    </a:lnTo>
                    <a:lnTo>
                      <a:pt x="113" y="149"/>
                    </a:lnTo>
                    <a:lnTo>
                      <a:pt x="113" y="149"/>
                    </a:lnTo>
                    <a:lnTo>
                      <a:pt x="113" y="152"/>
                    </a:lnTo>
                    <a:lnTo>
                      <a:pt x="111" y="152"/>
                    </a:lnTo>
                    <a:lnTo>
                      <a:pt x="111" y="154"/>
                    </a:lnTo>
                    <a:lnTo>
                      <a:pt x="113" y="156"/>
                    </a:lnTo>
                    <a:lnTo>
                      <a:pt x="113" y="159"/>
                    </a:lnTo>
                    <a:lnTo>
                      <a:pt x="113" y="161"/>
                    </a:lnTo>
                    <a:lnTo>
                      <a:pt x="113" y="163"/>
                    </a:lnTo>
                    <a:lnTo>
                      <a:pt x="113" y="166"/>
                    </a:lnTo>
                    <a:lnTo>
                      <a:pt x="113" y="168"/>
                    </a:lnTo>
                    <a:lnTo>
                      <a:pt x="113" y="168"/>
                    </a:lnTo>
                    <a:lnTo>
                      <a:pt x="113" y="171"/>
                    </a:lnTo>
                    <a:lnTo>
                      <a:pt x="111" y="171"/>
                    </a:lnTo>
                    <a:lnTo>
                      <a:pt x="108" y="173"/>
                    </a:lnTo>
                    <a:lnTo>
                      <a:pt x="108" y="173"/>
                    </a:lnTo>
                    <a:lnTo>
                      <a:pt x="108" y="173"/>
                    </a:lnTo>
                    <a:lnTo>
                      <a:pt x="108" y="175"/>
                    </a:lnTo>
                    <a:lnTo>
                      <a:pt x="111" y="175"/>
                    </a:lnTo>
                    <a:lnTo>
                      <a:pt x="111" y="178"/>
                    </a:lnTo>
                    <a:lnTo>
                      <a:pt x="111" y="178"/>
                    </a:lnTo>
                    <a:lnTo>
                      <a:pt x="113" y="178"/>
                    </a:lnTo>
                    <a:lnTo>
                      <a:pt x="116" y="178"/>
                    </a:lnTo>
                    <a:lnTo>
                      <a:pt x="120" y="178"/>
                    </a:lnTo>
                    <a:lnTo>
                      <a:pt x="120" y="180"/>
                    </a:lnTo>
                    <a:lnTo>
                      <a:pt x="120" y="180"/>
                    </a:lnTo>
                    <a:lnTo>
                      <a:pt x="123" y="182"/>
                    </a:lnTo>
                    <a:lnTo>
                      <a:pt x="125" y="182"/>
                    </a:lnTo>
                    <a:lnTo>
                      <a:pt x="127" y="180"/>
                    </a:lnTo>
                    <a:lnTo>
                      <a:pt x="125" y="178"/>
                    </a:lnTo>
                    <a:lnTo>
                      <a:pt x="123" y="175"/>
                    </a:lnTo>
                    <a:lnTo>
                      <a:pt x="123" y="173"/>
                    </a:lnTo>
                    <a:lnTo>
                      <a:pt x="123" y="173"/>
                    </a:lnTo>
                    <a:lnTo>
                      <a:pt x="127" y="173"/>
                    </a:lnTo>
                    <a:lnTo>
                      <a:pt x="127" y="173"/>
                    </a:lnTo>
                    <a:lnTo>
                      <a:pt x="127" y="171"/>
                    </a:lnTo>
                    <a:lnTo>
                      <a:pt x="127" y="171"/>
                    </a:lnTo>
                    <a:lnTo>
                      <a:pt x="130" y="171"/>
                    </a:lnTo>
                    <a:lnTo>
                      <a:pt x="132" y="168"/>
                    </a:lnTo>
                    <a:lnTo>
                      <a:pt x="132" y="168"/>
                    </a:lnTo>
                    <a:lnTo>
                      <a:pt x="132" y="168"/>
                    </a:lnTo>
                    <a:lnTo>
                      <a:pt x="134" y="171"/>
                    </a:lnTo>
                    <a:lnTo>
                      <a:pt x="134" y="171"/>
                    </a:lnTo>
                    <a:lnTo>
                      <a:pt x="134" y="171"/>
                    </a:lnTo>
                    <a:lnTo>
                      <a:pt x="137" y="173"/>
                    </a:lnTo>
                    <a:lnTo>
                      <a:pt x="137" y="173"/>
                    </a:lnTo>
                    <a:lnTo>
                      <a:pt x="139" y="173"/>
                    </a:lnTo>
                    <a:lnTo>
                      <a:pt x="139" y="173"/>
                    </a:lnTo>
                    <a:lnTo>
                      <a:pt x="142" y="173"/>
                    </a:lnTo>
                    <a:lnTo>
                      <a:pt x="142" y="173"/>
                    </a:lnTo>
                    <a:lnTo>
                      <a:pt x="142" y="171"/>
                    </a:lnTo>
                    <a:lnTo>
                      <a:pt x="144" y="171"/>
                    </a:lnTo>
                    <a:lnTo>
                      <a:pt x="144" y="171"/>
                    </a:lnTo>
                    <a:lnTo>
                      <a:pt x="146" y="171"/>
                    </a:lnTo>
                    <a:lnTo>
                      <a:pt x="146" y="168"/>
                    </a:lnTo>
                    <a:lnTo>
                      <a:pt x="146" y="168"/>
                    </a:lnTo>
                    <a:lnTo>
                      <a:pt x="149" y="168"/>
                    </a:lnTo>
                    <a:lnTo>
                      <a:pt x="149" y="168"/>
                    </a:lnTo>
                    <a:lnTo>
                      <a:pt x="149" y="166"/>
                    </a:lnTo>
                    <a:lnTo>
                      <a:pt x="151" y="166"/>
                    </a:lnTo>
                    <a:lnTo>
                      <a:pt x="151" y="163"/>
                    </a:lnTo>
                    <a:lnTo>
                      <a:pt x="151" y="161"/>
                    </a:lnTo>
                    <a:lnTo>
                      <a:pt x="151" y="161"/>
                    </a:lnTo>
                    <a:lnTo>
                      <a:pt x="149" y="159"/>
                    </a:lnTo>
                    <a:lnTo>
                      <a:pt x="149" y="159"/>
                    </a:lnTo>
                    <a:lnTo>
                      <a:pt x="151" y="159"/>
                    </a:lnTo>
                    <a:lnTo>
                      <a:pt x="151" y="156"/>
                    </a:lnTo>
                    <a:lnTo>
                      <a:pt x="151" y="154"/>
                    </a:lnTo>
                    <a:lnTo>
                      <a:pt x="151" y="154"/>
                    </a:lnTo>
                    <a:lnTo>
                      <a:pt x="151" y="152"/>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Freeform 117"/>
              <p:cNvSpPr>
                <a:spLocks noEditPoints="1"/>
              </p:cNvSpPr>
              <p:nvPr/>
            </p:nvSpPr>
            <p:spPr bwMode="auto">
              <a:xfrm>
                <a:off x="3593" y="2163"/>
                <a:ext cx="36" cy="33"/>
              </a:xfrm>
              <a:custGeom>
                <a:avLst/>
                <a:gdLst>
                  <a:gd name="T0" fmla="*/ 29 w 36"/>
                  <a:gd name="T1" fmla="*/ 12 h 33"/>
                  <a:gd name="T2" fmla="*/ 29 w 36"/>
                  <a:gd name="T3" fmla="*/ 12 h 33"/>
                  <a:gd name="T4" fmla="*/ 31 w 36"/>
                  <a:gd name="T5" fmla="*/ 10 h 33"/>
                  <a:gd name="T6" fmla="*/ 29 w 36"/>
                  <a:gd name="T7" fmla="*/ 5 h 33"/>
                  <a:gd name="T8" fmla="*/ 26 w 36"/>
                  <a:gd name="T9" fmla="*/ 5 h 33"/>
                  <a:gd name="T10" fmla="*/ 26 w 36"/>
                  <a:gd name="T11" fmla="*/ 5 h 33"/>
                  <a:gd name="T12" fmla="*/ 26 w 36"/>
                  <a:gd name="T13" fmla="*/ 7 h 33"/>
                  <a:gd name="T14" fmla="*/ 26 w 36"/>
                  <a:gd name="T15" fmla="*/ 10 h 33"/>
                  <a:gd name="T16" fmla="*/ 33 w 36"/>
                  <a:gd name="T17" fmla="*/ 31 h 33"/>
                  <a:gd name="T18" fmla="*/ 31 w 36"/>
                  <a:gd name="T19" fmla="*/ 26 h 33"/>
                  <a:gd name="T20" fmla="*/ 26 w 36"/>
                  <a:gd name="T21" fmla="*/ 19 h 33"/>
                  <a:gd name="T22" fmla="*/ 26 w 36"/>
                  <a:gd name="T23" fmla="*/ 17 h 33"/>
                  <a:gd name="T24" fmla="*/ 24 w 36"/>
                  <a:gd name="T25" fmla="*/ 17 h 33"/>
                  <a:gd name="T26" fmla="*/ 19 w 36"/>
                  <a:gd name="T27" fmla="*/ 17 h 33"/>
                  <a:gd name="T28" fmla="*/ 21 w 36"/>
                  <a:gd name="T29" fmla="*/ 14 h 33"/>
                  <a:gd name="T30" fmla="*/ 26 w 36"/>
                  <a:gd name="T31" fmla="*/ 12 h 33"/>
                  <a:gd name="T32" fmla="*/ 26 w 36"/>
                  <a:gd name="T33" fmla="*/ 12 h 33"/>
                  <a:gd name="T34" fmla="*/ 26 w 36"/>
                  <a:gd name="T35" fmla="*/ 10 h 33"/>
                  <a:gd name="T36" fmla="*/ 24 w 36"/>
                  <a:gd name="T37" fmla="*/ 5 h 33"/>
                  <a:gd name="T38" fmla="*/ 19 w 36"/>
                  <a:gd name="T39" fmla="*/ 0 h 33"/>
                  <a:gd name="T40" fmla="*/ 17 w 36"/>
                  <a:gd name="T41" fmla="*/ 0 h 33"/>
                  <a:gd name="T42" fmla="*/ 12 w 36"/>
                  <a:gd name="T43" fmla="*/ 0 h 33"/>
                  <a:gd name="T44" fmla="*/ 7 w 36"/>
                  <a:gd name="T45" fmla="*/ 2 h 33"/>
                  <a:gd name="T46" fmla="*/ 7 w 36"/>
                  <a:gd name="T47" fmla="*/ 5 h 33"/>
                  <a:gd name="T48" fmla="*/ 5 w 36"/>
                  <a:gd name="T49" fmla="*/ 10 h 33"/>
                  <a:gd name="T50" fmla="*/ 2 w 36"/>
                  <a:gd name="T51" fmla="*/ 17 h 33"/>
                  <a:gd name="T52" fmla="*/ 0 w 36"/>
                  <a:gd name="T53" fmla="*/ 21 h 33"/>
                  <a:gd name="T54" fmla="*/ 7 w 36"/>
                  <a:gd name="T55" fmla="*/ 24 h 33"/>
                  <a:gd name="T56" fmla="*/ 17 w 36"/>
                  <a:gd name="T57" fmla="*/ 24 h 33"/>
                  <a:gd name="T58" fmla="*/ 19 w 36"/>
                  <a:gd name="T59" fmla="*/ 28 h 33"/>
                  <a:gd name="T60" fmla="*/ 21 w 36"/>
                  <a:gd name="T61" fmla="*/ 33 h 33"/>
                  <a:gd name="T62" fmla="*/ 29 w 36"/>
                  <a:gd name="T63" fmla="*/ 33 h 33"/>
                  <a:gd name="T64" fmla="*/ 36 w 36"/>
                  <a:gd name="T65"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 h="33">
                    <a:moveTo>
                      <a:pt x="26" y="10"/>
                    </a:moveTo>
                    <a:lnTo>
                      <a:pt x="29" y="12"/>
                    </a:lnTo>
                    <a:lnTo>
                      <a:pt x="29" y="12"/>
                    </a:lnTo>
                    <a:lnTo>
                      <a:pt x="29" y="12"/>
                    </a:lnTo>
                    <a:lnTo>
                      <a:pt x="31" y="10"/>
                    </a:lnTo>
                    <a:lnTo>
                      <a:pt x="31" y="10"/>
                    </a:lnTo>
                    <a:lnTo>
                      <a:pt x="31" y="7"/>
                    </a:lnTo>
                    <a:lnTo>
                      <a:pt x="29" y="5"/>
                    </a:lnTo>
                    <a:lnTo>
                      <a:pt x="26" y="2"/>
                    </a:lnTo>
                    <a:lnTo>
                      <a:pt x="26" y="5"/>
                    </a:lnTo>
                    <a:lnTo>
                      <a:pt x="26" y="5"/>
                    </a:lnTo>
                    <a:lnTo>
                      <a:pt x="26" y="5"/>
                    </a:lnTo>
                    <a:lnTo>
                      <a:pt x="26" y="5"/>
                    </a:lnTo>
                    <a:lnTo>
                      <a:pt x="26" y="7"/>
                    </a:lnTo>
                    <a:lnTo>
                      <a:pt x="26" y="7"/>
                    </a:lnTo>
                    <a:lnTo>
                      <a:pt x="26" y="10"/>
                    </a:lnTo>
                    <a:close/>
                    <a:moveTo>
                      <a:pt x="33" y="31"/>
                    </a:moveTo>
                    <a:lnTo>
                      <a:pt x="33" y="31"/>
                    </a:lnTo>
                    <a:lnTo>
                      <a:pt x="33" y="28"/>
                    </a:lnTo>
                    <a:lnTo>
                      <a:pt x="31" y="26"/>
                    </a:lnTo>
                    <a:lnTo>
                      <a:pt x="29" y="24"/>
                    </a:lnTo>
                    <a:lnTo>
                      <a:pt x="26" y="19"/>
                    </a:lnTo>
                    <a:lnTo>
                      <a:pt x="26" y="19"/>
                    </a:lnTo>
                    <a:lnTo>
                      <a:pt x="26" y="17"/>
                    </a:lnTo>
                    <a:lnTo>
                      <a:pt x="24" y="17"/>
                    </a:lnTo>
                    <a:lnTo>
                      <a:pt x="24" y="17"/>
                    </a:lnTo>
                    <a:lnTo>
                      <a:pt x="21" y="17"/>
                    </a:lnTo>
                    <a:lnTo>
                      <a:pt x="19" y="17"/>
                    </a:lnTo>
                    <a:lnTo>
                      <a:pt x="19" y="14"/>
                    </a:lnTo>
                    <a:lnTo>
                      <a:pt x="21" y="14"/>
                    </a:lnTo>
                    <a:lnTo>
                      <a:pt x="24" y="12"/>
                    </a:lnTo>
                    <a:lnTo>
                      <a:pt x="26" y="12"/>
                    </a:lnTo>
                    <a:lnTo>
                      <a:pt x="26" y="12"/>
                    </a:lnTo>
                    <a:lnTo>
                      <a:pt x="26" y="12"/>
                    </a:lnTo>
                    <a:lnTo>
                      <a:pt x="26" y="12"/>
                    </a:lnTo>
                    <a:lnTo>
                      <a:pt x="26" y="10"/>
                    </a:lnTo>
                    <a:lnTo>
                      <a:pt x="24" y="7"/>
                    </a:lnTo>
                    <a:lnTo>
                      <a:pt x="24" y="5"/>
                    </a:lnTo>
                    <a:lnTo>
                      <a:pt x="24" y="2"/>
                    </a:lnTo>
                    <a:lnTo>
                      <a:pt x="19" y="0"/>
                    </a:lnTo>
                    <a:lnTo>
                      <a:pt x="17" y="0"/>
                    </a:lnTo>
                    <a:lnTo>
                      <a:pt x="17" y="0"/>
                    </a:lnTo>
                    <a:lnTo>
                      <a:pt x="14" y="0"/>
                    </a:lnTo>
                    <a:lnTo>
                      <a:pt x="12" y="0"/>
                    </a:lnTo>
                    <a:lnTo>
                      <a:pt x="10" y="2"/>
                    </a:lnTo>
                    <a:lnTo>
                      <a:pt x="7" y="2"/>
                    </a:lnTo>
                    <a:lnTo>
                      <a:pt x="7" y="5"/>
                    </a:lnTo>
                    <a:lnTo>
                      <a:pt x="7" y="5"/>
                    </a:lnTo>
                    <a:lnTo>
                      <a:pt x="7" y="7"/>
                    </a:lnTo>
                    <a:lnTo>
                      <a:pt x="5" y="10"/>
                    </a:lnTo>
                    <a:lnTo>
                      <a:pt x="5" y="12"/>
                    </a:lnTo>
                    <a:lnTo>
                      <a:pt x="2" y="17"/>
                    </a:lnTo>
                    <a:lnTo>
                      <a:pt x="2" y="19"/>
                    </a:lnTo>
                    <a:lnTo>
                      <a:pt x="0" y="21"/>
                    </a:lnTo>
                    <a:lnTo>
                      <a:pt x="2" y="21"/>
                    </a:lnTo>
                    <a:lnTo>
                      <a:pt x="7" y="24"/>
                    </a:lnTo>
                    <a:lnTo>
                      <a:pt x="10" y="24"/>
                    </a:lnTo>
                    <a:lnTo>
                      <a:pt x="17" y="24"/>
                    </a:lnTo>
                    <a:lnTo>
                      <a:pt x="17" y="28"/>
                    </a:lnTo>
                    <a:lnTo>
                      <a:pt x="19" y="28"/>
                    </a:lnTo>
                    <a:lnTo>
                      <a:pt x="19" y="31"/>
                    </a:lnTo>
                    <a:lnTo>
                      <a:pt x="21" y="33"/>
                    </a:lnTo>
                    <a:lnTo>
                      <a:pt x="24" y="33"/>
                    </a:lnTo>
                    <a:lnTo>
                      <a:pt x="29" y="33"/>
                    </a:lnTo>
                    <a:lnTo>
                      <a:pt x="31" y="33"/>
                    </a:lnTo>
                    <a:lnTo>
                      <a:pt x="36" y="33"/>
                    </a:lnTo>
                    <a:lnTo>
                      <a:pt x="33" y="31"/>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Freeform 118"/>
              <p:cNvSpPr>
                <a:spLocks noEditPoints="1"/>
              </p:cNvSpPr>
              <p:nvPr/>
            </p:nvSpPr>
            <p:spPr bwMode="auto">
              <a:xfrm>
                <a:off x="3957" y="1888"/>
                <a:ext cx="175" cy="81"/>
              </a:xfrm>
              <a:custGeom>
                <a:avLst/>
                <a:gdLst>
                  <a:gd name="T0" fmla="*/ 173 w 175"/>
                  <a:gd name="T1" fmla="*/ 22 h 81"/>
                  <a:gd name="T2" fmla="*/ 157 w 175"/>
                  <a:gd name="T3" fmla="*/ 15 h 81"/>
                  <a:gd name="T4" fmla="*/ 147 w 175"/>
                  <a:gd name="T5" fmla="*/ 10 h 81"/>
                  <a:gd name="T6" fmla="*/ 128 w 175"/>
                  <a:gd name="T7" fmla="*/ 8 h 81"/>
                  <a:gd name="T8" fmla="*/ 114 w 175"/>
                  <a:gd name="T9" fmla="*/ 5 h 81"/>
                  <a:gd name="T10" fmla="*/ 93 w 175"/>
                  <a:gd name="T11" fmla="*/ 5 h 81"/>
                  <a:gd name="T12" fmla="*/ 69 w 175"/>
                  <a:gd name="T13" fmla="*/ 0 h 81"/>
                  <a:gd name="T14" fmla="*/ 57 w 175"/>
                  <a:gd name="T15" fmla="*/ 3 h 81"/>
                  <a:gd name="T16" fmla="*/ 55 w 175"/>
                  <a:gd name="T17" fmla="*/ 15 h 81"/>
                  <a:gd name="T18" fmla="*/ 41 w 175"/>
                  <a:gd name="T19" fmla="*/ 12 h 81"/>
                  <a:gd name="T20" fmla="*/ 22 w 175"/>
                  <a:gd name="T21" fmla="*/ 10 h 81"/>
                  <a:gd name="T22" fmla="*/ 15 w 175"/>
                  <a:gd name="T23" fmla="*/ 17 h 81"/>
                  <a:gd name="T24" fmla="*/ 19 w 175"/>
                  <a:gd name="T25" fmla="*/ 22 h 81"/>
                  <a:gd name="T26" fmla="*/ 15 w 175"/>
                  <a:gd name="T27" fmla="*/ 26 h 81"/>
                  <a:gd name="T28" fmla="*/ 8 w 175"/>
                  <a:gd name="T29" fmla="*/ 36 h 81"/>
                  <a:gd name="T30" fmla="*/ 19 w 175"/>
                  <a:gd name="T31" fmla="*/ 41 h 81"/>
                  <a:gd name="T32" fmla="*/ 29 w 175"/>
                  <a:gd name="T33" fmla="*/ 43 h 81"/>
                  <a:gd name="T34" fmla="*/ 31 w 175"/>
                  <a:gd name="T35" fmla="*/ 36 h 81"/>
                  <a:gd name="T36" fmla="*/ 34 w 175"/>
                  <a:gd name="T37" fmla="*/ 36 h 81"/>
                  <a:gd name="T38" fmla="*/ 41 w 175"/>
                  <a:gd name="T39" fmla="*/ 43 h 81"/>
                  <a:gd name="T40" fmla="*/ 45 w 175"/>
                  <a:gd name="T41" fmla="*/ 45 h 81"/>
                  <a:gd name="T42" fmla="*/ 57 w 175"/>
                  <a:gd name="T43" fmla="*/ 50 h 81"/>
                  <a:gd name="T44" fmla="*/ 55 w 175"/>
                  <a:gd name="T45" fmla="*/ 55 h 81"/>
                  <a:gd name="T46" fmla="*/ 50 w 175"/>
                  <a:gd name="T47" fmla="*/ 57 h 81"/>
                  <a:gd name="T48" fmla="*/ 45 w 175"/>
                  <a:gd name="T49" fmla="*/ 57 h 81"/>
                  <a:gd name="T50" fmla="*/ 41 w 175"/>
                  <a:gd name="T51" fmla="*/ 64 h 81"/>
                  <a:gd name="T52" fmla="*/ 34 w 175"/>
                  <a:gd name="T53" fmla="*/ 62 h 81"/>
                  <a:gd name="T54" fmla="*/ 24 w 175"/>
                  <a:gd name="T55" fmla="*/ 64 h 81"/>
                  <a:gd name="T56" fmla="*/ 17 w 175"/>
                  <a:gd name="T57" fmla="*/ 64 h 81"/>
                  <a:gd name="T58" fmla="*/ 3 w 175"/>
                  <a:gd name="T59" fmla="*/ 67 h 81"/>
                  <a:gd name="T60" fmla="*/ 0 w 175"/>
                  <a:gd name="T61" fmla="*/ 69 h 81"/>
                  <a:gd name="T62" fmla="*/ 10 w 175"/>
                  <a:gd name="T63" fmla="*/ 74 h 81"/>
                  <a:gd name="T64" fmla="*/ 19 w 175"/>
                  <a:gd name="T65" fmla="*/ 74 h 81"/>
                  <a:gd name="T66" fmla="*/ 31 w 175"/>
                  <a:gd name="T67" fmla="*/ 79 h 81"/>
                  <a:gd name="T68" fmla="*/ 38 w 175"/>
                  <a:gd name="T69" fmla="*/ 74 h 81"/>
                  <a:gd name="T70" fmla="*/ 45 w 175"/>
                  <a:gd name="T71" fmla="*/ 76 h 81"/>
                  <a:gd name="T72" fmla="*/ 50 w 175"/>
                  <a:gd name="T73" fmla="*/ 79 h 81"/>
                  <a:gd name="T74" fmla="*/ 60 w 175"/>
                  <a:gd name="T75" fmla="*/ 79 h 81"/>
                  <a:gd name="T76" fmla="*/ 74 w 175"/>
                  <a:gd name="T77" fmla="*/ 76 h 81"/>
                  <a:gd name="T78" fmla="*/ 81 w 175"/>
                  <a:gd name="T79" fmla="*/ 74 h 81"/>
                  <a:gd name="T80" fmla="*/ 78 w 175"/>
                  <a:gd name="T81" fmla="*/ 67 h 81"/>
                  <a:gd name="T82" fmla="*/ 90 w 175"/>
                  <a:gd name="T83" fmla="*/ 60 h 81"/>
                  <a:gd name="T84" fmla="*/ 93 w 175"/>
                  <a:gd name="T85" fmla="*/ 57 h 81"/>
                  <a:gd name="T86" fmla="*/ 104 w 175"/>
                  <a:gd name="T87" fmla="*/ 55 h 81"/>
                  <a:gd name="T88" fmla="*/ 116 w 175"/>
                  <a:gd name="T89" fmla="*/ 57 h 81"/>
                  <a:gd name="T90" fmla="*/ 121 w 175"/>
                  <a:gd name="T91" fmla="*/ 53 h 81"/>
                  <a:gd name="T92" fmla="*/ 128 w 175"/>
                  <a:gd name="T93" fmla="*/ 45 h 81"/>
                  <a:gd name="T94" fmla="*/ 147 w 175"/>
                  <a:gd name="T95" fmla="*/ 41 h 81"/>
                  <a:gd name="T96" fmla="*/ 161 w 175"/>
                  <a:gd name="T97" fmla="*/ 29 h 81"/>
                  <a:gd name="T98" fmla="*/ 175 w 175"/>
                  <a:gd name="T99" fmla="*/ 24 h 81"/>
                  <a:gd name="T100" fmla="*/ 19 w 175"/>
                  <a:gd name="T101" fmla="*/ 67 h 81"/>
                  <a:gd name="T102" fmla="*/ 34 w 175"/>
                  <a:gd name="T103" fmla="*/ 67 h 81"/>
                  <a:gd name="T104" fmla="*/ 29 w 175"/>
                  <a:gd name="T105" fmla="*/ 67 h 81"/>
                  <a:gd name="T106" fmla="*/ 31 w 175"/>
                  <a:gd name="T107" fmla="*/ 67 h 81"/>
                  <a:gd name="T108" fmla="*/ 43 w 175"/>
                  <a:gd name="T109" fmla="*/ 67 h 81"/>
                  <a:gd name="T110" fmla="*/ 43 w 175"/>
                  <a:gd name="T111" fmla="*/ 67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75" h="81">
                    <a:moveTo>
                      <a:pt x="3" y="67"/>
                    </a:moveTo>
                    <a:lnTo>
                      <a:pt x="3" y="67"/>
                    </a:lnTo>
                    <a:lnTo>
                      <a:pt x="3" y="64"/>
                    </a:lnTo>
                    <a:lnTo>
                      <a:pt x="3" y="64"/>
                    </a:lnTo>
                    <a:lnTo>
                      <a:pt x="3" y="67"/>
                    </a:lnTo>
                    <a:close/>
                    <a:moveTo>
                      <a:pt x="173" y="22"/>
                    </a:moveTo>
                    <a:lnTo>
                      <a:pt x="173" y="22"/>
                    </a:lnTo>
                    <a:lnTo>
                      <a:pt x="171" y="19"/>
                    </a:lnTo>
                    <a:lnTo>
                      <a:pt x="166" y="17"/>
                    </a:lnTo>
                    <a:lnTo>
                      <a:pt x="164" y="17"/>
                    </a:lnTo>
                    <a:lnTo>
                      <a:pt x="161" y="17"/>
                    </a:lnTo>
                    <a:lnTo>
                      <a:pt x="159" y="17"/>
                    </a:lnTo>
                    <a:lnTo>
                      <a:pt x="159" y="15"/>
                    </a:lnTo>
                    <a:lnTo>
                      <a:pt x="157" y="15"/>
                    </a:lnTo>
                    <a:lnTo>
                      <a:pt x="154" y="12"/>
                    </a:lnTo>
                    <a:lnTo>
                      <a:pt x="154" y="12"/>
                    </a:lnTo>
                    <a:lnTo>
                      <a:pt x="152" y="10"/>
                    </a:lnTo>
                    <a:lnTo>
                      <a:pt x="152" y="10"/>
                    </a:lnTo>
                    <a:lnTo>
                      <a:pt x="149" y="10"/>
                    </a:lnTo>
                    <a:lnTo>
                      <a:pt x="147" y="10"/>
                    </a:lnTo>
                    <a:lnTo>
                      <a:pt x="147" y="10"/>
                    </a:lnTo>
                    <a:lnTo>
                      <a:pt x="145" y="10"/>
                    </a:lnTo>
                    <a:lnTo>
                      <a:pt x="142" y="8"/>
                    </a:lnTo>
                    <a:lnTo>
                      <a:pt x="140" y="8"/>
                    </a:lnTo>
                    <a:lnTo>
                      <a:pt x="138" y="8"/>
                    </a:lnTo>
                    <a:lnTo>
                      <a:pt x="135" y="8"/>
                    </a:lnTo>
                    <a:lnTo>
                      <a:pt x="133" y="8"/>
                    </a:lnTo>
                    <a:lnTo>
                      <a:pt x="128" y="8"/>
                    </a:lnTo>
                    <a:lnTo>
                      <a:pt x="126" y="8"/>
                    </a:lnTo>
                    <a:lnTo>
                      <a:pt x="123" y="8"/>
                    </a:lnTo>
                    <a:lnTo>
                      <a:pt x="121" y="8"/>
                    </a:lnTo>
                    <a:lnTo>
                      <a:pt x="121" y="8"/>
                    </a:lnTo>
                    <a:lnTo>
                      <a:pt x="119" y="8"/>
                    </a:lnTo>
                    <a:lnTo>
                      <a:pt x="114" y="5"/>
                    </a:lnTo>
                    <a:lnTo>
                      <a:pt x="114" y="5"/>
                    </a:lnTo>
                    <a:lnTo>
                      <a:pt x="114" y="5"/>
                    </a:lnTo>
                    <a:lnTo>
                      <a:pt x="109" y="5"/>
                    </a:lnTo>
                    <a:lnTo>
                      <a:pt x="107" y="8"/>
                    </a:lnTo>
                    <a:lnTo>
                      <a:pt x="100" y="8"/>
                    </a:lnTo>
                    <a:lnTo>
                      <a:pt x="95" y="8"/>
                    </a:lnTo>
                    <a:lnTo>
                      <a:pt x="95" y="5"/>
                    </a:lnTo>
                    <a:lnTo>
                      <a:pt x="93" y="5"/>
                    </a:lnTo>
                    <a:lnTo>
                      <a:pt x="93" y="8"/>
                    </a:lnTo>
                    <a:lnTo>
                      <a:pt x="93" y="8"/>
                    </a:lnTo>
                    <a:lnTo>
                      <a:pt x="88" y="8"/>
                    </a:lnTo>
                    <a:lnTo>
                      <a:pt x="81" y="8"/>
                    </a:lnTo>
                    <a:lnTo>
                      <a:pt x="76" y="5"/>
                    </a:lnTo>
                    <a:lnTo>
                      <a:pt x="74" y="3"/>
                    </a:lnTo>
                    <a:lnTo>
                      <a:pt x="69" y="0"/>
                    </a:lnTo>
                    <a:lnTo>
                      <a:pt x="64" y="0"/>
                    </a:lnTo>
                    <a:lnTo>
                      <a:pt x="64" y="0"/>
                    </a:lnTo>
                    <a:lnTo>
                      <a:pt x="64" y="0"/>
                    </a:lnTo>
                    <a:lnTo>
                      <a:pt x="64" y="0"/>
                    </a:lnTo>
                    <a:lnTo>
                      <a:pt x="62" y="0"/>
                    </a:lnTo>
                    <a:lnTo>
                      <a:pt x="60" y="3"/>
                    </a:lnTo>
                    <a:lnTo>
                      <a:pt x="57" y="3"/>
                    </a:lnTo>
                    <a:lnTo>
                      <a:pt x="55" y="3"/>
                    </a:lnTo>
                    <a:lnTo>
                      <a:pt x="55" y="5"/>
                    </a:lnTo>
                    <a:lnTo>
                      <a:pt x="55" y="10"/>
                    </a:lnTo>
                    <a:lnTo>
                      <a:pt x="55" y="12"/>
                    </a:lnTo>
                    <a:lnTo>
                      <a:pt x="57" y="17"/>
                    </a:lnTo>
                    <a:lnTo>
                      <a:pt x="57" y="17"/>
                    </a:lnTo>
                    <a:lnTo>
                      <a:pt x="55" y="15"/>
                    </a:lnTo>
                    <a:lnTo>
                      <a:pt x="55" y="15"/>
                    </a:lnTo>
                    <a:lnTo>
                      <a:pt x="52" y="15"/>
                    </a:lnTo>
                    <a:lnTo>
                      <a:pt x="45" y="15"/>
                    </a:lnTo>
                    <a:lnTo>
                      <a:pt x="45" y="12"/>
                    </a:lnTo>
                    <a:lnTo>
                      <a:pt x="43" y="12"/>
                    </a:lnTo>
                    <a:lnTo>
                      <a:pt x="43" y="12"/>
                    </a:lnTo>
                    <a:lnTo>
                      <a:pt x="41" y="12"/>
                    </a:lnTo>
                    <a:lnTo>
                      <a:pt x="36" y="10"/>
                    </a:lnTo>
                    <a:lnTo>
                      <a:pt x="34" y="10"/>
                    </a:lnTo>
                    <a:lnTo>
                      <a:pt x="26" y="8"/>
                    </a:lnTo>
                    <a:lnTo>
                      <a:pt x="26" y="8"/>
                    </a:lnTo>
                    <a:lnTo>
                      <a:pt x="26" y="8"/>
                    </a:lnTo>
                    <a:lnTo>
                      <a:pt x="24" y="10"/>
                    </a:lnTo>
                    <a:lnTo>
                      <a:pt x="22" y="10"/>
                    </a:lnTo>
                    <a:lnTo>
                      <a:pt x="19" y="10"/>
                    </a:lnTo>
                    <a:lnTo>
                      <a:pt x="17" y="10"/>
                    </a:lnTo>
                    <a:lnTo>
                      <a:pt x="17" y="12"/>
                    </a:lnTo>
                    <a:lnTo>
                      <a:pt x="17" y="12"/>
                    </a:lnTo>
                    <a:lnTo>
                      <a:pt x="15" y="15"/>
                    </a:lnTo>
                    <a:lnTo>
                      <a:pt x="15" y="17"/>
                    </a:lnTo>
                    <a:lnTo>
                      <a:pt x="15" y="17"/>
                    </a:lnTo>
                    <a:lnTo>
                      <a:pt x="15" y="19"/>
                    </a:lnTo>
                    <a:lnTo>
                      <a:pt x="15" y="19"/>
                    </a:lnTo>
                    <a:lnTo>
                      <a:pt x="15" y="19"/>
                    </a:lnTo>
                    <a:lnTo>
                      <a:pt x="17" y="19"/>
                    </a:lnTo>
                    <a:lnTo>
                      <a:pt x="17" y="19"/>
                    </a:lnTo>
                    <a:lnTo>
                      <a:pt x="19" y="19"/>
                    </a:lnTo>
                    <a:lnTo>
                      <a:pt x="19" y="22"/>
                    </a:lnTo>
                    <a:lnTo>
                      <a:pt x="22" y="22"/>
                    </a:lnTo>
                    <a:lnTo>
                      <a:pt x="22" y="22"/>
                    </a:lnTo>
                    <a:lnTo>
                      <a:pt x="17" y="24"/>
                    </a:lnTo>
                    <a:lnTo>
                      <a:pt x="17" y="24"/>
                    </a:lnTo>
                    <a:lnTo>
                      <a:pt x="15" y="24"/>
                    </a:lnTo>
                    <a:lnTo>
                      <a:pt x="15" y="24"/>
                    </a:lnTo>
                    <a:lnTo>
                      <a:pt x="15" y="26"/>
                    </a:lnTo>
                    <a:lnTo>
                      <a:pt x="15" y="26"/>
                    </a:lnTo>
                    <a:lnTo>
                      <a:pt x="12" y="29"/>
                    </a:lnTo>
                    <a:lnTo>
                      <a:pt x="12" y="29"/>
                    </a:lnTo>
                    <a:lnTo>
                      <a:pt x="10" y="31"/>
                    </a:lnTo>
                    <a:lnTo>
                      <a:pt x="5" y="34"/>
                    </a:lnTo>
                    <a:lnTo>
                      <a:pt x="5" y="36"/>
                    </a:lnTo>
                    <a:lnTo>
                      <a:pt x="8" y="36"/>
                    </a:lnTo>
                    <a:lnTo>
                      <a:pt x="8" y="36"/>
                    </a:lnTo>
                    <a:lnTo>
                      <a:pt x="10" y="36"/>
                    </a:lnTo>
                    <a:lnTo>
                      <a:pt x="12" y="38"/>
                    </a:lnTo>
                    <a:lnTo>
                      <a:pt x="15" y="36"/>
                    </a:lnTo>
                    <a:lnTo>
                      <a:pt x="15" y="36"/>
                    </a:lnTo>
                    <a:lnTo>
                      <a:pt x="17" y="38"/>
                    </a:lnTo>
                    <a:lnTo>
                      <a:pt x="19" y="41"/>
                    </a:lnTo>
                    <a:lnTo>
                      <a:pt x="19" y="41"/>
                    </a:lnTo>
                    <a:lnTo>
                      <a:pt x="22" y="43"/>
                    </a:lnTo>
                    <a:lnTo>
                      <a:pt x="22" y="43"/>
                    </a:lnTo>
                    <a:lnTo>
                      <a:pt x="24" y="43"/>
                    </a:lnTo>
                    <a:lnTo>
                      <a:pt x="26" y="43"/>
                    </a:lnTo>
                    <a:lnTo>
                      <a:pt x="26" y="43"/>
                    </a:lnTo>
                    <a:lnTo>
                      <a:pt x="29" y="43"/>
                    </a:lnTo>
                    <a:lnTo>
                      <a:pt x="29" y="43"/>
                    </a:lnTo>
                    <a:lnTo>
                      <a:pt x="29" y="38"/>
                    </a:lnTo>
                    <a:lnTo>
                      <a:pt x="31" y="41"/>
                    </a:lnTo>
                    <a:lnTo>
                      <a:pt x="31" y="41"/>
                    </a:lnTo>
                    <a:lnTo>
                      <a:pt x="31" y="38"/>
                    </a:lnTo>
                    <a:lnTo>
                      <a:pt x="31" y="38"/>
                    </a:lnTo>
                    <a:lnTo>
                      <a:pt x="31" y="36"/>
                    </a:lnTo>
                    <a:lnTo>
                      <a:pt x="31" y="36"/>
                    </a:lnTo>
                    <a:lnTo>
                      <a:pt x="31" y="36"/>
                    </a:lnTo>
                    <a:lnTo>
                      <a:pt x="31" y="36"/>
                    </a:lnTo>
                    <a:lnTo>
                      <a:pt x="31" y="36"/>
                    </a:lnTo>
                    <a:lnTo>
                      <a:pt x="34" y="36"/>
                    </a:lnTo>
                    <a:lnTo>
                      <a:pt x="34" y="36"/>
                    </a:lnTo>
                    <a:lnTo>
                      <a:pt x="34" y="36"/>
                    </a:lnTo>
                    <a:lnTo>
                      <a:pt x="34" y="38"/>
                    </a:lnTo>
                    <a:lnTo>
                      <a:pt x="36" y="38"/>
                    </a:lnTo>
                    <a:lnTo>
                      <a:pt x="36" y="41"/>
                    </a:lnTo>
                    <a:lnTo>
                      <a:pt x="38" y="43"/>
                    </a:lnTo>
                    <a:lnTo>
                      <a:pt x="38" y="43"/>
                    </a:lnTo>
                    <a:lnTo>
                      <a:pt x="41" y="43"/>
                    </a:lnTo>
                    <a:lnTo>
                      <a:pt x="41" y="43"/>
                    </a:lnTo>
                    <a:lnTo>
                      <a:pt x="43" y="43"/>
                    </a:lnTo>
                    <a:lnTo>
                      <a:pt x="43" y="43"/>
                    </a:lnTo>
                    <a:lnTo>
                      <a:pt x="43" y="45"/>
                    </a:lnTo>
                    <a:lnTo>
                      <a:pt x="43" y="45"/>
                    </a:lnTo>
                    <a:lnTo>
                      <a:pt x="43" y="45"/>
                    </a:lnTo>
                    <a:lnTo>
                      <a:pt x="45" y="45"/>
                    </a:lnTo>
                    <a:lnTo>
                      <a:pt x="45" y="45"/>
                    </a:lnTo>
                    <a:lnTo>
                      <a:pt x="48" y="45"/>
                    </a:lnTo>
                    <a:lnTo>
                      <a:pt x="50" y="45"/>
                    </a:lnTo>
                    <a:lnTo>
                      <a:pt x="52" y="48"/>
                    </a:lnTo>
                    <a:lnTo>
                      <a:pt x="52" y="48"/>
                    </a:lnTo>
                    <a:lnTo>
                      <a:pt x="55" y="48"/>
                    </a:lnTo>
                    <a:lnTo>
                      <a:pt x="57" y="50"/>
                    </a:lnTo>
                    <a:lnTo>
                      <a:pt x="57" y="50"/>
                    </a:lnTo>
                    <a:lnTo>
                      <a:pt x="57" y="48"/>
                    </a:lnTo>
                    <a:lnTo>
                      <a:pt x="62" y="50"/>
                    </a:lnTo>
                    <a:lnTo>
                      <a:pt x="62" y="50"/>
                    </a:lnTo>
                    <a:lnTo>
                      <a:pt x="60" y="50"/>
                    </a:lnTo>
                    <a:lnTo>
                      <a:pt x="55" y="53"/>
                    </a:lnTo>
                    <a:lnTo>
                      <a:pt x="55" y="55"/>
                    </a:lnTo>
                    <a:lnTo>
                      <a:pt x="55" y="55"/>
                    </a:lnTo>
                    <a:lnTo>
                      <a:pt x="52" y="55"/>
                    </a:lnTo>
                    <a:lnTo>
                      <a:pt x="52" y="55"/>
                    </a:lnTo>
                    <a:lnTo>
                      <a:pt x="50" y="55"/>
                    </a:lnTo>
                    <a:lnTo>
                      <a:pt x="50" y="55"/>
                    </a:lnTo>
                    <a:lnTo>
                      <a:pt x="50" y="55"/>
                    </a:lnTo>
                    <a:lnTo>
                      <a:pt x="50" y="55"/>
                    </a:lnTo>
                    <a:lnTo>
                      <a:pt x="50" y="57"/>
                    </a:lnTo>
                    <a:lnTo>
                      <a:pt x="50" y="57"/>
                    </a:lnTo>
                    <a:lnTo>
                      <a:pt x="50" y="57"/>
                    </a:lnTo>
                    <a:lnTo>
                      <a:pt x="48" y="57"/>
                    </a:lnTo>
                    <a:lnTo>
                      <a:pt x="48" y="57"/>
                    </a:lnTo>
                    <a:lnTo>
                      <a:pt x="48" y="57"/>
                    </a:lnTo>
                    <a:lnTo>
                      <a:pt x="48" y="57"/>
                    </a:lnTo>
                    <a:lnTo>
                      <a:pt x="45" y="57"/>
                    </a:lnTo>
                    <a:lnTo>
                      <a:pt x="45" y="60"/>
                    </a:lnTo>
                    <a:lnTo>
                      <a:pt x="43" y="60"/>
                    </a:lnTo>
                    <a:lnTo>
                      <a:pt x="43" y="62"/>
                    </a:lnTo>
                    <a:lnTo>
                      <a:pt x="43" y="62"/>
                    </a:lnTo>
                    <a:lnTo>
                      <a:pt x="43" y="62"/>
                    </a:lnTo>
                    <a:lnTo>
                      <a:pt x="41" y="62"/>
                    </a:lnTo>
                    <a:lnTo>
                      <a:pt x="41" y="64"/>
                    </a:lnTo>
                    <a:lnTo>
                      <a:pt x="38" y="62"/>
                    </a:lnTo>
                    <a:lnTo>
                      <a:pt x="38" y="62"/>
                    </a:lnTo>
                    <a:lnTo>
                      <a:pt x="38" y="62"/>
                    </a:lnTo>
                    <a:lnTo>
                      <a:pt x="38" y="62"/>
                    </a:lnTo>
                    <a:lnTo>
                      <a:pt x="36" y="62"/>
                    </a:lnTo>
                    <a:lnTo>
                      <a:pt x="36" y="62"/>
                    </a:lnTo>
                    <a:lnTo>
                      <a:pt x="34" y="62"/>
                    </a:lnTo>
                    <a:lnTo>
                      <a:pt x="34" y="62"/>
                    </a:lnTo>
                    <a:lnTo>
                      <a:pt x="29" y="62"/>
                    </a:lnTo>
                    <a:lnTo>
                      <a:pt x="26" y="62"/>
                    </a:lnTo>
                    <a:lnTo>
                      <a:pt x="26" y="62"/>
                    </a:lnTo>
                    <a:lnTo>
                      <a:pt x="26" y="62"/>
                    </a:lnTo>
                    <a:lnTo>
                      <a:pt x="26" y="62"/>
                    </a:lnTo>
                    <a:lnTo>
                      <a:pt x="24" y="64"/>
                    </a:lnTo>
                    <a:lnTo>
                      <a:pt x="22" y="64"/>
                    </a:lnTo>
                    <a:lnTo>
                      <a:pt x="22" y="64"/>
                    </a:lnTo>
                    <a:lnTo>
                      <a:pt x="22" y="67"/>
                    </a:lnTo>
                    <a:lnTo>
                      <a:pt x="22" y="67"/>
                    </a:lnTo>
                    <a:lnTo>
                      <a:pt x="22" y="67"/>
                    </a:lnTo>
                    <a:lnTo>
                      <a:pt x="19" y="67"/>
                    </a:lnTo>
                    <a:lnTo>
                      <a:pt x="17" y="64"/>
                    </a:lnTo>
                    <a:lnTo>
                      <a:pt x="15" y="64"/>
                    </a:lnTo>
                    <a:lnTo>
                      <a:pt x="12" y="64"/>
                    </a:lnTo>
                    <a:lnTo>
                      <a:pt x="10" y="62"/>
                    </a:lnTo>
                    <a:lnTo>
                      <a:pt x="8" y="64"/>
                    </a:lnTo>
                    <a:lnTo>
                      <a:pt x="3" y="64"/>
                    </a:lnTo>
                    <a:lnTo>
                      <a:pt x="3" y="64"/>
                    </a:lnTo>
                    <a:lnTo>
                      <a:pt x="3" y="67"/>
                    </a:lnTo>
                    <a:lnTo>
                      <a:pt x="3" y="67"/>
                    </a:lnTo>
                    <a:lnTo>
                      <a:pt x="3" y="67"/>
                    </a:lnTo>
                    <a:lnTo>
                      <a:pt x="0" y="67"/>
                    </a:lnTo>
                    <a:lnTo>
                      <a:pt x="0" y="67"/>
                    </a:lnTo>
                    <a:lnTo>
                      <a:pt x="0" y="67"/>
                    </a:lnTo>
                    <a:lnTo>
                      <a:pt x="0" y="69"/>
                    </a:lnTo>
                    <a:lnTo>
                      <a:pt x="0" y="69"/>
                    </a:lnTo>
                    <a:lnTo>
                      <a:pt x="0" y="71"/>
                    </a:lnTo>
                    <a:lnTo>
                      <a:pt x="3" y="76"/>
                    </a:lnTo>
                    <a:lnTo>
                      <a:pt x="3" y="74"/>
                    </a:lnTo>
                    <a:lnTo>
                      <a:pt x="5" y="74"/>
                    </a:lnTo>
                    <a:lnTo>
                      <a:pt x="8" y="74"/>
                    </a:lnTo>
                    <a:lnTo>
                      <a:pt x="8" y="74"/>
                    </a:lnTo>
                    <a:lnTo>
                      <a:pt x="10" y="74"/>
                    </a:lnTo>
                    <a:lnTo>
                      <a:pt x="12" y="74"/>
                    </a:lnTo>
                    <a:lnTo>
                      <a:pt x="15" y="74"/>
                    </a:lnTo>
                    <a:lnTo>
                      <a:pt x="17" y="74"/>
                    </a:lnTo>
                    <a:lnTo>
                      <a:pt x="17" y="74"/>
                    </a:lnTo>
                    <a:lnTo>
                      <a:pt x="17" y="74"/>
                    </a:lnTo>
                    <a:lnTo>
                      <a:pt x="17" y="74"/>
                    </a:lnTo>
                    <a:lnTo>
                      <a:pt x="19" y="74"/>
                    </a:lnTo>
                    <a:lnTo>
                      <a:pt x="22" y="74"/>
                    </a:lnTo>
                    <a:lnTo>
                      <a:pt x="24" y="74"/>
                    </a:lnTo>
                    <a:lnTo>
                      <a:pt x="24" y="74"/>
                    </a:lnTo>
                    <a:lnTo>
                      <a:pt x="26" y="76"/>
                    </a:lnTo>
                    <a:lnTo>
                      <a:pt x="26" y="79"/>
                    </a:lnTo>
                    <a:lnTo>
                      <a:pt x="29" y="79"/>
                    </a:lnTo>
                    <a:lnTo>
                      <a:pt x="31" y="79"/>
                    </a:lnTo>
                    <a:lnTo>
                      <a:pt x="34" y="76"/>
                    </a:lnTo>
                    <a:lnTo>
                      <a:pt x="34" y="76"/>
                    </a:lnTo>
                    <a:lnTo>
                      <a:pt x="34" y="76"/>
                    </a:lnTo>
                    <a:lnTo>
                      <a:pt x="36" y="74"/>
                    </a:lnTo>
                    <a:lnTo>
                      <a:pt x="36" y="74"/>
                    </a:lnTo>
                    <a:lnTo>
                      <a:pt x="38" y="74"/>
                    </a:lnTo>
                    <a:lnTo>
                      <a:pt x="38" y="74"/>
                    </a:lnTo>
                    <a:lnTo>
                      <a:pt x="41" y="74"/>
                    </a:lnTo>
                    <a:lnTo>
                      <a:pt x="41" y="74"/>
                    </a:lnTo>
                    <a:lnTo>
                      <a:pt x="41" y="76"/>
                    </a:lnTo>
                    <a:lnTo>
                      <a:pt x="41" y="76"/>
                    </a:lnTo>
                    <a:lnTo>
                      <a:pt x="41" y="76"/>
                    </a:lnTo>
                    <a:lnTo>
                      <a:pt x="43" y="76"/>
                    </a:lnTo>
                    <a:lnTo>
                      <a:pt x="45" y="76"/>
                    </a:lnTo>
                    <a:lnTo>
                      <a:pt x="45" y="79"/>
                    </a:lnTo>
                    <a:lnTo>
                      <a:pt x="45" y="81"/>
                    </a:lnTo>
                    <a:lnTo>
                      <a:pt x="45" y="81"/>
                    </a:lnTo>
                    <a:lnTo>
                      <a:pt x="45" y="81"/>
                    </a:lnTo>
                    <a:lnTo>
                      <a:pt x="50" y="79"/>
                    </a:lnTo>
                    <a:lnTo>
                      <a:pt x="50" y="79"/>
                    </a:lnTo>
                    <a:lnTo>
                      <a:pt x="50" y="79"/>
                    </a:lnTo>
                    <a:lnTo>
                      <a:pt x="52" y="81"/>
                    </a:lnTo>
                    <a:lnTo>
                      <a:pt x="55" y="81"/>
                    </a:lnTo>
                    <a:lnTo>
                      <a:pt x="55" y="81"/>
                    </a:lnTo>
                    <a:lnTo>
                      <a:pt x="55" y="81"/>
                    </a:lnTo>
                    <a:lnTo>
                      <a:pt x="55" y="79"/>
                    </a:lnTo>
                    <a:lnTo>
                      <a:pt x="57" y="79"/>
                    </a:lnTo>
                    <a:lnTo>
                      <a:pt x="60" y="79"/>
                    </a:lnTo>
                    <a:lnTo>
                      <a:pt x="60" y="79"/>
                    </a:lnTo>
                    <a:lnTo>
                      <a:pt x="64" y="79"/>
                    </a:lnTo>
                    <a:lnTo>
                      <a:pt x="67" y="79"/>
                    </a:lnTo>
                    <a:lnTo>
                      <a:pt x="69" y="79"/>
                    </a:lnTo>
                    <a:lnTo>
                      <a:pt x="71" y="79"/>
                    </a:lnTo>
                    <a:lnTo>
                      <a:pt x="71" y="79"/>
                    </a:lnTo>
                    <a:lnTo>
                      <a:pt x="74" y="76"/>
                    </a:lnTo>
                    <a:lnTo>
                      <a:pt x="74" y="76"/>
                    </a:lnTo>
                    <a:lnTo>
                      <a:pt x="76" y="76"/>
                    </a:lnTo>
                    <a:lnTo>
                      <a:pt x="76" y="76"/>
                    </a:lnTo>
                    <a:lnTo>
                      <a:pt x="78" y="76"/>
                    </a:lnTo>
                    <a:lnTo>
                      <a:pt x="81" y="76"/>
                    </a:lnTo>
                    <a:lnTo>
                      <a:pt x="81" y="74"/>
                    </a:lnTo>
                    <a:lnTo>
                      <a:pt x="81" y="74"/>
                    </a:lnTo>
                    <a:lnTo>
                      <a:pt x="81" y="74"/>
                    </a:lnTo>
                    <a:lnTo>
                      <a:pt x="81" y="71"/>
                    </a:lnTo>
                    <a:lnTo>
                      <a:pt x="78" y="69"/>
                    </a:lnTo>
                    <a:lnTo>
                      <a:pt x="78" y="69"/>
                    </a:lnTo>
                    <a:lnTo>
                      <a:pt x="78" y="69"/>
                    </a:lnTo>
                    <a:lnTo>
                      <a:pt x="78" y="67"/>
                    </a:lnTo>
                    <a:lnTo>
                      <a:pt x="78" y="67"/>
                    </a:lnTo>
                    <a:lnTo>
                      <a:pt x="81" y="67"/>
                    </a:lnTo>
                    <a:lnTo>
                      <a:pt x="81" y="67"/>
                    </a:lnTo>
                    <a:lnTo>
                      <a:pt x="81" y="64"/>
                    </a:lnTo>
                    <a:lnTo>
                      <a:pt x="83" y="64"/>
                    </a:lnTo>
                    <a:lnTo>
                      <a:pt x="86" y="64"/>
                    </a:lnTo>
                    <a:lnTo>
                      <a:pt x="90" y="62"/>
                    </a:lnTo>
                    <a:lnTo>
                      <a:pt x="90" y="60"/>
                    </a:lnTo>
                    <a:lnTo>
                      <a:pt x="93" y="60"/>
                    </a:lnTo>
                    <a:lnTo>
                      <a:pt x="93" y="60"/>
                    </a:lnTo>
                    <a:lnTo>
                      <a:pt x="93" y="60"/>
                    </a:lnTo>
                    <a:lnTo>
                      <a:pt x="93" y="57"/>
                    </a:lnTo>
                    <a:lnTo>
                      <a:pt x="93" y="57"/>
                    </a:lnTo>
                    <a:lnTo>
                      <a:pt x="93" y="57"/>
                    </a:lnTo>
                    <a:lnTo>
                      <a:pt x="93" y="57"/>
                    </a:lnTo>
                    <a:lnTo>
                      <a:pt x="95" y="57"/>
                    </a:lnTo>
                    <a:lnTo>
                      <a:pt x="97" y="57"/>
                    </a:lnTo>
                    <a:lnTo>
                      <a:pt x="100" y="57"/>
                    </a:lnTo>
                    <a:lnTo>
                      <a:pt x="102" y="55"/>
                    </a:lnTo>
                    <a:lnTo>
                      <a:pt x="104" y="55"/>
                    </a:lnTo>
                    <a:lnTo>
                      <a:pt x="104" y="55"/>
                    </a:lnTo>
                    <a:lnTo>
                      <a:pt x="104" y="55"/>
                    </a:lnTo>
                    <a:lnTo>
                      <a:pt x="107" y="60"/>
                    </a:lnTo>
                    <a:lnTo>
                      <a:pt x="107" y="60"/>
                    </a:lnTo>
                    <a:lnTo>
                      <a:pt x="112" y="60"/>
                    </a:lnTo>
                    <a:lnTo>
                      <a:pt x="112" y="60"/>
                    </a:lnTo>
                    <a:lnTo>
                      <a:pt x="114" y="60"/>
                    </a:lnTo>
                    <a:lnTo>
                      <a:pt x="116" y="60"/>
                    </a:lnTo>
                    <a:lnTo>
                      <a:pt x="116" y="57"/>
                    </a:lnTo>
                    <a:lnTo>
                      <a:pt x="116" y="57"/>
                    </a:lnTo>
                    <a:lnTo>
                      <a:pt x="119" y="60"/>
                    </a:lnTo>
                    <a:lnTo>
                      <a:pt x="119" y="60"/>
                    </a:lnTo>
                    <a:lnTo>
                      <a:pt x="121" y="57"/>
                    </a:lnTo>
                    <a:lnTo>
                      <a:pt x="121" y="57"/>
                    </a:lnTo>
                    <a:lnTo>
                      <a:pt x="121" y="55"/>
                    </a:lnTo>
                    <a:lnTo>
                      <a:pt x="121" y="53"/>
                    </a:lnTo>
                    <a:lnTo>
                      <a:pt x="121" y="50"/>
                    </a:lnTo>
                    <a:lnTo>
                      <a:pt x="121" y="50"/>
                    </a:lnTo>
                    <a:lnTo>
                      <a:pt x="121" y="50"/>
                    </a:lnTo>
                    <a:lnTo>
                      <a:pt x="123" y="45"/>
                    </a:lnTo>
                    <a:lnTo>
                      <a:pt x="123" y="45"/>
                    </a:lnTo>
                    <a:lnTo>
                      <a:pt x="126" y="45"/>
                    </a:lnTo>
                    <a:lnTo>
                      <a:pt x="128" y="45"/>
                    </a:lnTo>
                    <a:lnTo>
                      <a:pt x="131" y="45"/>
                    </a:lnTo>
                    <a:lnTo>
                      <a:pt x="135" y="45"/>
                    </a:lnTo>
                    <a:lnTo>
                      <a:pt x="138" y="45"/>
                    </a:lnTo>
                    <a:lnTo>
                      <a:pt x="140" y="45"/>
                    </a:lnTo>
                    <a:lnTo>
                      <a:pt x="142" y="45"/>
                    </a:lnTo>
                    <a:lnTo>
                      <a:pt x="145" y="45"/>
                    </a:lnTo>
                    <a:lnTo>
                      <a:pt x="147" y="41"/>
                    </a:lnTo>
                    <a:lnTo>
                      <a:pt x="147" y="38"/>
                    </a:lnTo>
                    <a:lnTo>
                      <a:pt x="147" y="38"/>
                    </a:lnTo>
                    <a:lnTo>
                      <a:pt x="147" y="38"/>
                    </a:lnTo>
                    <a:lnTo>
                      <a:pt x="149" y="36"/>
                    </a:lnTo>
                    <a:lnTo>
                      <a:pt x="152" y="34"/>
                    </a:lnTo>
                    <a:lnTo>
                      <a:pt x="159" y="31"/>
                    </a:lnTo>
                    <a:lnTo>
                      <a:pt x="161" y="29"/>
                    </a:lnTo>
                    <a:lnTo>
                      <a:pt x="161" y="29"/>
                    </a:lnTo>
                    <a:lnTo>
                      <a:pt x="164" y="29"/>
                    </a:lnTo>
                    <a:lnTo>
                      <a:pt x="168" y="26"/>
                    </a:lnTo>
                    <a:lnTo>
                      <a:pt x="168" y="26"/>
                    </a:lnTo>
                    <a:lnTo>
                      <a:pt x="168" y="24"/>
                    </a:lnTo>
                    <a:lnTo>
                      <a:pt x="175" y="24"/>
                    </a:lnTo>
                    <a:lnTo>
                      <a:pt x="175" y="24"/>
                    </a:lnTo>
                    <a:lnTo>
                      <a:pt x="175" y="24"/>
                    </a:lnTo>
                    <a:lnTo>
                      <a:pt x="173" y="22"/>
                    </a:lnTo>
                    <a:close/>
                    <a:moveTo>
                      <a:pt x="24" y="69"/>
                    </a:moveTo>
                    <a:lnTo>
                      <a:pt x="22" y="69"/>
                    </a:lnTo>
                    <a:lnTo>
                      <a:pt x="22" y="69"/>
                    </a:lnTo>
                    <a:lnTo>
                      <a:pt x="22" y="69"/>
                    </a:lnTo>
                    <a:lnTo>
                      <a:pt x="19" y="67"/>
                    </a:lnTo>
                    <a:lnTo>
                      <a:pt x="22" y="67"/>
                    </a:lnTo>
                    <a:lnTo>
                      <a:pt x="22" y="69"/>
                    </a:lnTo>
                    <a:lnTo>
                      <a:pt x="24" y="69"/>
                    </a:lnTo>
                    <a:lnTo>
                      <a:pt x="24" y="69"/>
                    </a:lnTo>
                    <a:lnTo>
                      <a:pt x="24" y="69"/>
                    </a:lnTo>
                    <a:lnTo>
                      <a:pt x="24" y="69"/>
                    </a:lnTo>
                    <a:close/>
                    <a:moveTo>
                      <a:pt x="34" y="67"/>
                    </a:moveTo>
                    <a:lnTo>
                      <a:pt x="31" y="67"/>
                    </a:lnTo>
                    <a:lnTo>
                      <a:pt x="31" y="67"/>
                    </a:lnTo>
                    <a:lnTo>
                      <a:pt x="29" y="67"/>
                    </a:lnTo>
                    <a:lnTo>
                      <a:pt x="29" y="67"/>
                    </a:lnTo>
                    <a:lnTo>
                      <a:pt x="29" y="64"/>
                    </a:lnTo>
                    <a:lnTo>
                      <a:pt x="29" y="64"/>
                    </a:lnTo>
                    <a:lnTo>
                      <a:pt x="29" y="67"/>
                    </a:lnTo>
                    <a:lnTo>
                      <a:pt x="29" y="67"/>
                    </a:lnTo>
                    <a:lnTo>
                      <a:pt x="26" y="64"/>
                    </a:lnTo>
                    <a:lnTo>
                      <a:pt x="26" y="64"/>
                    </a:lnTo>
                    <a:lnTo>
                      <a:pt x="29" y="64"/>
                    </a:lnTo>
                    <a:lnTo>
                      <a:pt x="29" y="64"/>
                    </a:lnTo>
                    <a:lnTo>
                      <a:pt x="29" y="64"/>
                    </a:lnTo>
                    <a:lnTo>
                      <a:pt x="31" y="67"/>
                    </a:lnTo>
                    <a:lnTo>
                      <a:pt x="31" y="67"/>
                    </a:lnTo>
                    <a:lnTo>
                      <a:pt x="31" y="64"/>
                    </a:lnTo>
                    <a:lnTo>
                      <a:pt x="34" y="67"/>
                    </a:lnTo>
                    <a:lnTo>
                      <a:pt x="31" y="67"/>
                    </a:lnTo>
                    <a:lnTo>
                      <a:pt x="34" y="67"/>
                    </a:lnTo>
                    <a:lnTo>
                      <a:pt x="34" y="67"/>
                    </a:lnTo>
                    <a:close/>
                    <a:moveTo>
                      <a:pt x="43" y="67"/>
                    </a:moveTo>
                    <a:lnTo>
                      <a:pt x="41" y="67"/>
                    </a:lnTo>
                    <a:lnTo>
                      <a:pt x="41" y="67"/>
                    </a:lnTo>
                    <a:lnTo>
                      <a:pt x="41" y="67"/>
                    </a:lnTo>
                    <a:lnTo>
                      <a:pt x="41" y="64"/>
                    </a:lnTo>
                    <a:lnTo>
                      <a:pt x="43" y="64"/>
                    </a:lnTo>
                    <a:lnTo>
                      <a:pt x="43" y="64"/>
                    </a:lnTo>
                    <a:lnTo>
                      <a:pt x="43" y="67"/>
                    </a:lnTo>
                    <a:lnTo>
                      <a:pt x="43" y="67"/>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119"/>
              <p:cNvSpPr>
                <a:spLocks/>
              </p:cNvSpPr>
              <p:nvPr/>
            </p:nvSpPr>
            <p:spPr bwMode="auto">
              <a:xfrm>
                <a:off x="3106" y="1888"/>
                <a:ext cx="31" cy="29"/>
              </a:xfrm>
              <a:custGeom>
                <a:avLst/>
                <a:gdLst>
                  <a:gd name="T0" fmla="*/ 31 w 31"/>
                  <a:gd name="T1" fmla="*/ 12 h 29"/>
                  <a:gd name="T2" fmla="*/ 23 w 31"/>
                  <a:gd name="T3" fmla="*/ 10 h 29"/>
                  <a:gd name="T4" fmla="*/ 23 w 31"/>
                  <a:gd name="T5" fmla="*/ 8 h 29"/>
                  <a:gd name="T6" fmla="*/ 21 w 31"/>
                  <a:gd name="T7" fmla="*/ 5 h 29"/>
                  <a:gd name="T8" fmla="*/ 19 w 31"/>
                  <a:gd name="T9" fmla="*/ 3 h 29"/>
                  <a:gd name="T10" fmla="*/ 14 w 31"/>
                  <a:gd name="T11" fmla="*/ 3 h 29"/>
                  <a:gd name="T12" fmla="*/ 14 w 31"/>
                  <a:gd name="T13" fmla="*/ 0 h 29"/>
                  <a:gd name="T14" fmla="*/ 14 w 31"/>
                  <a:gd name="T15" fmla="*/ 0 h 29"/>
                  <a:gd name="T16" fmla="*/ 12 w 31"/>
                  <a:gd name="T17" fmla="*/ 0 h 29"/>
                  <a:gd name="T18" fmla="*/ 9 w 31"/>
                  <a:gd name="T19" fmla="*/ 0 h 29"/>
                  <a:gd name="T20" fmla="*/ 12 w 31"/>
                  <a:gd name="T21" fmla="*/ 3 h 29"/>
                  <a:gd name="T22" fmla="*/ 12 w 31"/>
                  <a:gd name="T23" fmla="*/ 5 h 29"/>
                  <a:gd name="T24" fmla="*/ 7 w 31"/>
                  <a:gd name="T25" fmla="*/ 8 h 29"/>
                  <a:gd name="T26" fmla="*/ 9 w 31"/>
                  <a:gd name="T27" fmla="*/ 8 h 29"/>
                  <a:gd name="T28" fmla="*/ 5 w 31"/>
                  <a:gd name="T29" fmla="*/ 10 h 29"/>
                  <a:gd name="T30" fmla="*/ 2 w 31"/>
                  <a:gd name="T31" fmla="*/ 10 h 29"/>
                  <a:gd name="T32" fmla="*/ 0 w 31"/>
                  <a:gd name="T33" fmla="*/ 10 h 29"/>
                  <a:gd name="T34" fmla="*/ 2 w 31"/>
                  <a:gd name="T35" fmla="*/ 12 h 29"/>
                  <a:gd name="T36" fmla="*/ 2 w 31"/>
                  <a:gd name="T37" fmla="*/ 15 h 29"/>
                  <a:gd name="T38" fmla="*/ 5 w 31"/>
                  <a:gd name="T39" fmla="*/ 17 h 29"/>
                  <a:gd name="T40" fmla="*/ 7 w 31"/>
                  <a:gd name="T41" fmla="*/ 19 h 29"/>
                  <a:gd name="T42" fmla="*/ 9 w 31"/>
                  <a:gd name="T43" fmla="*/ 22 h 29"/>
                  <a:gd name="T44" fmla="*/ 12 w 31"/>
                  <a:gd name="T45" fmla="*/ 24 h 29"/>
                  <a:gd name="T46" fmla="*/ 12 w 31"/>
                  <a:gd name="T47" fmla="*/ 29 h 29"/>
                  <a:gd name="T48" fmla="*/ 14 w 31"/>
                  <a:gd name="T49" fmla="*/ 29 h 29"/>
                  <a:gd name="T50" fmla="*/ 14 w 31"/>
                  <a:gd name="T51" fmla="*/ 26 h 29"/>
                  <a:gd name="T52" fmla="*/ 14 w 31"/>
                  <a:gd name="T53" fmla="*/ 24 h 29"/>
                  <a:gd name="T54" fmla="*/ 21 w 31"/>
                  <a:gd name="T55" fmla="*/ 22 h 29"/>
                  <a:gd name="T56" fmla="*/ 21 w 31"/>
                  <a:gd name="T57" fmla="*/ 24 h 29"/>
                  <a:gd name="T58" fmla="*/ 23 w 31"/>
                  <a:gd name="T59" fmla="*/ 22 h 29"/>
                  <a:gd name="T60" fmla="*/ 23 w 31"/>
                  <a:gd name="T61" fmla="*/ 22 h 29"/>
                  <a:gd name="T62" fmla="*/ 28 w 31"/>
                  <a:gd name="T63" fmla="*/ 19 h 29"/>
                  <a:gd name="T64" fmla="*/ 26 w 31"/>
                  <a:gd name="T65" fmla="*/ 19 h 29"/>
                  <a:gd name="T66" fmla="*/ 28 w 31"/>
                  <a:gd name="T67" fmla="*/ 17 h 29"/>
                  <a:gd name="T68" fmla="*/ 31 w 31"/>
                  <a:gd name="T69" fmla="*/ 12 h 29"/>
                  <a:gd name="T70" fmla="*/ 31 w 31"/>
                  <a:gd name="T71" fmla="*/ 12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1" h="29">
                    <a:moveTo>
                      <a:pt x="31" y="12"/>
                    </a:moveTo>
                    <a:lnTo>
                      <a:pt x="31" y="12"/>
                    </a:lnTo>
                    <a:lnTo>
                      <a:pt x="28" y="12"/>
                    </a:lnTo>
                    <a:lnTo>
                      <a:pt x="23" y="10"/>
                    </a:lnTo>
                    <a:lnTo>
                      <a:pt x="23" y="8"/>
                    </a:lnTo>
                    <a:lnTo>
                      <a:pt x="23" y="8"/>
                    </a:lnTo>
                    <a:lnTo>
                      <a:pt x="21" y="8"/>
                    </a:lnTo>
                    <a:lnTo>
                      <a:pt x="21" y="5"/>
                    </a:lnTo>
                    <a:lnTo>
                      <a:pt x="19" y="5"/>
                    </a:lnTo>
                    <a:lnTo>
                      <a:pt x="19" y="3"/>
                    </a:lnTo>
                    <a:lnTo>
                      <a:pt x="16" y="3"/>
                    </a:lnTo>
                    <a:lnTo>
                      <a:pt x="14" y="3"/>
                    </a:lnTo>
                    <a:lnTo>
                      <a:pt x="14" y="0"/>
                    </a:lnTo>
                    <a:lnTo>
                      <a:pt x="14" y="0"/>
                    </a:lnTo>
                    <a:lnTo>
                      <a:pt x="14" y="0"/>
                    </a:lnTo>
                    <a:lnTo>
                      <a:pt x="14" y="0"/>
                    </a:lnTo>
                    <a:lnTo>
                      <a:pt x="12" y="0"/>
                    </a:lnTo>
                    <a:lnTo>
                      <a:pt x="12" y="0"/>
                    </a:lnTo>
                    <a:lnTo>
                      <a:pt x="9" y="0"/>
                    </a:lnTo>
                    <a:lnTo>
                      <a:pt x="9" y="0"/>
                    </a:lnTo>
                    <a:lnTo>
                      <a:pt x="12" y="3"/>
                    </a:lnTo>
                    <a:lnTo>
                      <a:pt x="12" y="3"/>
                    </a:lnTo>
                    <a:lnTo>
                      <a:pt x="12" y="3"/>
                    </a:lnTo>
                    <a:lnTo>
                      <a:pt x="12" y="5"/>
                    </a:lnTo>
                    <a:lnTo>
                      <a:pt x="9" y="5"/>
                    </a:lnTo>
                    <a:lnTo>
                      <a:pt x="7" y="8"/>
                    </a:lnTo>
                    <a:lnTo>
                      <a:pt x="9" y="8"/>
                    </a:lnTo>
                    <a:lnTo>
                      <a:pt x="9" y="8"/>
                    </a:lnTo>
                    <a:lnTo>
                      <a:pt x="7" y="8"/>
                    </a:lnTo>
                    <a:lnTo>
                      <a:pt x="5" y="10"/>
                    </a:lnTo>
                    <a:lnTo>
                      <a:pt x="5" y="10"/>
                    </a:lnTo>
                    <a:lnTo>
                      <a:pt x="2" y="10"/>
                    </a:lnTo>
                    <a:lnTo>
                      <a:pt x="2" y="10"/>
                    </a:lnTo>
                    <a:lnTo>
                      <a:pt x="0" y="10"/>
                    </a:lnTo>
                    <a:lnTo>
                      <a:pt x="2" y="12"/>
                    </a:lnTo>
                    <a:lnTo>
                      <a:pt x="2" y="12"/>
                    </a:lnTo>
                    <a:lnTo>
                      <a:pt x="2" y="15"/>
                    </a:lnTo>
                    <a:lnTo>
                      <a:pt x="2" y="15"/>
                    </a:lnTo>
                    <a:lnTo>
                      <a:pt x="2" y="15"/>
                    </a:lnTo>
                    <a:lnTo>
                      <a:pt x="5" y="17"/>
                    </a:lnTo>
                    <a:lnTo>
                      <a:pt x="5" y="19"/>
                    </a:lnTo>
                    <a:lnTo>
                      <a:pt x="7" y="19"/>
                    </a:lnTo>
                    <a:lnTo>
                      <a:pt x="7" y="19"/>
                    </a:lnTo>
                    <a:lnTo>
                      <a:pt x="9" y="22"/>
                    </a:lnTo>
                    <a:lnTo>
                      <a:pt x="9" y="22"/>
                    </a:lnTo>
                    <a:lnTo>
                      <a:pt x="12" y="24"/>
                    </a:lnTo>
                    <a:lnTo>
                      <a:pt x="12" y="26"/>
                    </a:lnTo>
                    <a:lnTo>
                      <a:pt x="12" y="29"/>
                    </a:lnTo>
                    <a:lnTo>
                      <a:pt x="12" y="29"/>
                    </a:lnTo>
                    <a:lnTo>
                      <a:pt x="14" y="29"/>
                    </a:lnTo>
                    <a:lnTo>
                      <a:pt x="14" y="29"/>
                    </a:lnTo>
                    <a:lnTo>
                      <a:pt x="14" y="26"/>
                    </a:lnTo>
                    <a:lnTo>
                      <a:pt x="14" y="24"/>
                    </a:lnTo>
                    <a:lnTo>
                      <a:pt x="14" y="24"/>
                    </a:lnTo>
                    <a:lnTo>
                      <a:pt x="19" y="22"/>
                    </a:lnTo>
                    <a:lnTo>
                      <a:pt x="21" y="22"/>
                    </a:lnTo>
                    <a:lnTo>
                      <a:pt x="21" y="22"/>
                    </a:lnTo>
                    <a:lnTo>
                      <a:pt x="21" y="24"/>
                    </a:lnTo>
                    <a:lnTo>
                      <a:pt x="23" y="24"/>
                    </a:lnTo>
                    <a:lnTo>
                      <a:pt x="23" y="22"/>
                    </a:lnTo>
                    <a:lnTo>
                      <a:pt x="23" y="22"/>
                    </a:lnTo>
                    <a:lnTo>
                      <a:pt x="23" y="22"/>
                    </a:lnTo>
                    <a:lnTo>
                      <a:pt x="28" y="19"/>
                    </a:lnTo>
                    <a:lnTo>
                      <a:pt x="28" y="19"/>
                    </a:lnTo>
                    <a:lnTo>
                      <a:pt x="26" y="19"/>
                    </a:lnTo>
                    <a:lnTo>
                      <a:pt x="26" y="19"/>
                    </a:lnTo>
                    <a:lnTo>
                      <a:pt x="26" y="17"/>
                    </a:lnTo>
                    <a:lnTo>
                      <a:pt x="28" y="17"/>
                    </a:lnTo>
                    <a:lnTo>
                      <a:pt x="28" y="17"/>
                    </a:lnTo>
                    <a:lnTo>
                      <a:pt x="31" y="12"/>
                    </a:lnTo>
                    <a:lnTo>
                      <a:pt x="31" y="12"/>
                    </a:lnTo>
                    <a:lnTo>
                      <a:pt x="31" y="12"/>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120"/>
              <p:cNvSpPr>
                <a:spLocks noEditPoints="1"/>
              </p:cNvSpPr>
              <p:nvPr/>
            </p:nvSpPr>
            <p:spPr bwMode="auto">
              <a:xfrm>
                <a:off x="3536" y="1637"/>
                <a:ext cx="663" cy="306"/>
              </a:xfrm>
              <a:custGeom>
                <a:avLst/>
                <a:gdLst>
                  <a:gd name="T0" fmla="*/ 76 w 663"/>
                  <a:gd name="T1" fmla="*/ 211 h 306"/>
                  <a:gd name="T2" fmla="*/ 646 w 663"/>
                  <a:gd name="T3" fmla="*/ 119 h 306"/>
                  <a:gd name="T4" fmla="*/ 625 w 663"/>
                  <a:gd name="T5" fmla="*/ 119 h 306"/>
                  <a:gd name="T6" fmla="*/ 599 w 663"/>
                  <a:gd name="T7" fmla="*/ 100 h 306"/>
                  <a:gd name="T8" fmla="*/ 568 w 663"/>
                  <a:gd name="T9" fmla="*/ 95 h 306"/>
                  <a:gd name="T10" fmla="*/ 544 w 663"/>
                  <a:gd name="T11" fmla="*/ 86 h 306"/>
                  <a:gd name="T12" fmla="*/ 533 w 663"/>
                  <a:gd name="T13" fmla="*/ 90 h 306"/>
                  <a:gd name="T14" fmla="*/ 471 w 663"/>
                  <a:gd name="T15" fmla="*/ 41 h 306"/>
                  <a:gd name="T16" fmla="*/ 440 w 663"/>
                  <a:gd name="T17" fmla="*/ 22 h 306"/>
                  <a:gd name="T18" fmla="*/ 419 w 663"/>
                  <a:gd name="T19" fmla="*/ 38 h 306"/>
                  <a:gd name="T20" fmla="*/ 402 w 663"/>
                  <a:gd name="T21" fmla="*/ 29 h 306"/>
                  <a:gd name="T22" fmla="*/ 384 w 663"/>
                  <a:gd name="T23" fmla="*/ 29 h 306"/>
                  <a:gd name="T24" fmla="*/ 360 w 663"/>
                  <a:gd name="T25" fmla="*/ 19 h 306"/>
                  <a:gd name="T26" fmla="*/ 317 w 663"/>
                  <a:gd name="T27" fmla="*/ 0 h 306"/>
                  <a:gd name="T28" fmla="*/ 289 w 663"/>
                  <a:gd name="T29" fmla="*/ 15 h 306"/>
                  <a:gd name="T30" fmla="*/ 256 w 663"/>
                  <a:gd name="T31" fmla="*/ 22 h 306"/>
                  <a:gd name="T32" fmla="*/ 220 w 663"/>
                  <a:gd name="T33" fmla="*/ 29 h 306"/>
                  <a:gd name="T34" fmla="*/ 213 w 663"/>
                  <a:gd name="T35" fmla="*/ 38 h 306"/>
                  <a:gd name="T36" fmla="*/ 227 w 663"/>
                  <a:gd name="T37" fmla="*/ 50 h 306"/>
                  <a:gd name="T38" fmla="*/ 211 w 663"/>
                  <a:gd name="T39" fmla="*/ 64 h 306"/>
                  <a:gd name="T40" fmla="*/ 230 w 663"/>
                  <a:gd name="T41" fmla="*/ 83 h 306"/>
                  <a:gd name="T42" fmla="*/ 204 w 663"/>
                  <a:gd name="T43" fmla="*/ 100 h 306"/>
                  <a:gd name="T44" fmla="*/ 171 w 663"/>
                  <a:gd name="T45" fmla="*/ 88 h 306"/>
                  <a:gd name="T46" fmla="*/ 142 w 663"/>
                  <a:gd name="T47" fmla="*/ 98 h 306"/>
                  <a:gd name="T48" fmla="*/ 121 w 663"/>
                  <a:gd name="T49" fmla="*/ 100 h 306"/>
                  <a:gd name="T50" fmla="*/ 90 w 663"/>
                  <a:gd name="T51" fmla="*/ 81 h 306"/>
                  <a:gd name="T52" fmla="*/ 64 w 663"/>
                  <a:gd name="T53" fmla="*/ 79 h 306"/>
                  <a:gd name="T54" fmla="*/ 36 w 663"/>
                  <a:gd name="T55" fmla="*/ 90 h 306"/>
                  <a:gd name="T56" fmla="*/ 24 w 663"/>
                  <a:gd name="T57" fmla="*/ 114 h 306"/>
                  <a:gd name="T58" fmla="*/ 0 w 663"/>
                  <a:gd name="T59" fmla="*/ 121 h 306"/>
                  <a:gd name="T60" fmla="*/ 12 w 663"/>
                  <a:gd name="T61" fmla="*/ 154 h 306"/>
                  <a:gd name="T62" fmla="*/ 43 w 663"/>
                  <a:gd name="T63" fmla="*/ 178 h 306"/>
                  <a:gd name="T64" fmla="*/ 52 w 663"/>
                  <a:gd name="T65" fmla="*/ 183 h 306"/>
                  <a:gd name="T66" fmla="*/ 83 w 663"/>
                  <a:gd name="T67" fmla="*/ 171 h 306"/>
                  <a:gd name="T68" fmla="*/ 116 w 663"/>
                  <a:gd name="T69" fmla="*/ 178 h 306"/>
                  <a:gd name="T70" fmla="*/ 97 w 663"/>
                  <a:gd name="T71" fmla="*/ 204 h 306"/>
                  <a:gd name="T72" fmla="*/ 95 w 663"/>
                  <a:gd name="T73" fmla="*/ 225 h 306"/>
                  <a:gd name="T74" fmla="*/ 93 w 663"/>
                  <a:gd name="T75" fmla="*/ 240 h 306"/>
                  <a:gd name="T76" fmla="*/ 112 w 663"/>
                  <a:gd name="T77" fmla="*/ 259 h 306"/>
                  <a:gd name="T78" fmla="*/ 130 w 663"/>
                  <a:gd name="T79" fmla="*/ 275 h 306"/>
                  <a:gd name="T80" fmla="*/ 171 w 663"/>
                  <a:gd name="T81" fmla="*/ 285 h 306"/>
                  <a:gd name="T82" fmla="*/ 178 w 663"/>
                  <a:gd name="T83" fmla="*/ 254 h 306"/>
                  <a:gd name="T84" fmla="*/ 197 w 663"/>
                  <a:gd name="T85" fmla="*/ 206 h 306"/>
                  <a:gd name="T86" fmla="*/ 244 w 663"/>
                  <a:gd name="T87" fmla="*/ 221 h 306"/>
                  <a:gd name="T88" fmla="*/ 287 w 663"/>
                  <a:gd name="T89" fmla="*/ 244 h 306"/>
                  <a:gd name="T90" fmla="*/ 329 w 663"/>
                  <a:gd name="T91" fmla="*/ 244 h 306"/>
                  <a:gd name="T92" fmla="*/ 353 w 663"/>
                  <a:gd name="T93" fmla="*/ 275 h 306"/>
                  <a:gd name="T94" fmla="*/ 388 w 663"/>
                  <a:gd name="T95" fmla="*/ 294 h 306"/>
                  <a:gd name="T96" fmla="*/ 405 w 663"/>
                  <a:gd name="T97" fmla="*/ 304 h 306"/>
                  <a:gd name="T98" fmla="*/ 424 w 663"/>
                  <a:gd name="T99" fmla="*/ 280 h 306"/>
                  <a:gd name="T100" fmla="*/ 438 w 663"/>
                  <a:gd name="T101" fmla="*/ 263 h 306"/>
                  <a:gd name="T102" fmla="*/ 476 w 663"/>
                  <a:gd name="T103" fmla="*/ 266 h 306"/>
                  <a:gd name="T104" fmla="*/ 509 w 663"/>
                  <a:gd name="T105" fmla="*/ 259 h 306"/>
                  <a:gd name="T106" fmla="*/ 554 w 663"/>
                  <a:gd name="T107" fmla="*/ 259 h 306"/>
                  <a:gd name="T108" fmla="*/ 587 w 663"/>
                  <a:gd name="T109" fmla="*/ 268 h 306"/>
                  <a:gd name="T110" fmla="*/ 592 w 663"/>
                  <a:gd name="T111" fmla="*/ 256 h 306"/>
                  <a:gd name="T112" fmla="*/ 585 w 663"/>
                  <a:gd name="T113" fmla="*/ 232 h 306"/>
                  <a:gd name="T114" fmla="*/ 570 w 663"/>
                  <a:gd name="T115" fmla="*/ 216 h 306"/>
                  <a:gd name="T116" fmla="*/ 608 w 663"/>
                  <a:gd name="T117" fmla="*/ 209 h 306"/>
                  <a:gd name="T118" fmla="*/ 606 w 663"/>
                  <a:gd name="T119" fmla="*/ 190 h 306"/>
                  <a:gd name="T120" fmla="*/ 634 w 663"/>
                  <a:gd name="T121" fmla="*/ 173 h 306"/>
                  <a:gd name="T122" fmla="*/ 644 w 663"/>
                  <a:gd name="T123" fmla="*/ 157 h 306"/>
                  <a:gd name="T124" fmla="*/ 653 w 663"/>
                  <a:gd name="T125" fmla="*/ 131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63" h="306">
                    <a:moveTo>
                      <a:pt x="71" y="216"/>
                    </a:moveTo>
                    <a:lnTo>
                      <a:pt x="71" y="214"/>
                    </a:lnTo>
                    <a:lnTo>
                      <a:pt x="71" y="211"/>
                    </a:lnTo>
                    <a:lnTo>
                      <a:pt x="71" y="211"/>
                    </a:lnTo>
                    <a:lnTo>
                      <a:pt x="71" y="211"/>
                    </a:lnTo>
                    <a:lnTo>
                      <a:pt x="71" y="214"/>
                    </a:lnTo>
                    <a:lnTo>
                      <a:pt x="71" y="216"/>
                    </a:lnTo>
                    <a:lnTo>
                      <a:pt x="71" y="218"/>
                    </a:lnTo>
                    <a:lnTo>
                      <a:pt x="74" y="218"/>
                    </a:lnTo>
                    <a:lnTo>
                      <a:pt x="74" y="218"/>
                    </a:lnTo>
                    <a:lnTo>
                      <a:pt x="71" y="218"/>
                    </a:lnTo>
                    <a:lnTo>
                      <a:pt x="71" y="216"/>
                    </a:lnTo>
                    <a:close/>
                    <a:moveTo>
                      <a:pt x="74" y="211"/>
                    </a:moveTo>
                    <a:lnTo>
                      <a:pt x="74" y="214"/>
                    </a:lnTo>
                    <a:lnTo>
                      <a:pt x="74" y="216"/>
                    </a:lnTo>
                    <a:lnTo>
                      <a:pt x="76" y="216"/>
                    </a:lnTo>
                    <a:lnTo>
                      <a:pt x="76" y="216"/>
                    </a:lnTo>
                    <a:lnTo>
                      <a:pt x="76" y="211"/>
                    </a:lnTo>
                    <a:lnTo>
                      <a:pt x="74" y="211"/>
                    </a:lnTo>
                    <a:close/>
                    <a:moveTo>
                      <a:pt x="114" y="204"/>
                    </a:moveTo>
                    <a:lnTo>
                      <a:pt x="114" y="204"/>
                    </a:lnTo>
                    <a:lnTo>
                      <a:pt x="112" y="202"/>
                    </a:lnTo>
                    <a:lnTo>
                      <a:pt x="112" y="202"/>
                    </a:lnTo>
                    <a:lnTo>
                      <a:pt x="112" y="204"/>
                    </a:lnTo>
                    <a:lnTo>
                      <a:pt x="112" y="204"/>
                    </a:lnTo>
                    <a:lnTo>
                      <a:pt x="114" y="204"/>
                    </a:lnTo>
                    <a:lnTo>
                      <a:pt x="114" y="204"/>
                    </a:lnTo>
                    <a:close/>
                    <a:moveTo>
                      <a:pt x="660" y="128"/>
                    </a:moveTo>
                    <a:lnTo>
                      <a:pt x="660" y="126"/>
                    </a:lnTo>
                    <a:lnTo>
                      <a:pt x="658" y="126"/>
                    </a:lnTo>
                    <a:lnTo>
                      <a:pt x="656" y="126"/>
                    </a:lnTo>
                    <a:lnTo>
                      <a:pt x="656" y="126"/>
                    </a:lnTo>
                    <a:lnTo>
                      <a:pt x="653" y="124"/>
                    </a:lnTo>
                    <a:lnTo>
                      <a:pt x="651" y="121"/>
                    </a:lnTo>
                    <a:lnTo>
                      <a:pt x="649" y="119"/>
                    </a:lnTo>
                    <a:lnTo>
                      <a:pt x="646" y="119"/>
                    </a:lnTo>
                    <a:lnTo>
                      <a:pt x="646" y="119"/>
                    </a:lnTo>
                    <a:lnTo>
                      <a:pt x="646" y="116"/>
                    </a:lnTo>
                    <a:lnTo>
                      <a:pt x="646" y="116"/>
                    </a:lnTo>
                    <a:lnTo>
                      <a:pt x="646" y="116"/>
                    </a:lnTo>
                    <a:lnTo>
                      <a:pt x="646" y="114"/>
                    </a:lnTo>
                    <a:lnTo>
                      <a:pt x="644" y="114"/>
                    </a:lnTo>
                    <a:lnTo>
                      <a:pt x="644" y="116"/>
                    </a:lnTo>
                    <a:lnTo>
                      <a:pt x="641" y="116"/>
                    </a:lnTo>
                    <a:lnTo>
                      <a:pt x="641" y="119"/>
                    </a:lnTo>
                    <a:lnTo>
                      <a:pt x="641" y="119"/>
                    </a:lnTo>
                    <a:lnTo>
                      <a:pt x="639" y="121"/>
                    </a:lnTo>
                    <a:lnTo>
                      <a:pt x="639" y="121"/>
                    </a:lnTo>
                    <a:lnTo>
                      <a:pt x="637" y="121"/>
                    </a:lnTo>
                    <a:lnTo>
                      <a:pt x="637" y="121"/>
                    </a:lnTo>
                    <a:lnTo>
                      <a:pt x="634" y="119"/>
                    </a:lnTo>
                    <a:lnTo>
                      <a:pt x="634" y="119"/>
                    </a:lnTo>
                    <a:lnTo>
                      <a:pt x="627" y="119"/>
                    </a:lnTo>
                    <a:lnTo>
                      <a:pt x="625" y="119"/>
                    </a:lnTo>
                    <a:lnTo>
                      <a:pt x="625" y="119"/>
                    </a:lnTo>
                    <a:lnTo>
                      <a:pt x="622" y="119"/>
                    </a:lnTo>
                    <a:lnTo>
                      <a:pt x="622" y="116"/>
                    </a:lnTo>
                    <a:lnTo>
                      <a:pt x="620" y="116"/>
                    </a:lnTo>
                    <a:lnTo>
                      <a:pt x="620" y="114"/>
                    </a:lnTo>
                    <a:lnTo>
                      <a:pt x="618" y="112"/>
                    </a:lnTo>
                    <a:lnTo>
                      <a:pt x="615" y="112"/>
                    </a:lnTo>
                    <a:lnTo>
                      <a:pt x="615" y="109"/>
                    </a:lnTo>
                    <a:lnTo>
                      <a:pt x="615" y="109"/>
                    </a:lnTo>
                    <a:lnTo>
                      <a:pt x="615" y="109"/>
                    </a:lnTo>
                    <a:lnTo>
                      <a:pt x="613" y="109"/>
                    </a:lnTo>
                    <a:lnTo>
                      <a:pt x="608" y="107"/>
                    </a:lnTo>
                    <a:lnTo>
                      <a:pt x="606" y="105"/>
                    </a:lnTo>
                    <a:lnTo>
                      <a:pt x="604" y="105"/>
                    </a:lnTo>
                    <a:lnTo>
                      <a:pt x="604" y="105"/>
                    </a:lnTo>
                    <a:lnTo>
                      <a:pt x="601" y="105"/>
                    </a:lnTo>
                    <a:lnTo>
                      <a:pt x="599" y="102"/>
                    </a:lnTo>
                    <a:lnTo>
                      <a:pt x="599" y="100"/>
                    </a:lnTo>
                    <a:lnTo>
                      <a:pt x="596" y="98"/>
                    </a:lnTo>
                    <a:lnTo>
                      <a:pt x="594" y="95"/>
                    </a:lnTo>
                    <a:lnTo>
                      <a:pt x="592" y="95"/>
                    </a:lnTo>
                    <a:lnTo>
                      <a:pt x="592" y="93"/>
                    </a:lnTo>
                    <a:lnTo>
                      <a:pt x="587" y="93"/>
                    </a:lnTo>
                    <a:lnTo>
                      <a:pt x="585" y="90"/>
                    </a:lnTo>
                    <a:lnTo>
                      <a:pt x="582" y="90"/>
                    </a:lnTo>
                    <a:lnTo>
                      <a:pt x="580" y="90"/>
                    </a:lnTo>
                    <a:lnTo>
                      <a:pt x="578" y="90"/>
                    </a:lnTo>
                    <a:lnTo>
                      <a:pt x="578" y="90"/>
                    </a:lnTo>
                    <a:lnTo>
                      <a:pt x="578" y="93"/>
                    </a:lnTo>
                    <a:lnTo>
                      <a:pt x="575" y="93"/>
                    </a:lnTo>
                    <a:lnTo>
                      <a:pt x="573" y="93"/>
                    </a:lnTo>
                    <a:lnTo>
                      <a:pt x="573" y="93"/>
                    </a:lnTo>
                    <a:lnTo>
                      <a:pt x="573" y="93"/>
                    </a:lnTo>
                    <a:lnTo>
                      <a:pt x="570" y="95"/>
                    </a:lnTo>
                    <a:lnTo>
                      <a:pt x="570" y="95"/>
                    </a:lnTo>
                    <a:lnTo>
                      <a:pt x="568" y="95"/>
                    </a:lnTo>
                    <a:lnTo>
                      <a:pt x="566" y="95"/>
                    </a:lnTo>
                    <a:lnTo>
                      <a:pt x="563" y="95"/>
                    </a:lnTo>
                    <a:lnTo>
                      <a:pt x="561" y="95"/>
                    </a:lnTo>
                    <a:lnTo>
                      <a:pt x="559" y="95"/>
                    </a:lnTo>
                    <a:lnTo>
                      <a:pt x="556" y="95"/>
                    </a:lnTo>
                    <a:lnTo>
                      <a:pt x="554" y="95"/>
                    </a:lnTo>
                    <a:lnTo>
                      <a:pt x="552" y="95"/>
                    </a:lnTo>
                    <a:lnTo>
                      <a:pt x="552" y="93"/>
                    </a:lnTo>
                    <a:lnTo>
                      <a:pt x="552" y="93"/>
                    </a:lnTo>
                    <a:lnTo>
                      <a:pt x="552" y="90"/>
                    </a:lnTo>
                    <a:lnTo>
                      <a:pt x="549" y="90"/>
                    </a:lnTo>
                    <a:lnTo>
                      <a:pt x="549" y="90"/>
                    </a:lnTo>
                    <a:lnTo>
                      <a:pt x="547" y="90"/>
                    </a:lnTo>
                    <a:lnTo>
                      <a:pt x="544" y="90"/>
                    </a:lnTo>
                    <a:lnTo>
                      <a:pt x="544" y="90"/>
                    </a:lnTo>
                    <a:lnTo>
                      <a:pt x="544" y="88"/>
                    </a:lnTo>
                    <a:lnTo>
                      <a:pt x="544" y="86"/>
                    </a:lnTo>
                    <a:lnTo>
                      <a:pt x="544" y="86"/>
                    </a:lnTo>
                    <a:lnTo>
                      <a:pt x="542" y="86"/>
                    </a:lnTo>
                    <a:lnTo>
                      <a:pt x="542" y="86"/>
                    </a:lnTo>
                    <a:lnTo>
                      <a:pt x="540" y="86"/>
                    </a:lnTo>
                    <a:lnTo>
                      <a:pt x="540" y="83"/>
                    </a:lnTo>
                    <a:lnTo>
                      <a:pt x="537" y="83"/>
                    </a:lnTo>
                    <a:lnTo>
                      <a:pt x="537" y="83"/>
                    </a:lnTo>
                    <a:lnTo>
                      <a:pt x="535" y="83"/>
                    </a:lnTo>
                    <a:lnTo>
                      <a:pt x="535" y="86"/>
                    </a:lnTo>
                    <a:lnTo>
                      <a:pt x="535" y="86"/>
                    </a:lnTo>
                    <a:lnTo>
                      <a:pt x="533" y="86"/>
                    </a:lnTo>
                    <a:lnTo>
                      <a:pt x="533" y="86"/>
                    </a:lnTo>
                    <a:lnTo>
                      <a:pt x="533" y="88"/>
                    </a:lnTo>
                    <a:lnTo>
                      <a:pt x="533" y="88"/>
                    </a:lnTo>
                    <a:lnTo>
                      <a:pt x="535" y="90"/>
                    </a:lnTo>
                    <a:lnTo>
                      <a:pt x="535" y="90"/>
                    </a:lnTo>
                    <a:lnTo>
                      <a:pt x="533" y="90"/>
                    </a:lnTo>
                    <a:lnTo>
                      <a:pt x="533" y="90"/>
                    </a:lnTo>
                    <a:lnTo>
                      <a:pt x="533" y="90"/>
                    </a:lnTo>
                    <a:lnTo>
                      <a:pt x="530" y="93"/>
                    </a:lnTo>
                    <a:lnTo>
                      <a:pt x="530" y="93"/>
                    </a:lnTo>
                    <a:lnTo>
                      <a:pt x="530" y="93"/>
                    </a:lnTo>
                    <a:lnTo>
                      <a:pt x="530" y="95"/>
                    </a:lnTo>
                    <a:lnTo>
                      <a:pt x="528" y="95"/>
                    </a:lnTo>
                    <a:lnTo>
                      <a:pt x="525" y="90"/>
                    </a:lnTo>
                    <a:lnTo>
                      <a:pt x="521" y="86"/>
                    </a:lnTo>
                    <a:lnTo>
                      <a:pt x="516" y="81"/>
                    </a:lnTo>
                    <a:lnTo>
                      <a:pt x="514" y="79"/>
                    </a:lnTo>
                    <a:lnTo>
                      <a:pt x="507" y="71"/>
                    </a:lnTo>
                    <a:lnTo>
                      <a:pt x="502" y="69"/>
                    </a:lnTo>
                    <a:lnTo>
                      <a:pt x="495" y="62"/>
                    </a:lnTo>
                    <a:lnTo>
                      <a:pt x="490" y="57"/>
                    </a:lnTo>
                    <a:lnTo>
                      <a:pt x="483" y="50"/>
                    </a:lnTo>
                    <a:lnTo>
                      <a:pt x="478" y="48"/>
                    </a:lnTo>
                    <a:lnTo>
                      <a:pt x="473" y="43"/>
                    </a:lnTo>
                    <a:lnTo>
                      <a:pt x="473" y="43"/>
                    </a:lnTo>
                    <a:lnTo>
                      <a:pt x="471" y="41"/>
                    </a:lnTo>
                    <a:lnTo>
                      <a:pt x="466" y="38"/>
                    </a:lnTo>
                    <a:lnTo>
                      <a:pt x="459" y="36"/>
                    </a:lnTo>
                    <a:lnTo>
                      <a:pt x="455" y="34"/>
                    </a:lnTo>
                    <a:lnTo>
                      <a:pt x="447" y="31"/>
                    </a:lnTo>
                    <a:lnTo>
                      <a:pt x="447" y="29"/>
                    </a:lnTo>
                    <a:lnTo>
                      <a:pt x="447" y="29"/>
                    </a:lnTo>
                    <a:lnTo>
                      <a:pt x="445" y="29"/>
                    </a:lnTo>
                    <a:lnTo>
                      <a:pt x="445" y="26"/>
                    </a:lnTo>
                    <a:lnTo>
                      <a:pt x="445" y="26"/>
                    </a:lnTo>
                    <a:lnTo>
                      <a:pt x="447" y="26"/>
                    </a:lnTo>
                    <a:lnTo>
                      <a:pt x="447" y="26"/>
                    </a:lnTo>
                    <a:lnTo>
                      <a:pt x="450" y="22"/>
                    </a:lnTo>
                    <a:lnTo>
                      <a:pt x="447" y="19"/>
                    </a:lnTo>
                    <a:lnTo>
                      <a:pt x="447" y="19"/>
                    </a:lnTo>
                    <a:lnTo>
                      <a:pt x="445" y="22"/>
                    </a:lnTo>
                    <a:lnTo>
                      <a:pt x="445" y="22"/>
                    </a:lnTo>
                    <a:lnTo>
                      <a:pt x="445" y="22"/>
                    </a:lnTo>
                    <a:lnTo>
                      <a:pt x="440" y="22"/>
                    </a:lnTo>
                    <a:lnTo>
                      <a:pt x="438" y="24"/>
                    </a:lnTo>
                    <a:lnTo>
                      <a:pt x="436" y="26"/>
                    </a:lnTo>
                    <a:lnTo>
                      <a:pt x="433" y="26"/>
                    </a:lnTo>
                    <a:lnTo>
                      <a:pt x="433" y="26"/>
                    </a:lnTo>
                    <a:lnTo>
                      <a:pt x="429" y="26"/>
                    </a:lnTo>
                    <a:lnTo>
                      <a:pt x="429" y="29"/>
                    </a:lnTo>
                    <a:lnTo>
                      <a:pt x="429" y="29"/>
                    </a:lnTo>
                    <a:lnTo>
                      <a:pt x="429" y="29"/>
                    </a:lnTo>
                    <a:lnTo>
                      <a:pt x="429" y="31"/>
                    </a:lnTo>
                    <a:lnTo>
                      <a:pt x="426" y="34"/>
                    </a:lnTo>
                    <a:lnTo>
                      <a:pt x="424" y="34"/>
                    </a:lnTo>
                    <a:lnTo>
                      <a:pt x="424" y="31"/>
                    </a:lnTo>
                    <a:lnTo>
                      <a:pt x="421" y="34"/>
                    </a:lnTo>
                    <a:lnTo>
                      <a:pt x="421" y="34"/>
                    </a:lnTo>
                    <a:lnTo>
                      <a:pt x="417" y="36"/>
                    </a:lnTo>
                    <a:lnTo>
                      <a:pt x="417" y="36"/>
                    </a:lnTo>
                    <a:lnTo>
                      <a:pt x="419" y="38"/>
                    </a:lnTo>
                    <a:lnTo>
                      <a:pt x="419" y="38"/>
                    </a:lnTo>
                    <a:lnTo>
                      <a:pt x="417" y="38"/>
                    </a:lnTo>
                    <a:lnTo>
                      <a:pt x="417" y="38"/>
                    </a:lnTo>
                    <a:lnTo>
                      <a:pt x="414" y="38"/>
                    </a:lnTo>
                    <a:lnTo>
                      <a:pt x="412" y="36"/>
                    </a:lnTo>
                    <a:lnTo>
                      <a:pt x="410" y="36"/>
                    </a:lnTo>
                    <a:lnTo>
                      <a:pt x="407" y="36"/>
                    </a:lnTo>
                    <a:lnTo>
                      <a:pt x="405" y="38"/>
                    </a:lnTo>
                    <a:lnTo>
                      <a:pt x="402" y="41"/>
                    </a:lnTo>
                    <a:lnTo>
                      <a:pt x="402" y="41"/>
                    </a:lnTo>
                    <a:lnTo>
                      <a:pt x="402" y="41"/>
                    </a:lnTo>
                    <a:lnTo>
                      <a:pt x="402" y="38"/>
                    </a:lnTo>
                    <a:lnTo>
                      <a:pt x="400" y="38"/>
                    </a:lnTo>
                    <a:lnTo>
                      <a:pt x="400" y="36"/>
                    </a:lnTo>
                    <a:lnTo>
                      <a:pt x="400" y="36"/>
                    </a:lnTo>
                    <a:lnTo>
                      <a:pt x="400" y="34"/>
                    </a:lnTo>
                    <a:lnTo>
                      <a:pt x="402" y="31"/>
                    </a:lnTo>
                    <a:lnTo>
                      <a:pt x="402" y="31"/>
                    </a:lnTo>
                    <a:lnTo>
                      <a:pt x="402" y="29"/>
                    </a:lnTo>
                    <a:lnTo>
                      <a:pt x="402" y="29"/>
                    </a:lnTo>
                    <a:lnTo>
                      <a:pt x="402" y="29"/>
                    </a:lnTo>
                    <a:lnTo>
                      <a:pt x="400" y="29"/>
                    </a:lnTo>
                    <a:lnTo>
                      <a:pt x="400" y="29"/>
                    </a:lnTo>
                    <a:lnTo>
                      <a:pt x="400" y="29"/>
                    </a:lnTo>
                    <a:lnTo>
                      <a:pt x="398" y="29"/>
                    </a:lnTo>
                    <a:lnTo>
                      <a:pt x="398" y="29"/>
                    </a:lnTo>
                    <a:lnTo>
                      <a:pt x="395" y="29"/>
                    </a:lnTo>
                    <a:lnTo>
                      <a:pt x="393" y="29"/>
                    </a:lnTo>
                    <a:lnTo>
                      <a:pt x="391" y="26"/>
                    </a:lnTo>
                    <a:lnTo>
                      <a:pt x="386" y="26"/>
                    </a:lnTo>
                    <a:lnTo>
                      <a:pt x="386" y="26"/>
                    </a:lnTo>
                    <a:lnTo>
                      <a:pt x="384" y="26"/>
                    </a:lnTo>
                    <a:lnTo>
                      <a:pt x="384" y="26"/>
                    </a:lnTo>
                    <a:lnTo>
                      <a:pt x="386" y="29"/>
                    </a:lnTo>
                    <a:lnTo>
                      <a:pt x="386" y="29"/>
                    </a:lnTo>
                    <a:lnTo>
                      <a:pt x="386" y="29"/>
                    </a:lnTo>
                    <a:lnTo>
                      <a:pt x="384" y="29"/>
                    </a:lnTo>
                    <a:lnTo>
                      <a:pt x="384" y="31"/>
                    </a:lnTo>
                    <a:lnTo>
                      <a:pt x="384" y="29"/>
                    </a:lnTo>
                    <a:lnTo>
                      <a:pt x="381" y="29"/>
                    </a:lnTo>
                    <a:lnTo>
                      <a:pt x="381" y="26"/>
                    </a:lnTo>
                    <a:lnTo>
                      <a:pt x="379" y="26"/>
                    </a:lnTo>
                    <a:lnTo>
                      <a:pt x="379" y="24"/>
                    </a:lnTo>
                    <a:lnTo>
                      <a:pt x="376" y="22"/>
                    </a:lnTo>
                    <a:lnTo>
                      <a:pt x="376" y="22"/>
                    </a:lnTo>
                    <a:lnTo>
                      <a:pt x="376" y="24"/>
                    </a:lnTo>
                    <a:lnTo>
                      <a:pt x="374" y="24"/>
                    </a:lnTo>
                    <a:lnTo>
                      <a:pt x="372" y="24"/>
                    </a:lnTo>
                    <a:lnTo>
                      <a:pt x="369" y="26"/>
                    </a:lnTo>
                    <a:lnTo>
                      <a:pt x="365" y="26"/>
                    </a:lnTo>
                    <a:lnTo>
                      <a:pt x="360" y="24"/>
                    </a:lnTo>
                    <a:lnTo>
                      <a:pt x="360" y="24"/>
                    </a:lnTo>
                    <a:lnTo>
                      <a:pt x="360" y="22"/>
                    </a:lnTo>
                    <a:lnTo>
                      <a:pt x="360" y="19"/>
                    </a:lnTo>
                    <a:lnTo>
                      <a:pt x="360" y="19"/>
                    </a:lnTo>
                    <a:lnTo>
                      <a:pt x="360" y="17"/>
                    </a:lnTo>
                    <a:lnTo>
                      <a:pt x="358" y="15"/>
                    </a:lnTo>
                    <a:lnTo>
                      <a:pt x="353" y="10"/>
                    </a:lnTo>
                    <a:lnTo>
                      <a:pt x="350" y="8"/>
                    </a:lnTo>
                    <a:lnTo>
                      <a:pt x="348" y="3"/>
                    </a:lnTo>
                    <a:lnTo>
                      <a:pt x="346" y="3"/>
                    </a:lnTo>
                    <a:lnTo>
                      <a:pt x="343" y="3"/>
                    </a:lnTo>
                    <a:lnTo>
                      <a:pt x="341" y="5"/>
                    </a:lnTo>
                    <a:lnTo>
                      <a:pt x="341" y="5"/>
                    </a:lnTo>
                    <a:lnTo>
                      <a:pt x="341" y="5"/>
                    </a:lnTo>
                    <a:lnTo>
                      <a:pt x="339" y="5"/>
                    </a:lnTo>
                    <a:lnTo>
                      <a:pt x="336" y="5"/>
                    </a:lnTo>
                    <a:lnTo>
                      <a:pt x="336" y="5"/>
                    </a:lnTo>
                    <a:lnTo>
                      <a:pt x="334" y="5"/>
                    </a:lnTo>
                    <a:lnTo>
                      <a:pt x="332" y="3"/>
                    </a:lnTo>
                    <a:lnTo>
                      <a:pt x="327" y="3"/>
                    </a:lnTo>
                    <a:lnTo>
                      <a:pt x="322" y="3"/>
                    </a:lnTo>
                    <a:lnTo>
                      <a:pt x="317" y="0"/>
                    </a:lnTo>
                    <a:lnTo>
                      <a:pt x="317" y="3"/>
                    </a:lnTo>
                    <a:lnTo>
                      <a:pt x="315" y="3"/>
                    </a:lnTo>
                    <a:lnTo>
                      <a:pt x="313" y="5"/>
                    </a:lnTo>
                    <a:lnTo>
                      <a:pt x="310" y="5"/>
                    </a:lnTo>
                    <a:lnTo>
                      <a:pt x="310" y="5"/>
                    </a:lnTo>
                    <a:lnTo>
                      <a:pt x="308" y="5"/>
                    </a:lnTo>
                    <a:lnTo>
                      <a:pt x="308" y="8"/>
                    </a:lnTo>
                    <a:lnTo>
                      <a:pt x="310" y="8"/>
                    </a:lnTo>
                    <a:lnTo>
                      <a:pt x="310" y="10"/>
                    </a:lnTo>
                    <a:lnTo>
                      <a:pt x="308" y="10"/>
                    </a:lnTo>
                    <a:lnTo>
                      <a:pt x="308" y="10"/>
                    </a:lnTo>
                    <a:lnTo>
                      <a:pt x="306" y="10"/>
                    </a:lnTo>
                    <a:lnTo>
                      <a:pt x="303" y="10"/>
                    </a:lnTo>
                    <a:lnTo>
                      <a:pt x="303" y="12"/>
                    </a:lnTo>
                    <a:lnTo>
                      <a:pt x="298" y="12"/>
                    </a:lnTo>
                    <a:lnTo>
                      <a:pt x="296" y="12"/>
                    </a:lnTo>
                    <a:lnTo>
                      <a:pt x="294" y="12"/>
                    </a:lnTo>
                    <a:lnTo>
                      <a:pt x="289" y="15"/>
                    </a:lnTo>
                    <a:lnTo>
                      <a:pt x="287" y="15"/>
                    </a:lnTo>
                    <a:lnTo>
                      <a:pt x="279" y="15"/>
                    </a:lnTo>
                    <a:lnTo>
                      <a:pt x="277" y="17"/>
                    </a:lnTo>
                    <a:lnTo>
                      <a:pt x="275" y="15"/>
                    </a:lnTo>
                    <a:lnTo>
                      <a:pt x="272" y="17"/>
                    </a:lnTo>
                    <a:lnTo>
                      <a:pt x="270" y="17"/>
                    </a:lnTo>
                    <a:lnTo>
                      <a:pt x="270" y="17"/>
                    </a:lnTo>
                    <a:lnTo>
                      <a:pt x="268" y="17"/>
                    </a:lnTo>
                    <a:lnTo>
                      <a:pt x="268" y="17"/>
                    </a:lnTo>
                    <a:lnTo>
                      <a:pt x="265" y="19"/>
                    </a:lnTo>
                    <a:lnTo>
                      <a:pt x="265" y="19"/>
                    </a:lnTo>
                    <a:lnTo>
                      <a:pt x="265" y="22"/>
                    </a:lnTo>
                    <a:lnTo>
                      <a:pt x="265" y="22"/>
                    </a:lnTo>
                    <a:lnTo>
                      <a:pt x="263" y="22"/>
                    </a:lnTo>
                    <a:lnTo>
                      <a:pt x="263" y="22"/>
                    </a:lnTo>
                    <a:lnTo>
                      <a:pt x="261" y="22"/>
                    </a:lnTo>
                    <a:lnTo>
                      <a:pt x="258" y="22"/>
                    </a:lnTo>
                    <a:lnTo>
                      <a:pt x="256" y="22"/>
                    </a:lnTo>
                    <a:lnTo>
                      <a:pt x="256" y="22"/>
                    </a:lnTo>
                    <a:lnTo>
                      <a:pt x="251" y="22"/>
                    </a:lnTo>
                    <a:lnTo>
                      <a:pt x="249" y="24"/>
                    </a:lnTo>
                    <a:lnTo>
                      <a:pt x="249" y="24"/>
                    </a:lnTo>
                    <a:lnTo>
                      <a:pt x="249" y="24"/>
                    </a:lnTo>
                    <a:lnTo>
                      <a:pt x="246" y="24"/>
                    </a:lnTo>
                    <a:lnTo>
                      <a:pt x="244" y="24"/>
                    </a:lnTo>
                    <a:lnTo>
                      <a:pt x="244" y="24"/>
                    </a:lnTo>
                    <a:lnTo>
                      <a:pt x="242" y="24"/>
                    </a:lnTo>
                    <a:lnTo>
                      <a:pt x="239" y="26"/>
                    </a:lnTo>
                    <a:lnTo>
                      <a:pt x="239" y="26"/>
                    </a:lnTo>
                    <a:lnTo>
                      <a:pt x="237" y="26"/>
                    </a:lnTo>
                    <a:lnTo>
                      <a:pt x="237" y="26"/>
                    </a:lnTo>
                    <a:lnTo>
                      <a:pt x="235" y="26"/>
                    </a:lnTo>
                    <a:lnTo>
                      <a:pt x="227" y="29"/>
                    </a:lnTo>
                    <a:lnTo>
                      <a:pt x="227" y="29"/>
                    </a:lnTo>
                    <a:lnTo>
                      <a:pt x="227" y="29"/>
                    </a:lnTo>
                    <a:lnTo>
                      <a:pt x="220" y="29"/>
                    </a:lnTo>
                    <a:lnTo>
                      <a:pt x="220" y="29"/>
                    </a:lnTo>
                    <a:lnTo>
                      <a:pt x="218" y="29"/>
                    </a:lnTo>
                    <a:lnTo>
                      <a:pt x="218" y="31"/>
                    </a:lnTo>
                    <a:lnTo>
                      <a:pt x="213" y="29"/>
                    </a:lnTo>
                    <a:lnTo>
                      <a:pt x="209" y="29"/>
                    </a:lnTo>
                    <a:lnTo>
                      <a:pt x="206" y="29"/>
                    </a:lnTo>
                    <a:lnTo>
                      <a:pt x="206" y="29"/>
                    </a:lnTo>
                    <a:lnTo>
                      <a:pt x="206" y="31"/>
                    </a:lnTo>
                    <a:lnTo>
                      <a:pt x="206" y="34"/>
                    </a:lnTo>
                    <a:lnTo>
                      <a:pt x="206" y="34"/>
                    </a:lnTo>
                    <a:lnTo>
                      <a:pt x="206" y="36"/>
                    </a:lnTo>
                    <a:lnTo>
                      <a:pt x="206" y="36"/>
                    </a:lnTo>
                    <a:lnTo>
                      <a:pt x="206" y="36"/>
                    </a:lnTo>
                    <a:lnTo>
                      <a:pt x="209" y="38"/>
                    </a:lnTo>
                    <a:lnTo>
                      <a:pt x="211" y="38"/>
                    </a:lnTo>
                    <a:lnTo>
                      <a:pt x="211" y="38"/>
                    </a:lnTo>
                    <a:lnTo>
                      <a:pt x="213" y="38"/>
                    </a:lnTo>
                    <a:lnTo>
                      <a:pt x="213" y="38"/>
                    </a:lnTo>
                    <a:lnTo>
                      <a:pt x="213" y="38"/>
                    </a:lnTo>
                    <a:lnTo>
                      <a:pt x="216" y="38"/>
                    </a:lnTo>
                    <a:lnTo>
                      <a:pt x="216" y="38"/>
                    </a:lnTo>
                    <a:lnTo>
                      <a:pt x="216" y="38"/>
                    </a:lnTo>
                    <a:lnTo>
                      <a:pt x="213" y="41"/>
                    </a:lnTo>
                    <a:lnTo>
                      <a:pt x="211" y="41"/>
                    </a:lnTo>
                    <a:lnTo>
                      <a:pt x="211" y="41"/>
                    </a:lnTo>
                    <a:lnTo>
                      <a:pt x="211" y="41"/>
                    </a:lnTo>
                    <a:lnTo>
                      <a:pt x="211" y="43"/>
                    </a:lnTo>
                    <a:lnTo>
                      <a:pt x="211" y="43"/>
                    </a:lnTo>
                    <a:lnTo>
                      <a:pt x="213" y="43"/>
                    </a:lnTo>
                    <a:lnTo>
                      <a:pt x="216" y="45"/>
                    </a:lnTo>
                    <a:lnTo>
                      <a:pt x="218" y="45"/>
                    </a:lnTo>
                    <a:lnTo>
                      <a:pt x="218" y="45"/>
                    </a:lnTo>
                    <a:lnTo>
                      <a:pt x="220" y="45"/>
                    </a:lnTo>
                    <a:lnTo>
                      <a:pt x="225" y="48"/>
                    </a:lnTo>
                    <a:lnTo>
                      <a:pt x="227" y="48"/>
                    </a:lnTo>
                    <a:lnTo>
                      <a:pt x="227" y="50"/>
                    </a:lnTo>
                    <a:lnTo>
                      <a:pt x="227" y="50"/>
                    </a:lnTo>
                    <a:lnTo>
                      <a:pt x="225" y="50"/>
                    </a:lnTo>
                    <a:lnTo>
                      <a:pt x="225" y="50"/>
                    </a:lnTo>
                    <a:lnTo>
                      <a:pt x="220" y="50"/>
                    </a:lnTo>
                    <a:lnTo>
                      <a:pt x="218" y="50"/>
                    </a:lnTo>
                    <a:lnTo>
                      <a:pt x="216" y="50"/>
                    </a:lnTo>
                    <a:lnTo>
                      <a:pt x="213" y="50"/>
                    </a:lnTo>
                    <a:lnTo>
                      <a:pt x="211" y="50"/>
                    </a:lnTo>
                    <a:lnTo>
                      <a:pt x="211" y="50"/>
                    </a:lnTo>
                    <a:lnTo>
                      <a:pt x="209" y="53"/>
                    </a:lnTo>
                    <a:lnTo>
                      <a:pt x="209" y="53"/>
                    </a:lnTo>
                    <a:lnTo>
                      <a:pt x="209" y="55"/>
                    </a:lnTo>
                    <a:lnTo>
                      <a:pt x="209" y="55"/>
                    </a:lnTo>
                    <a:lnTo>
                      <a:pt x="209" y="57"/>
                    </a:lnTo>
                    <a:lnTo>
                      <a:pt x="213" y="62"/>
                    </a:lnTo>
                    <a:lnTo>
                      <a:pt x="213" y="62"/>
                    </a:lnTo>
                    <a:lnTo>
                      <a:pt x="213" y="64"/>
                    </a:lnTo>
                    <a:lnTo>
                      <a:pt x="211" y="64"/>
                    </a:lnTo>
                    <a:lnTo>
                      <a:pt x="209" y="67"/>
                    </a:lnTo>
                    <a:lnTo>
                      <a:pt x="206" y="67"/>
                    </a:lnTo>
                    <a:lnTo>
                      <a:pt x="206" y="67"/>
                    </a:lnTo>
                    <a:lnTo>
                      <a:pt x="204" y="69"/>
                    </a:lnTo>
                    <a:lnTo>
                      <a:pt x="201" y="69"/>
                    </a:lnTo>
                    <a:lnTo>
                      <a:pt x="201" y="71"/>
                    </a:lnTo>
                    <a:lnTo>
                      <a:pt x="201" y="71"/>
                    </a:lnTo>
                    <a:lnTo>
                      <a:pt x="206" y="74"/>
                    </a:lnTo>
                    <a:lnTo>
                      <a:pt x="209" y="74"/>
                    </a:lnTo>
                    <a:lnTo>
                      <a:pt x="209" y="76"/>
                    </a:lnTo>
                    <a:lnTo>
                      <a:pt x="209" y="76"/>
                    </a:lnTo>
                    <a:lnTo>
                      <a:pt x="213" y="76"/>
                    </a:lnTo>
                    <a:lnTo>
                      <a:pt x="218" y="79"/>
                    </a:lnTo>
                    <a:lnTo>
                      <a:pt x="218" y="79"/>
                    </a:lnTo>
                    <a:lnTo>
                      <a:pt x="218" y="79"/>
                    </a:lnTo>
                    <a:lnTo>
                      <a:pt x="225" y="81"/>
                    </a:lnTo>
                    <a:lnTo>
                      <a:pt x="225" y="81"/>
                    </a:lnTo>
                    <a:lnTo>
                      <a:pt x="230" y="83"/>
                    </a:lnTo>
                    <a:lnTo>
                      <a:pt x="230" y="86"/>
                    </a:lnTo>
                    <a:lnTo>
                      <a:pt x="230" y="88"/>
                    </a:lnTo>
                    <a:lnTo>
                      <a:pt x="230" y="90"/>
                    </a:lnTo>
                    <a:lnTo>
                      <a:pt x="230" y="93"/>
                    </a:lnTo>
                    <a:lnTo>
                      <a:pt x="227" y="95"/>
                    </a:lnTo>
                    <a:lnTo>
                      <a:pt x="223" y="95"/>
                    </a:lnTo>
                    <a:lnTo>
                      <a:pt x="218" y="98"/>
                    </a:lnTo>
                    <a:lnTo>
                      <a:pt x="216" y="98"/>
                    </a:lnTo>
                    <a:lnTo>
                      <a:pt x="213" y="95"/>
                    </a:lnTo>
                    <a:lnTo>
                      <a:pt x="211" y="95"/>
                    </a:lnTo>
                    <a:lnTo>
                      <a:pt x="211" y="95"/>
                    </a:lnTo>
                    <a:lnTo>
                      <a:pt x="209" y="93"/>
                    </a:lnTo>
                    <a:lnTo>
                      <a:pt x="209" y="93"/>
                    </a:lnTo>
                    <a:lnTo>
                      <a:pt x="206" y="93"/>
                    </a:lnTo>
                    <a:lnTo>
                      <a:pt x="206" y="93"/>
                    </a:lnTo>
                    <a:lnTo>
                      <a:pt x="206" y="95"/>
                    </a:lnTo>
                    <a:lnTo>
                      <a:pt x="206" y="98"/>
                    </a:lnTo>
                    <a:lnTo>
                      <a:pt x="204" y="100"/>
                    </a:lnTo>
                    <a:lnTo>
                      <a:pt x="201" y="100"/>
                    </a:lnTo>
                    <a:lnTo>
                      <a:pt x="201" y="100"/>
                    </a:lnTo>
                    <a:lnTo>
                      <a:pt x="201" y="98"/>
                    </a:lnTo>
                    <a:lnTo>
                      <a:pt x="199" y="98"/>
                    </a:lnTo>
                    <a:lnTo>
                      <a:pt x="199" y="98"/>
                    </a:lnTo>
                    <a:lnTo>
                      <a:pt x="194" y="98"/>
                    </a:lnTo>
                    <a:lnTo>
                      <a:pt x="192" y="98"/>
                    </a:lnTo>
                    <a:lnTo>
                      <a:pt x="192" y="95"/>
                    </a:lnTo>
                    <a:lnTo>
                      <a:pt x="190" y="95"/>
                    </a:lnTo>
                    <a:lnTo>
                      <a:pt x="187" y="95"/>
                    </a:lnTo>
                    <a:lnTo>
                      <a:pt x="185" y="93"/>
                    </a:lnTo>
                    <a:lnTo>
                      <a:pt x="182" y="90"/>
                    </a:lnTo>
                    <a:lnTo>
                      <a:pt x="180" y="88"/>
                    </a:lnTo>
                    <a:lnTo>
                      <a:pt x="175" y="88"/>
                    </a:lnTo>
                    <a:lnTo>
                      <a:pt x="175" y="88"/>
                    </a:lnTo>
                    <a:lnTo>
                      <a:pt x="173" y="88"/>
                    </a:lnTo>
                    <a:lnTo>
                      <a:pt x="171" y="88"/>
                    </a:lnTo>
                    <a:lnTo>
                      <a:pt x="171" y="88"/>
                    </a:lnTo>
                    <a:lnTo>
                      <a:pt x="171" y="88"/>
                    </a:lnTo>
                    <a:lnTo>
                      <a:pt x="168" y="90"/>
                    </a:lnTo>
                    <a:lnTo>
                      <a:pt x="168" y="90"/>
                    </a:lnTo>
                    <a:lnTo>
                      <a:pt x="166" y="93"/>
                    </a:lnTo>
                    <a:lnTo>
                      <a:pt x="166" y="93"/>
                    </a:lnTo>
                    <a:lnTo>
                      <a:pt x="164" y="90"/>
                    </a:lnTo>
                    <a:lnTo>
                      <a:pt x="161" y="88"/>
                    </a:lnTo>
                    <a:lnTo>
                      <a:pt x="156" y="88"/>
                    </a:lnTo>
                    <a:lnTo>
                      <a:pt x="154" y="88"/>
                    </a:lnTo>
                    <a:lnTo>
                      <a:pt x="154" y="88"/>
                    </a:lnTo>
                    <a:lnTo>
                      <a:pt x="152" y="90"/>
                    </a:lnTo>
                    <a:lnTo>
                      <a:pt x="149" y="90"/>
                    </a:lnTo>
                    <a:lnTo>
                      <a:pt x="149" y="90"/>
                    </a:lnTo>
                    <a:lnTo>
                      <a:pt x="147" y="90"/>
                    </a:lnTo>
                    <a:lnTo>
                      <a:pt x="145" y="93"/>
                    </a:lnTo>
                    <a:lnTo>
                      <a:pt x="145" y="95"/>
                    </a:lnTo>
                    <a:lnTo>
                      <a:pt x="145" y="95"/>
                    </a:lnTo>
                    <a:lnTo>
                      <a:pt x="142" y="98"/>
                    </a:lnTo>
                    <a:lnTo>
                      <a:pt x="140" y="98"/>
                    </a:lnTo>
                    <a:lnTo>
                      <a:pt x="138" y="98"/>
                    </a:lnTo>
                    <a:lnTo>
                      <a:pt x="135" y="98"/>
                    </a:lnTo>
                    <a:lnTo>
                      <a:pt x="133" y="98"/>
                    </a:lnTo>
                    <a:lnTo>
                      <a:pt x="130" y="95"/>
                    </a:lnTo>
                    <a:lnTo>
                      <a:pt x="126" y="93"/>
                    </a:lnTo>
                    <a:lnTo>
                      <a:pt x="123" y="90"/>
                    </a:lnTo>
                    <a:lnTo>
                      <a:pt x="121" y="90"/>
                    </a:lnTo>
                    <a:lnTo>
                      <a:pt x="119" y="90"/>
                    </a:lnTo>
                    <a:lnTo>
                      <a:pt x="119" y="90"/>
                    </a:lnTo>
                    <a:lnTo>
                      <a:pt x="119" y="90"/>
                    </a:lnTo>
                    <a:lnTo>
                      <a:pt x="119" y="90"/>
                    </a:lnTo>
                    <a:lnTo>
                      <a:pt x="119" y="93"/>
                    </a:lnTo>
                    <a:lnTo>
                      <a:pt x="121" y="95"/>
                    </a:lnTo>
                    <a:lnTo>
                      <a:pt x="121" y="98"/>
                    </a:lnTo>
                    <a:lnTo>
                      <a:pt x="121" y="98"/>
                    </a:lnTo>
                    <a:lnTo>
                      <a:pt x="121" y="100"/>
                    </a:lnTo>
                    <a:lnTo>
                      <a:pt x="121" y="100"/>
                    </a:lnTo>
                    <a:lnTo>
                      <a:pt x="121" y="100"/>
                    </a:lnTo>
                    <a:lnTo>
                      <a:pt x="119" y="98"/>
                    </a:lnTo>
                    <a:lnTo>
                      <a:pt x="119" y="98"/>
                    </a:lnTo>
                    <a:lnTo>
                      <a:pt x="116" y="95"/>
                    </a:lnTo>
                    <a:lnTo>
                      <a:pt x="114" y="90"/>
                    </a:lnTo>
                    <a:lnTo>
                      <a:pt x="112" y="90"/>
                    </a:lnTo>
                    <a:lnTo>
                      <a:pt x="112" y="88"/>
                    </a:lnTo>
                    <a:lnTo>
                      <a:pt x="109" y="88"/>
                    </a:lnTo>
                    <a:lnTo>
                      <a:pt x="107" y="86"/>
                    </a:lnTo>
                    <a:lnTo>
                      <a:pt x="104" y="86"/>
                    </a:lnTo>
                    <a:lnTo>
                      <a:pt x="102" y="86"/>
                    </a:lnTo>
                    <a:lnTo>
                      <a:pt x="100" y="81"/>
                    </a:lnTo>
                    <a:lnTo>
                      <a:pt x="97" y="81"/>
                    </a:lnTo>
                    <a:lnTo>
                      <a:pt x="97" y="81"/>
                    </a:lnTo>
                    <a:lnTo>
                      <a:pt x="95" y="79"/>
                    </a:lnTo>
                    <a:lnTo>
                      <a:pt x="95" y="81"/>
                    </a:lnTo>
                    <a:lnTo>
                      <a:pt x="93" y="81"/>
                    </a:lnTo>
                    <a:lnTo>
                      <a:pt x="90" y="81"/>
                    </a:lnTo>
                    <a:lnTo>
                      <a:pt x="88" y="79"/>
                    </a:lnTo>
                    <a:lnTo>
                      <a:pt x="86" y="79"/>
                    </a:lnTo>
                    <a:lnTo>
                      <a:pt x="86" y="79"/>
                    </a:lnTo>
                    <a:lnTo>
                      <a:pt x="86" y="81"/>
                    </a:lnTo>
                    <a:lnTo>
                      <a:pt x="86" y="81"/>
                    </a:lnTo>
                    <a:lnTo>
                      <a:pt x="83" y="81"/>
                    </a:lnTo>
                    <a:lnTo>
                      <a:pt x="83" y="79"/>
                    </a:lnTo>
                    <a:lnTo>
                      <a:pt x="81" y="79"/>
                    </a:lnTo>
                    <a:lnTo>
                      <a:pt x="78" y="76"/>
                    </a:lnTo>
                    <a:lnTo>
                      <a:pt x="76" y="76"/>
                    </a:lnTo>
                    <a:lnTo>
                      <a:pt x="74" y="76"/>
                    </a:lnTo>
                    <a:lnTo>
                      <a:pt x="71" y="79"/>
                    </a:lnTo>
                    <a:lnTo>
                      <a:pt x="69" y="81"/>
                    </a:lnTo>
                    <a:lnTo>
                      <a:pt x="67" y="81"/>
                    </a:lnTo>
                    <a:lnTo>
                      <a:pt x="64" y="81"/>
                    </a:lnTo>
                    <a:lnTo>
                      <a:pt x="64" y="81"/>
                    </a:lnTo>
                    <a:lnTo>
                      <a:pt x="64" y="79"/>
                    </a:lnTo>
                    <a:lnTo>
                      <a:pt x="64" y="79"/>
                    </a:lnTo>
                    <a:lnTo>
                      <a:pt x="62" y="79"/>
                    </a:lnTo>
                    <a:lnTo>
                      <a:pt x="59" y="76"/>
                    </a:lnTo>
                    <a:lnTo>
                      <a:pt x="57" y="76"/>
                    </a:lnTo>
                    <a:lnTo>
                      <a:pt x="55" y="76"/>
                    </a:lnTo>
                    <a:lnTo>
                      <a:pt x="55" y="74"/>
                    </a:lnTo>
                    <a:lnTo>
                      <a:pt x="55" y="76"/>
                    </a:lnTo>
                    <a:lnTo>
                      <a:pt x="52" y="79"/>
                    </a:lnTo>
                    <a:lnTo>
                      <a:pt x="50" y="79"/>
                    </a:lnTo>
                    <a:lnTo>
                      <a:pt x="50" y="83"/>
                    </a:lnTo>
                    <a:lnTo>
                      <a:pt x="48" y="83"/>
                    </a:lnTo>
                    <a:lnTo>
                      <a:pt x="48" y="83"/>
                    </a:lnTo>
                    <a:lnTo>
                      <a:pt x="45" y="86"/>
                    </a:lnTo>
                    <a:lnTo>
                      <a:pt x="43" y="86"/>
                    </a:lnTo>
                    <a:lnTo>
                      <a:pt x="41" y="88"/>
                    </a:lnTo>
                    <a:lnTo>
                      <a:pt x="38" y="88"/>
                    </a:lnTo>
                    <a:lnTo>
                      <a:pt x="36" y="88"/>
                    </a:lnTo>
                    <a:lnTo>
                      <a:pt x="36" y="88"/>
                    </a:lnTo>
                    <a:lnTo>
                      <a:pt x="36" y="90"/>
                    </a:lnTo>
                    <a:lnTo>
                      <a:pt x="36" y="93"/>
                    </a:lnTo>
                    <a:lnTo>
                      <a:pt x="31" y="95"/>
                    </a:lnTo>
                    <a:lnTo>
                      <a:pt x="29" y="98"/>
                    </a:lnTo>
                    <a:lnTo>
                      <a:pt x="26" y="98"/>
                    </a:lnTo>
                    <a:lnTo>
                      <a:pt x="26" y="98"/>
                    </a:lnTo>
                    <a:lnTo>
                      <a:pt x="24" y="98"/>
                    </a:lnTo>
                    <a:lnTo>
                      <a:pt x="24" y="98"/>
                    </a:lnTo>
                    <a:lnTo>
                      <a:pt x="26" y="100"/>
                    </a:lnTo>
                    <a:lnTo>
                      <a:pt x="26" y="102"/>
                    </a:lnTo>
                    <a:lnTo>
                      <a:pt x="29" y="105"/>
                    </a:lnTo>
                    <a:lnTo>
                      <a:pt x="29" y="107"/>
                    </a:lnTo>
                    <a:lnTo>
                      <a:pt x="29" y="107"/>
                    </a:lnTo>
                    <a:lnTo>
                      <a:pt x="31" y="109"/>
                    </a:lnTo>
                    <a:lnTo>
                      <a:pt x="31" y="112"/>
                    </a:lnTo>
                    <a:lnTo>
                      <a:pt x="29" y="112"/>
                    </a:lnTo>
                    <a:lnTo>
                      <a:pt x="26" y="112"/>
                    </a:lnTo>
                    <a:lnTo>
                      <a:pt x="24" y="114"/>
                    </a:lnTo>
                    <a:lnTo>
                      <a:pt x="24" y="114"/>
                    </a:lnTo>
                    <a:lnTo>
                      <a:pt x="22" y="112"/>
                    </a:lnTo>
                    <a:lnTo>
                      <a:pt x="19" y="112"/>
                    </a:lnTo>
                    <a:lnTo>
                      <a:pt x="17" y="109"/>
                    </a:lnTo>
                    <a:lnTo>
                      <a:pt x="15" y="105"/>
                    </a:lnTo>
                    <a:lnTo>
                      <a:pt x="10" y="102"/>
                    </a:lnTo>
                    <a:lnTo>
                      <a:pt x="10" y="102"/>
                    </a:lnTo>
                    <a:lnTo>
                      <a:pt x="7" y="102"/>
                    </a:lnTo>
                    <a:lnTo>
                      <a:pt x="7" y="102"/>
                    </a:lnTo>
                    <a:lnTo>
                      <a:pt x="5" y="105"/>
                    </a:lnTo>
                    <a:lnTo>
                      <a:pt x="5" y="105"/>
                    </a:lnTo>
                    <a:lnTo>
                      <a:pt x="5" y="105"/>
                    </a:lnTo>
                    <a:lnTo>
                      <a:pt x="5" y="107"/>
                    </a:lnTo>
                    <a:lnTo>
                      <a:pt x="5" y="109"/>
                    </a:lnTo>
                    <a:lnTo>
                      <a:pt x="5" y="109"/>
                    </a:lnTo>
                    <a:lnTo>
                      <a:pt x="3" y="112"/>
                    </a:lnTo>
                    <a:lnTo>
                      <a:pt x="0" y="114"/>
                    </a:lnTo>
                    <a:lnTo>
                      <a:pt x="0" y="116"/>
                    </a:lnTo>
                    <a:lnTo>
                      <a:pt x="0" y="121"/>
                    </a:lnTo>
                    <a:lnTo>
                      <a:pt x="0" y="124"/>
                    </a:lnTo>
                    <a:lnTo>
                      <a:pt x="0" y="124"/>
                    </a:lnTo>
                    <a:lnTo>
                      <a:pt x="3" y="126"/>
                    </a:lnTo>
                    <a:lnTo>
                      <a:pt x="5" y="126"/>
                    </a:lnTo>
                    <a:lnTo>
                      <a:pt x="5" y="128"/>
                    </a:lnTo>
                    <a:lnTo>
                      <a:pt x="5" y="128"/>
                    </a:lnTo>
                    <a:lnTo>
                      <a:pt x="5" y="131"/>
                    </a:lnTo>
                    <a:lnTo>
                      <a:pt x="3" y="131"/>
                    </a:lnTo>
                    <a:lnTo>
                      <a:pt x="0" y="135"/>
                    </a:lnTo>
                    <a:lnTo>
                      <a:pt x="0" y="140"/>
                    </a:lnTo>
                    <a:lnTo>
                      <a:pt x="3" y="142"/>
                    </a:lnTo>
                    <a:lnTo>
                      <a:pt x="5" y="145"/>
                    </a:lnTo>
                    <a:lnTo>
                      <a:pt x="7" y="145"/>
                    </a:lnTo>
                    <a:lnTo>
                      <a:pt x="10" y="147"/>
                    </a:lnTo>
                    <a:lnTo>
                      <a:pt x="10" y="150"/>
                    </a:lnTo>
                    <a:lnTo>
                      <a:pt x="10" y="152"/>
                    </a:lnTo>
                    <a:lnTo>
                      <a:pt x="10" y="152"/>
                    </a:lnTo>
                    <a:lnTo>
                      <a:pt x="12" y="154"/>
                    </a:lnTo>
                    <a:lnTo>
                      <a:pt x="12" y="157"/>
                    </a:lnTo>
                    <a:lnTo>
                      <a:pt x="15" y="157"/>
                    </a:lnTo>
                    <a:lnTo>
                      <a:pt x="17" y="157"/>
                    </a:lnTo>
                    <a:lnTo>
                      <a:pt x="17" y="154"/>
                    </a:lnTo>
                    <a:lnTo>
                      <a:pt x="19" y="157"/>
                    </a:lnTo>
                    <a:lnTo>
                      <a:pt x="24" y="157"/>
                    </a:lnTo>
                    <a:lnTo>
                      <a:pt x="29" y="157"/>
                    </a:lnTo>
                    <a:lnTo>
                      <a:pt x="29" y="157"/>
                    </a:lnTo>
                    <a:lnTo>
                      <a:pt x="31" y="159"/>
                    </a:lnTo>
                    <a:lnTo>
                      <a:pt x="33" y="164"/>
                    </a:lnTo>
                    <a:lnTo>
                      <a:pt x="36" y="166"/>
                    </a:lnTo>
                    <a:lnTo>
                      <a:pt x="38" y="166"/>
                    </a:lnTo>
                    <a:lnTo>
                      <a:pt x="41" y="171"/>
                    </a:lnTo>
                    <a:lnTo>
                      <a:pt x="43" y="173"/>
                    </a:lnTo>
                    <a:lnTo>
                      <a:pt x="45" y="176"/>
                    </a:lnTo>
                    <a:lnTo>
                      <a:pt x="45" y="178"/>
                    </a:lnTo>
                    <a:lnTo>
                      <a:pt x="45" y="178"/>
                    </a:lnTo>
                    <a:lnTo>
                      <a:pt x="43" y="178"/>
                    </a:lnTo>
                    <a:lnTo>
                      <a:pt x="41" y="178"/>
                    </a:lnTo>
                    <a:lnTo>
                      <a:pt x="41" y="178"/>
                    </a:lnTo>
                    <a:lnTo>
                      <a:pt x="41" y="178"/>
                    </a:lnTo>
                    <a:lnTo>
                      <a:pt x="38" y="178"/>
                    </a:lnTo>
                    <a:lnTo>
                      <a:pt x="38" y="178"/>
                    </a:lnTo>
                    <a:lnTo>
                      <a:pt x="38" y="178"/>
                    </a:lnTo>
                    <a:lnTo>
                      <a:pt x="38" y="180"/>
                    </a:lnTo>
                    <a:lnTo>
                      <a:pt x="41" y="180"/>
                    </a:lnTo>
                    <a:lnTo>
                      <a:pt x="41" y="180"/>
                    </a:lnTo>
                    <a:lnTo>
                      <a:pt x="41" y="180"/>
                    </a:lnTo>
                    <a:lnTo>
                      <a:pt x="43" y="183"/>
                    </a:lnTo>
                    <a:lnTo>
                      <a:pt x="48" y="183"/>
                    </a:lnTo>
                    <a:lnTo>
                      <a:pt x="50" y="185"/>
                    </a:lnTo>
                    <a:lnTo>
                      <a:pt x="52" y="185"/>
                    </a:lnTo>
                    <a:lnTo>
                      <a:pt x="52" y="185"/>
                    </a:lnTo>
                    <a:lnTo>
                      <a:pt x="52" y="183"/>
                    </a:lnTo>
                    <a:lnTo>
                      <a:pt x="55" y="185"/>
                    </a:lnTo>
                    <a:lnTo>
                      <a:pt x="52" y="183"/>
                    </a:lnTo>
                    <a:lnTo>
                      <a:pt x="52" y="183"/>
                    </a:lnTo>
                    <a:lnTo>
                      <a:pt x="55" y="183"/>
                    </a:lnTo>
                    <a:lnTo>
                      <a:pt x="57" y="180"/>
                    </a:lnTo>
                    <a:lnTo>
                      <a:pt x="57" y="180"/>
                    </a:lnTo>
                    <a:lnTo>
                      <a:pt x="59" y="180"/>
                    </a:lnTo>
                    <a:lnTo>
                      <a:pt x="62" y="180"/>
                    </a:lnTo>
                    <a:lnTo>
                      <a:pt x="64" y="180"/>
                    </a:lnTo>
                    <a:lnTo>
                      <a:pt x="64" y="178"/>
                    </a:lnTo>
                    <a:lnTo>
                      <a:pt x="69" y="176"/>
                    </a:lnTo>
                    <a:lnTo>
                      <a:pt x="69" y="176"/>
                    </a:lnTo>
                    <a:lnTo>
                      <a:pt x="71" y="176"/>
                    </a:lnTo>
                    <a:lnTo>
                      <a:pt x="71" y="176"/>
                    </a:lnTo>
                    <a:lnTo>
                      <a:pt x="71" y="176"/>
                    </a:lnTo>
                    <a:lnTo>
                      <a:pt x="74" y="173"/>
                    </a:lnTo>
                    <a:lnTo>
                      <a:pt x="74" y="173"/>
                    </a:lnTo>
                    <a:lnTo>
                      <a:pt x="76" y="171"/>
                    </a:lnTo>
                    <a:lnTo>
                      <a:pt x="81" y="171"/>
                    </a:lnTo>
                    <a:lnTo>
                      <a:pt x="83" y="171"/>
                    </a:lnTo>
                    <a:lnTo>
                      <a:pt x="88" y="171"/>
                    </a:lnTo>
                    <a:lnTo>
                      <a:pt x="90" y="171"/>
                    </a:lnTo>
                    <a:lnTo>
                      <a:pt x="90" y="173"/>
                    </a:lnTo>
                    <a:lnTo>
                      <a:pt x="95" y="173"/>
                    </a:lnTo>
                    <a:lnTo>
                      <a:pt x="95" y="173"/>
                    </a:lnTo>
                    <a:lnTo>
                      <a:pt x="97" y="176"/>
                    </a:lnTo>
                    <a:lnTo>
                      <a:pt x="97" y="176"/>
                    </a:lnTo>
                    <a:lnTo>
                      <a:pt x="100" y="176"/>
                    </a:lnTo>
                    <a:lnTo>
                      <a:pt x="102" y="173"/>
                    </a:lnTo>
                    <a:lnTo>
                      <a:pt x="102" y="173"/>
                    </a:lnTo>
                    <a:lnTo>
                      <a:pt x="102" y="173"/>
                    </a:lnTo>
                    <a:lnTo>
                      <a:pt x="102" y="173"/>
                    </a:lnTo>
                    <a:lnTo>
                      <a:pt x="107" y="173"/>
                    </a:lnTo>
                    <a:lnTo>
                      <a:pt x="112" y="173"/>
                    </a:lnTo>
                    <a:lnTo>
                      <a:pt x="112" y="173"/>
                    </a:lnTo>
                    <a:lnTo>
                      <a:pt x="114" y="176"/>
                    </a:lnTo>
                    <a:lnTo>
                      <a:pt x="114" y="178"/>
                    </a:lnTo>
                    <a:lnTo>
                      <a:pt x="116" y="178"/>
                    </a:lnTo>
                    <a:lnTo>
                      <a:pt x="116" y="180"/>
                    </a:lnTo>
                    <a:lnTo>
                      <a:pt x="114" y="180"/>
                    </a:lnTo>
                    <a:lnTo>
                      <a:pt x="114" y="183"/>
                    </a:lnTo>
                    <a:lnTo>
                      <a:pt x="116" y="185"/>
                    </a:lnTo>
                    <a:lnTo>
                      <a:pt x="116" y="190"/>
                    </a:lnTo>
                    <a:lnTo>
                      <a:pt x="116" y="192"/>
                    </a:lnTo>
                    <a:lnTo>
                      <a:pt x="114" y="197"/>
                    </a:lnTo>
                    <a:lnTo>
                      <a:pt x="114" y="202"/>
                    </a:lnTo>
                    <a:lnTo>
                      <a:pt x="116" y="204"/>
                    </a:lnTo>
                    <a:lnTo>
                      <a:pt x="121" y="204"/>
                    </a:lnTo>
                    <a:lnTo>
                      <a:pt x="121" y="206"/>
                    </a:lnTo>
                    <a:lnTo>
                      <a:pt x="121" y="206"/>
                    </a:lnTo>
                    <a:lnTo>
                      <a:pt x="116" y="206"/>
                    </a:lnTo>
                    <a:lnTo>
                      <a:pt x="114" y="206"/>
                    </a:lnTo>
                    <a:lnTo>
                      <a:pt x="112" y="204"/>
                    </a:lnTo>
                    <a:lnTo>
                      <a:pt x="109" y="204"/>
                    </a:lnTo>
                    <a:lnTo>
                      <a:pt x="102" y="206"/>
                    </a:lnTo>
                    <a:lnTo>
                      <a:pt x="97" y="204"/>
                    </a:lnTo>
                    <a:lnTo>
                      <a:pt x="95" y="206"/>
                    </a:lnTo>
                    <a:lnTo>
                      <a:pt x="93" y="206"/>
                    </a:lnTo>
                    <a:lnTo>
                      <a:pt x="90" y="206"/>
                    </a:lnTo>
                    <a:lnTo>
                      <a:pt x="90" y="209"/>
                    </a:lnTo>
                    <a:lnTo>
                      <a:pt x="90" y="211"/>
                    </a:lnTo>
                    <a:lnTo>
                      <a:pt x="90" y="214"/>
                    </a:lnTo>
                    <a:lnTo>
                      <a:pt x="88" y="216"/>
                    </a:lnTo>
                    <a:lnTo>
                      <a:pt x="88" y="216"/>
                    </a:lnTo>
                    <a:lnTo>
                      <a:pt x="88" y="218"/>
                    </a:lnTo>
                    <a:lnTo>
                      <a:pt x="88" y="218"/>
                    </a:lnTo>
                    <a:lnTo>
                      <a:pt x="93" y="221"/>
                    </a:lnTo>
                    <a:lnTo>
                      <a:pt x="93" y="223"/>
                    </a:lnTo>
                    <a:lnTo>
                      <a:pt x="95" y="223"/>
                    </a:lnTo>
                    <a:lnTo>
                      <a:pt x="95" y="223"/>
                    </a:lnTo>
                    <a:lnTo>
                      <a:pt x="97" y="223"/>
                    </a:lnTo>
                    <a:lnTo>
                      <a:pt x="97" y="225"/>
                    </a:lnTo>
                    <a:lnTo>
                      <a:pt x="95" y="225"/>
                    </a:lnTo>
                    <a:lnTo>
                      <a:pt x="95" y="225"/>
                    </a:lnTo>
                    <a:lnTo>
                      <a:pt x="93" y="225"/>
                    </a:lnTo>
                    <a:lnTo>
                      <a:pt x="90" y="225"/>
                    </a:lnTo>
                    <a:lnTo>
                      <a:pt x="90" y="225"/>
                    </a:lnTo>
                    <a:lnTo>
                      <a:pt x="86" y="223"/>
                    </a:lnTo>
                    <a:lnTo>
                      <a:pt x="83" y="223"/>
                    </a:lnTo>
                    <a:lnTo>
                      <a:pt x="78" y="223"/>
                    </a:lnTo>
                    <a:lnTo>
                      <a:pt x="76" y="223"/>
                    </a:lnTo>
                    <a:lnTo>
                      <a:pt x="76" y="225"/>
                    </a:lnTo>
                    <a:lnTo>
                      <a:pt x="76" y="225"/>
                    </a:lnTo>
                    <a:lnTo>
                      <a:pt x="76" y="228"/>
                    </a:lnTo>
                    <a:lnTo>
                      <a:pt x="76" y="228"/>
                    </a:lnTo>
                    <a:lnTo>
                      <a:pt x="78" y="228"/>
                    </a:lnTo>
                    <a:lnTo>
                      <a:pt x="81" y="230"/>
                    </a:lnTo>
                    <a:lnTo>
                      <a:pt x="86" y="230"/>
                    </a:lnTo>
                    <a:lnTo>
                      <a:pt x="86" y="230"/>
                    </a:lnTo>
                    <a:lnTo>
                      <a:pt x="88" y="232"/>
                    </a:lnTo>
                    <a:lnTo>
                      <a:pt x="90" y="237"/>
                    </a:lnTo>
                    <a:lnTo>
                      <a:pt x="93" y="240"/>
                    </a:lnTo>
                    <a:lnTo>
                      <a:pt x="95" y="242"/>
                    </a:lnTo>
                    <a:lnTo>
                      <a:pt x="97" y="244"/>
                    </a:lnTo>
                    <a:lnTo>
                      <a:pt x="97" y="244"/>
                    </a:lnTo>
                    <a:lnTo>
                      <a:pt x="97" y="247"/>
                    </a:lnTo>
                    <a:lnTo>
                      <a:pt x="97" y="247"/>
                    </a:lnTo>
                    <a:lnTo>
                      <a:pt x="100" y="249"/>
                    </a:lnTo>
                    <a:lnTo>
                      <a:pt x="100" y="251"/>
                    </a:lnTo>
                    <a:lnTo>
                      <a:pt x="100" y="251"/>
                    </a:lnTo>
                    <a:lnTo>
                      <a:pt x="100" y="251"/>
                    </a:lnTo>
                    <a:lnTo>
                      <a:pt x="102" y="251"/>
                    </a:lnTo>
                    <a:lnTo>
                      <a:pt x="104" y="254"/>
                    </a:lnTo>
                    <a:lnTo>
                      <a:pt x="107" y="254"/>
                    </a:lnTo>
                    <a:lnTo>
                      <a:pt x="107" y="256"/>
                    </a:lnTo>
                    <a:lnTo>
                      <a:pt x="109" y="256"/>
                    </a:lnTo>
                    <a:lnTo>
                      <a:pt x="109" y="259"/>
                    </a:lnTo>
                    <a:lnTo>
                      <a:pt x="109" y="259"/>
                    </a:lnTo>
                    <a:lnTo>
                      <a:pt x="112" y="259"/>
                    </a:lnTo>
                    <a:lnTo>
                      <a:pt x="112" y="259"/>
                    </a:lnTo>
                    <a:lnTo>
                      <a:pt x="114" y="259"/>
                    </a:lnTo>
                    <a:lnTo>
                      <a:pt x="116" y="259"/>
                    </a:lnTo>
                    <a:lnTo>
                      <a:pt x="116" y="261"/>
                    </a:lnTo>
                    <a:lnTo>
                      <a:pt x="119" y="259"/>
                    </a:lnTo>
                    <a:lnTo>
                      <a:pt x="119" y="259"/>
                    </a:lnTo>
                    <a:lnTo>
                      <a:pt x="121" y="259"/>
                    </a:lnTo>
                    <a:lnTo>
                      <a:pt x="121" y="261"/>
                    </a:lnTo>
                    <a:lnTo>
                      <a:pt x="123" y="261"/>
                    </a:lnTo>
                    <a:lnTo>
                      <a:pt x="123" y="266"/>
                    </a:lnTo>
                    <a:lnTo>
                      <a:pt x="123" y="268"/>
                    </a:lnTo>
                    <a:lnTo>
                      <a:pt x="123" y="270"/>
                    </a:lnTo>
                    <a:lnTo>
                      <a:pt x="123" y="270"/>
                    </a:lnTo>
                    <a:lnTo>
                      <a:pt x="123" y="275"/>
                    </a:lnTo>
                    <a:lnTo>
                      <a:pt x="123" y="275"/>
                    </a:lnTo>
                    <a:lnTo>
                      <a:pt x="123" y="280"/>
                    </a:lnTo>
                    <a:lnTo>
                      <a:pt x="126" y="280"/>
                    </a:lnTo>
                    <a:lnTo>
                      <a:pt x="128" y="277"/>
                    </a:lnTo>
                    <a:lnTo>
                      <a:pt x="130" y="275"/>
                    </a:lnTo>
                    <a:lnTo>
                      <a:pt x="133" y="273"/>
                    </a:lnTo>
                    <a:lnTo>
                      <a:pt x="133" y="273"/>
                    </a:lnTo>
                    <a:lnTo>
                      <a:pt x="135" y="273"/>
                    </a:lnTo>
                    <a:lnTo>
                      <a:pt x="140" y="270"/>
                    </a:lnTo>
                    <a:lnTo>
                      <a:pt x="142" y="270"/>
                    </a:lnTo>
                    <a:lnTo>
                      <a:pt x="147" y="270"/>
                    </a:lnTo>
                    <a:lnTo>
                      <a:pt x="149" y="270"/>
                    </a:lnTo>
                    <a:lnTo>
                      <a:pt x="149" y="270"/>
                    </a:lnTo>
                    <a:lnTo>
                      <a:pt x="152" y="270"/>
                    </a:lnTo>
                    <a:lnTo>
                      <a:pt x="154" y="270"/>
                    </a:lnTo>
                    <a:lnTo>
                      <a:pt x="156" y="273"/>
                    </a:lnTo>
                    <a:lnTo>
                      <a:pt x="161" y="275"/>
                    </a:lnTo>
                    <a:lnTo>
                      <a:pt x="164" y="277"/>
                    </a:lnTo>
                    <a:lnTo>
                      <a:pt x="166" y="277"/>
                    </a:lnTo>
                    <a:lnTo>
                      <a:pt x="166" y="280"/>
                    </a:lnTo>
                    <a:lnTo>
                      <a:pt x="166" y="280"/>
                    </a:lnTo>
                    <a:lnTo>
                      <a:pt x="171" y="285"/>
                    </a:lnTo>
                    <a:lnTo>
                      <a:pt x="171" y="285"/>
                    </a:lnTo>
                    <a:lnTo>
                      <a:pt x="173" y="287"/>
                    </a:lnTo>
                    <a:lnTo>
                      <a:pt x="175" y="289"/>
                    </a:lnTo>
                    <a:lnTo>
                      <a:pt x="175" y="289"/>
                    </a:lnTo>
                    <a:lnTo>
                      <a:pt x="178" y="292"/>
                    </a:lnTo>
                    <a:lnTo>
                      <a:pt x="178" y="292"/>
                    </a:lnTo>
                    <a:lnTo>
                      <a:pt x="178" y="292"/>
                    </a:lnTo>
                    <a:lnTo>
                      <a:pt x="180" y="292"/>
                    </a:lnTo>
                    <a:lnTo>
                      <a:pt x="182" y="292"/>
                    </a:lnTo>
                    <a:lnTo>
                      <a:pt x="185" y="289"/>
                    </a:lnTo>
                    <a:lnTo>
                      <a:pt x="185" y="289"/>
                    </a:lnTo>
                    <a:lnTo>
                      <a:pt x="185" y="285"/>
                    </a:lnTo>
                    <a:lnTo>
                      <a:pt x="185" y="280"/>
                    </a:lnTo>
                    <a:lnTo>
                      <a:pt x="182" y="275"/>
                    </a:lnTo>
                    <a:lnTo>
                      <a:pt x="182" y="270"/>
                    </a:lnTo>
                    <a:lnTo>
                      <a:pt x="180" y="266"/>
                    </a:lnTo>
                    <a:lnTo>
                      <a:pt x="180" y="261"/>
                    </a:lnTo>
                    <a:lnTo>
                      <a:pt x="180" y="256"/>
                    </a:lnTo>
                    <a:lnTo>
                      <a:pt x="178" y="254"/>
                    </a:lnTo>
                    <a:lnTo>
                      <a:pt x="178" y="249"/>
                    </a:lnTo>
                    <a:lnTo>
                      <a:pt x="175" y="244"/>
                    </a:lnTo>
                    <a:lnTo>
                      <a:pt x="175" y="240"/>
                    </a:lnTo>
                    <a:lnTo>
                      <a:pt x="173" y="235"/>
                    </a:lnTo>
                    <a:lnTo>
                      <a:pt x="173" y="230"/>
                    </a:lnTo>
                    <a:lnTo>
                      <a:pt x="173" y="225"/>
                    </a:lnTo>
                    <a:lnTo>
                      <a:pt x="171" y="221"/>
                    </a:lnTo>
                    <a:lnTo>
                      <a:pt x="171" y="216"/>
                    </a:lnTo>
                    <a:lnTo>
                      <a:pt x="173" y="214"/>
                    </a:lnTo>
                    <a:lnTo>
                      <a:pt x="175" y="211"/>
                    </a:lnTo>
                    <a:lnTo>
                      <a:pt x="178" y="211"/>
                    </a:lnTo>
                    <a:lnTo>
                      <a:pt x="180" y="211"/>
                    </a:lnTo>
                    <a:lnTo>
                      <a:pt x="182" y="209"/>
                    </a:lnTo>
                    <a:lnTo>
                      <a:pt x="185" y="209"/>
                    </a:lnTo>
                    <a:lnTo>
                      <a:pt x="190" y="209"/>
                    </a:lnTo>
                    <a:lnTo>
                      <a:pt x="192" y="206"/>
                    </a:lnTo>
                    <a:lnTo>
                      <a:pt x="194" y="206"/>
                    </a:lnTo>
                    <a:lnTo>
                      <a:pt x="197" y="206"/>
                    </a:lnTo>
                    <a:lnTo>
                      <a:pt x="201" y="204"/>
                    </a:lnTo>
                    <a:lnTo>
                      <a:pt x="204" y="204"/>
                    </a:lnTo>
                    <a:lnTo>
                      <a:pt x="206" y="202"/>
                    </a:lnTo>
                    <a:lnTo>
                      <a:pt x="209" y="202"/>
                    </a:lnTo>
                    <a:lnTo>
                      <a:pt x="211" y="202"/>
                    </a:lnTo>
                    <a:lnTo>
                      <a:pt x="213" y="202"/>
                    </a:lnTo>
                    <a:lnTo>
                      <a:pt x="216" y="204"/>
                    </a:lnTo>
                    <a:lnTo>
                      <a:pt x="218" y="206"/>
                    </a:lnTo>
                    <a:lnTo>
                      <a:pt x="220" y="206"/>
                    </a:lnTo>
                    <a:lnTo>
                      <a:pt x="223" y="209"/>
                    </a:lnTo>
                    <a:lnTo>
                      <a:pt x="225" y="209"/>
                    </a:lnTo>
                    <a:lnTo>
                      <a:pt x="227" y="211"/>
                    </a:lnTo>
                    <a:lnTo>
                      <a:pt x="230" y="211"/>
                    </a:lnTo>
                    <a:lnTo>
                      <a:pt x="235" y="216"/>
                    </a:lnTo>
                    <a:lnTo>
                      <a:pt x="237" y="216"/>
                    </a:lnTo>
                    <a:lnTo>
                      <a:pt x="239" y="218"/>
                    </a:lnTo>
                    <a:lnTo>
                      <a:pt x="242" y="218"/>
                    </a:lnTo>
                    <a:lnTo>
                      <a:pt x="244" y="221"/>
                    </a:lnTo>
                    <a:lnTo>
                      <a:pt x="246" y="223"/>
                    </a:lnTo>
                    <a:lnTo>
                      <a:pt x="249" y="223"/>
                    </a:lnTo>
                    <a:lnTo>
                      <a:pt x="251" y="225"/>
                    </a:lnTo>
                    <a:lnTo>
                      <a:pt x="256" y="225"/>
                    </a:lnTo>
                    <a:lnTo>
                      <a:pt x="258" y="228"/>
                    </a:lnTo>
                    <a:lnTo>
                      <a:pt x="258" y="228"/>
                    </a:lnTo>
                    <a:lnTo>
                      <a:pt x="258" y="230"/>
                    </a:lnTo>
                    <a:lnTo>
                      <a:pt x="261" y="232"/>
                    </a:lnTo>
                    <a:lnTo>
                      <a:pt x="263" y="235"/>
                    </a:lnTo>
                    <a:lnTo>
                      <a:pt x="265" y="235"/>
                    </a:lnTo>
                    <a:lnTo>
                      <a:pt x="268" y="237"/>
                    </a:lnTo>
                    <a:lnTo>
                      <a:pt x="270" y="240"/>
                    </a:lnTo>
                    <a:lnTo>
                      <a:pt x="272" y="242"/>
                    </a:lnTo>
                    <a:lnTo>
                      <a:pt x="277" y="244"/>
                    </a:lnTo>
                    <a:lnTo>
                      <a:pt x="277" y="247"/>
                    </a:lnTo>
                    <a:lnTo>
                      <a:pt x="279" y="247"/>
                    </a:lnTo>
                    <a:lnTo>
                      <a:pt x="282" y="244"/>
                    </a:lnTo>
                    <a:lnTo>
                      <a:pt x="287" y="244"/>
                    </a:lnTo>
                    <a:lnTo>
                      <a:pt x="289" y="244"/>
                    </a:lnTo>
                    <a:lnTo>
                      <a:pt x="291" y="244"/>
                    </a:lnTo>
                    <a:lnTo>
                      <a:pt x="296" y="244"/>
                    </a:lnTo>
                    <a:lnTo>
                      <a:pt x="298" y="242"/>
                    </a:lnTo>
                    <a:lnTo>
                      <a:pt x="303" y="244"/>
                    </a:lnTo>
                    <a:lnTo>
                      <a:pt x="306" y="244"/>
                    </a:lnTo>
                    <a:lnTo>
                      <a:pt x="308" y="244"/>
                    </a:lnTo>
                    <a:lnTo>
                      <a:pt x="313" y="244"/>
                    </a:lnTo>
                    <a:lnTo>
                      <a:pt x="315" y="244"/>
                    </a:lnTo>
                    <a:lnTo>
                      <a:pt x="317" y="244"/>
                    </a:lnTo>
                    <a:lnTo>
                      <a:pt x="320" y="244"/>
                    </a:lnTo>
                    <a:lnTo>
                      <a:pt x="320" y="244"/>
                    </a:lnTo>
                    <a:lnTo>
                      <a:pt x="322" y="244"/>
                    </a:lnTo>
                    <a:lnTo>
                      <a:pt x="322" y="242"/>
                    </a:lnTo>
                    <a:lnTo>
                      <a:pt x="324" y="242"/>
                    </a:lnTo>
                    <a:lnTo>
                      <a:pt x="327" y="242"/>
                    </a:lnTo>
                    <a:lnTo>
                      <a:pt x="329" y="242"/>
                    </a:lnTo>
                    <a:lnTo>
                      <a:pt x="329" y="244"/>
                    </a:lnTo>
                    <a:lnTo>
                      <a:pt x="332" y="247"/>
                    </a:lnTo>
                    <a:lnTo>
                      <a:pt x="334" y="247"/>
                    </a:lnTo>
                    <a:lnTo>
                      <a:pt x="336" y="249"/>
                    </a:lnTo>
                    <a:lnTo>
                      <a:pt x="339" y="249"/>
                    </a:lnTo>
                    <a:lnTo>
                      <a:pt x="341" y="251"/>
                    </a:lnTo>
                    <a:lnTo>
                      <a:pt x="343" y="254"/>
                    </a:lnTo>
                    <a:lnTo>
                      <a:pt x="343" y="256"/>
                    </a:lnTo>
                    <a:lnTo>
                      <a:pt x="346" y="259"/>
                    </a:lnTo>
                    <a:lnTo>
                      <a:pt x="348" y="259"/>
                    </a:lnTo>
                    <a:lnTo>
                      <a:pt x="348" y="256"/>
                    </a:lnTo>
                    <a:lnTo>
                      <a:pt x="350" y="256"/>
                    </a:lnTo>
                    <a:lnTo>
                      <a:pt x="350" y="259"/>
                    </a:lnTo>
                    <a:lnTo>
                      <a:pt x="350" y="261"/>
                    </a:lnTo>
                    <a:lnTo>
                      <a:pt x="350" y="263"/>
                    </a:lnTo>
                    <a:lnTo>
                      <a:pt x="353" y="266"/>
                    </a:lnTo>
                    <a:lnTo>
                      <a:pt x="353" y="270"/>
                    </a:lnTo>
                    <a:lnTo>
                      <a:pt x="353" y="273"/>
                    </a:lnTo>
                    <a:lnTo>
                      <a:pt x="353" y="275"/>
                    </a:lnTo>
                    <a:lnTo>
                      <a:pt x="353" y="275"/>
                    </a:lnTo>
                    <a:lnTo>
                      <a:pt x="358" y="277"/>
                    </a:lnTo>
                    <a:lnTo>
                      <a:pt x="360" y="277"/>
                    </a:lnTo>
                    <a:lnTo>
                      <a:pt x="362" y="277"/>
                    </a:lnTo>
                    <a:lnTo>
                      <a:pt x="362" y="277"/>
                    </a:lnTo>
                    <a:lnTo>
                      <a:pt x="365" y="282"/>
                    </a:lnTo>
                    <a:lnTo>
                      <a:pt x="365" y="285"/>
                    </a:lnTo>
                    <a:lnTo>
                      <a:pt x="367" y="287"/>
                    </a:lnTo>
                    <a:lnTo>
                      <a:pt x="367" y="289"/>
                    </a:lnTo>
                    <a:lnTo>
                      <a:pt x="369" y="292"/>
                    </a:lnTo>
                    <a:lnTo>
                      <a:pt x="369" y="294"/>
                    </a:lnTo>
                    <a:lnTo>
                      <a:pt x="372" y="294"/>
                    </a:lnTo>
                    <a:lnTo>
                      <a:pt x="372" y="294"/>
                    </a:lnTo>
                    <a:lnTo>
                      <a:pt x="376" y="294"/>
                    </a:lnTo>
                    <a:lnTo>
                      <a:pt x="379" y="294"/>
                    </a:lnTo>
                    <a:lnTo>
                      <a:pt x="381" y="294"/>
                    </a:lnTo>
                    <a:lnTo>
                      <a:pt x="384" y="294"/>
                    </a:lnTo>
                    <a:lnTo>
                      <a:pt x="388" y="294"/>
                    </a:lnTo>
                    <a:lnTo>
                      <a:pt x="388" y="294"/>
                    </a:lnTo>
                    <a:lnTo>
                      <a:pt x="391" y="294"/>
                    </a:lnTo>
                    <a:lnTo>
                      <a:pt x="391" y="294"/>
                    </a:lnTo>
                    <a:lnTo>
                      <a:pt x="393" y="294"/>
                    </a:lnTo>
                    <a:lnTo>
                      <a:pt x="393" y="294"/>
                    </a:lnTo>
                    <a:lnTo>
                      <a:pt x="393" y="296"/>
                    </a:lnTo>
                    <a:lnTo>
                      <a:pt x="395" y="296"/>
                    </a:lnTo>
                    <a:lnTo>
                      <a:pt x="395" y="299"/>
                    </a:lnTo>
                    <a:lnTo>
                      <a:pt x="395" y="299"/>
                    </a:lnTo>
                    <a:lnTo>
                      <a:pt x="395" y="301"/>
                    </a:lnTo>
                    <a:lnTo>
                      <a:pt x="395" y="301"/>
                    </a:lnTo>
                    <a:lnTo>
                      <a:pt x="398" y="304"/>
                    </a:lnTo>
                    <a:lnTo>
                      <a:pt x="400" y="304"/>
                    </a:lnTo>
                    <a:lnTo>
                      <a:pt x="402" y="306"/>
                    </a:lnTo>
                    <a:lnTo>
                      <a:pt x="402" y="306"/>
                    </a:lnTo>
                    <a:lnTo>
                      <a:pt x="405" y="306"/>
                    </a:lnTo>
                    <a:lnTo>
                      <a:pt x="405" y="304"/>
                    </a:lnTo>
                    <a:lnTo>
                      <a:pt x="405" y="304"/>
                    </a:lnTo>
                    <a:lnTo>
                      <a:pt x="405" y="301"/>
                    </a:lnTo>
                    <a:lnTo>
                      <a:pt x="402" y="301"/>
                    </a:lnTo>
                    <a:lnTo>
                      <a:pt x="402" y="299"/>
                    </a:lnTo>
                    <a:lnTo>
                      <a:pt x="405" y="299"/>
                    </a:lnTo>
                    <a:lnTo>
                      <a:pt x="405" y="296"/>
                    </a:lnTo>
                    <a:lnTo>
                      <a:pt x="407" y="294"/>
                    </a:lnTo>
                    <a:lnTo>
                      <a:pt x="410" y="292"/>
                    </a:lnTo>
                    <a:lnTo>
                      <a:pt x="410" y="292"/>
                    </a:lnTo>
                    <a:lnTo>
                      <a:pt x="410" y="289"/>
                    </a:lnTo>
                    <a:lnTo>
                      <a:pt x="410" y="289"/>
                    </a:lnTo>
                    <a:lnTo>
                      <a:pt x="412" y="287"/>
                    </a:lnTo>
                    <a:lnTo>
                      <a:pt x="414" y="287"/>
                    </a:lnTo>
                    <a:lnTo>
                      <a:pt x="414" y="287"/>
                    </a:lnTo>
                    <a:lnTo>
                      <a:pt x="417" y="285"/>
                    </a:lnTo>
                    <a:lnTo>
                      <a:pt x="417" y="282"/>
                    </a:lnTo>
                    <a:lnTo>
                      <a:pt x="419" y="282"/>
                    </a:lnTo>
                    <a:lnTo>
                      <a:pt x="421" y="282"/>
                    </a:lnTo>
                    <a:lnTo>
                      <a:pt x="424" y="280"/>
                    </a:lnTo>
                    <a:lnTo>
                      <a:pt x="426" y="277"/>
                    </a:lnTo>
                    <a:lnTo>
                      <a:pt x="426" y="275"/>
                    </a:lnTo>
                    <a:lnTo>
                      <a:pt x="429" y="275"/>
                    </a:lnTo>
                    <a:lnTo>
                      <a:pt x="429" y="275"/>
                    </a:lnTo>
                    <a:lnTo>
                      <a:pt x="431" y="275"/>
                    </a:lnTo>
                    <a:lnTo>
                      <a:pt x="431" y="275"/>
                    </a:lnTo>
                    <a:lnTo>
                      <a:pt x="431" y="275"/>
                    </a:lnTo>
                    <a:lnTo>
                      <a:pt x="433" y="275"/>
                    </a:lnTo>
                    <a:lnTo>
                      <a:pt x="433" y="273"/>
                    </a:lnTo>
                    <a:lnTo>
                      <a:pt x="433" y="273"/>
                    </a:lnTo>
                    <a:lnTo>
                      <a:pt x="436" y="273"/>
                    </a:lnTo>
                    <a:lnTo>
                      <a:pt x="436" y="270"/>
                    </a:lnTo>
                    <a:lnTo>
                      <a:pt x="436" y="270"/>
                    </a:lnTo>
                    <a:lnTo>
                      <a:pt x="436" y="270"/>
                    </a:lnTo>
                    <a:lnTo>
                      <a:pt x="436" y="268"/>
                    </a:lnTo>
                    <a:lnTo>
                      <a:pt x="436" y="268"/>
                    </a:lnTo>
                    <a:lnTo>
                      <a:pt x="436" y="266"/>
                    </a:lnTo>
                    <a:lnTo>
                      <a:pt x="438" y="263"/>
                    </a:lnTo>
                    <a:lnTo>
                      <a:pt x="438" y="263"/>
                    </a:lnTo>
                    <a:lnTo>
                      <a:pt x="438" y="261"/>
                    </a:lnTo>
                    <a:lnTo>
                      <a:pt x="440" y="261"/>
                    </a:lnTo>
                    <a:lnTo>
                      <a:pt x="443" y="261"/>
                    </a:lnTo>
                    <a:lnTo>
                      <a:pt x="445" y="261"/>
                    </a:lnTo>
                    <a:lnTo>
                      <a:pt x="447" y="259"/>
                    </a:lnTo>
                    <a:lnTo>
                      <a:pt x="447" y="259"/>
                    </a:lnTo>
                    <a:lnTo>
                      <a:pt x="447" y="259"/>
                    </a:lnTo>
                    <a:lnTo>
                      <a:pt x="455" y="261"/>
                    </a:lnTo>
                    <a:lnTo>
                      <a:pt x="457" y="261"/>
                    </a:lnTo>
                    <a:lnTo>
                      <a:pt x="462" y="263"/>
                    </a:lnTo>
                    <a:lnTo>
                      <a:pt x="464" y="263"/>
                    </a:lnTo>
                    <a:lnTo>
                      <a:pt x="464" y="263"/>
                    </a:lnTo>
                    <a:lnTo>
                      <a:pt x="466" y="263"/>
                    </a:lnTo>
                    <a:lnTo>
                      <a:pt x="466" y="266"/>
                    </a:lnTo>
                    <a:lnTo>
                      <a:pt x="473" y="266"/>
                    </a:lnTo>
                    <a:lnTo>
                      <a:pt x="476" y="266"/>
                    </a:lnTo>
                    <a:lnTo>
                      <a:pt x="476" y="266"/>
                    </a:lnTo>
                    <a:lnTo>
                      <a:pt x="478" y="268"/>
                    </a:lnTo>
                    <a:lnTo>
                      <a:pt x="478" y="268"/>
                    </a:lnTo>
                    <a:lnTo>
                      <a:pt x="476" y="263"/>
                    </a:lnTo>
                    <a:lnTo>
                      <a:pt x="476" y="261"/>
                    </a:lnTo>
                    <a:lnTo>
                      <a:pt x="476" y="256"/>
                    </a:lnTo>
                    <a:lnTo>
                      <a:pt x="476" y="254"/>
                    </a:lnTo>
                    <a:lnTo>
                      <a:pt x="478" y="254"/>
                    </a:lnTo>
                    <a:lnTo>
                      <a:pt x="481" y="254"/>
                    </a:lnTo>
                    <a:lnTo>
                      <a:pt x="483" y="251"/>
                    </a:lnTo>
                    <a:lnTo>
                      <a:pt x="485" y="251"/>
                    </a:lnTo>
                    <a:lnTo>
                      <a:pt x="485" y="251"/>
                    </a:lnTo>
                    <a:lnTo>
                      <a:pt x="485" y="251"/>
                    </a:lnTo>
                    <a:lnTo>
                      <a:pt x="485" y="251"/>
                    </a:lnTo>
                    <a:lnTo>
                      <a:pt x="490" y="251"/>
                    </a:lnTo>
                    <a:lnTo>
                      <a:pt x="495" y="254"/>
                    </a:lnTo>
                    <a:lnTo>
                      <a:pt x="497" y="256"/>
                    </a:lnTo>
                    <a:lnTo>
                      <a:pt x="502" y="259"/>
                    </a:lnTo>
                    <a:lnTo>
                      <a:pt x="509" y="259"/>
                    </a:lnTo>
                    <a:lnTo>
                      <a:pt x="514" y="259"/>
                    </a:lnTo>
                    <a:lnTo>
                      <a:pt x="514" y="259"/>
                    </a:lnTo>
                    <a:lnTo>
                      <a:pt x="514" y="256"/>
                    </a:lnTo>
                    <a:lnTo>
                      <a:pt x="516" y="256"/>
                    </a:lnTo>
                    <a:lnTo>
                      <a:pt x="516" y="259"/>
                    </a:lnTo>
                    <a:lnTo>
                      <a:pt x="521" y="259"/>
                    </a:lnTo>
                    <a:lnTo>
                      <a:pt x="528" y="259"/>
                    </a:lnTo>
                    <a:lnTo>
                      <a:pt x="530" y="256"/>
                    </a:lnTo>
                    <a:lnTo>
                      <a:pt x="535" y="256"/>
                    </a:lnTo>
                    <a:lnTo>
                      <a:pt x="535" y="256"/>
                    </a:lnTo>
                    <a:lnTo>
                      <a:pt x="535" y="256"/>
                    </a:lnTo>
                    <a:lnTo>
                      <a:pt x="540" y="259"/>
                    </a:lnTo>
                    <a:lnTo>
                      <a:pt x="542" y="259"/>
                    </a:lnTo>
                    <a:lnTo>
                      <a:pt x="542" y="259"/>
                    </a:lnTo>
                    <a:lnTo>
                      <a:pt x="544" y="259"/>
                    </a:lnTo>
                    <a:lnTo>
                      <a:pt x="547" y="259"/>
                    </a:lnTo>
                    <a:lnTo>
                      <a:pt x="549" y="259"/>
                    </a:lnTo>
                    <a:lnTo>
                      <a:pt x="554" y="259"/>
                    </a:lnTo>
                    <a:lnTo>
                      <a:pt x="556" y="259"/>
                    </a:lnTo>
                    <a:lnTo>
                      <a:pt x="559" y="259"/>
                    </a:lnTo>
                    <a:lnTo>
                      <a:pt x="561" y="259"/>
                    </a:lnTo>
                    <a:lnTo>
                      <a:pt x="563" y="259"/>
                    </a:lnTo>
                    <a:lnTo>
                      <a:pt x="566" y="261"/>
                    </a:lnTo>
                    <a:lnTo>
                      <a:pt x="568" y="261"/>
                    </a:lnTo>
                    <a:lnTo>
                      <a:pt x="568" y="261"/>
                    </a:lnTo>
                    <a:lnTo>
                      <a:pt x="570" y="261"/>
                    </a:lnTo>
                    <a:lnTo>
                      <a:pt x="573" y="261"/>
                    </a:lnTo>
                    <a:lnTo>
                      <a:pt x="573" y="261"/>
                    </a:lnTo>
                    <a:lnTo>
                      <a:pt x="575" y="263"/>
                    </a:lnTo>
                    <a:lnTo>
                      <a:pt x="575" y="263"/>
                    </a:lnTo>
                    <a:lnTo>
                      <a:pt x="578" y="266"/>
                    </a:lnTo>
                    <a:lnTo>
                      <a:pt x="580" y="266"/>
                    </a:lnTo>
                    <a:lnTo>
                      <a:pt x="580" y="268"/>
                    </a:lnTo>
                    <a:lnTo>
                      <a:pt x="582" y="268"/>
                    </a:lnTo>
                    <a:lnTo>
                      <a:pt x="585" y="268"/>
                    </a:lnTo>
                    <a:lnTo>
                      <a:pt x="587" y="268"/>
                    </a:lnTo>
                    <a:lnTo>
                      <a:pt x="592" y="270"/>
                    </a:lnTo>
                    <a:lnTo>
                      <a:pt x="594" y="273"/>
                    </a:lnTo>
                    <a:lnTo>
                      <a:pt x="594" y="273"/>
                    </a:lnTo>
                    <a:lnTo>
                      <a:pt x="594" y="270"/>
                    </a:lnTo>
                    <a:lnTo>
                      <a:pt x="594" y="270"/>
                    </a:lnTo>
                    <a:lnTo>
                      <a:pt x="592" y="268"/>
                    </a:lnTo>
                    <a:lnTo>
                      <a:pt x="592" y="266"/>
                    </a:lnTo>
                    <a:lnTo>
                      <a:pt x="592" y="263"/>
                    </a:lnTo>
                    <a:lnTo>
                      <a:pt x="589" y="263"/>
                    </a:lnTo>
                    <a:lnTo>
                      <a:pt x="589" y="261"/>
                    </a:lnTo>
                    <a:lnTo>
                      <a:pt x="592" y="261"/>
                    </a:lnTo>
                    <a:lnTo>
                      <a:pt x="594" y="259"/>
                    </a:lnTo>
                    <a:lnTo>
                      <a:pt x="596" y="259"/>
                    </a:lnTo>
                    <a:lnTo>
                      <a:pt x="594" y="259"/>
                    </a:lnTo>
                    <a:lnTo>
                      <a:pt x="594" y="256"/>
                    </a:lnTo>
                    <a:lnTo>
                      <a:pt x="592" y="256"/>
                    </a:lnTo>
                    <a:lnTo>
                      <a:pt x="592" y="256"/>
                    </a:lnTo>
                    <a:lnTo>
                      <a:pt x="592" y="256"/>
                    </a:lnTo>
                    <a:lnTo>
                      <a:pt x="592" y="256"/>
                    </a:lnTo>
                    <a:lnTo>
                      <a:pt x="594" y="254"/>
                    </a:lnTo>
                    <a:lnTo>
                      <a:pt x="594" y="254"/>
                    </a:lnTo>
                    <a:lnTo>
                      <a:pt x="596" y="254"/>
                    </a:lnTo>
                    <a:lnTo>
                      <a:pt x="599" y="254"/>
                    </a:lnTo>
                    <a:lnTo>
                      <a:pt x="596" y="251"/>
                    </a:lnTo>
                    <a:lnTo>
                      <a:pt x="596" y="251"/>
                    </a:lnTo>
                    <a:lnTo>
                      <a:pt x="596" y="251"/>
                    </a:lnTo>
                    <a:lnTo>
                      <a:pt x="594" y="249"/>
                    </a:lnTo>
                    <a:lnTo>
                      <a:pt x="594" y="249"/>
                    </a:lnTo>
                    <a:lnTo>
                      <a:pt x="594" y="247"/>
                    </a:lnTo>
                    <a:lnTo>
                      <a:pt x="592" y="244"/>
                    </a:lnTo>
                    <a:lnTo>
                      <a:pt x="592" y="242"/>
                    </a:lnTo>
                    <a:lnTo>
                      <a:pt x="587" y="237"/>
                    </a:lnTo>
                    <a:lnTo>
                      <a:pt x="587" y="237"/>
                    </a:lnTo>
                    <a:lnTo>
                      <a:pt x="585" y="235"/>
                    </a:lnTo>
                    <a:lnTo>
                      <a:pt x="585" y="232"/>
                    </a:lnTo>
                    <a:lnTo>
                      <a:pt x="585" y="232"/>
                    </a:lnTo>
                    <a:lnTo>
                      <a:pt x="582" y="230"/>
                    </a:lnTo>
                    <a:lnTo>
                      <a:pt x="582" y="228"/>
                    </a:lnTo>
                    <a:lnTo>
                      <a:pt x="582" y="225"/>
                    </a:lnTo>
                    <a:lnTo>
                      <a:pt x="580" y="223"/>
                    </a:lnTo>
                    <a:lnTo>
                      <a:pt x="580" y="223"/>
                    </a:lnTo>
                    <a:lnTo>
                      <a:pt x="580" y="223"/>
                    </a:lnTo>
                    <a:lnTo>
                      <a:pt x="580" y="221"/>
                    </a:lnTo>
                    <a:lnTo>
                      <a:pt x="582" y="221"/>
                    </a:lnTo>
                    <a:lnTo>
                      <a:pt x="582" y="221"/>
                    </a:lnTo>
                    <a:lnTo>
                      <a:pt x="582" y="221"/>
                    </a:lnTo>
                    <a:lnTo>
                      <a:pt x="580" y="221"/>
                    </a:lnTo>
                    <a:lnTo>
                      <a:pt x="578" y="218"/>
                    </a:lnTo>
                    <a:lnTo>
                      <a:pt x="575" y="218"/>
                    </a:lnTo>
                    <a:lnTo>
                      <a:pt x="573" y="218"/>
                    </a:lnTo>
                    <a:lnTo>
                      <a:pt x="573" y="218"/>
                    </a:lnTo>
                    <a:lnTo>
                      <a:pt x="570" y="218"/>
                    </a:lnTo>
                    <a:lnTo>
                      <a:pt x="570" y="218"/>
                    </a:lnTo>
                    <a:lnTo>
                      <a:pt x="570" y="216"/>
                    </a:lnTo>
                    <a:lnTo>
                      <a:pt x="573" y="214"/>
                    </a:lnTo>
                    <a:lnTo>
                      <a:pt x="575" y="214"/>
                    </a:lnTo>
                    <a:lnTo>
                      <a:pt x="578" y="211"/>
                    </a:lnTo>
                    <a:lnTo>
                      <a:pt x="580" y="211"/>
                    </a:lnTo>
                    <a:lnTo>
                      <a:pt x="582" y="211"/>
                    </a:lnTo>
                    <a:lnTo>
                      <a:pt x="585" y="211"/>
                    </a:lnTo>
                    <a:lnTo>
                      <a:pt x="585" y="211"/>
                    </a:lnTo>
                    <a:lnTo>
                      <a:pt x="587" y="209"/>
                    </a:lnTo>
                    <a:lnTo>
                      <a:pt x="592" y="209"/>
                    </a:lnTo>
                    <a:lnTo>
                      <a:pt x="596" y="206"/>
                    </a:lnTo>
                    <a:lnTo>
                      <a:pt x="596" y="206"/>
                    </a:lnTo>
                    <a:lnTo>
                      <a:pt x="599" y="206"/>
                    </a:lnTo>
                    <a:lnTo>
                      <a:pt x="601" y="209"/>
                    </a:lnTo>
                    <a:lnTo>
                      <a:pt x="601" y="209"/>
                    </a:lnTo>
                    <a:lnTo>
                      <a:pt x="604" y="211"/>
                    </a:lnTo>
                    <a:lnTo>
                      <a:pt x="604" y="211"/>
                    </a:lnTo>
                    <a:lnTo>
                      <a:pt x="606" y="209"/>
                    </a:lnTo>
                    <a:lnTo>
                      <a:pt x="608" y="209"/>
                    </a:lnTo>
                    <a:lnTo>
                      <a:pt x="608" y="209"/>
                    </a:lnTo>
                    <a:lnTo>
                      <a:pt x="611" y="209"/>
                    </a:lnTo>
                    <a:lnTo>
                      <a:pt x="613" y="211"/>
                    </a:lnTo>
                    <a:lnTo>
                      <a:pt x="613" y="211"/>
                    </a:lnTo>
                    <a:lnTo>
                      <a:pt x="613" y="211"/>
                    </a:lnTo>
                    <a:lnTo>
                      <a:pt x="613" y="209"/>
                    </a:lnTo>
                    <a:lnTo>
                      <a:pt x="613" y="206"/>
                    </a:lnTo>
                    <a:lnTo>
                      <a:pt x="613" y="206"/>
                    </a:lnTo>
                    <a:lnTo>
                      <a:pt x="613" y="204"/>
                    </a:lnTo>
                    <a:lnTo>
                      <a:pt x="611" y="204"/>
                    </a:lnTo>
                    <a:lnTo>
                      <a:pt x="608" y="204"/>
                    </a:lnTo>
                    <a:lnTo>
                      <a:pt x="606" y="202"/>
                    </a:lnTo>
                    <a:lnTo>
                      <a:pt x="606" y="202"/>
                    </a:lnTo>
                    <a:lnTo>
                      <a:pt x="606" y="202"/>
                    </a:lnTo>
                    <a:lnTo>
                      <a:pt x="606" y="199"/>
                    </a:lnTo>
                    <a:lnTo>
                      <a:pt x="606" y="197"/>
                    </a:lnTo>
                    <a:lnTo>
                      <a:pt x="606" y="192"/>
                    </a:lnTo>
                    <a:lnTo>
                      <a:pt x="606" y="190"/>
                    </a:lnTo>
                    <a:lnTo>
                      <a:pt x="606" y="185"/>
                    </a:lnTo>
                    <a:lnTo>
                      <a:pt x="606" y="180"/>
                    </a:lnTo>
                    <a:lnTo>
                      <a:pt x="608" y="173"/>
                    </a:lnTo>
                    <a:lnTo>
                      <a:pt x="606" y="171"/>
                    </a:lnTo>
                    <a:lnTo>
                      <a:pt x="606" y="169"/>
                    </a:lnTo>
                    <a:lnTo>
                      <a:pt x="606" y="169"/>
                    </a:lnTo>
                    <a:lnTo>
                      <a:pt x="608" y="169"/>
                    </a:lnTo>
                    <a:lnTo>
                      <a:pt x="608" y="169"/>
                    </a:lnTo>
                    <a:lnTo>
                      <a:pt x="613" y="171"/>
                    </a:lnTo>
                    <a:lnTo>
                      <a:pt x="618" y="171"/>
                    </a:lnTo>
                    <a:lnTo>
                      <a:pt x="618" y="171"/>
                    </a:lnTo>
                    <a:lnTo>
                      <a:pt x="620" y="173"/>
                    </a:lnTo>
                    <a:lnTo>
                      <a:pt x="625" y="173"/>
                    </a:lnTo>
                    <a:lnTo>
                      <a:pt x="625" y="173"/>
                    </a:lnTo>
                    <a:lnTo>
                      <a:pt x="627" y="173"/>
                    </a:lnTo>
                    <a:lnTo>
                      <a:pt x="630" y="173"/>
                    </a:lnTo>
                    <a:lnTo>
                      <a:pt x="632" y="173"/>
                    </a:lnTo>
                    <a:lnTo>
                      <a:pt x="634" y="173"/>
                    </a:lnTo>
                    <a:lnTo>
                      <a:pt x="634" y="173"/>
                    </a:lnTo>
                    <a:lnTo>
                      <a:pt x="637" y="173"/>
                    </a:lnTo>
                    <a:lnTo>
                      <a:pt x="637" y="176"/>
                    </a:lnTo>
                    <a:lnTo>
                      <a:pt x="639" y="176"/>
                    </a:lnTo>
                    <a:lnTo>
                      <a:pt x="639" y="176"/>
                    </a:lnTo>
                    <a:lnTo>
                      <a:pt x="641" y="173"/>
                    </a:lnTo>
                    <a:lnTo>
                      <a:pt x="641" y="173"/>
                    </a:lnTo>
                    <a:lnTo>
                      <a:pt x="644" y="171"/>
                    </a:lnTo>
                    <a:lnTo>
                      <a:pt x="646" y="171"/>
                    </a:lnTo>
                    <a:lnTo>
                      <a:pt x="649" y="171"/>
                    </a:lnTo>
                    <a:lnTo>
                      <a:pt x="649" y="171"/>
                    </a:lnTo>
                    <a:lnTo>
                      <a:pt x="649" y="169"/>
                    </a:lnTo>
                    <a:lnTo>
                      <a:pt x="649" y="166"/>
                    </a:lnTo>
                    <a:lnTo>
                      <a:pt x="649" y="166"/>
                    </a:lnTo>
                    <a:lnTo>
                      <a:pt x="649" y="164"/>
                    </a:lnTo>
                    <a:lnTo>
                      <a:pt x="646" y="161"/>
                    </a:lnTo>
                    <a:lnTo>
                      <a:pt x="646" y="161"/>
                    </a:lnTo>
                    <a:lnTo>
                      <a:pt x="644" y="157"/>
                    </a:lnTo>
                    <a:lnTo>
                      <a:pt x="641" y="152"/>
                    </a:lnTo>
                    <a:lnTo>
                      <a:pt x="641" y="150"/>
                    </a:lnTo>
                    <a:lnTo>
                      <a:pt x="641" y="147"/>
                    </a:lnTo>
                    <a:lnTo>
                      <a:pt x="641" y="147"/>
                    </a:lnTo>
                    <a:lnTo>
                      <a:pt x="641" y="145"/>
                    </a:lnTo>
                    <a:lnTo>
                      <a:pt x="641" y="142"/>
                    </a:lnTo>
                    <a:lnTo>
                      <a:pt x="644" y="142"/>
                    </a:lnTo>
                    <a:lnTo>
                      <a:pt x="646" y="142"/>
                    </a:lnTo>
                    <a:lnTo>
                      <a:pt x="649" y="142"/>
                    </a:lnTo>
                    <a:lnTo>
                      <a:pt x="651" y="142"/>
                    </a:lnTo>
                    <a:lnTo>
                      <a:pt x="653" y="140"/>
                    </a:lnTo>
                    <a:lnTo>
                      <a:pt x="653" y="140"/>
                    </a:lnTo>
                    <a:lnTo>
                      <a:pt x="656" y="138"/>
                    </a:lnTo>
                    <a:lnTo>
                      <a:pt x="656" y="138"/>
                    </a:lnTo>
                    <a:lnTo>
                      <a:pt x="653" y="133"/>
                    </a:lnTo>
                    <a:lnTo>
                      <a:pt x="653" y="133"/>
                    </a:lnTo>
                    <a:lnTo>
                      <a:pt x="653" y="131"/>
                    </a:lnTo>
                    <a:lnTo>
                      <a:pt x="653" y="131"/>
                    </a:lnTo>
                    <a:lnTo>
                      <a:pt x="656" y="128"/>
                    </a:lnTo>
                    <a:lnTo>
                      <a:pt x="656" y="128"/>
                    </a:lnTo>
                    <a:lnTo>
                      <a:pt x="658" y="128"/>
                    </a:lnTo>
                    <a:lnTo>
                      <a:pt x="660" y="128"/>
                    </a:lnTo>
                    <a:lnTo>
                      <a:pt x="663" y="128"/>
                    </a:lnTo>
                    <a:lnTo>
                      <a:pt x="660" y="128"/>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Freeform 121"/>
              <p:cNvSpPr>
                <a:spLocks noEditPoints="1"/>
              </p:cNvSpPr>
              <p:nvPr/>
            </p:nvSpPr>
            <p:spPr bwMode="auto">
              <a:xfrm>
                <a:off x="3380" y="2684"/>
                <a:ext cx="149" cy="215"/>
              </a:xfrm>
              <a:custGeom>
                <a:avLst/>
                <a:gdLst>
                  <a:gd name="T0" fmla="*/ 133 w 149"/>
                  <a:gd name="T1" fmla="*/ 161 h 215"/>
                  <a:gd name="T2" fmla="*/ 135 w 149"/>
                  <a:gd name="T3" fmla="*/ 159 h 215"/>
                  <a:gd name="T4" fmla="*/ 140 w 149"/>
                  <a:gd name="T5" fmla="*/ 33 h 215"/>
                  <a:gd name="T6" fmla="*/ 135 w 149"/>
                  <a:gd name="T7" fmla="*/ 31 h 215"/>
                  <a:gd name="T8" fmla="*/ 123 w 149"/>
                  <a:gd name="T9" fmla="*/ 28 h 215"/>
                  <a:gd name="T10" fmla="*/ 111 w 149"/>
                  <a:gd name="T11" fmla="*/ 38 h 215"/>
                  <a:gd name="T12" fmla="*/ 100 w 149"/>
                  <a:gd name="T13" fmla="*/ 43 h 215"/>
                  <a:gd name="T14" fmla="*/ 88 w 149"/>
                  <a:gd name="T15" fmla="*/ 40 h 215"/>
                  <a:gd name="T16" fmla="*/ 76 w 149"/>
                  <a:gd name="T17" fmla="*/ 38 h 215"/>
                  <a:gd name="T18" fmla="*/ 62 w 149"/>
                  <a:gd name="T19" fmla="*/ 26 h 215"/>
                  <a:gd name="T20" fmla="*/ 50 w 149"/>
                  <a:gd name="T21" fmla="*/ 21 h 215"/>
                  <a:gd name="T22" fmla="*/ 40 w 149"/>
                  <a:gd name="T23" fmla="*/ 21 h 215"/>
                  <a:gd name="T24" fmla="*/ 36 w 149"/>
                  <a:gd name="T25" fmla="*/ 12 h 215"/>
                  <a:gd name="T26" fmla="*/ 36 w 149"/>
                  <a:gd name="T27" fmla="*/ 5 h 215"/>
                  <a:gd name="T28" fmla="*/ 29 w 149"/>
                  <a:gd name="T29" fmla="*/ 2 h 215"/>
                  <a:gd name="T30" fmla="*/ 26 w 149"/>
                  <a:gd name="T31" fmla="*/ 0 h 215"/>
                  <a:gd name="T32" fmla="*/ 14 w 149"/>
                  <a:gd name="T33" fmla="*/ 12 h 215"/>
                  <a:gd name="T34" fmla="*/ 5 w 149"/>
                  <a:gd name="T35" fmla="*/ 33 h 215"/>
                  <a:gd name="T36" fmla="*/ 7 w 149"/>
                  <a:gd name="T37" fmla="*/ 38 h 215"/>
                  <a:gd name="T38" fmla="*/ 10 w 149"/>
                  <a:gd name="T39" fmla="*/ 45 h 215"/>
                  <a:gd name="T40" fmla="*/ 14 w 149"/>
                  <a:gd name="T41" fmla="*/ 54 h 215"/>
                  <a:gd name="T42" fmla="*/ 19 w 149"/>
                  <a:gd name="T43" fmla="*/ 62 h 215"/>
                  <a:gd name="T44" fmla="*/ 19 w 149"/>
                  <a:gd name="T45" fmla="*/ 64 h 215"/>
                  <a:gd name="T46" fmla="*/ 22 w 149"/>
                  <a:gd name="T47" fmla="*/ 78 h 215"/>
                  <a:gd name="T48" fmla="*/ 19 w 149"/>
                  <a:gd name="T49" fmla="*/ 83 h 215"/>
                  <a:gd name="T50" fmla="*/ 17 w 149"/>
                  <a:gd name="T51" fmla="*/ 90 h 215"/>
                  <a:gd name="T52" fmla="*/ 14 w 149"/>
                  <a:gd name="T53" fmla="*/ 90 h 215"/>
                  <a:gd name="T54" fmla="*/ 10 w 149"/>
                  <a:gd name="T55" fmla="*/ 97 h 215"/>
                  <a:gd name="T56" fmla="*/ 5 w 149"/>
                  <a:gd name="T57" fmla="*/ 107 h 215"/>
                  <a:gd name="T58" fmla="*/ 3 w 149"/>
                  <a:gd name="T59" fmla="*/ 116 h 215"/>
                  <a:gd name="T60" fmla="*/ 3 w 149"/>
                  <a:gd name="T61" fmla="*/ 137 h 215"/>
                  <a:gd name="T62" fmla="*/ 14 w 149"/>
                  <a:gd name="T63" fmla="*/ 144 h 215"/>
                  <a:gd name="T64" fmla="*/ 29 w 149"/>
                  <a:gd name="T65" fmla="*/ 154 h 215"/>
                  <a:gd name="T66" fmla="*/ 45 w 149"/>
                  <a:gd name="T67" fmla="*/ 163 h 215"/>
                  <a:gd name="T68" fmla="*/ 62 w 149"/>
                  <a:gd name="T69" fmla="*/ 175 h 215"/>
                  <a:gd name="T70" fmla="*/ 71 w 149"/>
                  <a:gd name="T71" fmla="*/ 180 h 215"/>
                  <a:gd name="T72" fmla="*/ 71 w 149"/>
                  <a:gd name="T73" fmla="*/ 187 h 215"/>
                  <a:gd name="T74" fmla="*/ 71 w 149"/>
                  <a:gd name="T75" fmla="*/ 189 h 215"/>
                  <a:gd name="T76" fmla="*/ 74 w 149"/>
                  <a:gd name="T77" fmla="*/ 194 h 215"/>
                  <a:gd name="T78" fmla="*/ 85 w 149"/>
                  <a:gd name="T79" fmla="*/ 204 h 215"/>
                  <a:gd name="T80" fmla="*/ 97 w 149"/>
                  <a:gd name="T81" fmla="*/ 213 h 215"/>
                  <a:gd name="T82" fmla="*/ 102 w 149"/>
                  <a:gd name="T83" fmla="*/ 213 h 215"/>
                  <a:gd name="T84" fmla="*/ 109 w 149"/>
                  <a:gd name="T85" fmla="*/ 204 h 215"/>
                  <a:gd name="T86" fmla="*/ 109 w 149"/>
                  <a:gd name="T87" fmla="*/ 199 h 215"/>
                  <a:gd name="T88" fmla="*/ 114 w 149"/>
                  <a:gd name="T89" fmla="*/ 189 h 215"/>
                  <a:gd name="T90" fmla="*/ 118 w 149"/>
                  <a:gd name="T91" fmla="*/ 180 h 215"/>
                  <a:gd name="T92" fmla="*/ 123 w 149"/>
                  <a:gd name="T93" fmla="*/ 170 h 215"/>
                  <a:gd name="T94" fmla="*/ 133 w 149"/>
                  <a:gd name="T95" fmla="*/ 163 h 215"/>
                  <a:gd name="T96" fmla="*/ 133 w 149"/>
                  <a:gd name="T97" fmla="*/ 159 h 215"/>
                  <a:gd name="T98" fmla="*/ 135 w 149"/>
                  <a:gd name="T99" fmla="*/ 159 h 215"/>
                  <a:gd name="T100" fmla="*/ 145 w 149"/>
                  <a:gd name="T101" fmla="*/ 152 h 215"/>
                  <a:gd name="T102" fmla="*/ 137 w 149"/>
                  <a:gd name="T103" fmla="*/ 142 h 215"/>
                  <a:gd name="T104" fmla="*/ 133 w 149"/>
                  <a:gd name="T105" fmla="*/ 123 h 215"/>
                  <a:gd name="T106" fmla="*/ 133 w 149"/>
                  <a:gd name="T107" fmla="*/ 59 h 215"/>
                  <a:gd name="T108" fmla="*/ 140 w 149"/>
                  <a:gd name="T109" fmla="*/ 47 h 215"/>
                  <a:gd name="T110" fmla="*/ 147 w 149"/>
                  <a:gd name="T111" fmla="*/ 3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49" h="215">
                    <a:moveTo>
                      <a:pt x="135" y="159"/>
                    </a:moveTo>
                    <a:lnTo>
                      <a:pt x="133" y="161"/>
                    </a:lnTo>
                    <a:lnTo>
                      <a:pt x="133" y="161"/>
                    </a:lnTo>
                    <a:lnTo>
                      <a:pt x="133" y="161"/>
                    </a:lnTo>
                    <a:lnTo>
                      <a:pt x="135" y="161"/>
                    </a:lnTo>
                    <a:lnTo>
                      <a:pt x="135" y="161"/>
                    </a:lnTo>
                    <a:lnTo>
                      <a:pt x="135" y="161"/>
                    </a:lnTo>
                    <a:lnTo>
                      <a:pt x="135" y="159"/>
                    </a:lnTo>
                    <a:lnTo>
                      <a:pt x="135" y="159"/>
                    </a:lnTo>
                    <a:close/>
                    <a:moveTo>
                      <a:pt x="147" y="33"/>
                    </a:moveTo>
                    <a:lnTo>
                      <a:pt x="142" y="33"/>
                    </a:lnTo>
                    <a:lnTo>
                      <a:pt x="140" y="33"/>
                    </a:lnTo>
                    <a:lnTo>
                      <a:pt x="140" y="33"/>
                    </a:lnTo>
                    <a:lnTo>
                      <a:pt x="137" y="33"/>
                    </a:lnTo>
                    <a:lnTo>
                      <a:pt x="135" y="33"/>
                    </a:lnTo>
                    <a:lnTo>
                      <a:pt x="135" y="31"/>
                    </a:lnTo>
                    <a:lnTo>
                      <a:pt x="133" y="31"/>
                    </a:lnTo>
                    <a:lnTo>
                      <a:pt x="130" y="28"/>
                    </a:lnTo>
                    <a:lnTo>
                      <a:pt x="128" y="26"/>
                    </a:lnTo>
                    <a:lnTo>
                      <a:pt x="123" y="28"/>
                    </a:lnTo>
                    <a:lnTo>
                      <a:pt x="121" y="31"/>
                    </a:lnTo>
                    <a:lnTo>
                      <a:pt x="114" y="33"/>
                    </a:lnTo>
                    <a:lnTo>
                      <a:pt x="111" y="36"/>
                    </a:lnTo>
                    <a:lnTo>
                      <a:pt x="111" y="38"/>
                    </a:lnTo>
                    <a:lnTo>
                      <a:pt x="109" y="40"/>
                    </a:lnTo>
                    <a:lnTo>
                      <a:pt x="107" y="43"/>
                    </a:lnTo>
                    <a:lnTo>
                      <a:pt x="104" y="43"/>
                    </a:lnTo>
                    <a:lnTo>
                      <a:pt x="100" y="43"/>
                    </a:lnTo>
                    <a:lnTo>
                      <a:pt x="97" y="43"/>
                    </a:lnTo>
                    <a:lnTo>
                      <a:pt x="95" y="43"/>
                    </a:lnTo>
                    <a:lnTo>
                      <a:pt x="90" y="40"/>
                    </a:lnTo>
                    <a:lnTo>
                      <a:pt x="88" y="40"/>
                    </a:lnTo>
                    <a:lnTo>
                      <a:pt x="85" y="40"/>
                    </a:lnTo>
                    <a:lnTo>
                      <a:pt x="81" y="40"/>
                    </a:lnTo>
                    <a:lnTo>
                      <a:pt x="78" y="38"/>
                    </a:lnTo>
                    <a:lnTo>
                      <a:pt x="76" y="38"/>
                    </a:lnTo>
                    <a:lnTo>
                      <a:pt x="74" y="36"/>
                    </a:lnTo>
                    <a:lnTo>
                      <a:pt x="69" y="31"/>
                    </a:lnTo>
                    <a:lnTo>
                      <a:pt x="66" y="28"/>
                    </a:lnTo>
                    <a:lnTo>
                      <a:pt x="62" y="26"/>
                    </a:lnTo>
                    <a:lnTo>
                      <a:pt x="57" y="24"/>
                    </a:lnTo>
                    <a:lnTo>
                      <a:pt x="55" y="24"/>
                    </a:lnTo>
                    <a:lnTo>
                      <a:pt x="55" y="21"/>
                    </a:lnTo>
                    <a:lnTo>
                      <a:pt x="50" y="21"/>
                    </a:lnTo>
                    <a:lnTo>
                      <a:pt x="45" y="21"/>
                    </a:lnTo>
                    <a:lnTo>
                      <a:pt x="40" y="21"/>
                    </a:lnTo>
                    <a:lnTo>
                      <a:pt x="40" y="21"/>
                    </a:lnTo>
                    <a:lnTo>
                      <a:pt x="40" y="21"/>
                    </a:lnTo>
                    <a:lnTo>
                      <a:pt x="38" y="19"/>
                    </a:lnTo>
                    <a:lnTo>
                      <a:pt x="36" y="17"/>
                    </a:lnTo>
                    <a:lnTo>
                      <a:pt x="36" y="14"/>
                    </a:lnTo>
                    <a:lnTo>
                      <a:pt x="36" y="12"/>
                    </a:lnTo>
                    <a:lnTo>
                      <a:pt x="36" y="7"/>
                    </a:lnTo>
                    <a:lnTo>
                      <a:pt x="36" y="7"/>
                    </a:lnTo>
                    <a:lnTo>
                      <a:pt x="36" y="7"/>
                    </a:lnTo>
                    <a:lnTo>
                      <a:pt x="36" y="5"/>
                    </a:lnTo>
                    <a:lnTo>
                      <a:pt x="36" y="2"/>
                    </a:lnTo>
                    <a:lnTo>
                      <a:pt x="29" y="2"/>
                    </a:lnTo>
                    <a:lnTo>
                      <a:pt x="29" y="2"/>
                    </a:lnTo>
                    <a:lnTo>
                      <a:pt x="29" y="2"/>
                    </a:lnTo>
                    <a:lnTo>
                      <a:pt x="26" y="2"/>
                    </a:lnTo>
                    <a:lnTo>
                      <a:pt x="26" y="2"/>
                    </a:lnTo>
                    <a:lnTo>
                      <a:pt x="26" y="2"/>
                    </a:lnTo>
                    <a:lnTo>
                      <a:pt x="26" y="0"/>
                    </a:lnTo>
                    <a:lnTo>
                      <a:pt x="26" y="0"/>
                    </a:lnTo>
                    <a:lnTo>
                      <a:pt x="22" y="5"/>
                    </a:lnTo>
                    <a:lnTo>
                      <a:pt x="19" y="7"/>
                    </a:lnTo>
                    <a:lnTo>
                      <a:pt x="14" y="12"/>
                    </a:lnTo>
                    <a:lnTo>
                      <a:pt x="10" y="19"/>
                    </a:lnTo>
                    <a:lnTo>
                      <a:pt x="5" y="24"/>
                    </a:lnTo>
                    <a:lnTo>
                      <a:pt x="3" y="26"/>
                    </a:lnTo>
                    <a:lnTo>
                      <a:pt x="5" y="33"/>
                    </a:lnTo>
                    <a:lnTo>
                      <a:pt x="5" y="33"/>
                    </a:lnTo>
                    <a:lnTo>
                      <a:pt x="5" y="36"/>
                    </a:lnTo>
                    <a:lnTo>
                      <a:pt x="5" y="36"/>
                    </a:lnTo>
                    <a:lnTo>
                      <a:pt x="7" y="38"/>
                    </a:lnTo>
                    <a:lnTo>
                      <a:pt x="10" y="38"/>
                    </a:lnTo>
                    <a:lnTo>
                      <a:pt x="10" y="38"/>
                    </a:lnTo>
                    <a:lnTo>
                      <a:pt x="12" y="40"/>
                    </a:lnTo>
                    <a:lnTo>
                      <a:pt x="10" y="45"/>
                    </a:lnTo>
                    <a:lnTo>
                      <a:pt x="10" y="45"/>
                    </a:lnTo>
                    <a:lnTo>
                      <a:pt x="12" y="50"/>
                    </a:lnTo>
                    <a:lnTo>
                      <a:pt x="12" y="50"/>
                    </a:lnTo>
                    <a:lnTo>
                      <a:pt x="14" y="54"/>
                    </a:lnTo>
                    <a:lnTo>
                      <a:pt x="17" y="57"/>
                    </a:lnTo>
                    <a:lnTo>
                      <a:pt x="17" y="57"/>
                    </a:lnTo>
                    <a:lnTo>
                      <a:pt x="17" y="59"/>
                    </a:lnTo>
                    <a:lnTo>
                      <a:pt x="19" y="62"/>
                    </a:lnTo>
                    <a:lnTo>
                      <a:pt x="19" y="62"/>
                    </a:lnTo>
                    <a:lnTo>
                      <a:pt x="19" y="62"/>
                    </a:lnTo>
                    <a:lnTo>
                      <a:pt x="19" y="64"/>
                    </a:lnTo>
                    <a:lnTo>
                      <a:pt x="19" y="64"/>
                    </a:lnTo>
                    <a:lnTo>
                      <a:pt x="19" y="69"/>
                    </a:lnTo>
                    <a:lnTo>
                      <a:pt x="22" y="73"/>
                    </a:lnTo>
                    <a:lnTo>
                      <a:pt x="22" y="76"/>
                    </a:lnTo>
                    <a:lnTo>
                      <a:pt x="22" y="78"/>
                    </a:lnTo>
                    <a:lnTo>
                      <a:pt x="22" y="81"/>
                    </a:lnTo>
                    <a:lnTo>
                      <a:pt x="22" y="81"/>
                    </a:lnTo>
                    <a:lnTo>
                      <a:pt x="22" y="83"/>
                    </a:lnTo>
                    <a:lnTo>
                      <a:pt x="19" y="83"/>
                    </a:lnTo>
                    <a:lnTo>
                      <a:pt x="19" y="85"/>
                    </a:lnTo>
                    <a:lnTo>
                      <a:pt x="19" y="85"/>
                    </a:lnTo>
                    <a:lnTo>
                      <a:pt x="17" y="88"/>
                    </a:lnTo>
                    <a:lnTo>
                      <a:pt x="17" y="90"/>
                    </a:lnTo>
                    <a:lnTo>
                      <a:pt x="17" y="90"/>
                    </a:lnTo>
                    <a:lnTo>
                      <a:pt x="17" y="90"/>
                    </a:lnTo>
                    <a:lnTo>
                      <a:pt x="17" y="90"/>
                    </a:lnTo>
                    <a:lnTo>
                      <a:pt x="14" y="90"/>
                    </a:lnTo>
                    <a:lnTo>
                      <a:pt x="14" y="92"/>
                    </a:lnTo>
                    <a:lnTo>
                      <a:pt x="12" y="92"/>
                    </a:lnTo>
                    <a:lnTo>
                      <a:pt x="12" y="95"/>
                    </a:lnTo>
                    <a:lnTo>
                      <a:pt x="10" y="97"/>
                    </a:lnTo>
                    <a:lnTo>
                      <a:pt x="7" y="102"/>
                    </a:lnTo>
                    <a:lnTo>
                      <a:pt x="7" y="102"/>
                    </a:lnTo>
                    <a:lnTo>
                      <a:pt x="5" y="104"/>
                    </a:lnTo>
                    <a:lnTo>
                      <a:pt x="5" y="107"/>
                    </a:lnTo>
                    <a:lnTo>
                      <a:pt x="5" y="109"/>
                    </a:lnTo>
                    <a:lnTo>
                      <a:pt x="3" y="109"/>
                    </a:lnTo>
                    <a:lnTo>
                      <a:pt x="3" y="111"/>
                    </a:lnTo>
                    <a:lnTo>
                      <a:pt x="3" y="116"/>
                    </a:lnTo>
                    <a:lnTo>
                      <a:pt x="3" y="125"/>
                    </a:lnTo>
                    <a:lnTo>
                      <a:pt x="0" y="133"/>
                    </a:lnTo>
                    <a:lnTo>
                      <a:pt x="0" y="137"/>
                    </a:lnTo>
                    <a:lnTo>
                      <a:pt x="3" y="137"/>
                    </a:lnTo>
                    <a:lnTo>
                      <a:pt x="5" y="137"/>
                    </a:lnTo>
                    <a:lnTo>
                      <a:pt x="5" y="140"/>
                    </a:lnTo>
                    <a:lnTo>
                      <a:pt x="10" y="142"/>
                    </a:lnTo>
                    <a:lnTo>
                      <a:pt x="14" y="144"/>
                    </a:lnTo>
                    <a:lnTo>
                      <a:pt x="17" y="147"/>
                    </a:lnTo>
                    <a:lnTo>
                      <a:pt x="22" y="149"/>
                    </a:lnTo>
                    <a:lnTo>
                      <a:pt x="26" y="152"/>
                    </a:lnTo>
                    <a:lnTo>
                      <a:pt x="29" y="154"/>
                    </a:lnTo>
                    <a:lnTo>
                      <a:pt x="33" y="156"/>
                    </a:lnTo>
                    <a:lnTo>
                      <a:pt x="38" y="159"/>
                    </a:lnTo>
                    <a:lnTo>
                      <a:pt x="40" y="161"/>
                    </a:lnTo>
                    <a:lnTo>
                      <a:pt x="45" y="163"/>
                    </a:lnTo>
                    <a:lnTo>
                      <a:pt x="50" y="166"/>
                    </a:lnTo>
                    <a:lnTo>
                      <a:pt x="52" y="168"/>
                    </a:lnTo>
                    <a:lnTo>
                      <a:pt x="57" y="173"/>
                    </a:lnTo>
                    <a:lnTo>
                      <a:pt x="62" y="175"/>
                    </a:lnTo>
                    <a:lnTo>
                      <a:pt x="64" y="178"/>
                    </a:lnTo>
                    <a:lnTo>
                      <a:pt x="69" y="180"/>
                    </a:lnTo>
                    <a:lnTo>
                      <a:pt x="71" y="180"/>
                    </a:lnTo>
                    <a:lnTo>
                      <a:pt x="71" y="180"/>
                    </a:lnTo>
                    <a:lnTo>
                      <a:pt x="71" y="182"/>
                    </a:lnTo>
                    <a:lnTo>
                      <a:pt x="71" y="185"/>
                    </a:lnTo>
                    <a:lnTo>
                      <a:pt x="71" y="187"/>
                    </a:lnTo>
                    <a:lnTo>
                      <a:pt x="71" y="187"/>
                    </a:lnTo>
                    <a:lnTo>
                      <a:pt x="69" y="189"/>
                    </a:lnTo>
                    <a:lnTo>
                      <a:pt x="69" y="189"/>
                    </a:lnTo>
                    <a:lnTo>
                      <a:pt x="71" y="189"/>
                    </a:lnTo>
                    <a:lnTo>
                      <a:pt x="71" y="189"/>
                    </a:lnTo>
                    <a:lnTo>
                      <a:pt x="71" y="192"/>
                    </a:lnTo>
                    <a:lnTo>
                      <a:pt x="71" y="192"/>
                    </a:lnTo>
                    <a:lnTo>
                      <a:pt x="74" y="192"/>
                    </a:lnTo>
                    <a:lnTo>
                      <a:pt x="74" y="194"/>
                    </a:lnTo>
                    <a:lnTo>
                      <a:pt x="76" y="194"/>
                    </a:lnTo>
                    <a:lnTo>
                      <a:pt x="78" y="197"/>
                    </a:lnTo>
                    <a:lnTo>
                      <a:pt x="83" y="201"/>
                    </a:lnTo>
                    <a:lnTo>
                      <a:pt x="85" y="204"/>
                    </a:lnTo>
                    <a:lnTo>
                      <a:pt x="90" y="206"/>
                    </a:lnTo>
                    <a:lnTo>
                      <a:pt x="92" y="208"/>
                    </a:lnTo>
                    <a:lnTo>
                      <a:pt x="95" y="211"/>
                    </a:lnTo>
                    <a:lnTo>
                      <a:pt x="97" y="213"/>
                    </a:lnTo>
                    <a:lnTo>
                      <a:pt x="100" y="215"/>
                    </a:lnTo>
                    <a:lnTo>
                      <a:pt x="100" y="215"/>
                    </a:lnTo>
                    <a:lnTo>
                      <a:pt x="100" y="215"/>
                    </a:lnTo>
                    <a:lnTo>
                      <a:pt x="102" y="213"/>
                    </a:lnTo>
                    <a:lnTo>
                      <a:pt x="102" y="213"/>
                    </a:lnTo>
                    <a:lnTo>
                      <a:pt x="104" y="211"/>
                    </a:lnTo>
                    <a:lnTo>
                      <a:pt x="107" y="204"/>
                    </a:lnTo>
                    <a:lnTo>
                      <a:pt x="109" y="204"/>
                    </a:lnTo>
                    <a:lnTo>
                      <a:pt x="109" y="201"/>
                    </a:lnTo>
                    <a:lnTo>
                      <a:pt x="109" y="201"/>
                    </a:lnTo>
                    <a:lnTo>
                      <a:pt x="109" y="199"/>
                    </a:lnTo>
                    <a:lnTo>
                      <a:pt x="109" y="199"/>
                    </a:lnTo>
                    <a:lnTo>
                      <a:pt x="111" y="197"/>
                    </a:lnTo>
                    <a:lnTo>
                      <a:pt x="111" y="192"/>
                    </a:lnTo>
                    <a:lnTo>
                      <a:pt x="114" y="192"/>
                    </a:lnTo>
                    <a:lnTo>
                      <a:pt x="114" y="189"/>
                    </a:lnTo>
                    <a:lnTo>
                      <a:pt x="114" y="187"/>
                    </a:lnTo>
                    <a:lnTo>
                      <a:pt x="116" y="185"/>
                    </a:lnTo>
                    <a:lnTo>
                      <a:pt x="116" y="182"/>
                    </a:lnTo>
                    <a:lnTo>
                      <a:pt x="118" y="180"/>
                    </a:lnTo>
                    <a:lnTo>
                      <a:pt x="118" y="175"/>
                    </a:lnTo>
                    <a:lnTo>
                      <a:pt x="118" y="173"/>
                    </a:lnTo>
                    <a:lnTo>
                      <a:pt x="121" y="170"/>
                    </a:lnTo>
                    <a:lnTo>
                      <a:pt x="123" y="170"/>
                    </a:lnTo>
                    <a:lnTo>
                      <a:pt x="126" y="170"/>
                    </a:lnTo>
                    <a:lnTo>
                      <a:pt x="130" y="166"/>
                    </a:lnTo>
                    <a:lnTo>
                      <a:pt x="130" y="166"/>
                    </a:lnTo>
                    <a:lnTo>
                      <a:pt x="133" y="163"/>
                    </a:lnTo>
                    <a:lnTo>
                      <a:pt x="133" y="163"/>
                    </a:lnTo>
                    <a:lnTo>
                      <a:pt x="133" y="161"/>
                    </a:lnTo>
                    <a:lnTo>
                      <a:pt x="130" y="159"/>
                    </a:lnTo>
                    <a:lnTo>
                      <a:pt x="133" y="159"/>
                    </a:lnTo>
                    <a:lnTo>
                      <a:pt x="133" y="159"/>
                    </a:lnTo>
                    <a:lnTo>
                      <a:pt x="133" y="159"/>
                    </a:lnTo>
                    <a:lnTo>
                      <a:pt x="133" y="156"/>
                    </a:lnTo>
                    <a:lnTo>
                      <a:pt x="135" y="159"/>
                    </a:lnTo>
                    <a:lnTo>
                      <a:pt x="135" y="159"/>
                    </a:lnTo>
                    <a:lnTo>
                      <a:pt x="137" y="156"/>
                    </a:lnTo>
                    <a:lnTo>
                      <a:pt x="140" y="156"/>
                    </a:lnTo>
                    <a:lnTo>
                      <a:pt x="145" y="152"/>
                    </a:lnTo>
                    <a:lnTo>
                      <a:pt x="145" y="149"/>
                    </a:lnTo>
                    <a:lnTo>
                      <a:pt x="142" y="149"/>
                    </a:lnTo>
                    <a:lnTo>
                      <a:pt x="142" y="147"/>
                    </a:lnTo>
                    <a:lnTo>
                      <a:pt x="137" y="142"/>
                    </a:lnTo>
                    <a:lnTo>
                      <a:pt x="135" y="137"/>
                    </a:lnTo>
                    <a:lnTo>
                      <a:pt x="133" y="135"/>
                    </a:lnTo>
                    <a:lnTo>
                      <a:pt x="133" y="133"/>
                    </a:lnTo>
                    <a:lnTo>
                      <a:pt x="133" y="123"/>
                    </a:lnTo>
                    <a:lnTo>
                      <a:pt x="133" y="104"/>
                    </a:lnTo>
                    <a:lnTo>
                      <a:pt x="133" y="88"/>
                    </a:lnTo>
                    <a:lnTo>
                      <a:pt x="133" y="69"/>
                    </a:lnTo>
                    <a:lnTo>
                      <a:pt x="133" y="59"/>
                    </a:lnTo>
                    <a:lnTo>
                      <a:pt x="133" y="57"/>
                    </a:lnTo>
                    <a:lnTo>
                      <a:pt x="133" y="57"/>
                    </a:lnTo>
                    <a:lnTo>
                      <a:pt x="135" y="52"/>
                    </a:lnTo>
                    <a:lnTo>
                      <a:pt x="140" y="47"/>
                    </a:lnTo>
                    <a:lnTo>
                      <a:pt x="145" y="40"/>
                    </a:lnTo>
                    <a:lnTo>
                      <a:pt x="147" y="36"/>
                    </a:lnTo>
                    <a:lnTo>
                      <a:pt x="149" y="33"/>
                    </a:lnTo>
                    <a:lnTo>
                      <a:pt x="147" y="33"/>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122"/>
              <p:cNvSpPr>
                <a:spLocks/>
              </p:cNvSpPr>
              <p:nvPr/>
            </p:nvSpPr>
            <p:spPr bwMode="auto">
              <a:xfrm>
                <a:off x="3383" y="2094"/>
                <a:ext cx="73" cy="88"/>
              </a:xfrm>
              <a:custGeom>
                <a:avLst/>
                <a:gdLst>
                  <a:gd name="T0" fmla="*/ 71 w 73"/>
                  <a:gd name="T1" fmla="*/ 22 h 88"/>
                  <a:gd name="T2" fmla="*/ 68 w 73"/>
                  <a:gd name="T3" fmla="*/ 19 h 88"/>
                  <a:gd name="T4" fmla="*/ 68 w 73"/>
                  <a:gd name="T5" fmla="*/ 15 h 88"/>
                  <a:gd name="T6" fmla="*/ 63 w 73"/>
                  <a:gd name="T7" fmla="*/ 5 h 88"/>
                  <a:gd name="T8" fmla="*/ 59 w 73"/>
                  <a:gd name="T9" fmla="*/ 3 h 88"/>
                  <a:gd name="T10" fmla="*/ 52 w 73"/>
                  <a:gd name="T11" fmla="*/ 10 h 88"/>
                  <a:gd name="T12" fmla="*/ 42 w 73"/>
                  <a:gd name="T13" fmla="*/ 15 h 88"/>
                  <a:gd name="T14" fmla="*/ 35 w 73"/>
                  <a:gd name="T15" fmla="*/ 19 h 88"/>
                  <a:gd name="T16" fmla="*/ 23 w 73"/>
                  <a:gd name="T17" fmla="*/ 22 h 88"/>
                  <a:gd name="T18" fmla="*/ 21 w 73"/>
                  <a:gd name="T19" fmla="*/ 19 h 88"/>
                  <a:gd name="T20" fmla="*/ 16 w 73"/>
                  <a:gd name="T21" fmla="*/ 19 h 88"/>
                  <a:gd name="T22" fmla="*/ 14 w 73"/>
                  <a:gd name="T23" fmla="*/ 15 h 88"/>
                  <a:gd name="T24" fmla="*/ 9 w 73"/>
                  <a:gd name="T25" fmla="*/ 15 h 88"/>
                  <a:gd name="T26" fmla="*/ 7 w 73"/>
                  <a:gd name="T27" fmla="*/ 15 h 88"/>
                  <a:gd name="T28" fmla="*/ 7 w 73"/>
                  <a:gd name="T29" fmla="*/ 17 h 88"/>
                  <a:gd name="T30" fmla="*/ 7 w 73"/>
                  <a:gd name="T31" fmla="*/ 24 h 88"/>
                  <a:gd name="T32" fmla="*/ 7 w 73"/>
                  <a:gd name="T33" fmla="*/ 31 h 88"/>
                  <a:gd name="T34" fmla="*/ 7 w 73"/>
                  <a:gd name="T35" fmla="*/ 36 h 88"/>
                  <a:gd name="T36" fmla="*/ 7 w 73"/>
                  <a:gd name="T37" fmla="*/ 41 h 88"/>
                  <a:gd name="T38" fmla="*/ 7 w 73"/>
                  <a:gd name="T39" fmla="*/ 43 h 88"/>
                  <a:gd name="T40" fmla="*/ 7 w 73"/>
                  <a:gd name="T41" fmla="*/ 45 h 88"/>
                  <a:gd name="T42" fmla="*/ 7 w 73"/>
                  <a:gd name="T43" fmla="*/ 50 h 88"/>
                  <a:gd name="T44" fmla="*/ 4 w 73"/>
                  <a:gd name="T45" fmla="*/ 55 h 88"/>
                  <a:gd name="T46" fmla="*/ 2 w 73"/>
                  <a:gd name="T47" fmla="*/ 62 h 88"/>
                  <a:gd name="T48" fmla="*/ 2 w 73"/>
                  <a:gd name="T49" fmla="*/ 64 h 88"/>
                  <a:gd name="T50" fmla="*/ 2 w 73"/>
                  <a:gd name="T51" fmla="*/ 69 h 88"/>
                  <a:gd name="T52" fmla="*/ 2 w 73"/>
                  <a:gd name="T53" fmla="*/ 74 h 88"/>
                  <a:gd name="T54" fmla="*/ 2 w 73"/>
                  <a:gd name="T55" fmla="*/ 81 h 88"/>
                  <a:gd name="T56" fmla="*/ 0 w 73"/>
                  <a:gd name="T57" fmla="*/ 86 h 88"/>
                  <a:gd name="T58" fmla="*/ 7 w 73"/>
                  <a:gd name="T59" fmla="*/ 86 h 88"/>
                  <a:gd name="T60" fmla="*/ 16 w 73"/>
                  <a:gd name="T61" fmla="*/ 88 h 88"/>
                  <a:gd name="T62" fmla="*/ 21 w 73"/>
                  <a:gd name="T63" fmla="*/ 88 h 88"/>
                  <a:gd name="T64" fmla="*/ 28 w 73"/>
                  <a:gd name="T65" fmla="*/ 83 h 88"/>
                  <a:gd name="T66" fmla="*/ 30 w 73"/>
                  <a:gd name="T67" fmla="*/ 76 h 88"/>
                  <a:gd name="T68" fmla="*/ 35 w 73"/>
                  <a:gd name="T69" fmla="*/ 74 h 88"/>
                  <a:gd name="T70" fmla="*/ 45 w 73"/>
                  <a:gd name="T71" fmla="*/ 71 h 88"/>
                  <a:gd name="T72" fmla="*/ 47 w 73"/>
                  <a:gd name="T73" fmla="*/ 69 h 88"/>
                  <a:gd name="T74" fmla="*/ 47 w 73"/>
                  <a:gd name="T75" fmla="*/ 64 h 88"/>
                  <a:gd name="T76" fmla="*/ 52 w 73"/>
                  <a:gd name="T77" fmla="*/ 62 h 88"/>
                  <a:gd name="T78" fmla="*/ 49 w 73"/>
                  <a:gd name="T79" fmla="*/ 57 h 88"/>
                  <a:gd name="T80" fmla="*/ 45 w 73"/>
                  <a:gd name="T81" fmla="*/ 50 h 88"/>
                  <a:gd name="T82" fmla="*/ 37 w 73"/>
                  <a:gd name="T83" fmla="*/ 43 h 88"/>
                  <a:gd name="T84" fmla="*/ 37 w 73"/>
                  <a:gd name="T85" fmla="*/ 38 h 88"/>
                  <a:gd name="T86" fmla="*/ 47 w 73"/>
                  <a:gd name="T87" fmla="*/ 36 h 88"/>
                  <a:gd name="T88" fmla="*/ 59 w 73"/>
                  <a:gd name="T89" fmla="*/ 34 h 88"/>
                  <a:gd name="T90" fmla="*/ 68 w 73"/>
                  <a:gd name="T91" fmla="*/ 29 h 88"/>
                  <a:gd name="T92" fmla="*/ 71 w 73"/>
                  <a:gd name="T93" fmla="*/ 26 h 88"/>
                  <a:gd name="T94" fmla="*/ 73 w 73"/>
                  <a:gd name="T95" fmla="*/ 22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3" h="88">
                    <a:moveTo>
                      <a:pt x="73" y="22"/>
                    </a:moveTo>
                    <a:lnTo>
                      <a:pt x="71" y="22"/>
                    </a:lnTo>
                    <a:lnTo>
                      <a:pt x="68" y="24"/>
                    </a:lnTo>
                    <a:lnTo>
                      <a:pt x="68" y="19"/>
                    </a:lnTo>
                    <a:lnTo>
                      <a:pt x="68" y="19"/>
                    </a:lnTo>
                    <a:lnTo>
                      <a:pt x="68" y="15"/>
                    </a:lnTo>
                    <a:lnTo>
                      <a:pt x="66" y="10"/>
                    </a:lnTo>
                    <a:lnTo>
                      <a:pt x="63" y="5"/>
                    </a:lnTo>
                    <a:lnTo>
                      <a:pt x="63" y="0"/>
                    </a:lnTo>
                    <a:lnTo>
                      <a:pt x="59" y="3"/>
                    </a:lnTo>
                    <a:lnTo>
                      <a:pt x="54" y="8"/>
                    </a:lnTo>
                    <a:lnTo>
                      <a:pt x="52" y="10"/>
                    </a:lnTo>
                    <a:lnTo>
                      <a:pt x="45" y="12"/>
                    </a:lnTo>
                    <a:lnTo>
                      <a:pt x="42" y="15"/>
                    </a:lnTo>
                    <a:lnTo>
                      <a:pt x="37" y="17"/>
                    </a:lnTo>
                    <a:lnTo>
                      <a:pt x="35" y="19"/>
                    </a:lnTo>
                    <a:lnTo>
                      <a:pt x="30" y="24"/>
                    </a:lnTo>
                    <a:lnTo>
                      <a:pt x="23" y="22"/>
                    </a:lnTo>
                    <a:lnTo>
                      <a:pt x="21" y="22"/>
                    </a:lnTo>
                    <a:lnTo>
                      <a:pt x="21" y="19"/>
                    </a:lnTo>
                    <a:lnTo>
                      <a:pt x="19" y="19"/>
                    </a:lnTo>
                    <a:lnTo>
                      <a:pt x="16" y="19"/>
                    </a:lnTo>
                    <a:lnTo>
                      <a:pt x="14" y="15"/>
                    </a:lnTo>
                    <a:lnTo>
                      <a:pt x="14" y="15"/>
                    </a:lnTo>
                    <a:lnTo>
                      <a:pt x="11" y="15"/>
                    </a:lnTo>
                    <a:lnTo>
                      <a:pt x="9" y="15"/>
                    </a:lnTo>
                    <a:lnTo>
                      <a:pt x="7" y="15"/>
                    </a:lnTo>
                    <a:lnTo>
                      <a:pt x="7" y="15"/>
                    </a:lnTo>
                    <a:lnTo>
                      <a:pt x="7" y="17"/>
                    </a:lnTo>
                    <a:lnTo>
                      <a:pt x="7" y="17"/>
                    </a:lnTo>
                    <a:lnTo>
                      <a:pt x="7" y="22"/>
                    </a:lnTo>
                    <a:lnTo>
                      <a:pt x="7" y="24"/>
                    </a:lnTo>
                    <a:lnTo>
                      <a:pt x="7" y="26"/>
                    </a:lnTo>
                    <a:lnTo>
                      <a:pt x="7" y="31"/>
                    </a:lnTo>
                    <a:lnTo>
                      <a:pt x="9" y="34"/>
                    </a:lnTo>
                    <a:lnTo>
                      <a:pt x="7" y="36"/>
                    </a:lnTo>
                    <a:lnTo>
                      <a:pt x="7" y="38"/>
                    </a:lnTo>
                    <a:lnTo>
                      <a:pt x="7" y="41"/>
                    </a:lnTo>
                    <a:lnTo>
                      <a:pt x="7" y="43"/>
                    </a:lnTo>
                    <a:lnTo>
                      <a:pt x="7" y="43"/>
                    </a:lnTo>
                    <a:lnTo>
                      <a:pt x="7" y="45"/>
                    </a:lnTo>
                    <a:lnTo>
                      <a:pt x="7" y="45"/>
                    </a:lnTo>
                    <a:lnTo>
                      <a:pt x="7" y="48"/>
                    </a:lnTo>
                    <a:lnTo>
                      <a:pt x="7" y="50"/>
                    </a:lnTo>
                    <a:lnTo>
                      <a:pt x="4" y="55"/>
                    </a:lnTo>
                    <a:lnTo>
                      <a:pt x="4" y="55"/>
                    </a:lnTo>
                    <a:lnTo>
                      <a:pt x="4" y="57"/>
                    </a:lnTo>
                    <a:lnTo>
                      <a:pt x="2" y="62"/>
                    </a:lnTo>
                    <a:lnTo>
                      <a:pt x="2" y="62"/>
                    </a:lnTo>
                    <a:lnTo>
                      <a:pt x="2" y="64"/>
                    </a:lnTo>
                    <a:lnTo>
                      <a:pt x="2" y="67"/>
                    </a:lnTo>
                    <a:lnTo>
                      <a:pt x="2" y="69"/>
                    </a:lnTo>
                    <a:lnTo>
                      <a:pt x="2" y="71"/>
                    </a:lnTo>
                    <a:lnTo>
                      <a:pt x="2" y="74"/>
                    </a:lnTo>
                    <a:lnTo>
                      <a:pt x="2" y="76"/>
                    </a:lnTo>
                    <a:lnTo>
                      <a:pt x="2" y="81"/>
                    </a:lnTo>
                    <a:lnTo>
                      <a:pt x="2" y="83"/>
                    </a:lnTo>
                    <a:lnTo>
                      <a:pt x="0" y="86"/>
                    </a:lnTo>
                    <a:lnTo>
                      <a:pt x="4" y="86"/>
                    </a:lnTo>
                    <a:lnTo>
                      <a:pt x="7" y="86"/>
                    </a:lnTo>
                    <a:lnTo>
                      <a:pt x="11" y="88"/>
                    </a:lnTo>
                    <a:lnTo>
                      <a:pt x="16" y="88"/>
                    </a:lnTo>
                    <a:lnTo>
                      <a:pt x="21" y="88"/>
                    </a:lnTo>
                    <a:lnTo>
                      <a:pt x="21" y="88"/>
                    </a:lnTo>
                    <a:lnTo>
                      <a:pt x="26" y="86"/>
                    </a:lnTo>
                    <a:lnTo>
                      <a:pt x="28" y="83"/>
                    </a:lnTo>
                    <a:lnTo>
                      <a:pt x="30" y="79"/>
                    </a:lnTo>
                    <a:lnTo>
                      <a:pt x="30" y="76"/>
                    </a:lnTo>
                    <a:lnTo>
                      <a:pt x="33" y="74"/>
                    </a:lnTo>
                    <a:lnTo>
                      <a:pt x="35" y="74"/>
                    </a:lnTo>
                    <a:lnTo>
                      <a:pt x="40" y="74"/>
                    </a:lnTo>
                    <a:lnTo>
                      <a:pt x="45" y="71"/>
                    </a:lnTo>
                    <a:lnTo>
                      <a:pt x="45" y="71"/>
                    </a:lnTo>
                    <a:lnTo>
                      <a:pt x="47" y="69"/>
                    </a:lnTo>
                    <a:lnTo>
                      <a:pt x="47" y="64"/>
                    </a:lnTo>
                    <a:lnTo>
                      <a:pt x="47" y="64"/>
                    </a:lnTo>
                    <a:lnTo>
                      <a:pt x="47" y="64"/>
                    </a:lnTo>
                    <a:lnTo>
                      <a:pt x="52" y="62"/>
                    </a:lnTo>
                    <a:lnTo>
                      <a:pt x="54" y="62"/>
                    </a:lnTo>
                    <a:lnTo>
                      <a:pt x="49" y="57"/>
                    </a:lnTo>
                    <a:lnTo>
                      <a:pt x="47" y="55"/>
                    </a:lnTo>
                    <a:lnTo>
                      <a:pt x="45" y="50"/>
                    </a:lnTo>
                    <a:lnTo>
                      <a:pt x="40" y="48"/>
                    </a:lnTo>
                    <a:lnTo>
                      <a:pt x="37" y="43"/>
                    </a:lnTo>
                    <a:lnTo>
                      <a:pt x="33" y="41"/>
                    </a:lnTo>
                    <a:lnTo>
                      <a:pt x="37" y="38"/>
                    </a:lnTo>
                    <a:lnTo>
                      <a:pt x="42" y="38"/>
                    </a:lnTo>
                    <a:lnTo>
                      <a:pt x="47" y="36"/>
                    </a:lnTo>
                    <a:lnTo>
                      <a:pt x="54" y="34"/>
                    </a:lnTo>
                    <a:lnTo>
                      <a:pt x="59" y="34"/>
                    </a:lnTo>
                    <a:lnTo>
                      <a:pt x="66" y="31"/>
                    </a:lnTo>
                    <a:lnTo>
                      <a:pt x="68" y="29"/>
                    </a:lnTo>
                    <a:lnTo>
                      <a:pt x="68" y="29"/>
                    </a:lnTo>
                    <a:lnTo>
                      <a:pt x="71" y="26"/>
                    </a:lnTo>
                    <a:lnTo>
                      <a:pt x="73" y="24"/>
                    </a:lnTo>
                    <a:lnTo>
                      <a:pt x="73" y="22"/>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123"/>
              <p:cNvSpPr>
                <a:spLocks/>
              </p:cNvSpPr>
              <p:nvPr/>
            </p:nvSpPr>
            <p:spPr bwMode="auto">
              <a:xfrm>
                <a:off x="2739" y="1763"/>
                <a:ext cx="3" cy="2"/>
              </a:xfrm>
              <a:custGeom>
                <a:avLst/>
                <a:gdLst>
                  <a:gd name="T0" fmla="*/ 3 w 3"/>
                  <a:gd name="T1" fmla="*/ 0 h 2"/>
                  <a:gd name="T2" fmla="*/ 3 w 3"/>
                  <a:gd name="T3" fmla="*/ 0 h 2"/>
                  <a:gd name="T4" fmla="*/ 0 w 3"/>
                  <a:gd name="T5" fmla="*/ 0 h 2"/>
                  <a:gd name="T6" fmla="*/ 0 w 3"/>
                  <a:gd name="T7" fmla="*/ 0 h 2"/>
                  <a:gd name="T8" fmla="*/ 0 w 3"/>
                  <a:gd name="T9" fmla="*/ 0 h 2"/>
                  <a:gd name="T10" fmla="*/ 3 w 3"/>
                  <a:gd name="T11" fmla="*/ 0 h 2"/>
                  <a:gd name="T12" fmla="*/ 3 w 3"/>
                  <a:gd name="T13" fmla="*/ 2 h 2"/>
                  <a:gd name="T14" fmla="*/ 3 w 3"/>
                  <a:gd name="T15" fmla="*/ 0 h 2"/>
                  <a:gd name="T16" fmla="*/ 3 w 3"/>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2">
                    <a:moveTo>
                      <a:pt x="3" y="0"/>
                    </a:moveTo>
                    <a:lnTo>
                      <a:pt x="3" y="0"/>
                    </a:lnTo>
                    <a:lnTo>
                      <a:pt x="0" y="0"/>
                    </a:lnTo>
                    <a:lnTo>
                      <a:pt x="0" y="0"/>
                    </a:lnTo>
                    <a:lnTo>
                      <a:pt x="0" y="0"/>
                    </a:lnTo>
                    <a:lnTo>
                      <a:pt x="3" y="0"/>
                    </a:lnTo>
                    <a:lnTo>
                      <a:pt x="3" y="2"/>
                    </a:lnTo>
                    <a:lnTo>
                      <a:pt x="3" y="0"/>
                    </a:lnTo>
                    <a:lnTo>
                      <a:pt x="3" y="0"/>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Freeform 124"/>
              <p:cNvSpPr>
                <a:spLocks noEditPoints="1"/>
              </p:cNvSpPr>
              <p:nvPr/>
            </p:nvSpPr>
            <p:spPr bwMode="auto">
              <a:xfrm>
                <a:off x="5003" y="1839"/>
                <a:ext cx="234" cy="447"/>
              </a:xfrm>
              <a:custGeom>
                <a:avLst/>
                <a:gdLst>
                  <a:gd name="T0" fmla="*/ 9 w 234"/>
                  <a:gd name="T1" fmla="*/ 447 h 447"/>
                  <a:gd name="T2" fmla="*/ 69 w 234"/>
                  <a:gd name="T3" fmla="*/ 397 h 447"/>
                  <a:gd name="T4" fmla="*/ 66 w 234"/>
                  <a:gd name="T5" fmla="*/ 407 h 447"/>
                  <a:gd name="T6" fmla="*/ 78 w 234"/>
                  <a:gd name="T7" fmla="*/ 376 h 447"/>
                  <a:gd name="T8" fmla="*/ 80 w 234"/>
                  <a:gd name="T9" fmla="*/ 362 h 447"/>
                  <a:gd name="T10" fmla="*/ 90 w 234"/>
                  <a:gd name="T11" fmla="*/ 322 h 447"/>
                  <a:gd name="T12" fmla="*/ 66 w 234"/>
                  <a:gd name="T13" fmla="*/ 293 h 447"/>
                  <a:gd name="T14" fmla="*/ 66 w 234"/>
                  <a:gd name="T15" fmla="*/ 279 h 447"/>
                  <a:gd name="T16" fmla="*/ 43 w 234"/>
                  <a:gd name="T17" fmla="*/ 272 h 447"/>
                  <a:gd name="T18" fmla="*/ 45 w 234"/>
                  <a:gd name="T19" fmla="*/ 267 h 447"/>
                  <a:gd name="T20" fmla="*/ 50 w 234"/>
                  <a:gd name="T21" fmla="*/ 246 h 447"/>
                  <a:gd name="T22" fmla="*/ 97 w 234"/>
                  <a:gd name="T23" fmla="*/ 267 h 447"/>
                  <a:gd name="T24" fmla="*/ 83 w 234"/>
                  <a:gd name="T25" fmla="*/ 251 h 447"/>
                  <a:gd name="T26" fmla="*/ 59 w 234"/>
                  <a:gd name="T27" fmla="*/ 253 h 447"/>
                  <a:gd name="T28" fmla="*/ 57 w 234"/>
                  <a:gd name="T29" fmla="*/ 265 h 447"/>
                  <a:gd name="T30" fmla="*/ 69 w 234"/>
                  <a:gd name="T31" fmla="*/ 267 h 447"/>
                  <a:gd name="T32" fmla="*/ 76 w 234"/>
                  <a:gd name="T33" fmla="*/ 274 h 447"/>
                  <a:gd name="T34" fmla="*/ 80 w 234"/>
                  <a:gd name="T35" fmla="*/ 300 h 447"/>
                  <a:gd name="T36" fmla="*/ 88 w 234"/>
                  <a:gd name="T37" fmla="*/ 298 h 447"/>
                  <a:gd name="T38" fmla="*/ 97 w 234"/>
                  <a:gd name="T39" fmla="*/ 244 h 447"/>
                  <a:gd name="T40" fmla="*/ 38 w 234"/>
                  <a:gd name="T41" fmla="*/ 236 h 447"/>
                  <a:gd name="T42" fmla="*/ 111 w 234"/>
                  <a:gd name="T43" fmla="*/ 244 h 447"/>
                  <a:gd name="T44" fmla="*/ 95 w 234"/>
                  <a:gd name="T45" fmla="*/ 255 h 447"/>
                  <a:gd name="T46" fmla="*/ 114 w 234"/>
                  <a:gd name="T47" fmla="*/ 270 h 447"/>
                  <a:gd name="T48" fmla="*/ 132 w 234"/>
                  <a:gd name="T49" fmla="*/ 251 h 447"/>
                  <a:gd name="T50" fmla="*/ 132 w 234"/>
                  <a:gd name="T51" fmla="*/ 234 h 447"/>
                  <a:gd name="T52" fmla="*/ 38 w 234"/>
                  <a:gd name="T53" fmla="*/ 227 h 447"/>
                  <a:gd name="T54" fmla="*/ 90 w 234"/>
                  <a:gd name="T55" fmla="*/ 194 h 447"/>
                  <a:gd name="T56" fmla="*/ 161 w 234"/>
                  <a:gd name="T57" fmla="*/ 161 h 447"/>
                  <a:gd name="T58" fmla="*/ 211 w 234"/>
                  <a:gd name="T59" fmla="*/ 161 h 447"/>
                  <a:gd name="T60" fmla="*/ 211 w 234"/>
                  <a:gd name="T61" fmla="*/ 135 h 447"/>
                  <a:gd name="T62" fmla="*/ 184 w 234"/>
                  <a:gd name="T63" fmla="*/ 99 h 447"/>
                  <a:gd name="T64" fmla="*/ 177 w 234"/>
                  <a:gd name="T65" fmla="*/ 92 h 447"/>
                  <a:gd name="T66" fmla="*/ 161 w 234"/>
                  <a:gd name="T67" fmla="*/ 92 h 447"/>
                  <a:gd name="T68" fmla="*/ 168 w 234"/>
                  <a:gd name="T69" fmla="*/ 116 h 447"/>
                  <a:gd name="T70" fmla="*/ 177 w 234"/>
                  <a:gd name="T71" fmla="*/ 142 h 447"/>
                  <a:gd name="T72" fmla="*/ 158 w 234"/>
                  <a:gd name="T73" fmla="*/ 180 h 447"/>
                  <a:gd name="T74" fmla="*/ 147 w 234"/>
                  <a:gd name="T75" fmla="*/ 168 h 447"/>
                  <a:gd name="T76" fmla="*/ 137 w 234"/>
                  <a:gd name="T77" fmla="*/ 210 h 447"/>
                  <a:gd name="T78" fmla="*/ 99 w 234"/>
                  <a:gd name="T79" fmla="*/ 210 h 447"/>
                  <a:gd name="T80" fmla="*/ 71 w 234"/>
                  <a:gd name="T81" fmla="*/ 234 h 447"/>
                  <a:gd name="T82" fmla="*/ 92 w 234"/>
                  <a:gd name="T83" fmla="*/ 244 h 447"/>
                  <a:gd name="T84" fmla="*/ 121 w 234"/>
                  <a:gd name="T85" fmla="*/ 229 h 447"/>
                  <a:gd name="T86" fmla="*/ 140 w 234"/>
                  <a:gd name="T87" fmla="*/ 236 h 447"/>
                  <a:gd name="T88" fmla="*/ 170 w 234"/>
                  <a:gd name="T89" fmla="*/ 232 h 447"/>
                  <a:gd name="T90" fmla="*/ 170 w 234"/>
                  <a:gd name="T91" fmla="*/ 227 h 447"/>
                  <a:gd name="T92" fmla="*/ 194 w 234"/>
                  <a:gd name="T93" fmla="*/ 220 h 447"/>
                  <a:gd name="T94" fmla="*/ 203 w 234"/>
                  <a:gd name="T95" fmla="*/ 215 h 447"/>
                  <a:gd name="T96" fmla="*/ 215 w 234"/>
                  <a:gd name="T97" fmla="*/ 208 h 447"/>
                  <a:gd name="T98" fmla="*/ 225 w 234"/>
                  <a:gd name="T99" fmla="*/ 218 h 447"/>
                  <a:gd name="T100" fmla="*/ 128 w 234"/>
                  <a:gd name="T101" fmla="*/ 9 h 447"/>
                  <a:gd name="T102" fmla="*/ 132 w 234"/>
                  <a:gd name="T103" fmla="*/ 7 h 447"/>
                  <a:gd name="T104" fmla="*/ 147 w 234"/>
                  <a:gd name="T105" fmla="*/ 49 h 447"/>
                  <a:gd name="T106" fmla="*/ 137 w 234"/>
                  <a:gd name="T107" fmla="*/ 66 h 447"/>
                  <a:gd name="T108" fmla="*/ 158 w 234"/>
                  <a:gd name="T109" fmla="*/ 78 h 447"/>
                  <a:gd name="T110" fmla="*/ 147 w 234"/>
                  <a:gd name="T111" fmla="*/ 64 h 447"/>
                  <a:gd name="T112" fmla="*/ 199 w 234"/>
                  <a:gd name="T113" fmla="*/ 68 h 447"/>
                  <a:gd name="T114" fmla="*/ 225 w 234"/>
                  <a:gd name="T115" fmla="*/ 47 h 447"/>
                  <a:gd name="T116" fmla="*/ 206 w 234"/>
                  <a:gd name="T117" fmla="*/ 26 h 447"/>
                  <a:gd name="T118" fmla="*/ 147 w 234"/>
                  <a:gd name="T119" fmla="*/ 9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34" h="447">
                    <a:moveTo>
                      <a:pt x="0" y="445"/>
                    </a:moveTo>
                    <a:lnTo>
                      <a:pt x="0" y="445"/>
                    </a:lnTo>
                    <a:lnTo>
                      <a:pt x="0" y="447"/>
                    </a:lnTo>
                    <a:lnTo>
                      <a:pt x="0" y="447"/>
                    </a:lnTo>
                    <a:lnTo>
                      <a:pt x="0" y="447"/>
                    </a:lnTo>
                    <a:lnTo>
                      <a:pt x="2" y="447"/>
                    </a:lnTo>
                    <a:lnTo>
                      <a:pt x="2" y="447"/>
                    </a:lnTo>
                    <a:lnTo>
                      <a:pt x="5" y="447"/>
                    </a:lnTo>
                    <a:lnTo>
                      <a:pt x="5" y="447"/>
                    </a:lnTo>
                    <a:lnTo>
                      <a:pt x="5" y="447"/>
                    </a:lnTo>
                    <a:lnTo>
                      <a:pt x="0" y="445"/>
                    </a:lnTo>
                    <a:close/>
                    <a:moveTo>
                      <a:pt x="9" y="445"/>
                    </a:moveTo>
                    <a:lnTo>
                      <a:pt x="7" y="445"/>
                    </a:lnTo>
                    <a:lnTo>
                      <a:pt x="7" y="445"/>
                    </a:lnTo>
                    <a:lnTo>
                      <a:pt x="7" y="445"/>
                    </a:lnTo>
                    <a:lnTo>
                      <a:pt x="7" y="447"/>
                    </a:lnTo>
                    <a:lnTo>
                      <a:pt x="9" y="447"/>
                    </a:lnTo>
                    <a:lnTo>
                      <a:pt x="9" y="447"/>
                    </a:lnTo>
                    <a:lnTo>
                      <a:pt x="9" y="442"/>
                    </a:lnTo>
                    <a:lnTo>
                      <a:pt x="9" y="442"/>
                    </a:lnTo>
                    <a:lnTo>
                      <a:pt x="9" y="442"/>
                    </a:lnTo>
                    <a:lnTo>
                      <a:pt x="9" y="445"/>
                    </a:lnTo>
                    <a:close/>
                    <a:moveTo>
                      <a:pt x="28" y="438"/>
                    </a:moveTo>
                    <a:lnTo>
                      <a:pt x="26" y="435"/>
                    </a:lnTo>
                    <a:lnTo>
                      <a:pt x="26" y="435"/>
                    </a:lnTo>
                    <a:lnTo>
                      <a:pt x="26" y="438"/>
                    </a:lnTo>
                    <a:lnTo>
                      <a:pt x="28" y="438"/>
                    </a:lnTo>
                    <a:lnTo>
                      <a:pt x="31" y="438"/>
                    </a:lnTo>
                    <a:lnTo>
                      <a:pt x="28" y="438"/>
                    </a:lnTo>
                    <a:lnTo>
                      <a:pt x="28" y="438"/>
                    </a:lnTo>
                    <a:close/>
                    <a:moveTo>
                      <a:pt x="71" y="393"/>
                    </a:moveTo>
                    <a:lnTo>
                      <a:pt x="71" y="395"/>
                    </a:lnTo>
                    <a:lnTo>
                      <a:pt x="69" y="397"/>
                    </a:lnTo>
                    <a:lnTo>
                      <a:pt x="69" y="397"/>
                    </a:lnTo>
                    <a:lnTo>
                      <a:pt x="69" y="397"/>
                    </a:lnTo>
                    <a:lnTo>
                      <a:pt x="69" y="397"/>
                    </a:lnTo>
                    <a:lnTo>
                      <a:pt x="66" y="397"/>
                    </a:lnTo>
                    <a:lnTo>
                      <a:pt x="64" y="397"/>
                    </a:lnTo>
                    <a:lnTo>
                      <a:pt x="64" y="397"/>
                    </a:lnTo>
                    <a:lnTo>
                      <a:pt x="66" y="397"/>
                    </a:lnTo>
                    <a:lnTo>
                      <a:pt x="66" y="400"/>
                    </a:lnTo>
                    <a:lnTo>
                      <a:pt x="66" y="400"/>
                    </a:lnTo>
                    <a:lnTo>
                      <a:pt x="64" y="402"/>
                    </a:lnTo>
                    <a:lnTo>
                      <a:pt x="64" y="402"/>
                    </a:lnTo>
                    <a:lnTo>
                      <a:pt x="64" y="402"/>
                    </a:lnTo>
                    <a:lnTo>
                      <a:pt x="64" y="405"/>
                    </a:lnTo>
                    <a:lnTo>
                      <a:pt x="64" y="407"/>
                    </a:lnTo>
                    <a:lnTo>
                      <a:pt x="64" y="409"/>
                    </a:lnTo>
                    <a:lnTo>
                      <a:pt x="64" y="409"/>
                    </a:lnTo>
                    <a:lnTo>
                      <a:pt x="64" y="409"/>
                    </a:lnTo>
                    <a:lnTo>
                      <a:pt x="66" y="409"/>
                    </a:lnTo>
                    <a:lnTo>
                      <a:pt x="66" y="407"/>
                    </a:lnTo>
                    <a:lnTo>
                      <a:pt x="66" y="407"/>
                    </a:lnTo>
                    <a:lnTo>
                      <a:pt x="66" y="407"/>
                    </a:lnTo>
                    <a:lnTo>
                      <a:pt x="66" y="405"/>
                    </a:lnTo>
                    <a:lnTo>
                      <a:pt x="66" y="405"/>
                    </a:lnTo>
                    <a:lnTo>
                      <a:pt x="66" y="402"/>
                    </a:lnTo>
                    <a:lnTo>
                      <a:pt x="66" y="402"/>
                    </a:lnTo>
                    <a:lnTo>
                      <a:pt x="66" y="402"/>
                    </a:lnTo>
                    <a:lnTo>
                      <a:pt x="69" y="400"/>
                    </a:lnTo>
                    <a:lnTo>
                      <a:pt x="69" y="400"/>
                    </a:lnTo>
                    <a:lnTo>
                      <a:pt x="71" y="397"/>
                    </a:lnTo>
                    <a:lnTo>
                      <a:pt x="71" y="397"/>
                    </a:lnTo>
                    <a:lnTo>
                      <a:pt x="73" y="395"/>
                    </a:lnTo>
                    <a:lnTo>
                      <a:pt x="71" y="395"/>
                    </a:lnTo>
                    <a:lnTo>
                      <a:pt x="71" y="393"/>
                    </a:lnTo>
                    <a:close/>
                    <a:moveTo>
                      <a:pt x="78" y="371"/>
                    </a:moveTo>
                    <a:lnTo>
                      <a:pt x="76" y="371"/>
                    </a:lnTo>
                    <a:lnTo>
                      <a:pt x="76" y="371"/>
                    </a:lnTo>
                    <a:lnTo>
                      <a:pt x="78" y="374"/>
                    </a:lnTo>
                    <a:lnTo>
                      <a:pt x="78" y="376"/>
                    </a:lnTo>
                    <a:lnTo>
                      <a:pt x="78" y="376"/>
                    </a:lnTo>
                    <a:lnTo>
                      <a:pt x="78" y="374"/>
                    </a:lnTo>
                    <a:lnTo>
                      <a:pt x="78" y="374"/>
                    </a:lnTo>
                    <a:lnTo>
                      <a:pt x="78" y="371"/>
                    </a:lnTo>
                    <a:close/>
                    <a:moveTo>
                      <a:pt x="80" y="367"/>
                    </a:moveTo>
                    <a:lnTo>
                      <a:pt x="80" y="364"/>
                    </a:lnTo>
                    <a:lnTo>
                      <a:pt x="80" y="364"/>
                    </a:lnTo>
                    <a:lnTo>
                      <a:pt x="80" y="367"/>
                    </a:lnTo>
                    <a:lnTo>
                      <a:pt x="83" y="367"/>
                    </a:lnTo>
                    <a:lnTo>
                      <a:pt x="83" y="367"/>
                    </a:lnTo>
                    <a:lnTo>
                      <a:pt x="80" y="367"/>
                    </a:lnTo>
                    <a:close/>
                    <a:moveTo>
                      <a:pt x="88" y="357"/>
                    </a:moveTo>
                    <a:lnTo>
                      <a:pt x="85" y="360"/>
                    </a:lnTo>
                    <a:lnTo>
                      <a:pt x="85" y="360"/>
                    </a:lnTo>
                    <a:lnTo>
                      <a:pt x="85" y="360"/>
                    </a:lnTo>
                    <a:lnTo>
                      <a:pt x="85" y="360"/>
                    </a:lnTo>
                    <a:lnTo>
                      <a:pt x="83" y="360"/>
                    </a:lnTo>
                    <a:lnTo>
                      <a:pt x="80" y="362"/>
                    </a:lnTo>
                    <a:lnTo>
                      <a:pt x="80" y="362"/>
                    </a:lnTo>
                    <a:lnTo>
                      <a:pt x="80" y="362"/>
                    </a:lnTo>
                    <a:lnTo>
                      <a:pt x="80" y="364"/>
                    </a:lnTo>
                    <a:lnTo>
                      <a:pt x="78" y="364"/>
                    </a:lnTo>
                    <a:lnTo>
                      <a:pt x="80" y="364"/>
                    </a:lnTo>
                    <a:lnTo>
                      <a:pt x="83" y="367"/>
                    </a:lnTo>
                    <a:lnTo>
                      <a:pt x="85" y="364"/>
                    </a:lnTo>
                    <a:lnTo>
                      <a:pt x="83" y="364"/>
                    </a:lnTo>
                    <a:lnTo>
                      <a:pt x="85" y="364"/>
                    </a:lnTo>
                    <a:lnTo>
                      <a:pt x="85" y="362"/>
                    </a:lnTo>
                    <a:lnTo>
                      <a:pt x="85" y="362"/>
                    </a:lnTo>
                    <a:lnTo>
                      <a:pt x="88" y="360"/>
                    </a:lnTo>
                    <a:lnTo>
                      <a:pt x="88" y="360"/>
                    </a:lnTo>
                    <a:lnTo>
                      <a:pt x="88" y="360"/>
                    </a:lnTo>
                    <a:lnTo>
                      <a:pt x="88" y="357"/>
                    </a:lnTo>
                    <a:close/>
                    <a:moveTo>
                      <a:pt x="88" y="317"/>
                    </a:moveTo>
                    <a:lnTo>
                      <a:pt x="88" y="319"/>
                    </a:lnTo>
                    <a:lnTo>
                      <a:pt x="90" y="322"/>
                    </a:lnTo>
                    <a:lnTo>
                      <a:pt x="90" y="322"/>
                    </a:lnTo>
                    <a:lnTo>
                      <a:pt x="92" y="322"/>
                    </a:lnTo>
                    <a:lnTo>
                      <a:pt x="92" y="319"/>
                    </a:lnTo>
                    <a:lnTo>
                      <a:pt x="92" y="319"/>
                    </a:lnTo>
                    <a:lnTo>
                      <a:pt x="88" y="317"/>
                    </a:lnTo>
                    <a:close/>
                    <a:moveTo>
                      <a:pt x="97" y="310"/>
                    </a:moveTo>
                    <a:lnTo>
                      <a:pt x="97" y="310"/>
                    </a:lnTo>
                    <a:lnTo>
                      <a:pt x="95" y="310"/>
                    </a:lnTo>
                    <a:lnTo>
                      <a:pt x="95" y="310"/>
                    </a:lnTo>
                    <a:lnTo>
                      <a:pt x="95" y="312"/>
                    </a:lnTo>
                    <a:lnTo>
                      <a:pt x="95" y="315"/>
                    </a:lnTo>
                    <a:lnTo>
                      <a:pt x="95" y="317"/>
                    </a:lnTo>
                    <a:lnTo>
                      <a:pt x="95" y="319"/>
                    </a:lnTo>
                    <a:lnTo>
                      <a:pt x="97" y="319"/>
                    </a:lnTo>
                    <a:lnTo>
                      <a:pt x="97" y="315"/>
                    </a:lnTo>
                    <a:lnTo>
                      <a:pt x="97" y="312"/>
                    </a:lnTo>
                    <a:lnTo>
                      <a:pt x="97" y="310"/>
                    </a:lnTo>
                    <a:close/>
                    <a:moveTo>
                      <a:pt x="66" y="291"/>
                    </a:moveTo>
                    <a:lnTo>
                      <a:pt x="66" y="293"/>
                    </a:lnTo>
                    <a:lnTo>
                      <a:pt x="66" y="291"/>
                    </a:lnTo>
                    <a:lnTo>
                      <a:pt x="66" y="291"/>
                    </a:lnTo>
                    <a:lnTo>
                      <a:pt x="66" y="289"/>
                    </a:lnTo>
                    <a:lnTo>
                      <a:pt x="66" y="291"/>
                    </a:lnTo>
                    <a:close/>
                    <a:moveTo>
                      <a:pt x="71" y="277"/>
                    </a:moveTo>
                    <a:lnTo>
                      <a:pt x="71" y="277"/>
                    </a:lnTo>
                    <a:lnTo>
                      <a:pt x="73" y="274"/>
                    </a:lnTo>
                    <a:lnTo>
                      <a:pt x="73" y="274"/>
                    </a:lnTo>
                    <a:lnTo>
                      <a:pt x="71" y="274"/>
                    </a:lnTo>
                    <a:lnTo>
                      <a:pt x="69" y="274"/>
                    </a:lnTo>
                    <a:lnTo>
                      <a:pt x="69" y="277"/>
                    </a:lnTo>
                    <a:lnTo>
                      <a:pt x="71" y="277"/>
                    </a:lnTo>
                    <a:close/>
                    <a:moveTo>
                      <a:pt x="66" y="274"/>
                    </a:moveTo>
                    <a:lnTo>
                      <a:pt x="64" y="274"/>
                    </a:lnTo>
                    <a:lnTo>
                      <a:pt x="66" y="274"/>
                    </a:lnTo>
                    <a:lnTo>
                      <a:pt x="66" y="277"/>
                    </a:lnTo>
                    <a:lnTo>
                      <a:pt x="66" y="279"/>
                    </a:lnTo>
                    <a:lnTo>
                      <a:pt x="66" y="279"/>
                    </a:lnTo>
                    <a:lnTo>
                      <a:pt x="66" y="279"/>
                    </a:lnTo>
                    <a:lnTo>
                      <a:pt x="66" y="279"/>
                    </a:lnTo>
                    <a:lnTo>
                      <a:pt x="66" y="281"/>
                    </a:lnTo>
                    <a:lnTo>
                      <a:pt x="69" y="279"/>
                    </a:lnTo>
                    <a:lnTo>
                      <a:pt x="69" y="277"/>
                    </a:lnTo>
                    <a:lnTo>
                      <a:pt x="69" y="274"/>
                    </a:lnTo>
                    <a:lnTo>
                      <a:pt x="66" y="274"/>
                    </a:lnTo>
                    <a:close/>
                    <a:moveTo>
                      <a:pt x="43" y="270"/>
                    </a:moveTo>
                    <a:lnTo>
                      <a:pt x="40" y="267"/>
                    </a:lnTo>
                    <a:lnTo>
                      <a:pt x="40" y="270"/>
                    </a:lnTo>
                    <a:lnTo>
                      <a:pt x="40" y="270"/>
                    </a:lnTo>
                    <a:lnTo>
                      <a:pt x="38" y="267"/>
                    </a:lnTo>
                    <a:lnTo>
                      <a:pt x="40" y="272"/>
                    </a:lnTo>
                    <a:lnTo>
                      <a:pt x="40" y="272"/>
                    </a:lnTo>
                    <a:lnTo>
                      <a:pt x="40" y="272"/>
                    </a:lnTo>
                    <a:lnTo>
                      <a:pt x="43" y="272"/>
                    </a:lnTo>
                    <a:lnTo>
                      <a:pt x="43" y="272"/>
                    </a:lnTo>
                    <a:lnTo>
                      <a:pt x="43" y="272"/>
                    </a:lnTo>
                    <a:lnTo>
                      <a:pt x="43" y="272"/>
                    </a:lnTo>
                    <a:lnTo>
                      <a:pt x="43" y="270"/>
                    </a:lnTo>
                    <a:lnTo>
                      <a:pt x="43" y="270"/>
                    </a:lnTo>
                    <a:close/>
                    <a:moveTo>
                      <a:pt x="232" y="260"/>
                    </a:moveTo>
                    <a:lnTo>
                      <a:pt x="232" y="263"/>
                    </a:lnTo>
                    <a:lnTo>
                      <a:pt x="234" y="263"/>
                    </a:lnTo>
                    <a:lnTo>
                      <a:pt x="234" y="263"/>
                    </a:lnTo>
                    <a:lnTo>
                      <a:pt x="234" y="263"/>
                    </a:lnTo>
                    <a:lnTo>
                      <a:pt x="234" y="263"/>
                    </a:lnTo>
                    <a:lnTo>
                      <a:pt x="234" y="260"/>
                    </a:lnTo>
                    <a:lnTo>
                      <a:pt x="232" y="260"/>
                    </a:lnTo>
                    <a:close/>
                    <a:moveTo>
                      <a:pt x="45" y="263"/>
                    </a:moveTo>
                    <a:lnTo>
                      <a:pt x="45" y="260"/>
                    </a:lnTo>
                    <a:lnTo>
                      <a:pt x="45" y="265"/>
                    </a:lnTo>
                    <a:lnTo>
                      <a:pt x="43" y="265"/>
                    </a:lnTo>
                    <a:lnTo>
                      <a:pt x="45" y="265"/>
                    </a:lnTo>
                    <a:lnTo>
                      <a:pt x="45" y="267"/>
                    </a:lnTo>
                    <a:lnTo>
                      <a:pt x="45" y="267"/>
                    </a:lnTo>
                    <a:lnTo>
                      <a:pt x="45" y="265"/>
                    </a:lnTo>
                    <a:lnTo>
                      <a:pt x="45" y="265"/>
                    </a:lnTo>
                    <a:lnTo>
                      <a:pt x="47" y="265"/>
                    </a:lnTo>
                    <a:lnTo>
                      <a:pt x="45" y="263"/>
                    </a:lnTo>
                    <a:lnTo>
                      <a:pt x="45" y="263"/>
                    </a:lnTo>
                    <a:close/>
                    <a:moveTo>
                      <a:pt x="50" y="255"/>
                    </a:moveTo>
                    <a:lnTo>
                      <a:pt x="50" y="258"/>
                    </a:lnTo>
                    <a:lnTo>
                      <a:pt x="47" y="258"/>
                    </a:lnTo>
                    <a:lnTo>
                      <a:pt x="50" y="258"/>
                    </a:lnTo>
                    <a:lnTo>
                      <a:pt x="47" y="260"/>
                    </a:lnTo>
                    <a:lnTo>
                      <a:pt x="50" y="260"/>
                    </a:lnTo>
                    <a:lnTo>
                      <a:pt x="50" y="258"/>
                    </a:lnTo>
                    <a:lnTo>
                      <a:pt x="50" y="258"/>
                    </a:lnTo>
                    <a:lnTo>
                      <a:pt x="50" y="255"/>
                    </a:lnTo>
                    <a:lnTo>
                      <a:pt x="50" y="255"/>
                    </a:lnTo>
                    <a:close/>
                    <a:moveTo>
                      <a:pt x="50" y="248"/>
                    </a:moveTo>
                    <a:lnTo>
                      <a:pt x="52" y="248"/>
                    </a:lnTo>
                    <a:lnTo>
                      <a:pt x="50" y="246"/>
                    </a:lnTo>
                    <a:lnTo>
                      <a:pt x="50" y="246"/>
                    </a:lnTo>
                    <a:lnTo>
                      <a:pt x="50" y="246"/>
                    </a:lnTo>
                    <a:lnTo>
                      <a:pt x="50" y="248"/>
                    </a:lnTo>
                    <a:lnTo>
                      <a:pt x="50" y="248"/>
                    </a:lnTo>
                    <a:close/>
                    <a:moveTo>
                      <a:pt x="92" y="296"/>
                    </a:moveTo>
                    <a:lnTo>
                      <a:pt x="92" y="296"/>
                    </a:lnTo>
                    <a:lnTo>
                      <a:pt x="95" y="298"/>
                    </a:lnTo>
                    <a:lnTo>
                      <a:pt x="97" y="298"/>
                    </a:lnTo>
                    <a:lnTo>
                      <a:pt x="97" y="291"/>
                    </a:lnTo>
                    <a:lnTo>
                      <a:pt x="97" y="289"/>
                    </a:lnTo>
                    <a:lnTo>
                      <a:pt x="95" y="286"/>
                    </a:lnTo>
                    <a:lnTo>
                      <a:pt x="95" y="284"/>
                    </a:lnTo>
                    <a:lnTo>
                      <a:pt x="95" y="281"/>
                    </a:lnTo>
                    <a:lnTo>
                      <a:pt x="95" y="279"/>
                    </a:lnTo>
                    <a:lnTo>
                      <a:pt x="95" y="277"/>
                    </a:lnTo>
                    <a:lnTo>
                      <a:pt x="95" y="274"/>
                    </a:lnTo>
                    <a:lnTo>
                      <a:pt x="95" y="272"/>
                    </a:lnTo>
                    <a:lnTo>
                      <a:pt x="97" y="267"/>
                    </a:lnTo>
                    <a:lnTo>
                      <a:pt x="97" y="267"/>
                    </a:lnTo>
                    <a:lnTo>
                      <a:pt x="97" y="265"/>
                    </a:lnTo>
                    <a:lnTo>
                      <a:pt x="95" y="265"/>
                    </a:lnTo>
                    <a:lnTo>
                      <a:pt x="95" y="263"/>
                    </a:lnTo>
                    <a:lnTo>
                      <a:pt x="95" y="263"/>
                    </a:lnTo>
                    <a:lnTo>
                      <a:pt x="95" y="263"/>
                    </a:lnTo>
                    <a:lnTo>
                      <a:pt x="92" y="260"/>
                    </a:lnTo>
                    <a:lnTo>
                      <a:pt x="92" y="260"/>
                    </a:lnTo>
                    <a:lnTo>
                      <a:pt x="92" y="258"/>
                    </a:lnTo>
                    <a:lnTo>
                      <a:pt x="90" y="258"/>
                    </a:lnTo>
                    <a:lnTo>
                      <a:pt x="85" y="258"/>
                    </a:lnTo>
                    <a:lnTo>
                      <a:pt x="85" y="255"/>
                    </a:lnTo>
                    <a:lnTo>
                      <a:pt x="88" y="253"/>
                    </a:lnTo>
                    <a:lnTo>
                      <a:pt x="88" y="253"/>
                    </a:lnTo>
                    <a:lnTo>
                      <a:pt x="85" y="251"/>
                    </a:lnTo>
                    <a:lnTo>
                      <a:pt x="85" y="251"/>
                    </a:lnTo>
                    <a:lnTo>
                      <a:pt x="83" y="251"/>
                    </a:lnTo>
                    <a:lnTo>
                      <a:pt x="83" y="251"/>
                    </a:lnTo>
                    <a:lnTo>
                      <a:pt x="80" y="251"/>
                    </a:lnTo>
                    <a:lnTo>
                      <a:pt x="80" y="251"/>
                    </a:lnTo>
                    <a:lnTo>
                      <a:pt x="80" y="251"/>
                    </a:lnTo>
                    <a:lnTo>
                      <a:pt x="76" y="251"/>
                    </a:lnTo>
                    <a:lnTo>
                      <a:pt x="73" y="248"/>
                    </a:lnTo>
                    <a:lnTo>
                      <a:pt x="73" y="248"/>
                    </a:lnTo>
                    <a:lnTo>
                      <a:pt x="71" y="246"/>
                    </a:lnTo>
                    <a:lnTo>
                      <a:pt x="69" y="244"/>
                    </a:lnTo>
                    <a:lnTo>
                      <a:pt x="66" y="244"/>
                    </a:lnTo>
                    <a:lnTo>
                      <a:pt x="66" y="244"/>
                    </a:lnTo>
                    <a:lnTo>
                      <a:pt x="61" y="246"/>
                    </a:lnTo>
                    <a:lnTo>
                      <a:pt x="61" y="246"/>
                    </a:lnTo>
                    <a:lnTo>
                      <a:pt x="61" y="248"/>
                    </a:lnTo>
                    <a:lnTo>
                      <a:pt x="61" y="251"/>
                    </a:lnTo>
                    <a:lnTo>
                      <a:pt x="61" y="251"/>
                    </a:lnTo>
                    <a:lnTo>
                      <a:pt x="59" y="251"/>
                    </a:lnTo>
                    <a:lnTo>
                      <a:pt x="59" y="251"/>
                    </a:lnTo>
                    <a:lnTo>
                      <a:pt x="59" y="253"/>
                    </a:lnTo>
                    <a:lnTo>
                      <a:pt x="57" y="253"/>
                    </a:lnTo>
                    <a:lnTo>
                      <a:pt x="54" y="253"/>
                    </a:lnTo>
                    <a:lnTo>
                      <a:pt x="54" y="255"/>
                    </a:lnTo>
                    <a:lnTo>
                      <a:pt x="54" y="255"/>
                    </a:lnTo>
                    <a:lnTo>
                      <a:pt x="54" y="255"/>
                    </a:lnTo>
                    <a:lnTo>
                      <a:pt x="54" y="258"/>
                    </a:lnTo>
                    <a:lnTo>
                      <a:pt x="52" y="255"/>
                    </a:lnTo>
                    <a:lnTo>
                      <a:pt x="52" y="255"/>
                    </a:lnTo>
                    <a:lnTo>
                      <a:pt x="52" y="255"/>
                    </a:lnTo>
                    <a:lnTo>
                      <a:pt x="52" y="258"/>
                    </a:lnTo>
                    <a:lnTo>
                      <a:pt x="54" y="260"/>
                    </a:lnTo>
                    <a:lnTo>
                      <a:pt x="57" y="263"/>
                    </a:lnTo>
                    <a:lnTo>
                      <a:pt x="59" y="263"/>
                    </a:lnTo>
                    <a:lnTo>
                      <a:pt x="59" y="265"/>
                    </a:lnTo>
                    <a:lnTo>
                      <a:pt x="61" y="267"/>
                    </a:lnTo>
                    <a:lnTo>
                      <a:pt x="59" y="267"/>
                    </a:lnTo>
                    <a:lnTo>
                      <a:pt x="59" y="265"/>
                    </a:lnTo>
                    <a:lnTo>
                      <a:pt x="57" y="265"/>
                    </a:lnTo>
                    <a:lnTo>
                      <a:pt x="54" y="263"/>
                    </a:lnTo>
                    <a:lnTo>
                      <a:pt x="54" y="265"/>
                    </a:lnTo>
                    <a:lnTo>
                      <a:pt x="54" y="265"/>
                    </a:lnTo>
                    <a:lnTo>
                      <a:pt x="57" y="267"/>
                    </a:lnTo>
                    <a:lnTo>
                      <a:pt x="59" y="267"/>
                    </a:lnTo>
                    <a:lnTo>
                      <a:pt x="59" y="270"/>
                    </a:lnTo>
                    <a:lnTo>
                      <a:pt x="59" y="272"/>
                    </a:lnTo>
                    <a:lnTo>
                      <a:pt x="59" y="272"/>
                    </a:lnTo>
                    <a:lnTo>
                      <a:pt x="61" y="272"/>
                    </a:lnTo>
                    <a:lnTo>
                      <a:pt x="61" y="270"/>
                    </a:lnTo>
                    <a:lnTo>
                      <a:pt x="64" y="270"/>
                    </a:lnTo>
                    <a:lnTo>
                      <a:pt x="66" y="270"/>
                    </a:lnTo>
                    <a:lnTo>
                      <a:pt x="66" y="270"/>
                    </a:lnTo>
                    <a:lnTo>
                      <a:pt x="69" y="270"/>
                    </a:lnTo>
                    <a:lnTo>
                      <a:pt x="69" y="270"/>
                    </a:lnTo>
                    <a:lnTo>
                      <a:pt x="69" y="270"/>
                    </a:lnTo>
                    <a:lnTo>
                      <a:pt x="69" y="270"/>
                    </a:lnTo>
                    <a:lnTo>
                      <a:pt x="69" y="267"/>
                    </a:lnTo>
                    <a:lnTo>
                      <a:pt x="69" y="267"/>
                    </a:lnTo>
                    <a:lnTo>
                      <a:pt x="66" y="267"/>
                    </a:lnTo>
                    <a:lnTo>
                      <a:pt x="66" y="267"/>
                    </a:lnTo>
                    <a:lnTo>
                      <a:pt x="64" y="267"/>
                    </a:lnTo>
                    <a:lnTo>
                      <a:pt x="64" y="265"/>
                    </a:lnTo>
                    <a:lnTo>
                      <a:pt x="64" y="263"/>
                    </a:lnTo>
                    <a:lnTo>
                      <a:pt x="61" y="263"/>
                    </a:lnTo>
                    <a:lnTo>
                      <a:pt x="61" y="260"/>
                    </a:lnTo>
                    <a:lnTo>
                      <a:pt x="64" y="260"/>
                    </a:lnTo>
                    <a:lnTo>
                      <a:pt x="64" y="260"/>
                    </a:lnTo>
                    <a:lnTo>
                      <a:pt x="66" y="263"/>
                    </a:lnTo>
                    <a:lnTo>
                      <a:pt x="69" y="265"/>
                    </a:lnTo>
                    <a:lnTo>
                      <a:pt x="71" y="267"/>
                    </a:lnTo>
                    <a:lnTo>
                      <a:pt x="73" y="270"/>
                    </a:lnTo>
                    <a:lnTo>
                      <a:pt x="73" y="272"/>
                    </a:lnTo>
                    <a:lnTo>
                      <a:pt x="73" y="272"/>
                    </a:lnTo>
                    <a:lnTo>
                      <a:pt x="76" y="272"/>
                    </a:lnTo>
                    <a:lnTo>
                      <a:pt x="76" y="274"/>
                    </a:lnTo>
                    <a:lnTo>
                      <a:pt x="73" y="279"/>
                    </a:lnTo>
                    <a:lnTo>
                      <a:pt x="73" y="279"/>
                    </a:lnTo>
                    <a:lnTo>
                      <a:pt x="73" y="281"/>
                    </a:lnTo>
                    <a:lnTo>
                      <a:pt x="71" y="281"/>
                    </a:lnTo>
                    <a:lnTo>
                      <a:pt x="71" y="284"/>
                    </a:lnTo>
                    <a:lnTo>
                      <a:pt x="73" y="286"/>
                    </a:lnTo>
                    <a:lnTo>
                      <a:pt x="73" y="289"/>
                    </a:lnTo>
                    <a:lnTo>
                      <a:pt x="73" y="289"/>
                    </a:lnTo>
                    <a:lnTo>
                      <a:pt x="73" y="291"/>
                    </a:lnTo>
                    <a:lnTo>
                      <a:pt x="76" y="291"/>
                    </a:lnTo>
                    <a:lnTo>
                      <a:pt x="78" y="293"/>
                    </a:lnTo>
                    <a:lnTo>
                      <a:pt x="78" y="296"/>
                    </a:lnTo>
                    <a:lnTo>
                      <a:pt x="78" y="296"/>
                    </a:lnTo>
                    <a:lnTo>
                      <a:pt x="78" y="296"/>
                    </a:lnTo>
                    <a:lnTo>
                      <a:pt x="76" y="298"/>
                    </a:lnTo>
                    <a:lnTo>
                      <a:pt x="78" y="300"/>
                    </a:lnTo>
                    <a:lnTo>
                      <a:pt x="78" y="300"/>
                    </a:lnTo>
                    <a:lnTo>
                      <a:pt x="80" y="300"/>
                    </a:lnTo>
                    <a:lnTo>
                      <a:pt x="85" y="303"/>
                    </a:lnTo>
                    <a:lnTo>
                      <a:pt x="85" y="300"/>
                    </a:lnTo>
                    <a:lnTo>
                      <a:pt x="85" y="300"/>
                    </a:lnTo>
                    <a:lnTo>
                      <a:pt x="83" y="298"/>
                    </a:lnTo>
                    <a:lnTo>
                      <a:pt x="83" y="298"/>
                    </a:lnTo>
                    <a:lnTo>
                      <a:pt x="83" y="296"/>
                    </a:lnTo>
                    <a:lnTo>
                      <a:pt x="80" y="293"/>
                    </a:lnTo>
                    <a:lnTo>
                      <a:pt x="83" y="291"/>
                    </a:lnTo>
                    <a:lnTo>
                      <a:pt x="83" y="291"/>
                    </a:lnTo>
                    <a:lnTo>
                      <a:pt x="83" y="291"/>
                    </a:lnTo>
                    <a:lnTo>
                      <a:pt x="85" y="291"/>
                    </a:lnTo>
                    <a:lnTo>
                      <a:pt x="85" y="291"/>
                    </a:lnTo>
                    <a:lnTo>
                      <a:pt x="85" y="293"/>
                    </a:lnTo>
                    <a:lnTo>
                      <a:pt x="85" y="293"/>
                    </a:lnTo>
                    <a:lnTo>
                      <a:pt x="85" y="293"/>
                    </a:lnTo>
                    <a:lnTo>
                      <a:pt x="85" y="293"/>
                    </a:lnTo>
                    <a:lnTo>
                      <a:pt x="85" y="296"/>
                    </a:lnTo>
                    <a:lnTo>
                      <a:pt x="88" y="298"/>
                    </a:lnTo>
                    <a:lnTo>
                      <a:pt x="88" y="300"/>
                    </a:lnTo>
                    <a:lnTo>
                      <a:pt x="88" y="303"/>
                    </a:lnTo>
                    <a:lnTo>
                      <a:pt x="88" y="303"/>
                    </a:lnTo>
                    <a:lnTo>
                      <a:pt x="88" y="303"/>
                    </a:lnTo>
                    <a:lnTo>
                      <a:pt x="88" y="305"/>
                    </a:lnTo>
                    <a:lnTo>
                      <a:pt x="88" y="305"/>
                    </a:lnTo>
                    <a:lnTo>
                      <a:pt x="90" y="303"/>
                    </a:lnTo>
                    <a:lnTo>
                      <a:pt x="95" y="300"/>
                    </a:lnTo>
                    <a:lnTo>
                      <a:pt x="92" y="298"/>
                    </a:lnTo>
                    <a:lnTo>
                      <a:pt x="92" y="296"/>
                    </a:lnTo>
                    <a:close/>
                    <a:moveTo>
                      <a:pt x="92" y="244"/>
                    </a:moveTo>
                    <a:lnTo>
                      <a:pt x="92" y="244"/>
                    </a:lnTo>
                    <a:lnTo>
                      <a:pt x="92" y="244"/>
                    </a:lnTo>
                    <a:lnTo>
                      <a:pt x="92" y="246"/>
                    </a:lnTo>
                    <a:lnTo>
                      <a:pt x="95" y="246"/>
                    </a:lnTo>
                    <a:lnTo>
                      <a:pt x="95" y="246"/>
                    </a:lnTo>
                    <a:lnTo>
                      <a:pt x="97" y="246"/>
                    </a:lnTo>
                    <a:lnTo>
                      <a:pt x="97" y="244"/>
                    </a:lnTo>
                    <a:lnTo>
                      <a:pt x="97" y="244"/>
                    </a:lnTo>
                    <a:lnTo>
                      <a:pt x="95" y="244"/>
                    </a:lnTo>
                    <a:lnTo>
                      <a:pt x="92" y="244"/>
                    </a:lnTo>
                    <a:close/>
                    <a:moveTo>
                      <a:pt x="97" y="241"/>
                    </a:moveTo>
                    <a:lnTo>
                      <a:pt x="97" y="239"/>
                    </a:lnTo>
                    <a:lnTo>
                      <a:pt x="97" y="239"/>
                    </a:lnTo>
                    <a:lnTo>
                      <a:pt x="97" y="239"/>
                    </a:lnTo>
                    <a:lnTo>
                      <a:pt x="95" y="239"/>
                    </a:lnTo>
                    <a:lnTo>
                      <a:pt x="95" y="241"/>
                    </a:lnTo>
                    <a:lnTo>
                      <a:pt x="97" y="241"/>
                    </a:lnTo>
                    <a:lnTo>
                      <a:pt x="97" y="241"/>
                    </a:lnTo>
                    <a:close/>
                    <a:moveTo>
                      <a:pt x="38" y="236"/>
                    </a:moveTo>
                    <a:lnTo>
                      <a:pt x="38" y="236"/>
                    </a:lnTo>
                    <a:lnTo>
                      <a:pt x="35" y="236"/>
                    </a:lnTo>
                    <a:lnTo>
                      <a:pt x="38" y="239"/>
                    </a:lnTo>
                    <a:lnTo>
                      <a:pt x="38" y="241"/>
                    </a:lnTo>
                    <a:lnTo>
                      <a:pt x="38" y="239"/>
                    </a:lnTo>
                    <a:lnTo>
                      <a:pt x="38" y="236"/>
                    </a:lnTo>
                    <a:close/>
                    <a:moveTo>
                      <a:pt x="137" y="244"/>
                    </a:moveTo>
                    <a:lnTo>
                      <a:pt x="135" y="244"/>
                    </a:lnTo>
                    <a:lnTo>
                      <a:pt x="135" y="241"/>
                    </a:lnTo>
                    <a:lnTo>
                      <a:pt x="132" y="239"/>
                    </a:lnTo>
                    <a:lnTo>
                      <a:pt x="130" y="239"/>
                    </a:lnTo>
                    <a:lnTo>
                      <a:pt x="128" y="236"/>
                    </a:lnTo>
                    <a:lnTo>
                      <a:pt x="125" y="236"/>
                    </a:lnTo>
                    <a:lnTo>
                      <a:pt x="121" y="234"/>
                    </a:lnTo>
                    <a:lnTo>
                      <a:pt x="118" y="234"/>
                    </a:lnTo>
                    <a:lnTo>
                      <a:pt x="118" y="236"/>
                    </a:lnTo>
                    <a:lnTo>
                      <a:pt x="116" y="236"/>
                    </a:lnTo>
                    <a:lnTo>
                      <a:pt x="116" y="236"/>
                    </a:lnTo>
                    <a:lnTo>
                      <a:pt x="114" y="236"/>
                    </a:lnTo>
                    <a:lnTo>
                      <a:pt x="116" y="239"/>
                    </a:lnTo>
                    <a:lnTo>
                      <a:pt x="116" y="241"/>
                    </a:lnTo>
                    <a:lnTo>
                      <a:pt x="116" y="241"/>
                    </a:lnTo>
                    <a:lnTo>
                      <a:pt x="114" y="244"/>
                    </a:lnTo>
                    <a:lnTo>
                      <a:pt x="111" y="244"/>
                    </a:lnTo>
                    <a:lnTo>
                      <a:pt x="111" y="244"/>
                    </a:lnTo>
                    <a:lnTo>
                      <a:pt x="109" y="244"/>
                    </a:lnTo>
                    <a:lnTo>
                      <a:pt x="109" y="244"/>
                    </a:lnTo>
                    <a:lnTo>
                      <a:pt x="106" y="244"/>
                    </a:lnTo>
                    <a:lnTo>
                      <a:pt x="104" y="241"/>
                    </a:lnTo>
                    <a:lnTo>
                      <a:pt x="104" y="241"/>
                    </a:lnTo>
                    <a:lnTo>
                      <a:pt x="102" y="241"/>
                    </a:lnTo>
                    <a:lnTo>
                      <a:pt x="102" y="244"/>
                    </a:lnTo>
                    <a:lnTo>
                      <a:pt x="102" y="244"/>
                    </a:lnTo>
                    <a:lnTo>
                      <a:pt x="102" y="246"/>
                    </a:lnTo>
                    <a:lnTo>
                      <a:pt x="102" y="246"/>
                    </a:lnTo>
                    <a:lnTo>
                      <a:pt x="102" y="248"/>
                    </a:lnTo>
                    <a:lnTo>
                      <a:pt x="99" y="251"/>
                    </a:lnTo>
                    <a:lnTo>
                      <a:pt x="99" y="253"/>
                    </a:lnTo>
                    <a:lnTo>
                      <a:pt x="97" y="253"/>
                    </a:lnTo>
                    <a:lnTo>
                      <a:pt x="95" y="255"/>
                    </a:lnTo>
                    <a:lnTo>
                      <a:pt x="95" y="255"/>
                    </a:lnTo>
                    <a:lnTo>
                      <a:pt x="95" y="255"/>
                    </a:lnTo>
                    <a:lnTo>
                      <a:pt x="97" y="255"/>
                    </a:lnTo>
                    <a:lnTo>
                      <a:pt x="99" y="255"/>
                    </a:lnTo>
                    <a:lnTo>
                      <a:pt x="99" y="255"/>
                    </a:lnTo>
                    <a:lnTo>
                      <a:pt x="102" y="258"/>
                    </a:lnTo>
                    <a:lnTo>
                      <a:pt x="102" y="258"/>
                    </a:lnTo>
                    <a:lnTo>
                      <a:pt x="102" y="258"/>
                    </a:lnTo>
                    <a:lnTo>
                      <a:pt x="104" y="258"/>
                    </a:lnTo>
                    <a:lnTo>
                      <a:pt x="104" y="260"/>
                    </a:lnTo>
                    <a:lnTo>
                      <a:pt x="104" y="260"/>
                    </a:lnTo>
                    <a:lnTo>
                      <a:pt x="104" y="260"/>
                    </a:lnTo>
                    <a:lnTo>
                      <a:pt x="104" y="263"/>
                    </a:lnTo>
                    <a:lnTo>
                      <a:pt x="104" y="263"/>
                    </a:lnTo>
                    <a:lnTo>
                      <a:pt x="106" y="265"/>
                    </a:lnTo>
                    <a:lnTo>
                      <a:pt x="106" y="265"/>
                    </a:lnTo>
                    <a:lnTo>
                      <a:pt x="109" y="265"/>
                    </a:lnTo>
                    <a:lnTo>
                      <a:pt x="109" y="270"/>
                    </a:lnTo>
                    <a:lnTo>
                      <a:pt x="111" y="267"/>
                    </a:lnTo>
                    <a:lnTo>
                      <a:pt x="114" y="270"/>
                    </a:lnTo>
                    <a:lnTo>
                      <a:pt x="114" y="270"/>
                    </a:lnTo>
                    <a:lnTo>
                      <a:pt x="114" y="267"/>
                    </a:lnTo>
                    <a:lnTo>
                      <a:pt x="114" y="265"/>
                    </a:lnTo>
                    <a:lnTo>
                      <a:pt x="114" y="263"/>
                    </a:lnTo>
                    <a:lnTo>
                      <a:pt x="116" y="263"/>
                    </a:lnTo>
                    <a:lnTo>
                      <a:pt x="116" y="263"/>
                    </a:lnTo>
                    <a:lnTo>
                      <a:pt x="116" y="258"/>
                    </a:lnTo>
                    <a:lnTo>
                      <a:pt x="116" y="255"/>
                    </a:lnTo>
                    <a:lnTo>
                      <a:pt x="121" y="253"/>
                    </a:lnTo>
                    <a:lnTo>
                      <a:pt x="121" y="253"/>
                    </a:lnTo>
                    <a:lnTo>
                      <a:pt x="125" y="253"/>
                    </a:lnTo>
                    <a:lnTo>
                      <a:pt x="128" y="253"/>
                    </a:lnTo>
                    <a:lnTo>
                      <a:pt x="132" y="258"/>
                    </a:lnTo>
                    <a:lnTo>
                      <a:pt x="132" y="258"/>
                    </a:lnTo>
                    <a:lnTo>
                      <a:pt x="132" y="255"/>
                    </a:lnTo>
                    <a:lnTo>
                      <a:pt x="132" y="255"/>
                    </a:lnTo>
                    <a:lnTo>
                      <a:pt x="132" y="253"/>
                    </a:lnTo>
                    <a:lnTo>
                      <a:pt x="132" y="251"/>
                    </a:lnTo>
                    <a:lnTo>
                      <a:pt x="135" y="248"/>
                    </a:lnTo>
                    <a:lnTo>
                      <a:pt x="137" y="246"/>
                    </a:lnTo>
                    <a:lnTo>
                      <a:pt x="137" y="246"/>
                    </a:lnTo>
                    <a:lnTo>
                      <a:pt x="137" y="244"/>
                    </a:lnTo>
                    <a:close/>
                    <a:moveTo>
                      <a:pt x="123" y="234"/>
                    </a:moveTo>
                    <a:lnTo>
                      <a:pt x="125" y="232"/>
                    </a:lnTo>
                    <a:lnTo>
                      <a:pt x="125" y="232"/>
                    </a:lnTo>
                    <a:lnTo>
                      <a:pt x="125" y="232"/>
                    </a:lnTo>
                    <a:lnTo>
                      <a:pt x="125" y="232"/>
                    </a:lnTo>
                    <a:lnTo>
                      <a:pt x="125" y="232"/>
                    </a:lnTo>
                    <a:lnTo>
                      <a:pt x="123" y="232"/>
                    </a:lnTo>
                    <a:lnTo>
                      <a:pt x="123" y="232"/>
                    </a:lnTo>
                    <a:lnTo>
                      <a:pt x="123" y="232"/>
                    </a:lnTo>
                    <a:lnTo>
                      <a:pt x="123" y="234"/>
                    </a:lnTo>
                    <a:close/>
                    <a:moveTo>
                      <a:pt x="135" y="232"/>
                    </a:moveTo>
                    <a:lnTo>
                      <a:pt x="135" y="232"/>
                    </a:lnTo>
                    <a:lnTo>
                      <a:pt x="135" y="232"/>
                    </a:lnTo>
                    <a:lnTo>
                      <a:pt x="132" y="234"/>
                    </a:lnTo>
                    <a:lnTo>
                      <a:pt x="132" y="236"/>
                    </a:lnTo>
                    <a:lnTo>
                      <a:pt x="132" y="236"/>
                    </a:lnTo>
                    <a:lnTo>
                      <a:pt x="135" y="239"/>
                    </a:lnTo>
                    <a:lnTo>
                      <a:pt x="137" y="239"/>
                    </a:lnTo>
                    <a:lnTo>
                      <a:pt x="137" y="236"/>
                    </a:lnTo>
                    <a:lnTo>
                      <a:pt x="135" y="234"/>
                    </a:lnTo>
                    <a:lnTo>
                      <a:pt x="137" y="232"/>
                    </a:lnTo>
                    <a:lnTo>
                      <a:pt x="135" y="232"/>
                    </a:lnTo>
                    <a:close/>
                    <a:moveTo>
                      <a:pt x="35" y="234"/>
                    </a:moveTo>
                    <a:lnTo>
                      <a:pt x="38" y="234"/>
                    </a:lnTo>
                    <a:lnTo>
                      <a:pt x="38" y="236"/>
                    </a:lnTo>
                    <a:lnTo>
                      <a:pt x="38" y="234"/>
                    </a:lnTo>
                    <a:lnTo>
                      <a:pt x="38" y="234"/>
                    </a:lnTo>
                    <a:lnTo>
                      <a:pt x="38" y="232"/>
                    </a:lnTo>
                    <a:lnTo>
                      <a:pt x="38" y="229"/>
                    </a:lnTo>
                    <a:lnTo>
                      <a:pt x="38" y="229"/>
                    </a:lnTo>
                    <a:lnTo>
                      <a:pt x="38" y="229"/>
                    </a:lnTo>
                    <a:lnTo>
                      <a:pt x="38" y="227"/>
                    </a:lnTo>
                    <a:lnTo>
                      <a:pt x="35" y="229"/>
                    </a:lnTo>
                    <a:lnTo>
                      <a:pt x="35" y="229"/>
                    </a:lnTo>
                    <a:lnTo>
                      <a:pt x="35" y="232"/>
                    </a:lnTo>
                    <a:lnTo>
                      <a:pt x="35" y="234"/>
                    </a:lnTo>
                    <a:close/>
                    <a:moveTo>
                      <a:pt x="213" y="227"/>
                    </a:moveTo>
                    <a:lnTo>
                      <a:pt x="211" y="227"/>
                    </a:lnTo>
                    <a:lnTo>
                      <a:pt x="211" y="227"/>
                    </a:lnTo>
                    <a:lnTo>
                      <a:pt x="213" y="227"/>
                    </a:lnTo>
                    <a:lnTo>
                      <a:pt x="213" y="227"/>
                    </a:lnTo>
                    <a:lnTo>
                      <a:pt x="213" y="227"/>
                    </a:lnTo>
                    <a:lnTo>
                      <a:pt x="213" y="227"/>
                    </a:lnTo>
                    <a:close/>
                    <a:moveTo>
                      <a:pt x="90" y="196"/>
                    </a:moveTo>
                    <a:lnTo>
                      <a:pt x="92" y="196"/>
                    </a:lnTo>
                    <a:lnTo>
                      <a:pt x="92" y="196"/>
                    </a:lnTo>
                    <a:lnTo>
                      <a:pt x="92" y="194"/>
                    </a:lnTo>
                    <a:lnTo>
                      <a:pt x="90" y="191"/>
                    </a:lnTo>
                    <a:lnTo>
                      <a:pt x="90" y="194"/>
                    </a:lnTo>
                    <a:lnTo>
                      <a:pt x="90" y="194"/>
                    </a:lnTo>
                    <a:lnTo>
                      <a:pt x="90" y="196"/>
                    </a:lnTo>
                    <a:close/>
                    <a:moveTo>
                      <a:pt x="163" y="161"/>
                    </a:moveTo>
                    <a:lnTo>
                      <a:pt x="163" y="161"/>
                    </a:lnTo>
                    <a:lnTo>
                      <a:pt x="166" y="158"/>
                    </a:lnTo>
                    <a:lnTo>
                      <a:pt x="166" y="156"/>
                    </a:lnTo>
                    <a:lnTo>
                      <a:pt x="163" y="156"/>
                    </a:lnTo>
                    <a:lnTo>
                      <a:pt x="163" y="154"/>
                    </a:lnTo>
                    <a:lnTo>
                      <a:pt x="163" y="151"/>
                    </a:lnTo>
                    <a:lnTo>
                      <a:pt x="161" y="149"/>
                    </a:lnTo>
                    <a:lnTo>
                      <a:pt x="161" y="151"/>
                    </a:lnTo>
                    <a:lnTo>
                      <a:pt x="161" y="154"/>
                    </a:lnTo>
                    <a:lnTo>
                      <a:pt x="161" y="156"/>
                    </a:lnTo>
                    <a:lnTo>
                      <a:pt x="161" y="156"/>
                    </a:lnTo>
                    <a:lnTo>
                      <a:pt x="161" y="156"/>
                    </a:lnTo>
                    <a:lnTo>
                      <a:pt x="163" y="158"/>
                    </a:lnTo>
                    <a:lnTo>
                      <a:pt x="163" y="158"/>
                    </a:lnTo>
                    <a:lnTo>
                      <a:pt x="163" y="161"/>
                    </a:lnTo>
                    <a:lnTo>
                      <a:pt x="161" y="161"/>
                    </a:lnTo>
                    <a:lnTo>
                      <a:pt x="163" y="161"/>
                    </a:lnTo>
                    <a:close/>
                    <a:moveTo>
                      <a:pt x="225" y="203"/>
                    </a:moveTo>
                    <a:lnTo>
                      <a:pt x="220" y="199"/>
                    </a:lnTo>
                    <a:lnTo>
                      <a:pt x="220" y="196"/>
                    </a:lnTo>
                    <a:lnTo>
                      <a:pt x="218" y="194"/>
                    </a:lnTo>
                    <a:lnTo>
                      <a:pt x="218" y="194"/>
                    </a:lnTo>
                    <a:lnTo>
                      <a:pt x="218" y="191"/>
                    </a:lnTo>
                    <a:lnTo>
                      <a:pt x="218" y="189"/>
                    </a:lnTo>
                    <a:lnTo>
                      <a:pt x="218" y="189"/>
                    </a:lnTo>
                    <a:lnTo>
                      <a:pt x="218" y="184"/>
                    </a:lnTo>
                    <a:lnTo>
                      <a:pt x="215" y="182"/>
                    </a:lnTo>
                    <a:lnTo>
                      <a:pt x="218" y="180"/>
                    </a:lnTo>
                    <a:lnTo>
                      <a:pt x="218" y="180"/>
                    </a:lnTo>
                    <a:lnTo>
                      <a:pt x="218" y="177"/>
                    </a:lnTo>
                    <a:lnTo>
                      <a:pt x="218" y="175"/>
                    </a:lnTo>
                    <a:lnTo>
                      <a:pt x="215" y="168"/>
                    </a:lnTo>
                    <a:lnTo>
                      <a:pt x="211" y="163"/>
                    </a:lnTo>
                    <a:lnTo>
                      <a:pt x="211" y="161"/>
                    </a:lnTo>
                    <a:lnTo>
                      <a:pt x="208" y="158"/>
                    </a:lnTo>
                    <a:lnTo>
                      <a:pt x="206" y="156"/>
                    </a:lnTo>
                    <a:lnTo>
                      <a:pt x="206" y="154"/>
                    </a:lnTo>
                    <a:lnTo>
                      <a:pt x="206" y="149"/>
                    </a:lnTo>
                    <a:lnTo>
                      <a:pt x="206" y="149"/>
                    </a:lnTo>
                    <a:lnTo>
                      <a:pt x="208" y="149"/>
                    </a:lnTo>
                    <a:lnTo>
                      <a:pt x="211" y="149"/>
                    </a:lnTo>
                    <a:lnTo>
                      <a:pt x="213" y="149"/>
                    </a:lnTo>
                    <a:lnTo>
                      <a:pt x="213" y="146"/>
                    </a:lnTo>
                    <a:lnTo>
                      <a:pt x="211" y="144"/>
                    </a:lnTo>
                    <a:lnTo>
                      <a:pt x="211" y="139"/>
                    </a:lnTo>
                    <a:lnTo>
                      <a:pt x="211" y="139"/>
                    </a:lnTo>
                    <a:lnTo>
                      <a:pt x="211" y="137"/>
                    </a:lnTo>
                    <a:lnTo>
                      <a:pt x="211" y="137"/>
                    </a:lnTo>
                    <a:lnTo>
                      <a:pt x="211" y="135"/>
                    </a:lnTo>
                    <a:lnTo>
                      <a:pt x="211" y="135"/>
                    </a:lnTo>
                    <a:lnTo>
                      <a:pt x="211" y="135"/>
                    </a:lnTo>
                    <a:lnTo>
                      <a:pt x="211" y="135"/>
                    </a:lnTo>
                    <a:lnTo>
                      <a:pt x="211" y="135"/>
                    </a:lnTo>
                    <a:lnTo>
                      <a:pt x="211" y="132"/>
                    </a:lnTo>
                    <a:lnTo>
                      <a:pt x="213" y="132"/>
                    </a:lnTo>
                    <a:lnTo>
                      <a:pt x="211" y="130"/>
                    </a:lnTo>
                    <a:lnTo>
                      <a:pt x="211" y="125"/>
                    </a:lnTo>
                    <a:lnTo>
                      <a:pt x="208" y="123"/>
                    </a:lnTo>
                    <a:lnTo>
                      <a:pt x="208" y="120"/>
                    </a:lnTo>
                    <a:lnTo>
                      <a:pt x="206" y="120"/>
                    </a:lnTo>
                    <a:lnTo>
                      <a:pt x="206" y="118"/>
                    </a:lnTo>
                    <a:lnTo>
                      <a:pt x="206" y="118"/>
                    </a:lnTo>
                    <a:lnTo>
                      <a:pt x="203" y="116"/>
                    </a:lnTo>
                    <a:lnTo>
                      <a:pt x="201" y="113"/>
                    </a:lnTo>
                    <a:lnTo>
                      <a:pt x="196" y="109"/>
                    </a:lnTo>
                    <a:lnTo>
                      <a:pt x="192" y="106"/>
                    </a:lnTo>
                    <a:lnTo>
                      <a:pt x="189" y="104"/>
                    </a:lnTo>
                    <a:lnTo>
                      <a:pt x="187" y="104"/>
                    </a:lnTo>
                    <a:lnTo>
                      <a:pt x="184" y="102"/>
                    </a:lnTo>
                    <a:lnTo>
                      <a:pt x="184" y="99"/>
                    </a:lnTo>
                    <a:lnTo>
                      <a:pt x="180" y="92"/>
                    </a:lnTo>
                    <a:lnTo>
                      <a:pt x="180" y="90"/>
                    </a:lnTo>
                    <a:lnTo>
                      <a:pt x="177" y="87"/>
                    </a:lnTo>
                    <a:lnTo>
                      <a:pt x="175" y="87"/>
                    </a:lnTo>
                    <a:lnTo>
                      <a:pt x="175" y="87"/>
                    </a:lnTo>
                    <a:lnTo>
                      <a:pt x="170" y="85"/>
                    </a:lnTo>
                    <a:lnTo>
                      <a:pt x="170" y="85"/>
                    </a:lnTo>
                    <a:lnTo>
                      <a:pt x="168" y="85"/>
                    </a:lnTo>
                    <a:lnTo>
                      <a:pt x="168" y="85"/>
                    </a:lnTo>
                    <a:lnTo>
                      <a:pt x="168" y="87"/>
                    </a:lnTo>
                    <a:lnTo>
                      <a:pt x="168" y="90"/>
                    </a:lnTo>
                    <a:lnTo>
                      <a:pt x="170" y="92"/>
                    </a:lnTo>
                    <a:lnTo>
                      <a:pt x="175" y="92"/>
                    </a:lnTo>
                    <a:lnTo>
                      <a:pt x="175" y="90"/>
                    </a:lnTo>
                    <a:lnTo>
                      <a:pt x="175" y="90"/>
                    </a:lnTo>
                    <a:lnTo>
                      <a:pt x="175" y="90"/>
                    </a:lnTo>
                    <a:lnTo>
                      <a:pt x="177" y="90"/>
                    </a:lnTo>
                    <a:lnTo>
                      <a:pt x="177" y="92"/>
                    </a:lnTo>
                    <a:lnTo>
                      <a:pt x="180" y="94"/>
                    </a:lnTo>
                    <a:lnTo>
                      <a:pt x="180" y="97"/>
                    </a:lnTo>
                    <a:lnTo>
                      <a:pt x="177" y="97"/>
                    </a:lnTo>
                    <a:lnTo>
                      <a:pt x="175" y="97"/>
                    </a:lnTo>
                    <a:lnTo>
                      <a:pt x="173" y="97"/>
                    </a:lnTo>
                    <a:lnTo>
                      <a:pt x="173" y="97"/>
                    </a:lnTo>
                    <a:lnTo>
                      <a:pt x="173" y="99"/>
                    </a:lnTo>
                    <a:lnTo>
                      <a:pt x="173" y="99"/>
                    </a:lnTo>
                    <a:lnTo>
                      <a:pt x="173" y="97"/>
                    </a:lnTo>
                    <a:lnTo>
                      <a:pt x="170" y="97"/>
                    </a:lnTo>
                    <a:lnTo>
                      <a:pt x="168" y="92"/>
                    </a:lnTo>
                    <a:lnTo>
                      <a:pt x="166" y="92"/>
                    </a:lnTo>
                    <a:lnTo>
                      <a:pt x="166" y="90"/>
                    </a:lnTo>
                    <a:lnTo>
                      <a:pt x="163" y="90"/>
                    </a:lnTo>
                    <a:lnTo>
                      <a:pt x="163" y="90"/>
                    </a:lnTo>
                    <a:lnTo>
                      <a:pt x="161" y="90"/>
                    </a:lnTo>
                    <a:lnTo>
                      <a:pt x="161" y="90"/>
                    </a:lnTo>
                    <a:lnTo>
                      <a:pt x="161" y="92"/>
                    </a:lnTo>
                    <a:lnTo>
                      <a:pt x="163" y="94"/>
                    </a:lnTo>
                    <a:lnTo>
                      <a:pt x="163" y="97"/>
                    </a:lnTo>
                    <a:lnTo>
                      <a:pt x="166" y="99"/>
                    </a:lnTo>
                    <a:lnTo>
                      <a:pt x="166" y="99"/>
                    </a:lnTo>
                    <a:lnTo>
                      <a:pt x="163" y="99"/>
                    </a:lnTo>
                    <a:lnTo>
                      <a:pt x="163" y="99"/>
                    </a:lnTo>
                    <a:lnTo>
                      <a:pt x="163" y="99"/>
                    </a:lnTo>
                    <a:lnTo>
                      <a:pt x="161" y="102"/>
                    </a:lnTo>
                    <a:lnTo>
                      <a:pt x="161" y="102"/>
                    </a:lnTo>
                    <a:lnTo>
                      <a:pt x="161" y="104"/>
                    </a:lnTo>
                    <a:lnTo>
                      <a:pt x="161" y="104"/>
                    </a:lnTo>
                    <a:lnTo>
                      <a:pt x="163" y="106"/>
                    </a:lnTo>
                    <a:lnTo>
                      <a:pt x="166" y="109"/>
                    </a:lnTo>
                    <a:lnTo>
                      <a:pt x="166" y="111"/>
                    </a:lnTo>
                    <a:lnTo>
                      <a:pt x="168" y="113"/>
                    </a:lnTo>
                    <a:lnTo>
                      <a:pt x="168" y="116"/>
                    </a:lnTo>
                    <a:lnTo>
                      <a:pt x="168" y="113"/>
                    </a:lnTo>
                    <a:lnTo>
                      <a:pt x="168" y="116"/>
                    </a:lnTo>
                    <a:lnTo>
                      <a:pt x="166" y="116"/>
                    </a:lnTo>
                    <a:lnTo>
                      <a:pt x="166" y="116"/>
                    </a:lnTo>
                    <a:lnTo>
                      <a:pt x="168" y="116"/>
                    </a:lnTo>
                    <a:lnTo>
                      <a:pt x="168" y="116"/>
                    </a:lnTo>
                    <a:lnTo>
                      <a:pt x="170" y="116"/>
                    </a:lnTo>
                    <a:lnTo>
                      <a:pt x="170" y="118"/>
                    </a:lnTo>
                    <a:lnTo>
                      <a:pt x="173" y="120"/>
                    </a:lnTo>
                    <a:lnTo>
                      <a:pt x="175" y="123"/>
                    </a:lnTo>
                    <a:lnTo>
                      <a:pt x="175" y="125"/>
                    </a:lnTo>
                    <a:lnTo>
                      <a:pt x="177" y="128"/>
                    </a:lnTo>
                    <a:lnTo>
                      <a:pt x="177" y="128"/>
                    </a:lnTo>
                    <a:lnTo>
                      <a:pt x="177" y="128"/>
                    </a:lnTo>
                    <a:lnTo>
                      <a:pt x="177" y="130"/>
                    </a:lnTo>
                    <a:lnTo>
                      <a:pt x="177" y="130"/>
                    </a:lnTo>
                    <a:lnTo>
                      <a:pt x="177" y="132"/>
                    </a:lnTo>
                    <a:lnTo>
                      <a:pt x="177" y="137"/>
                    </a:lnTo>
                    <a:lnTo>
                      <a:pt x="177" y="139"/>
                    </a:lnTo>
                    <a:lnTo>
                      <a:pt x="177" y="142"/>
                    </a:lnTo>
                    <a:lnTo>
                      <a:pt x="177" y="144"/>
                    </a:lnTo>
                    <a:lnTo>
                      <a:pt x="177" y="146"/>
                    </a:lnTo>
                    <a:lnTo>
                      <a:pt x="177" y="149"/>
                    </a:lnTo>
                    <a:lnTo>
                      <a:pt x="177" y="151"/>
                    </a:lnTo>
                    <a:lnTo>
                      <a:pt x="180" y="154"/>
                    </a:lnTo>
                    <a:lnTo>
                      <a:pt x="180" y="154"/>
                    </a:lnTo>
                    <a:lnTo>
                      <a:pt x="177" y="156"/>
                    </a:lnTo>
                    <a:lnTo>
                      <a:pt x="173" y="161"/>
                    </a:lnTo>
                    <a:lnTo>
                      <a:pt x="173" y="161"/>
                    </a:lnTo>
                    <a:lnTo>
                      <a:pt x="173" y="163"/>
                    </a:lnTo>
                    <a:lnTo>
                      <a:pt x="173" y="165"/>
                    </a:lnTo>
                    <a:lnTo>
                      <a:pt x="173" y="168"/>
                    </a:lnTo>
                    <a:lnTo>
                      <a:pt x="173" y="170"/>
                    </a:lnTo>
                    <a:lnTo>
                      <a:pt x="170" y="173"/>
                    </a:lnTo>
                    <a:lnTo>
                      <a:pt x="168" y="175"/>
                    </a:lnTo>
                    <a:lnTo>
                      <a:pt x="166" y="175"/>
                    </a:lnTo>
                    <a:lnTo>
                      <a:pt x="163" y="177"/>
                    </a:lnTo>
                    <a:lnTo>
                      <a:pt x="158" y="180"/>
                    </a:lnTo>
                    <a:lnTo>
                      <a:pt x="158" y="180"/>
                    </a:lnTo>
                    <a:lnTo>
                      <a:pt x="156" y="182"/>
                    </a:lnTo>
                    <a:lnTo>
                      <a:pt x="156" y="184"/>
                    </a:lnTo>
                    <a:lnTo>
                      <a:pt x="156" y="184"/>
                    </a:lnTo>
                    <a:lnTo>
                      <a:pt x="154" y="182"/>
                    </a:lnTo>
                    <a:lnTo>
                      <a:pt x="151" y="182"/>
                    </a:lnTo>
                    <a:lnTo>
                      <a:pt x="149" y="180"/>
                    </a:lnTo>
                    <a:lnTo>
                      <a:pt x="149" y="180"/>
                    </a:lnTo>
                    <a:lnTo>
                      <a:pt x="149" y="177"/>
                    </a:lnTo>
                    <a:lnTo>
                      <a:pt x="147" y="175"/>
                    </a:lnTo>
                    <a:lnTo>
                      <a:pt x="147" y="175"/>
                    </a:lnTo>
                    <a:lnTo>
                      <a:pt x="147" y="175"/>
                    </a:lnTo>
                    <a:lnTo>
                      <a:pt x="147" y="173"/>
                    </a:lnTo>
                    <a:lnTo>
                      <a:pt x="149" y="173"/>
                    </a:lnTo>
                    <a:lnTo>
                      <a:pt x="151" y="168"/>
                    </a:lnTo>
                    <a:lnTo>
                      <a:pt x="149" y="168"/>
                    </a:lnTo>
                    <a:lnTo>
                      <a:pt x="149" y="168"/>
                    </a:lnTo>
                    <a:lnTo>
                      <a:pt x="147" y="168"/>
                    </a:lnTo>
                    <a:lnTo>
                      <a:pt x="144" y="170"/>
                    </a:lnTo>
                    <a:lnTo>
                      <a:pt x="142" y="170"/>
                    </a:lnTo>
                    <a:lnTo>
                      <a:pt x="142" y="175"/>
                    </a:lnTo>
                    <a:lnTo>
                      <a:pt x="144" y="180"/>
                    </a:lnTo>
                    <a:lnTo>
                      <a:pt x="147" y="184"/>
                    </a:lnTo>
                    <a:lnTo>
                      <a:pt x="144" y="187"/>
                    </a:lnTo>
                    <a:lnTo>
                      <a:pt x="144" y="191"/>
                    </a:lnTo>
                    <a:lnTo>
                      <a:pt x="142" y="194"/>
                    </a:lnTo>
                    <a:lnTo>
                      <a:pt x="142" y="194"/>
                    </a:lnTo>
                    <a:lnTo>
                      <a:pt x="142" y="196"/>
                    </a:lnTo>
                    <a:lnTo>
                      <a:pt x="142" y="201"/>
                    </a:lnTo>
                    <a:lnTo>
                      <a:pt x="142" y="203"/>
                    </a:lnTo>
                    <a:lnTo>
                      <a:pt x="144" y="206"/>
                    </a:lnTo>
                    <a:lnTo>
                      <a:pt x="144" y="206"/>
                    </a:lnTo>
                    <a:lnTo>
                      <a:pt x="142" y="208"/>
                    </a:lnTo>
                    <a:lnTo>
                      <a:pt x="142" y="210"/>
                    </a:lnTo>
                    <a:lnTo>
                      <a:pt x="140" y="210"/>
                    </a:lnTo>
                    <a:lnTo>
                      <a:pt x="137" y="210"/>
                    </a:lnTo>
                    <a:lnTo>
                      <a:pt x="132" y="210"/>
                    </a:lnTo>
                    <a:lnTo>
                      <a:pt x="132" y="210"/>
                    </a:lnTo>
                    <a:lnTo>
                      <a:pt x="130" y="208"/>
                    </a:lnTo>
                    <a:lnTo>
                      <a:pt x="130" y="208"/>
                    </a:lnTo>
                    <a:lnTo>
                      <a:pt x="130" y="206"/>
                    </a:lnTo>
                    <a:lnTo>
                      <a:pt x="130" y="206"/>
                    </a:lnTo>
                    <a:lnTo>
                      <a:pt x="128" y="206"/>
                    </a:lnTo>
                    <a:lnTo>
                      <a:pt x="125" y="208"/>
                    </a:lnTo>
                    <a:lnTo>
                      <a:pt x="116" y="208"/>
                    </a:lnTo>
                    <a:lnTo>
                      <a:pt x="116" y="208"/>
                    </a:lnTo>
                    <a:lnTo>
                      <a:pt x="114" y="210"/>
                    </a:lnTo>
                    <a:lnTo>
                      <a:pt x="109" y="210"/>
                    </a:lnTo>
                    <a:lnTo>
                      <a:pt x="109" y="210"/>
                    </a:lnTo>
                    <a:lnTo>
                      <a:pt x="106" y="210"/>
                    </a:lnTo>
                    <a:lnTo>
                      <a:pt x="104" y="210"/>
                    </a:lnTo>
                    <a:lnTo>
                      <a:pt x="102" y="210"/>
                    </a:lnTo>
                    <a:lnTo>
                      <a:pt x="102" y="210"/>
                    </a:lnTo>
                    <a:lnTo>
                      <a:pt x="99" y="210"/>
                    </a:lnTo>
                    <a:lnTo>
                      <a:pt x="97" y="208"/>
                    </a:lnTo>
                    <a:lnTo>
                      <a:pt x="95" y="208"/>
                    </a:lnTo>
                    <a:lnTo>
                      <a:pt x="92" y="210"/>
                    </a:lnTo>
                    <a:lnTo>
                      <a:pt x="88" y="210"/>
                    </a:lnTo>
                    <a:lnTo>
                      <a:pt x="88" y="213"/>
                    </a:lnTo>
                    <a:lnTo>
                      <a:pt x="88" y="215"/>
                    </a:lnTo>
                    <a:lnTo>
                      <a:pt x="85" y="218"/>
                    </a:lnTo>
                    <a:lnTo>
                      <a:pt x="83" y="220"/>
                    </a:lnTo>
                    <a:lnTo>
                      <a:pt x="83" y="222"/>
                    </a:lnTo>
                    <a:lnTo>
                      <a:pt x="80" y="222"/>
                    </a:lnTo>
                    <a:lnTo>
                      <a:pt x="80" y="225"/>
                    </a:lnTo>
                    <a:lnTo>
                      <a:pt x="80" y="227"/>
                    </a:lnTo>
                    <a:lnTo>
                      <a:pt x="78" y="229"/>
                    </a:lnTo>
                    <a:lnTo>
                      <a:pt x="76" y="229"/>
                    </a:lnTo>
                    <a:lnTo>
                      <a:pt x="76" y="232"/>
                    </a:lnTo>
                    <a:lnTo>
                      <a:pt x="73" y="232"/>
                    </a:lnTo>
                    <a:lnTo>
                      <a:pt x="73" y="234"/>
                    </a:lnTo>
                    <a:lnTo>
                      <a:pt x="71" y="234"/>
                    </a:lnTo>
                    <a:lnTo>
                      <a:pt x="69" y="234"/>
                    </a:lnTo>
                    <a:lnTo>
                      <a:pt x="66" y="234"/>
                    </a:lnTo>
                    <a:lnTo>
                      <a:pt x="66" y="234"/>
                    </a:lnTo>
                    <a:lnTo>
                      <a:pt x="66" y="236"/>
                    </a:lnTo>
                    <a:lnTo>
                      <a:pt x="66" y="236"/>
                    </a:lnTo>
                    <a:lnTo>
                      <a:pt x="69" y="244"/>
                    </a:lnTo>
                    <a:lnTo>
                      <a:pt x="71" y="241"/>
                    </a:lnTo>
                    <a:lnTo>
                      <a:pt x="71" y="241"/>
                    </a:lnTo>
                    <a:lnTo>
                      <a:pt x="73" y="244"/>
                    </a:lnTo>
                    <a:lnTo>
                      <a:pt x="76" y="244"/>
                    </a:lnTo>
                    <a:lnTo>
                      <a:pt x="76" y="244"/>
                    </a:lnTo>
                    <a:lnTo>
                      <a:pt x="78" y="244"/>
                    </a:lnTo>
                    <a:lnTo>
                      <a:pt x="78" y="241"/>
                    </a:lnTo>
                    <a:lnTo>
                      <a:pt x="83" y="241"/>
                    </a:lnTo>
                    <a:lnTo>
                      <a:pt x="83" y="241"/>
                    </a:lnTo>
                    <a:lnTo>
                      <a:pt x="90" y="246"/>
                    </a:lnTo>
                    <a:lnTo>
                      <a:pt x="92" y="246"/>
                    </a:lnTo>
                    <a:lnTo>
                      <a:pt x="92" y="244"/>
                    </a:lnTo>
                    <a:lnTo>
                      <a:pt x="92" y="241"/>
                    </a:lnTo>
                    <a:lnTo>
                      <a:pt x="90" y="239"/>
                    </a:lnTo>
                    <a:lnTo>
                      <a:pt x="90" y="236"/>
                    </a:lnTo>
                    <a:lnTo>
                      <a:pt x="92" y="234"/>
                    </a:lnTo>
                    <a:lnTo>
                      <a:pt x="95" y="236"/>
                    </a:lnTo>
                    <a:lnTo>
                      <a:pt x="97" y="236"/>
                    </a:lnTo>
                    <a:lnTo>
                      <a:pt x="99" y="236"/>
                    </a:lnTo>
                    <a:lnTo>
                      <a:pt x="104" y="236"/>
                    </a:lnTo>
                    <a:lnTo>
                      <a:pt x="106" y="236"/>
                    </a:lnTo>
                    <a:lnTo>
                      <a:pt x="106" y="234"/>
                    </a:lnTo>
                    <a:lnTo>
                      <a:pt x="109" y="234"/>
                    </a:lnTo>
                    <a:lnTo>
                      <a:pt x="109" y="234"/>
                    </a:lnTo>
                    <a:lnTo>
                      <a:pt x="111" y="234"/>
                    </a:lnTo>
                    <a:lnTo>
                      <a:pt x="111" y="232"/>
                    </a:lnTo>
                    <a:lnTo>
                      <a:pt x="114" y="232"/>
                    </a:lnTo>
                    <a:lnTo>
                      <a:pt x="116" y="232"/>
                    </a:lnTo>
                    <a:lnTo>
                      <a:pt x="118" y="232"/>
                    </a:lnTo>
                    <a:lnTo>
                      <a:pt x="121" y="229"/>
                    </a:lnTo>
                    <a:lnTo>
                      <a:pt x="121" y="227"/>
                    </a:lnTo>
                    <a:lnTo>
                      <a:pt x="121" y="227"/>
                    </a:lnTo>
                    <a:lnTo>
                      <a:pt x="123" y="227"/>
                    </a:lnTo>
                    <a:lnTo>
                      <a:pt x="125" y="227"/>
                    </a:lnTo>
                    <a:lnTo>
                      <a:pt x="128" y="227"/>
                    </a:lnTo>
                    <a:lnTo>
                      <a:pt x="130" y="227"/>
                    </a:lnTo>
                    <a:lnTo>
                      <a:pt x="130" y="227"/>
                    </a:lnTo>
                    <a:lnTo>
                      <a:pt x="135" y="229"/>
                    </a:lnTo>
                    <a:lnTo>
                      <a:pt x="137" y="229"/>
                    </a:lnTo>
                    <a:lnTo>
                      <a:pt x="140" y="229"/>
                    </a:lnTo>
                    <a:lnTo>
                      <a:pt x="142" y="229"/>
                    </a:lnTo>
                    <a:lnTo>
                      <a:pt x="142" y="229"/>
                    </a:lnTo>
                    <a:lnTo>
                      <a:pt x="144" y="232"/>
                    </a:lnTo>
                    <a:lnTo>
                      <a:pt x="144" y="232"/>
                    </a:lnTo>
                    <a:lnTo>
                      <a:pt x="142" y="234"/>
                    </a:lnTo>
                    <a:lnTo>
                      <a:pt x="142" y="234"/>
                    </a:lnTo>
                    <a:lnTo>
                      <a:pt x="140" y="236"/>
                    </a:lnTo>
                    <a:lnTo>
                      <a:pt x="140" y="236"/>
                    </a:lnTo>
                    <a:lnTo>
                      <a:pt x="142" y="239"/>
                    </a:lnTo>
                    <a:lnTo>
                      <a:pt x="144" y="241"/>
                    </a:lnTo>
                    <a:lnTo>
                      <a:pt x="144" y="244"/>
                    </a:lnTo>
                    <a:lnTo>
                      <a:pt x="147" y="246"/>
                    </a:lnTo>
                    <a:lnTo>
                      <a:pt x="149" y="248"/>
                    </a:lnTo>
                    <a:lnTo>
                      <a:pt x="151" y="251"/>
                    </a:lnTo>
                    <a:lnTo>
                      <a:pt x="154" y="253"/>
                    </a:lnTo>
                    <a:lnTo>
                      <a:pt x="158" y="253"/>
                    </a:lnTo>
                    <a:lnTo>
                      <a:pt x="161" y="251"/>
                    </a:lnTo>
                    <a:lnTo>
                      <a:pt x="161" y="248"/>
                    </a:lnTo>
                    <a:lnTo>
                      <a:pt x="163" y="241"/>
                    </a:lnTo>
                    <a:lnTo>
                      <a:pt x="163" y="239"/>
                    </a:lnTo>
                    <a:lnTo>
                      <a:pt x="166" y="236"/>
                    </a:lnTo>
                    <a:lnTo>
                      <a:pt x="170" y="236"/>
                    </a:lnTo>
                    <a:lnTo>
                      <a:pt x="170" y="236"/>
                    </a:lnTo>
                    <a:lnTo>
                      <a:pt x="170" y="234"/>
                    </a:lnTo>
                    <a:lnTo>
                      <a:pt x="170" y="234"/>
                    </a:lnTo>
                    <a:lnTo>
                      <a:pt x="170" y="232"/>
                    </a:lnTo>
                    <a:lnTo>
                      <a:pt x="163" y="229"/>
                    </a:lnTo>
                    <a:lnTo>
                      <a:pt x="163" y="227"/>
                    </a:lnTo>
                    <a:lnTo>
                      <a:pt x="161" y="225"/>
                    </a:lnTo>
                    <a:lnTo>
                      <a:pt x="163" y="222"/>
                    </a:lnTo>
                    <a:lnTo>
                      <a:pt x="163" y="220"/>
                    </a:lnTo>
                    <a:lnTo>
                      <a:pt x="163" y="220"/>
                    </a:lnTo>
                    <a:lnTo>
                      <a:pt x="163" y="220"/>
                    </a:lnTo>
                    <a:lnTo>
                      <a:pt x="166" y="220"/>
                    </a:lnTo>
                    <a:lnTo>
                      <a:pt x="166" y="222"/>
                    </a:lnTo>
                    <a:lnTo>
                      <a:pt x="166" y="222"/>
                    </a:lnTo>
                    <a:lnTo>
                      <a:pt x="168" y="225"/>
                    </a:lnTo>
                    <a:lnTo>
                      <a:pt x="168" y="227"/>
                    </a:lnTo>
                    <a:lnTo>
                      <a:pt x="168" y="227"/>
                    </a:lnTo>
                    <a:lnTo>
                      <a:pt x="168" y="227"/>
                    </a:lnTo>
                    <a:lnTo>
                      <a:pt x="168" y="225"/>
                    </a:lnTo>
                    <a:lnTo>
                      <a:pt x="168" y="225"/>
                    </a:lnTo>
                    <a:lnTo>
                      <a:pt x="170" y="225"/>
                    </a:lnTo>
                    <a:lnTo>
                      <a:pt x="170" y="227"/>
                    </a:lnTo>
                    <a:lnTo>
                      <a:pt x="170" y="227"/>
                    </a:lnTo>
                    <a:lnTo>
                      <a:pt x="173" y="227"/>
                    </a:lnTo>
                    <a:lnTo>
                      <a:pt x="175" y="227"/>
                    </a:lnTo>
                    <a:lnTo>
                      <a:pt x="175" y="227"/>
                    </a:lnTo>
                    <a:lnTo>
                      <a:pt x="175" y="227"/>
                    </a:lnTo>
                    <a:lnTo>
                      <a:pt x="173" y="229"/>
                    </a:lnTo>
                    <a:lnTo>
                      <a:pt x="173" y="229"/>
                    </a:lnTo>
                    <a:lnTo>
                      <a:pt x="177" y="229"/>
                    </a:lnTo>
                    <a:lnTo>
                      <a:pt x="180" y="229"/>
                    </a:lnTo>
                    <a:lnTo>
                      <a:pt x="184" y="229"/>
                    </a:lnTo>
                    <a:lnTo>
                      <a:pt x="187" y="229"/>
                    </a:lnTo>
                    <a:lnTo>
                      <a:pt x="187" y="229"/>
                    </a:lnTo>
                    <a:lnTo>
                      <a:pt x="192" y="229"/>
                    </a:lnTo>
                    <a:lnTo>
                      <a:pt x="192" y="227"/>
                    </a:lnTo>
                    <a:lnTo>
                      <a:pt x="192" y="225"/>
                    </a:lnTo>
                    <a:lnTo>
                      <a:pt x="194" y="222"/>
                    </a:lnTo>
                    <a:lnTo>
                      <a:pt x="194" y="222"/>
                    </a:lnTo>
                    <a:lnTo>
                      <a:pt x="194" y="220"/>
                    </a:lnTo>
                    <a:lnTo>
                      <a:pt x="194" y="220"/>
                    </a:lnTo>
                    <a:lnTo>
                      <a:pt x="196" y="218"/>
                    </a:lnTo>
                    <a:lnTo>
                      <a:pt x="199" y="220"/>
                    </a:lnTo>
                    <a:lnTo>
                      <a:pt x="201" y="220"/>
                    </a:lnTo>
                    <a:lnTo>
                      <a:pt x="199" y="222"/>
                    </a:lnTo>
                    <a:lnTo>
                      <a:pt x="201" y="225"/>
                    </a:lnTo>
                    <a:lnTo>
                      <a:pt x="201" y="227"/>
                    </a:lnTo>
                    <a:lnTo>
                      <a:pt x="201" y="229"/>
                    </a:lnTo>
                    <a:lnTo>
                      <a:pt x="203" y="229"/>
                    </a:lnTo>
                    <a:lnTo>
                      <a:pt x="203" y="229"/>
                    </a:lnTo>
                    <a:lnTo>
                      <a:pt x="206" y="227"/>
                    </a:lnTo>
                    <a:lnTo>
                      <a:pt x="206" y="227"/>
                    </a:lnTo>
                    <a:lnTo>
                      <a:pt x="206" y="225"/>
                    </a:lnTo>
                    <a:lnTo>
                      <a:pt x="206" y="222"/>
                    </a:lnTo>
                    <a:lnTo>
                      <a:pt x="203" y="220"/>
                    </a:lnTo>
                    <a:lnTo>
                      <a:pt x="203" y="218"/>
                    </a:lnTo>
                    <a:lnTo>
                      <a:pt x="203" y="218"/>
                    </a:lnTo>
                    <a:lnTo>
                      <a:pt x="203" y="215"/>
                    </a:lnTo>
                    <a:lnTo>
                      <a:pt x="206" y="215"/>
                    </a:lnTo>
                    <a:lnTo>
                      <a:pt x="208" y="215"/>
                    </a:lnTo>
                    <a:lnTo>
                      <a:pt x="211" y="215"/>
                    </a:lnTo>
                    <a:lnTo>
                      <a:pt x="213" y="218"/>
                    </a:lnTo>
                    <a:lnTo>
                      <a:pt x="213" y="218"/>
                    </a:lnTo>
                    <a:lnTo>
                      <a:pt x="213" y="218"/>
                    </a:lnTo>
                    <a:lnTo>
                      <a:pt x="213" y="215"/>
                    </a:lnTo>
                    <a:lnTo>
                      <a:pt x="213" y="215"/>
                    </a:lnTo>
                    <a:lnTo>
                      <a:pt x="211" y="215"/>
                    </a:lnTo>
                    <a:lnTo>
                      <a:pt x="211" y="213"/>
                    </a:lnTo>
                    <a:lnTo>
                      <a:pt x="211" y="210"/>
                    </a:lnTo>
                    <a:lnTo>
                      <a:pt x="211" y="210"/>
                    </a:lnTo>
                    <a:lnTo>
                      <a:pt x="211" y="210"/>
                    </a:lnTo>
                    <a:lnTo>
                      <a:pt x="211" y="208"/>
                    </a:lnTo>
                    <a:lnTo>
                      <a:pt x="211" y="208"/>
                    </a:lnTo>
                    <a:lnTo>
                      <a:pt x="213" y="206"/>
                    </a:lnTo>
                    <a:lnTo>
                      <a:pt x="213" y="206"/>
                    </a:lnTo>
                    <a:lnTo>
                      <a:pt x="215" y="208"/>
                    </a:lnTo>
                    <a:lnTo>
                      <a:pt x="215" y="208"/>
                    </a:lnTo>
                    <a:lnTo>
                      <a:pt x="218" y="210"/>
                    </a:lnTo>
                    <a:lnTo>
                      <a:pt x="215" y="210"/>
                    </a:lnTo>
                    <a:lnTo>
                      <a:pt x="215" y="213"/>
                    </a:lnTo>
                    <a:lnTo>
                      <a:pt x="215" y="213"/>
                    </a:lnTo>
                    <a:lnTo>
                      <a:pt x="215" y="215"/>
                    </a:lnTo>
                    <a:lnTo>
                      <a:pt x="215" y="215"/>
                    </a:lnTo>
                    <a:lnTo>
                      <a:pt x="218" y="220"/>
                    </a:lnTo>
                    <a:lnTo>
                      <a:pt x="218" y="220"/>
                    </a:lnTo>
                    <a:lnTo>
                      <a:pt x="218" y="222"/>
                    </a:lnTo>
                    <a:lnTo>
                      <a:pt x="218" y="222"/>
                    </a:lnTo>
                    <a:lnTo>
                      <a:pt x="220" y="222"/>
                    </a:lnTo>
                    <a:lnTo>
                      <a:pt x="220" y="222"/>
                    </a:lnTo>
                    <a:lnTo>
                      <a:pt x="220" y="220"/>
                    </a:lnTo>
                    <a:lnTo>
                      <a:pt x="222" y="220"/>
                    </a:lnTo>
                    <a:lnTo>
                      <a:pt x="225" y="218"/>
                    </a:lnTo>
                    <a:lnTo>
                      <a:pt x="225" y="218"/>
                    </a:lnTo>
                    <a:lnTo>
                      <a:pt x="225" y="218"/>
                    </a:lnTo>
                    <a:lnTo>
                      <a:pt x="225" y="215"/>
                    </a:lnTo>
                    <a:lnTo>
                      <a:pt x="225" y="213"/>
                    </a:lnTo>
                    <a:lnTo>
                      <a:pt x="222" y="210"/>
                    </a:lnTo>
                    <a:lnTo>
                      <a:pt x="225" y="208"/>
                    </a:lnTo>
                    <a:lnTo>
                      <a:pt x="225" y="208"/>
                    </a:lnTo>
                    <a:lnTo>
                      <a:pt x="229" y="206"/>
                    </a:lnTo>
                    <a:lnTo>
                      <a:pt x="227" y="203"/>
                    </a:lnTo>
                    <a:lnTo>
                      <a:pt x="225" y="203"/>
                    </a:lnTo>
                    <a:close/>
                    <a:moveTo>
                      <a:pt x="135" y="71"/>
                    </a:moveTo>
                    <a:lnTo>
                      <a:pt x="135" y="71"/>
                    </a:lnTo>
                    <a:lnTo>
                      <a:pt x="135" y="71"/>
                    </a:lnTo>
                    <a:lnTo>
                      <a:pt x="135" y="73"/>
                    </a:lnTo>
                    <a:lnTo>
                      <a:pt x="135" y="73"/>
                    </a:lnTo>
                    <a:lnTo>
                      <a:pt x="137" y="73"/>
                    </a:lnTo>
                    <a:lnTo>
                      <a:pt x="137" y="73"/>
                    </a:lnTo>
                    <a:lnTo>
                      <a:pt x="135" y="68"/>
                    </a:lnTo>
                    <a:lnTo>
                      <a:pt x="135" y="71"/>
                    </a:lnTo>
                    <a:close/>
                    <a:moveTo>
                      <a:pt x="128" y="9"/>
                    </a:moveTo>
                    <a:lnTo>
                      <a:pt x="128" y="9"/>
                    </a:lnTo>
                    <a:lnTo>
                      <a:pt x="128" y="9"/>
                    </a:lnTo>
                    <a:lnTo>
                      <a:pt x="128" y="7"/>
                    </a:lnTo>
                    <a:lnTo>
                      <a:pt x="125" y="7"/>
                    </a:lnTo>
                    <a:lnTo>
                      <a:pt x="125" y="7"/>
                    </a:lnTo>
                    <a:lnTo>
                      <a:pt x="125" y="7"/>
                    </a:lnTo>
                    <a:lnTo>
                      <a:pt x="125" y="9"/>
                    </a:lnTo>
                    <a:lnTo>
                      <a:pt x="128" y="9"/>
                    </a:lnTo>
                    <a:close/>
                    <a:moveTo>
                      <a:pt x="123" y="7"/>
                    </a:moveTo>
                    <a:lnTo>
                      <a:pt x="123" y="4"/>
                    </a:lnTo>
                    <a:lnTo>
                      <a:pt x="121" y="2"/>
                    </a:lnTo>
                    <a:lnTo>
                      <a:pt x="121" y="2"/>
                    </a:lnTo>
                    <a:lnTo>
                      <a:pt x="118" y="2"/>
                    </a:lnTo>
                    <a:lnTo>
                      <a:pt x="118" y="2"/>
                    </a:lnTo>
                    <a:lnTo>
                      <a:pt x="121" y="4"/>
                    </a:lnTo>
                    <a:lnTo>
                      <a:pt x="123" y="7"/>
                    </a:lnTo>
                    <a:close/>
                    <a:moveTo>
                      <a:pt x="132" y="4"/>
                    </a:moveTo>
                    <a:lnTo>
                      <a:pt x="132" y="7"/>
                    </a:lnTo>
                    <a:lnTo>
                      <a:pt x="132" y="9"/>
                    </a:lnTo>
                    <a:lnTo>
                      <a:pt x="135" y="9"/>
                    </a:lnTo>
                    <a:lnTo>
                      <a:pt x="137" y="14"/>
                    </a:lnTo>
                    <a:lnTo>
                      <a:pt x="142" y="19"/>
                    </a:lnTo>
                    <a:lnTo>
                      <a:pt x="144" y="23"/>
                    </a:lnTo>
                    <a:lnTo>
                      <a:pt x="144" y="26"/>
                    </a:lnTo>
                    <a:lnTo>
                      <a:pt x="147" y="28"/>
                    </a:lnTo>
                    <a:lnTo>
                      <a:pt x="149" y="33"/>
                    </a:lnTo>
                    <a:lnTo>
                      <a:pt x="149" y="35"/>
                    </a:lnTo>
                    <a:lnTo>
                      <a:pt x="149" y="38"/>
                    </a:lnTo>
                    <a:lnTo>
                      <a:pt x="149" y="40"/>
                    </a:lnTo>
                    <a:lnTo>
                      <a:pt x="151" y="42"/>
                    </a:lnTo>
                    <a:lnTo>
                      <a:pt x="154" y="47"/>
                    </a:lnTo>
                    <a:lnTo>
                      <a:pt x="154" y="47"/>
                    </a:lnTo>
                    <a:lnTo>
                      <a:pt x="154" y="49"/>
                    </a:lnTo>
                    <a:lnTo>
                      <a:pt x="151" y="49"/>
                    </a:lnTo>
                    <a:lnTo>
                      <a:pt x="151" y="49"/>
                    </a:lnTo>
                    <a:lnTo>
                      <a:pt x="147" y="49"/>
                    </a:lnTo>
                    <a:lnTo>
                      <a:pt x="144" y="49"/>
                    </a:lnTo>
                    <a:lnTo>
                      <a:pt x="144" y="49"/>
                    </a:lnTo>
                    <a:lnTo>
                      <a:pt x="140" y="47"/>
                    </a:lnTo>
                    <a:lnTo>
                      <a:pt x="137" y="47"/>
                    </a:lnTo>
                    <a:lnTo>
                      <a:pt x="137" y="47"/>
                    </a:lnTo>
                    <a:lnTo>
                      <a:pt x="137" y="49"/>
                    </a:lnTo>
                    <a:lnTo>
                      <a:pt x="137" y="49"/>
                    </a:lnTo>
                    <a:lnTo>
                      <a:pt x="142" y="52"/>
                    </a:lnTo>
                    <a:lnTo>
                      <a:pt x="142" y="54"/>
                    </a:lnTo>
                    <a:lnTo>
                      <a:pt x="142" y="57"/>
                    </a:lnTo>
                    <a:lnTo>
                      <a:pt x="140" y="59"/>
                    </a:lnTo>
                    <a:lnTo>
                      <a:pt x="140" y="59"/>
                    </a:lnTo>
                    <a:lnTo>
                      <a:pt x="137" y="61"/>
                    </a:lnTo>
                    <a:lnTo>
                      <a:pt x="137" y="61"/>
                    </a:lnTo>
                    <a:lnTo>
                      <a:pt x="137" y="61"/>
                    </a:lnTo>
                    <a:lnTo>
                      <a:pt x="137" y="61"/>
                    </a:lnTo>
                    <a:lnTo>
                      <a:pt x="137" y="66"/>
                    </a:lnTo>
                    <a:lnTo>
                      <a:pt x="137" y="66"/>
                    </a:lnTo>
                    <a:lnTo>
                      <a:pt x="140" y="68"/>
                    </a:lnTo>
                    <a:lnTo>
                      <a:pt x="142" y="71"/>
                    </a:lnTo>
                    <a:lnTo>
                      <a:pt x="144" y="73"/>
                    </a:lnTo>
                    <a:lnTo>
                      <a:pt x="147" y="73"/>
                    </a:lnTo>
                    <a:lnTo>
                      <a:pt x="149" y="75"/>
                    </a:lnTo>
                    <a:lnTo>
                      <a:pt x="149" y="78"/>
                    </a:lnTo>
                    <a:lnTo>
                      <a:pt x="149" y="80"/>
                    </a:lnTo>
                    <a:lnTo>
                      <a:pt x="151" y="83"/>
                    </a:lnTo>
                    <a:lnTo>
                      <a:pt x="151" y="85"/>
                    </a:lnTo>
                    <a:lnTo>
                      <a:pt x="154" y="85"/>
                    </a:lnTo>
                    <a:lnTo>
                      <a:pt x="154" y="85"/>
                    </a:lnTo>
                    <a:lnTo>
                      <a:pt x="156" y="87"/>
                    </a:lnTo>
                    <a:lnTo>
                      <a:pt x="156" y="85"/>
                    </a:lnTo>
                    <a:lnTo>
                      <a:pt x="158" y="85"/>
                    </a:lnTo>
                    <a:lnTo>
                      <a:pt x="158" y="83"/>
                    </a:lnTo>
                    <a:lnTo>
                      <a:pt x="158" y="80"/>
                    </a:lnTo>
                    <a:lnTo>
                      <a:pt x="158" y="80"/>
                    </a:lnTo>
                    <a:lnTo>
                      <a:pt x="158" y="78"/>
                    </a:lnTo>
                    <a:lnTo>
                      <a:pt x="163" y="80"/>
                    </a:lnTo>
                    <a:lnTo>
                      <a:pt x="166" y="80"/>
                    </a:lnTo>
                    <a:lnTo>
                      <a:pt x="166" y="80"/>
                    </a:lnTo>
                    <a:lnTo>
                      <a:pt x="168" y="80"/>
                    </a:lnTo>
                    <a:lnTo>
                      <a:pt x="168" y="78"/>
                    </a:lnTo>
                    <a:lnTo>
                      <a:pt x="166" y="78"/>
                    </a:lnTo>
                    <a:lnTo>
                      <a:pt x="161" y="75"/>
                    </a:lnTo>
                    <a:lnTo>
                      <a:pt x="156" y="73"/>
                    </a:lnTo>
                    <a:lnTo>
                      <a:pt x="156" y="71"/>
                    </a:lnTo>
                    <a:lnTo>
                      <a:pt x="154" y="73"/>
                    </a:lnTo>
                    <a:lnTo>
                      <a:pt x="154" y="71"/>
                    </a:lnTo>
                    <a:lnTo>
                      <a:pt x="151" y="71"/>
                    </a:lnTo>
                    <a:lnTo>
                      <a:pt x="149" y="68"/>
                    </a:lnTo>
                    <a:lnTo>
                      <a:pt x="147" y="68"/>
                    </a:lnTo>
                    <a:lnTo>
                      <a:pt x="147" y="66"/>
                    </a:lnTo>
                    <a:lnTo>
                      <a:pt x="147" y="66"/>
                    </a:lnTo>
                    <a:lnTo>
                      <a:pt x="147" y="64"/>
                    </a:lnTo>
                    <a:lnTo>
                      <a:pt x="147" y="64"/>
                    </a:lnTo>
                    <a:lnTo>
                      <a:pt x="149" y="64"/>
                    </a:lnTo>
                    <a:lnTo>
                      <a:pt x="149" y="64"/>
                    </a:lnTo>
                    <a:lnTo>
                      <a:pt x="151" y="64"/>
                    </a:lnTo>
                    <a:lnTo>
                      <a:pt x="154" y="64"/>
                    </a:lnTo>
                    <a:lnTo>
                      <a:pt x="158" y="66"/>
                    </a:lnTo>
                    <a:lnTo>
                      <a:pt x="158" y="68"/>
                    </a:lnTo>
                    <a:lnTo>
                      <a:pt x="163" y="64"/>
                    </a:lnTo>
                    <a:lnTo>
                      <a:pt x="170" y="64"/>
                    </a:lnTo>
                    <a:lnTo>
                      <a:pt x="175" y="64"/>
                    </a:lnTo>
                    <a:lnTo>
                      <a:pt x="184" y="68"/>
                    </a:lnTo>
                    <a:lnTo>
                      <a:pt x="194" y="73"/>
                    </a:lnTo>
                    <a:lnTo>
                      <a:pt x="199" y="73"/>
                    </a:lnTo>
                    <a:lnTo>
                      <a:pt x="201" y="75"/>
                    </a:lnTo>
                    <a:lnTo>
                      <a:pt x="201" y="73"/>
                    </a:lnTo>
                    <a:lnTo>
                      <a:pt x="201" y="73"/>
                    </a:lnTo>
                    <a:lnTo>
                      <a:pt x="201" y="71"/>
                    </a:lnTo>
                    <a:lnTo>
                      <a:pt x="201" y="71"/>
                    </a:lnTo>
                    <a:lnTo>
                      <a:pt x="199" y="68"/>
                    </a:lnTo>
                    <a:lnTo>
                      <a:pt x="199" y="66"/>
                    </a:lnTo>
                    <a:lnTo>
                      <a:pt x="199" y="61"/>
                    </a:lnTo>
                    <a:lnTo>
                      <a:pt x="201" y="59"/>
                    </a:lnTo>
                    <a:lnTo>
                      <a:pt x="203" y="57"/>
                    </a:lnTo>
                    <a:lnTo>
                      <a:pt x="206" y="54"/>
                    </a:lnTo>
                    <a:lnTo>
                      <a:pt x="206" y="54"/>
                    </a:lnTo>
                    <a:lnTo>
                      <a:pt x="211" y="54"/>
                    </a:lnTo>
                    <a:lnTo>
                      <a:pt x="213" y="54"/>
                    </a:lnTo>
                    <a:lnTo>
                      <a:pt x="215" y="54"/>
                    </a:lnTo>
                    <a:lnTo>
                      <a:pt x="218" y="54"/>
                    </a:lnTo>
                    <a:lnTo>
                      <a:pt x="218" y="54"/>
                    </a:lnTo>
                    <a:lnTo>
                      <a:pt x="220" y="52"/>
                    </a:lnTo>
                    <a:lnTo>
                      <a:pt x="220" y="52"/>
                    </a:lnTo>
                    <a:lnTo>
                      <a:pt x="222" y="49"/>
                    </a:lnTo>
                    <a:lnTo>
                      <a:pt x="222" y="49"/>
                    </a:lnTo>
                    <a:lnTo>
                      <a:pt x="225" y="49"/>
                    </a:lnTo>
                    <a:lnTo>
                      <a:pt x="225" y="49"/>
                    </a:lnTo>
                    <a:lnTo>
                      <a:pt x="225" y="47"/>
                    </a:lnTo>
                    <a:lnTo>
                      <a:pt x="227" y="47"/>
                    </a:lnTo>
                    <a:lnTo>
                      <a:pt x="227" y="47"/>
                    </a:lnTo>
                    <a:lnTo>
                      <a:pt x="225" y="45"/>
                    </a:lnTo>
                    <a:lnTo>
                      <a:pt x="225" y="47"/>
                    </a:lnTo>
                    <a:lnTo>
                      <a:pt x="225" y="47"/>
                    </a:lnTo>
                    <a:lnTo>
                      <a:pt x="222" y="47"/>
                    </a:lnTo>
                    <a:lnTo>
                      <a:pt x="222" y="47"/>
                    </a:lnTo>
                    <a:lnTo>
                      <a:pt x="220" y="47"/>
                    </a:lnTo>
                    <a:lnTo>
                      <a:pt x="218" y="45"/>
                    </a:lnTo>
                    <a:lnTo>
                      <a:pt x="215" y="42"/>
                    </a:lnTo>
                    <a:lnTo>
                      <a:pt x="213" y="40"/>
                    </a:lnTo>
                    <a:lnTo>
                      <a:pt x="211" y="38"/>
                    </a:lnTo>
                    <a:lnTo>
                      <a:pt x="208" y="35"/>
                    </a:lnTo>
                    <a:lnTo>
                      <a:pt x="208" y="33"/>
                    </a:lnTo>
                    <a:lnTo>
                      <a:pt x="208" y="28"/>
                    </a:lnTo>
                    <a:lnTo>
                      <a:pt x="208" y="28"/>
                    </a:lnTo>
                    <a:lnTo>
                      <a:pt x="208" y="26"/>
                    </a:lnTo>
                    <a:lnTo>
                      <a:pt x="206" y="26"/>
                    </a:lnTo>
                    <a:lnTo>
                      <a:pt x="206" y="30"/>
                    </a:lnTo>
                    <a:lnTo>
                      <a:pt x="203" y="33"/>
                    </a:lnTo>
                    <a:lnTo>
                      <a:pt x="203" y="35"/>
                    </a:lnTo>
                    <a:lnTo>
                      <a:pt x="201" y="35"/>
                    </a:lnTo>
                    <a:lnTo>
                      <a:pt x="199" y="35"/>
                    </a:lnTo>
                    <a:lnTo>
                      <a:pt x="196" y="35"/>
                    </a:lnTo>
                    <a:lnTo>
                      <a:pt x="189" y="30"/>
                    </a:lnTo>
                    <a:lnTo>
                      <a:pt x="187" y="30"/>
                    </a:lnTo>
                    <a:lnTo>
                      <a:pt x="187" y="30"/>
                    </a:lnTo>
                    <a:lnTo>
                      <a:pt x="184" y="30"/>
                    </a:lnTo>
                    <a:lnTo>
                      <a:pt x="182" y="30"/>
                    </a:lnTo>
                    <a:lnTo>
                      <a:pt x="180" y="28"/>
                    </a:lnTo>
                    <a:lnTo>
                      <a:pt x="177" y="28"/>
                    </a:lnTo>
                    <a:lnTo>
                      <a:pt x="170" y="26"/>
                    </a:lnTo>
                    <a:lnTo>
                      <a:pt x="166" y="23"/>
                    </a:lnTo>
                    <a:lnTo>
                      <a:pt x="161" y="19"/>
                    </a:lnTo>
                    <a:lnTo>
                      <a:pt x="156" y="16"/>
                    </a:lnTo>
                    <a:lnTo>
                      <a:pt x="147" y="9"/>
                    </a:lnTo>
                    <a:lnTo>
                      <a:pt x="140" y="4"/>
                    </a:lnTo>
                    <a:lnTo>
                      <a:pt x="137" y="2"/>
                    </a:lnTo>
                    <a:lnTo>
                      <a:pt x="135" y="2"/>
                    </a:lnTo>
                    <a:lnTo>
                      <a:pt x="135" y="0"/>
                    </a:lnTo>
                    <a:lnTo>
                      <a:pt x="132" y="2"/>
                    </a:lnTo>
                    <a:lnTo>
                      <a:pt x="132" y="2"/>
                    </a:lnTo>
                    <a:lnTo>
                      <a:pt x="132" y="2"/>
                    </a:lnTo>
                    <a:lnTo>
                      <a:pt x="130" y="2"/>
                    </a:lnTo>
                    <a:lnTo>
                      <a:pt x="130" y="4"/>
                    </a:lnTo>
                    <a:lnTo>
                      <a:pt x="132" y="4"/>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125"/>
              <p:cNvSpPr>
                <a:spLocks/>
              </p:cNvSpPr>
              <p:nvPr/>
            </p:nvSpPr>
            <p:spPr bwMode="auto">
              <a:xfrm>
                <a:off x="1310" y="2409"/>
                <a:ext cx="41" cy="17"/>
              </a:xfrm>
              <a:custGeom>
                <a:avLst/>
                <a:gdLst>
                  <a:gd name="T0" fmla="*/ 38 w 41"/>
                  <a:gd name="T1" fmla="*/ 12 h 17"/>
                  <a:gd name="T2" fmla="*/ 38 w 41"/>
                  <a:gd name="T3" fmla="*/ 7 h 17"/>
                  <a:gd name="T4" fmla="*/ 31 w 41"/>
                  <a:gd name="T5" fmla="*/ 5 h 17"/>
                  <a:gd name="T6" fmla="*/ 31 w 41"/>
                  <a:gd name="T7" fmla="*/ 5 h 17"/>
                  <a:gd name="T8" fmla="*/ 29 w 41"/>
                  <a:gd name="T9" fmla="*/ 3 h 17"/>
                  <a:gd name="T10" fmla="*/ 26 w 41"/>
                  <a:gd name="T11" fmla="*/ 3 h 17"/>
                  <a:gd name="T12" fmla="*/ 26 w 41"/>
                  <a:gd name="T13" fmla="*/ 3 h 17"/>
                  <a:gd name="T14" fmla="*/ 24 w 41"/>
                  <a:gd name="T15" fmla="*/ 3 h 17"/>
                  <a:gd name="T16" fmla="*/ 22 w 41"/>
                  <a:gd name="T17" fmla="*/ 0 h 17"/>
                  <a:gd name="T18" fmla="*/ 19 w 41"/>
                  <a:gd name="T19" fmla="*/ 0 h 17"/>
                  <a:gd name="T20" fmla="*/ 19 w 41"/>
                  <a:gd name="T21" fmla="*/ 0 h 17"/>
                  <a:gd name="T22" fmla="*/ 10 w 41"/>
                  <a:gd name="T23" fmla="*/ 0 h 17"/>
                  <a:gd name="T24" fmla="*/ 10 w 41"/>
                  <a:gd name="T25" fmla="*/ 0 h 17"/>
                  <a:gd name="T26" fmla="*/ 7 w 41"/>
                  <a:gd name="T27" fmla="*/ 0 h 17"/>
                  <a:gd name="T28" fmla="*/ 7 w 41"/>
                  <a:gd name="T29" fmla="*/ 0 h 17"/>
                  <a:gd name="T30" fmla="*/ 5 w 41"/>
                  <a:gd name="T31" fmla="*/ 0 h 17"/>
                  <a:gd name="T32" fmla="*/ 3 w 41"/>
                  <a:gd name="T33" fmla="*/ 3 h 17"/>
                  <a:gd name="T34" fmla="*/ 3 w 41"/>
                  <a:gd name="T35" fmla="*/ 3 h 17"/>
                  <a:gd name="T36" fmla="*/ 0 w 41"/>
                  <a:gd name="T37" fmla="*/ 5 h 17"/>
                  <a:gd name="T38" fmla="*/ 3 w 41"/>
                  <a:gd name="T39" fmla="*/ 5 h 17"/>
                  <a:gd name="T40" fmla="*/ 5 w 41"/>
                  <a:gd name="T41" fmla="*/ 7 h 17"/>
                  <a:gd name="T42" fmla="*/ 7 w 41"/>
                  <a:gd name="T43" fmla="*/ 7 h 17"/>
                  <a:gd name="T44" fmla="*/ 7 w 41"/>
                  <a:gd name="T45" fmla="*/ 10 h 17"/>
                  <a:gd name="T46" fmla="*/ 10 w 41"/>
                  <a:gd name="T47" fmla="*/ 10 h 17"/>
                  <a:gd name="T48" fmla="*/ 10 w 41"/>
                  <a:gd name="T49" fmla="*/ 10 h 17"/>
                  <a:gd name="T50" fmla="*/ 10 w 41"/>
                  <a:gd name="T51" fmla="*/ 12 h 17"/>
                  <a:gd name="T52" fmla="*/ 12 w 41"/>
                  <a:gd name="T53" fmla="*/ 15 h 17"/>
                  <a:gd name="T54" fmla="*/ 17 w 41"/>
                  <a:gd name="T55" fmla="*/ 15 h 17"/>
                  <a:gd name="T56" fmla="*/ 19 w 41"/>
                  <a:gd name="T57" fmla="*/ 15 h 17"/>
                  <a:gd name="T58" fmla="*/ 19 w 41"/>
                  <a:gd name="T59" fmla="*/ 15 h 17"/>
                  <a:gd name="T60" fmla="*/ 22 w 41"/>
                  <a:gd name="T61" fmla="*/ 17 h 17"/>
                  <a:gd name="T62" fmla="*/ 22 w 41"/>
                  <a:gd name="T63" fmla="*/ 15 h 17"/>
                  <a:gd name="T64" fmla="*/ 22 w 41"/>
                  <a:gd name="T65" fmla="*/ 12 h 17"/>
                  <a:gd name="T66" fmla="*/ 24 w 41"/>
                  <a:gd name="T67" fmla="*/ 12 h 17"/>
                  <a:gd name="T68" fmla="*/ 24 w 41"/>
                  <a:gd name="T69" fmla="*/ 15 h 17"/>
                  <a:gd name="T70" fmla="*/ 26 w 41"/>
                  <a:gd name="T71" fmla="*/ 15 h 17"/>
                  <a:gd name="T72" fmla="*/ 26 w 41"/>
                  <a:gd name="T73" fmla="*/ 12 h 17"/>
                  <a:gd name="T74" fmla="*/ 29 w 41"/>
                  <a:gd name="T75" fmla="*/ 12 h 17"/>
                  <a:gd name="T76" fmla="*/ 29 w 41"/>
                  <a:gd name="T77" fmla="*/ 12 h 17"/>
                  <a:gd name="T78" fmla="*/ 29 w 41"/>
                  <a:gd name="T79" fmla="*/ 12 h 17"/>
                  <a:gd name="T80" fmla="*/ 29 w 41"/>
                  <a:gd name="T81" fmla="*/ 12 h 17"/>
                  <a:gd name="T82" fmla="*/ 31 w 41"/>
                  <a:gd name="T83" fmla="*/ 12 h 17"/>
                  <a:gd name="T84" fmla="*/ 31 w 41"/>
                  <a:gd name="T85" fmla="*/ 12 h 17"/>
                  <a:gd name="T86" fmla="*/ 33 w 41"/>
                  <a:gd name="T87" fmla="*/ 15 h 17"/>
                  <a:gd name="T88" fmla="*/ 36 w 41"/>
                  <a:gd name="T89" fmla="*/ 12 h 17"/>
                  <a:gd name="T90" fmla="*/ 38 w 41"/>
                  <a:gd name="T91" fmla="*/ 12 h 17"/>
                  <a:gd name="T92" fmla="*/ 41 w 41"/>
                  <a:gd name="T93" fmla="*/ 12 h 17"/>
                  <a:gd name="T94" fmla="*/ 38 w 41"/>
                  <a:gd name="T95"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1" h="17">
                    <a:moveTo>
                      <a:pt x="38" y="12"/>
                    </a:moveTo>
                    <a:lnTo>
                      <a:pt x="38" y="7"/>
                    </a:lnTo>
                    <a:lnTo>
                      <a:pt x="31" y="5"/>
                    </a:lnTo>
                    <a:lnTo>
                      <a:pt x="31" y="5"/>
                    </a:lnTo>
                    <a:lnTo>
                      <a:pt x="29" y="3"/>
                    </a:lnTo>
                    <a:lnTo>
                      <a:pt x="26" y="3"/>
                    </a:lnTo>
                    <a:lnTo>
                      <a:pt x="26" y="3"/>
                    </a:lnTo>
                    <a:lnTo>
                      <a:pt x="24" y="3"/>
                    </a:lnTo>
                    <a:lnTo>
                      <a:pt x="22" y="0"/>
                    </a:lnTo>
                    <a:lnTo>
                      <a:pt x="19" y="0"/>
                    </a:lnTo>
                    <a:lnTo>
                      <a:pt x="19" y="0"/>
                    </a:lnTo>
                    <a:lnTo>
                      <a:pt x="10" y="0"/>
                    </a:lnTo>
                    <a:lnTo>
                      <a:pt x="10" y="0"/>
                    </a:lnTo>
                    <a:lnTo>
                      <a:pt x="7" y="0"/>
                    </a:lnTo>
                    <a:lnTo>
                      <a:pt x="7" y="0"/>
                    </a:lnTo>
                    <a:lnTo>
                      <a:pt x="5" y="0"/>
                    </a:lnTo>
                    <a:lnTo>
                      <a:pt x="3" y="3"/>
                    </a:lnTo>
                    <a:lnTo>
                      <a:pt x="3" y="3"/>
                    </a:lnTo>
                    <a:lnTo>
                      <a:pt x="0" y="5"/>
                    </a:lnTo>
                    <a:lnTo>
                      <a:pt x="3" y="5"/>
                    </a:lnTo>
                    <a:lnTo>
                      <a:pt x="5" y="7"/>
                    </a:lnTo>
                    <a:lnTo>
                      <a:pt x="7" y="7"/>
                    </a:lnTo>
                    <a:lnTo>
                      <a:pt x="7" y="10"/>
                    </a:lnTo>
                    <a:lnTo>
                      <a:pt x="10" y="10"/>
                    </a:lnTo>
                    <a:lnTo>
                      <a:pt x="10" y="10"/>
                    </a:lnTo>
                    <a:lnTo>
                      <a:pt x="10" y="12"/>
                    </a:lnTo>
                    <a:lnTo>
                      <a:pt x="12" y="15"/>
                    </a:lnTo>
                    <a:lnTo>
                      <a:pt x="17" y="15"/>
                    </a:lnTo>
                    <a:lnTo>
                      <a:pt x="19" y="15"/>
                    </a:lnTo>
                    <a:lnTo>
                      <a:pt x="19" y="15"/>
                    </a:lnTo>
                    <a:lnTo>
                      <a:pt x="22" y="17"/>
                    </a:lnTo>
                    <a:lnTo>
                      <a:pt x="22" y="15"/>
                    </a:lnTo>
                    <a:lnTo>
                      <a:pt x="22" y="12"/>
                    </a:lnTo>
                    <a:lnTo>
                      <a:pt x="24" y="12"/>
                    </a:lnTo>
                    <a:lnTo>
                      <a:pt x="24" y="15"/>
                    </a:lnTo>
                    <a:lnTo>
                      <a:pt x="26" y="15"/>
                    </a:lnTo>
                    <a:lnTo>
                      <a:pt x="26" y="12"/>
                    </a:lnTo>
                    <a:lnTo>
                      <a:pt x="29" y="12"/>
                    </a:lnTo>
                    <a:lnTo>
                      <a:pt x="29" y="12"/>
                    </a:lnTo>
                    <a:lnTo>
                      <a:pt x="29" y="12"/>
                    </a:lnTo>
                    <a:lnTo>
                      <a:pt x="29" y="12"/>
                    </a:lnTo>
                    <a:lnTo>
                      <a:pt x="31" y="12"/>
                    </a:lnTo>
                    <a:lnTo>
                      <a:pt x="31" y="12"/>
                    </a:lnTo>
                    <a:lnTo>
                      <a:pt x="33" y="15"/>
                    </a:lnTo>
                    <a:lnTo>
                      <a:pt x="36" y="12"/>
                    </a:lnTo>
                    <a:lnTo>
                      <a:pt x="38" y="12"/>
                    </a:lnTo>
                    <a:lnTo>
                      <a:pt x="41" y="12"/>
                    </a:lnTo>
                    <a:lnTo>
                      <a:pt x="38" y="12"/>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Freeform 126"/>
              <p:cNvSpPr>
                <a:spLocks noEditPoints="1"/>
              </p:cNvSpPr>
              <p:nvPr/>
            </p:nvSpPr>
            <p:spPr bwMode="auto">
              <a:xfrm>
                <a:off x="2588" y="2573"/>
                <a:ext cx="116" cy="135"/>
              </a:xfrm>
              <a:custGeom>
                <a:avLst/>
                <a:gdLst>
                  <a:gd name="T0" fmla="*/ 99 w 116"/>
                  <a:gd name="T1" fmla="*/ 118 h 135"/>
                  <a:gd name="T2" fmla="*/ 111 w 116"/>
                  <a:gd name="T3" fmla="*/ 38 h 135"/>
                  <a:gd name="T4" fmla="*/ 111 w 116"/>
                  <a:gd name="T5" fmla="*/ 30 h 135"/>
                  <a:gd name="T6" fmla="*/ 111 w 116"/>
                  <a:gd name="T7" fmla="*/ 28 h 135"/>
                  <a:gd name="T8" fmla="*/ 106 w 116"/>
                  <a:gd name="T9" fmla="*/ 23 h 135"/>
                  <a:gd name="T10" fmla="*/ 101 w 116"/>
                  <a:gd name="T11" fmla="*/ 19 h 135"/>
                  <a:gd name="T12" fmla="*/ 90 w 116"/>
                  <a:gd name="T13" fmla="*/ 19 h 135"/>
                  <a:gd name="T14" fmla="*/ 80 w 116"/>
                  <a:gd name="T15" fmla="*/ 23 h 135"/>
                  <a:gd name="T16" fmla="*/ 73 w 116"/>
                  <a:gd name="T17" fmla="*/ 19 h 135"/>
                  <a:gd name="T18" fmla="*/ 66 w 116"/>
                  <a:gd name="T19" fmla="*/ 12 h 135"/>
                  <a:gd name="T20" fmla="*/ 59 w 116"/>
                  <a:gd name="T21" fmla="*/ 7 h 135"/>
                  <a:gd name="T22" fmla="*/ 52 w 116"/>
                  <a:gd name="T23" fmla="*/ 9 h 135"/>
                  <a:gd name="T24" fmla="*/ 47 w 116"/>
                  <a:gd name="T25" fmla="*/ 12 h 135"/>
                  <a:gd name="T26" fmla="*/ 47 w 116"/>
                  <a:gd name="T27" fmla="*/ 7 h 135"/>
                  <a:gd name="T28" fmla="*/ 45 w 116"/>
                  <a:gd name="T29" fmla="*/ 0 h 135"/>
                  <a:gd name="T30" fmla="*/ 42 w 116"/>
                  <a:gd name="T31" fmla="*/ 4 h 135"/>
                  <a:gd name="T32" fmla="*/ 38 w 116"/>
                  <a:gd name="T33" fmla="*/ 2 h 135"/>
                  <a:gd name="T34" fmla="*/ 35 w 116"/>
                  <a:gd name="T35" fmla="*/ 9 h 135"/>
                  <a:gd name="T36" fmla="*/ 31 w 116"/>
                  <a:gd name="T37" fmla="*/ 9 h 135"/>
                  <a:gd name="T38" fmla="*/ 31 w 116"/>
                  <a:gd name="T39" fmla="*/ 12 h 135"/>
                  <a:gd name="T40" fmla="*/ 23 w 116"/>
                  <a:gd name="T41" fmla="*/ 9 h 135"/>
                  <a:gd name="T42" fmla="*/ 19 w 116"/>
                  <a:gd name="T43" fmla="*/ 7 h 135"/>
                  <a:gd name="T44" fmla="*/ 14 w 116"/>
                  <a:gd name="T45" fmla="*/ 12 h 135"/>
                  <a:gd name="T46" fmla="*/ 9 w 116"/>
                  <a:gd name="T47" fmla="*/ 19 h 135"/>
                  <a:gd name="T48" fmla="*/ 14 w 116"/>
                  <a:gd name="T49" fmla="*/ 28 h 135"/>
                  <a:gd name="T50" fmla="*/ 16 w 116"/>
                  <a:gd name="T51" fmla="*/ 35 h 135"/>
                  <a:gd name="T52" fmla="*/ 14 w 116"/>
                  <a:gd name="T53" fmla="*/ 42 h 135"/>
                  <a:gd name="T54" fmla="*/ 19 w 116"/>
                  <a:gd name="T55" fmla="*/ 49 h 135"/>
                  <a:gd name="T56" fmla="*/ 14 w 116"/>
                  <a:gd name="T57" fmla="*/ 47 h 135"/>
                  <a:gd name="T58" fmla="*/ 7 w 116"/>
                  <a:gd name="T59" fmla="*/ 49 h 135"/>
                  <a:gd name="T60" fmla="*/ 12 w 116"/>
                  <a:gd name="T61" fmla="*/ 54 h 135"/>
                  <a:gd name="T62" fmla="*/ 9 w 116"/>
                  <a:gd name="T63" fmla="*/ 61 h 135"/>
                  <a:gd name="T64" fmla="*/ 4 w 116"/>
                  <a:gd name="T65" fmla="*/ 66 h 135"/>
                  <a:gd name="T66" fmla="*/ 4 w 116"/>
                  <a:gd name="T67" fmla="*/ 71 h 135"/>
                  <a:gd name="T68" fmla="*/ 7 w 116"/>
                  <a:gd name="T69" fmla="*/ 83 h 135"/>
                  <a:gd name="T70" fmla="*/ 2 w 116"/>
                  <a:gd name="T71" fmla="*/ 90 h 135"/>
                  <a:gd name="T72" fmla="*/ 9 w 116"/>
                  <a:gd name="T73" fmla="*/ 94 h 135"/>
                  <a:gd name="T74" fmla="*/ 14 w 116"/>
                  <a:gd name="T75" fmla="*/ 97 h 135"/>
                  <a:gd name="T76" fmla="*/ 19 w 116"/>
                  <a:gd name="T77" fmla="*/ 102 h 135"/>
                  <a:gd name="T78" fmla="*/ 23 w 116"/>
                  <a:gd name="T79" fmla="*/ 109 h 135"/>
                  <a:gd name="T80" fmla="*/ 21 w 116"/>
                  <a:gd name="T81" fmla="*/ 116 h 135"/>
                  <a:gd name="T82" fmla="*/ 19 w 116"/>
                  <a:gd name="T83" fmla="*/ 123 h 135"/>
                  <a:gd name="T84" fmla="*/ 23 w 116"/>
                  <a:gd name="T85" fmla="*/ 135 h 135"/>
                  <a:gd name="T86" fmla="*/ 38 w 116"/>
                  <a:gd name="T87" fmla="*/ 128 h 135"/>
                  <a:gd name="T88" fmla="*/ 66 w 116"/>
                  <a:gd name="T89" fmla="*/ 118 h 135"/>
                  <a:gd name="T90" fmla="*/ 66 w 116"/>
                  <a:gd name="T91" fmla="*/ 118 h 135"/>
                  <a:gd name="T92" fmla="*/ 85 w 116"/>
                  <a:gd name="T93" fmla="*/ 116 h 135"/>
                  <a:gd name="T94" fmla="*/ 85 w 116"/>
                  <a:gd name="T95" fmla="*/ 116 h 135"/>
                  <a:gd name="T96" fmla="*/ 101 w 116"/>
                  <a:gd name="T97" fmla="*/ 113 h 135"/>
                  <a:gd name="T98" fmla="*/ 104 w 116"/>
                  <a:gd name="T99" fmla="*/ 118 h 135"/>
                  <a:gd name="T100" fmla="*/ 109 w 116"/>
                  <a:gd name="T101" fmla="*/ 118 h 135"/>
                  <a:gd name="T102" fmla="*/ 109 w 116"/>
                  <a:gd name="T103" fmla="*/ 109 h 135"/>
                  <a:gd name="T104" fmla="*/ 104 w 116"/>
                  <a:gd name="T105" fmla="*/ 104 h 135"/>
                  <a:gd name="T106" fmla="*/ 101 w 116"/>
                  <a:gd name="T107" fmla="*/ 90 h 135"/>
                  <a:gd name="T108" fmla="*/ 101 w 116"/>
                  <a:gd name="T109" fmla="*/ 80 h 135"/>
                  <a:gd name="T110" fmla="*/ 106 w 116"/>
                  <a:gd name="T111" fmla="*/ 68 h 135"/>
                  <a:gd name="T112" fmla="*/ 109 w 116"/>
                  <a:gd name="T113" fmla="*/ 59 h 135"/>
                  <a:gd name="T114" fmla="*/ 113 w 116"/>
                  <a:gd name="T115" fmla="*/ 54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6" h="135">
                    <a:moveTo>
                      <a:pt x="99" y="118"/>
                    </a:moveTo>
                    <a:lnTo>
                      <a:pt x="104" y="120"/>
                    </a:lnTo>
                    <a:lnTo>
                      <a:pt x="104" y="118"/>
                    </a:lnTo>
                    <a:lnTo>
                      <a:pt x="101" y="118"/>
                    </a:lnTo>
                    <a:lnTo>
                      <a:pt x="99" y="118"/>
                    </a:lnTo>
                    <a:close/>
                    <a:moveTo>
                      <a:pt x="113" y="47"/>
                    </a:moveTo>
                    <a:lnTo>
                      <a:pt x="113" y="42"/>
                    </a:lnTo>
                    <a:lnTo>
                      <a:pt x="113" y="40"/>
                    </a:lnTo>
                    <a:lnTo>
                      <a:pt x="113" y="40"/>
                    </a:lnTo>
                    <a:lnTo>
                      <a:pt x="111" y="38"/>
                    </a:lnTo>
                    <a:lnTo>
                      <a:pt x="111" y="35"/>
                    </a:lnTo>
                    <a:lnTo>
                      <a:pt x="111" y="35"/>
                    </a:lnTo>
                    <a:lnTo>
                      <a:pt x="111" y="35"/>
                    </a:lnTo>
                    <a:lnTo>
                      <a:pt x="111" y="33"/>
                    </a:lnTo>
                    <a:lnTo>
                      <a:pt x="111" y="30"/>
                    </a:lnTo>
                    <a:lnTo>
                      <a:pt x="111" y="30"/>
                    </a:lnTo>
                    <a:lnTo>
                      <a:pt x="111" y="30"/>
                    </a:lnTo>
                    <a:lnTo>
                      <a:pt x="111" y="28"/>
                    </a:lnTo>
                    <a:lnTo>
                      <a:pt x="111" y="26"/>
                    </a:lnTo>
                    <a:lnTo>
                      <a:pt x="111" y="28"/>
                    </a:lnTo>
                    <a:lnTo>
                      <a:pt x="111" y="28"/>
                    </a:lnTo>
                    <a:lnTo>
                      <a:pt x="109" y="28"/>
                    </a:lnTo>
                    <a:lnTo>
                      <a:pt x="109" y="26"/>
                    </a:lnTo>
                    <a:lnTo>
                      <a:pt x="109" y="26"/>
                    </a:lnTo>
                    <a:lnTo>
                      <a:pt x="106" y="23"/>
                    </a:lnTo>
                    <a:lnTo>
                      <a:pt x="106" y="23"/>
                    </a:lnTo>
                    <a:lnTo>
                      <a:pt x="104" y="21"/>
                    </a:lnTo>
                    <a:lnTo>
                      <a:pt x="104" y="21"/>
                    </a:lnTo>
                    <a:lnTo>
                      <a:pt x="104" y="19"/>
                    </a:lnTo>
                    <a:lnTo>
                      <a:pt x="101" y="19"/>
                    </a:lnTo>
                    <a:lnTo>
                      <a:pt x="99" y="19"/>
                    </a:lnTo>
                    <a:lnTo>
                      <a:pt x="99" y="19"/>
                    </a:lnTo>
                    <a:lnTo>
                      <a:pt x="94" y="16"/>
                    </a:lnTo>
                    <a:lnTo>
                      <a:pt x="92" y="16"/>
                    </a:lnTo>
                    <a:lnTo>
                      <a:pt x="90" y="19"/>
                    </a:lnTo>
                    <a:lnTo>
                      <a:pt x="87" y="19"/>
                    </a:lnTo>
                    <a:lnTo>
                      <a:pt x="83" y="21"/>
                    </a:lnTo>
                    <a:lnTo>
                      <a:pt x="83" y="21"/>
                    </a:lnTo>
                    <a:lnTo>
                      <a:pt x="80" y="23"/>
                    </a:lnTo>
                    <a:lnTo>
                      <a:pt x="80" y="23"/>
                    </a:lnTo>
                    <a:lnTo>
                      <a:pt x="78" y="23"/>
                    </a:lnTo>
                    <a:lnTo>
                      <a:pt x="78" y="21"/>
                    </a:lnTo>
                    <a:lnTo>
                      <a:pt x="75" y="21"/>
                    </a:lnTo>
                    <a:lnTo>
                      <a:pt x="73" y="21"/>
                    </a:lnTo>
                    <a:lnTo>
                      <a:pt x="73" y="19"/>
                    </a:lnTo>
                    <a:lnTo>
                      <a:pt x="71" y="19"/>
                    </a:lnTo>
                    <a:lnTo>
                      <a:pt x="68" y="16"/>
                    </a:lnTo>
                    <a:lnTo>
                      <a:pt x="68" y="14"/>
                    </a:lnTo>
                    <a:lnTo>
                      <a:pt x="68" y="14"/>
                    </a:lnTo>
                    <a:lnTo>
                      <a:pt x="66" y="12"/>
                    </a:lnTo>
                    <a:lnTo>
                      <a:pt x="66" y="9"/>
                    </a:lnTo>
                    <a:lnTo>
                      <a:pt x="64" y="9"/>
                    </a:lnTo>
                    <a:lnTo>
                      <a:pt x="61" y="9"/>
                    </a:lnTo>
                    <a:lnTo>
                      <a:pt x="59" y="9"/>
                    </a:lnTo>
                    <a:lnTo>
                      <a:pt x="59" y="7"/>
                    </a:lnTo>
                    <a:lnTo>
                      <a:pt x="59" y="7"/>
                    </a:lnTo>
                    <a:lnTo>
                      <a:pt x="57" y="7"/>
                    </a:lnTo>
                    <a:lnTo>
                      <a:pt x="52" y="7"/>
                    </a:lnTo>
                    <a:lnTo>
                      <a:pt x="52" y="9"/>
                    </a:lnTo>
                    <a:lnTo>
                      <a:pt x="52" y="9"/>
                    </a:lnTo>
                    <a:lnTo>
                      <a:pt x="52" y="9"/>
                    </a:lnTo>
                    <a:lnTo>
                      <a:pt x="49" y="12"/>
                    </a:lnTo>
                    <a:lnTo>
                      <a:pt x="49" y="12"/>
                    </a:lnTo>
                    <a:lnTo>
                      <a:pt x="47" y="12"/>
                    </a:lnTo>
                    <a:lnTo>
                      <a:pt x="47" y="12"/>
                    </a:lnTo>
                    <a:lnTo>
                      <a:pt x="45" y="9"/>
                    </a:lnTo>
                    <a:lnTo>
                      <a:pt x="45" y="9"/>
                    </a:lnTo>
                    <a:lnTo>
                      <a:pt x="47" y="9"/>
                    </a:lnTo>
                    <a:lnTo>
                      <a:pt x="47" y="7"/>
                    </a:lnTo>
                    <a:lnTo>
                      <a:pt x="47" y="7"/>
                    </a:lnTo>
                    <a:lnTo>
                      <a:pt x="47" y="4"/>
                    </a:lnTo>
                    <a:lnTo>
                      <a:pt x="45" y="4"/>
                    </a:lnTo>
                    <a:lnTo>
                      <a:pt x="45" y="2"/>
                    </a:lnTo>
                    <a:lnTo>
                      <a:pt x="45" y="0"/>
                    </a:lnTo>
                    <a:lnTo>
                      <a:pt x="45" y="0"/>
                    </a:lnTo>
                    <a:lnTo>
                      <a:pt x="42" y="2"/>
                    </a:lnTo>
                    <a:lnTo>
                      <a:pt x="42" y="2"/>
                    </a:lnTo>
                    <a:lnTo>
                      <a:pt x="42" y="2"/>
                    </a:lnTo>
                    <a:lnTo>
                      <a:pt x="42" y="2"/>
                    </a:lnTo>
                    <a:lnTo>
                      <a:pt x="42" y="4"/>
                    </a:lnTo>
                    <a:lnTo>
                      <a:pt x="42" y="4"/>
                    </a:lnTo>
                    <a:lnTo>
                      <a:pt x="40" y="4"/>
                    </a:lnTo>
                    <a:lnTo>
                      <a:pt x="40" y="4"/>
                    </a:lnTo>
                    <a:lnTo>
                      <a:pt x="38" y="2"/>
                    </a:lnTo>
                    <a:lnTo>
                      <a:pt x="38" y="2"/>
                    </a:lnTo>
                    <a:lnTo>
                      <a:pt x="38" y="4"/>
                    </a:lnTo>
                    <a:lnTo>
                      <a:pt x="38" y="4"/>
                    </a:lnTo>
                    <a:lnTo>
                      <a:pt x="38" y="7"/>
                    </a:lnTo>
                    <a:lnTo>
                      <a:pt x="38" y="9"/>
                    </a:lnTo>
                    <a:lnTo>
                      <a:pt x="35" y="9"/>
                    </a:lnTo>
                    <a:lnTo>
                      <a:pt x="35" y="9"/>
                    </a:lnTo>
                    <a:lnTo>
                      <a:pt x="33" y="9"/>
                    </a:lnTo>
                    <a:lnTo>
                      <a:pt x="33" y="9"/>
                    </a:lnTo>
                    <a:lnTo>
                      <a:pt x="33" y="9"/>
                    </a:lnTo>
                    <a:lnTo>
                      <a:pt x="31" y="9"/>
                    </a:lnTo>
                    <a:lnTo>
                      <a:pt x="33" y="12"/>
                    </a:lnTo>
                    <a:lnTo>
                      <a:pt x="33" y="12"/>
                    </a:lnTo>
                    <a:lnTo>
                      <a:pt x="31" y="12"/>
                    </a:lnTo>
                    <a:lnTo>
                      <a:pt x="31" y="12"/>
                    </a:lnTo>
                    <a:lnTo>
                      <a:pt x="31" y="12"/>
                    </a:lnTo>
                    <a:lnTo>
                      <a:pt x="31" y="12"/>
                    </a:lnTo>
                    <a:lnTo>
                      <a:pt x="28" y="12"/>
                    </a:lnTo>
                    <a:lnTo>
                      <a:pt x="26" y="9"/>
                    </a:lnTo>
                    <a:lnTo>
                      <a:pt x="23" y="9"/>
                    </a:lnTo>
                    <a:lnTo>
                      <a:pt x="23" y="9"/>
                    </a:lnTo>
                    <a:lnTo>
                      <a:pt x="23" y="7"/>
                    </a:lnTo>
                    <a:lnTo>
                      <a:pt x="23" y="7"/>
                    </a:lnTo>
                    <a:lnTo>
                      <a:pt x="21" y="7"/>
                    </a:lnTo>
                    <a:lnTo>
                      <a:pt x="21" y="7"/>
                    </a:lnTo>
                    <a:lnTo>
                      <a:pt x="19" y="7"/>
                    </a:lnTo>
                    <a:lnTo>
                      <a:pt x="19" y="9"/>
                    </a:lnTo>
                    <a:lnTo>
                      <a:pt x="16" y="12"/>
                    </a:lnTo>
                    <a:lnTo>
                      <a:pt x="14" y="12"/>
                    </a:lnTo>
                    <a:lnTo>
                      <a:pt x="14" y="12"/>
                    </a:lnTo>
                    <a:lnTo>
                      <a:pt x="14" y="12"/>
                    </a:lnTo>
                    <a:lnTo>
                      <a:pt x="12" y="14"/>
                    </a:lnTo>
                    <a:lnTo>
                      <a:pt x="12" y="14"/>
                    </a:lnTo>
                    <a:lnTo>
                      <a:pt x="9" y="16"/>
                    </a:lnTo>
                    <a:lnTo>
                      <a:pt x="9" y="16"/>
                    </a:lnTo>
                    <a:lnTo>
                      <a:pt x="9" y="19"/>
                    </a:lnTo>
                    <a:lnTo>
                      <a:pt x="9" y="23"/>
                    </a:lnTo>
                    <a:lnTo>
                      <a:pt x="9" y="26"/>
                    </a:lnTo>
                    <a:lnTo>
                      <a:pt x="12" y="28"/>
                    </a:lnTo>
                    <a:lnTo>
                      <a:pt x="12" y="28"/>
                    </a:lnTo>
                    <a:lnTo>
                      <a:pt x="14" y="28"/>
                    </a:lnTo>
                    <a:lnTo>
                      <a:pt x="14" y="28"/>
                    </a:lnTo>
                    <a:lnTo>
                      <a:pt x="14" y="30"/>
                    </a:lnTo>
                    <a:lnTo>
                      <a:pt x="14" y="33"/>
                    </a:lnTo>
                    <a:lnTo>
                      <a:pt x="16" y="33"/>
                    </a:lnTo>
                    <a:lnTo>
                      <a:pt x="16" y="35"/>
                    </a:lnTo>
                    <a:lnTo>
                      <a:pt x="16" y="35"/>
                    </a:lnTo>
                    <a:lnTo>
                      <a:pt x="14" y="38"/>
                    </a:lnTo>
                    <a:lnTo>
                      <a:pt x="14" y="38"/>
                    </a:lnTo>
                    <a:lnTo>
                      <a:pt x="14" y="40"/>
                    </a:lnTo>
                    <a:lnTo>
                      <a:pt x="14" y="42"/>
                    </a:lnTo>
                    <a:lnTo>
                      <a:pt x="16" y="42"/>
                    </a:lnTo>
                    <a:lnTo>
                      <a:pt x="19" y="45"/>
                    </a:lnTo>
                    <a:lnTo>
                      <a:pt x="19" y="47"/>
                    </a:lnTo>
                    <a:lnTo>
                      <a:pt x="19" y="49"/>
                    </a:lnTo>
                    <a:lnTo>
                      <a:pt x="19" y="49"/>
                    </a:lnTo>
                    <a:lnTo>
                      <a:pt x="16" y="49"/>
                    </a:lnTo>
                    <a:lnTo>
                      <a:pt x="16" y="49"/>
                    </a:lnTo>
                    <a:lnTo>
                      <a:pt x="16" y="47"/>
                    </a:lnTo>
                    <a:lnTo>
                      <a:pt x="14" y="47"/>
                    </a:lnTo>
                    <a:lnTo>
                      <a:pt x="14" y="47"/>
                    </a:lnTo>
                    <a:lnTo>
                      <a:pt x="12" y="47"/>
                    </a:lnTo>
                    <a:lnTo>
                      <a:pt x="9" y="47"/>
                    </a:lnTo>
                    <a:lnTo>
                      <a:pt x="9" y="47"/>
                    </a:lnTo>
                    <a:lnTo>
                      <a:pt x="7" y="49"/>
                    </a:lnTo>
                    <a:lnTo>
                      <a:pt x="7" y="49"/>
                    </a:lnTo>
                    <a:lnTo>
                      <a:pt x="7" y="52"/>
                    </a:lnTo>
                    <a:lnTo>
                      <a:pt x="9" y="54"/>
                    </a:lnTo>
                    <a:lnTo>
                      <a:pt x="9" y="54"/>
                    </a:lnTo>
                    <a:lnTo>
                      <a:pt x="12" y="54"/>
                    </a:lnTo>
                    <a:lnTo>
                      <a:pt x="12" y="54"/>
                    </a:lnTo>
                    <a:lnTo>
                      <a:pt x="12" y="54"/>
                    </a:lnTo>
                    <a:lnTo>
                      <a:pt x="12" y="57"/>
                    </a:lnTo>
                    <a:lnTo>
                      <a:pt x="12" y="57"/>
                    </a:lnTo>
                    <a:lnTo>
                      <a:pt x="12" y="59"/>
                    </a:lnTo>
                    <a:lnTo>
                      <a:pt x="9" y="61"/>
                    </a:lnTo>
                    <a:lnTo>
                      <a:pt x="9" y="61"/>
                    </a:lnTo>
                    <a:lnTo>
                      <a:pt x="9" y="64"/>
                    </a:lnTo>
                    <a:lnTo>
                      <a:pt x="9" y="66"/>
                    </a:lnTo>
                    <a:lnTo>
                      <a:pt x="7" y="68"/>
                    </a:lnTo>
                    <a:lnTo>
                      <a:pt x="4" y="66"/>
                    </a:lnTo>
                    <a:lnTo>
                      <a:pt x="4" y="66"/>
                    </a:lnTo>
                    <a:lnTo>
                      <a:pt x="2" y="68"/>
                    </a:lnTo>
                    <a:lnTo>
                      <a:pt x="4" y="68"/>
                    </a:lnTo>
                    <a:lnTo>
                      <a:pt x="4" y="68"/>
                    </a:lnTo>
                    <a:lnTo>
                      <a:pt x="4" y="71"/>
                    </a:lnTo>
                    <a:lnTo>
                      <a:pt x="7" y="78"/>
                    </a:lnTo>
                    <a:lnTo>
                      <a:pt x="7" y="80"/>
                    </a:lnTo>
                    <a:lnTo>
                      <a:pt x="7" y="80"/>
                    </a:lnTo>
                    <a:lnTo>
                      <a:pt x="7" y="83"/>
                    </a:lnTo>
                    <a:lnTo>
                      <a:pt x="7" y="83"/>
                    </a:lnTo>
                    <a:lnTo>
                      <a:pt x="4" y="85"/>
                    </a:lnTo>
                    <a:lnTo>
                      <a:pt x="0" y="90"/>
                    </a:lnTo>
                    <a:lnTo>
                      <a:pt x="2" y="90"/>
                    </a:lnTo>
                    <a:lnTo>
                      <a:pt x="2" y="90"/>
                    </a:lnTo>
                    <a:lnTo>
                      <a:pt x="2" y="90"/>
                    </a:lnTo>
                    <a:lnTo>
                      <a:pt x="4" y="90"/>
                    </a:lnTo>
                    <a:lnTo>
                      <a:pt x="4" y="92"/>
                    </a:lnTo>
                    <a:lnTo>
                      <a:pt x="4" y="92"/>
                    </a:lnTo>
                    <a:lnTo>
                      <a:pt x="7" y="94"/>
                    </a:lnTo>
                    <a:lnTo>
                      <a:pt x="9" y="94"/>
                    </a:lnTo>
                    <a:lnTo>
                      <a:pt x="9" y="94"/>
                    </a:lnTo>
                    <a:lnTo>
                      <a:pt x="12" y="94"/>
                    </a:lnTo>
                    <a:lnTo>
                      <a:pt x="12" y="94"/>
                    </a:lnTo>
                    <a:lnTo>
                      <a:pt x="14" y="94"/>
                    </a:lnTo>
                    <a:lnTo>
                      <a:pt x="14" y="97"/>
                    </a:lnTo>
                    <a:lnTo>
                      <a:pt x="14" y="99"/>
                    </a:lnTo>
                    <a:lnTo>
                      <a:pt x="16" y="99"/>
                    </a:lnTo>
                    <a:lnTo>
                      <a:pt x="16" y="102"/>
                    </a:lnTo>
                    <a:lnTo>
                      <a:pt x="16" y="102"/>
                    </a:lnTo>
                    <a:lnTo>
                      <a:pt x="19" y="102"/>
                    </a:lnTo>
                    <a:lnTo>
                      <a:pt x="21" y="104"/>
                    </a:lnTo>
                    <a:lnTo>
                      <a:pt x="21" y="104"/>
                    </a:lnTo>
                    <a:lnTo>
                      <a:pt x="21" y="104"/>
                    </a:lnTo>
                    <a:lnTo>
                      <a:pt x="21" y="104"/>
                    </a:lnTo>
                    <a:lnTo>
                      <a:pt x="23" y="109"/>
                    </a:lnTo>
                    <a:lnTo>
                      <a:pt x="23" y="109"/>
                    </a:lnTo>
                    <a:lnTo>
                      <a:pt x="23" y="111"/>
                    </a:lnTo>
                    <a:lnTo>
                      <a:pt x="23" y="111"/>
                    </a:lnTo>
                    <a:lnTo>
                      <a:pt x="23" y="113"/>
                    </a:lnTo>
                    <a:lnTo>
                      <a:pt x="21" y="116"/>
                    </a:lnTo>
                    <a:lnTo>
                      <a:pt x="21" y="118"/>
                    </a:lnTo>
                    <a:lnTo>
                      <a:pt x="21" y="118"/>
                    </a:lnTo>
                    <a:lnTo>
                      <a:pt x="19" y="120"/>
                    </a:lnTo>
                    <a:lnTo>
                      <a:pt x="19" y="120"/>
                    </a:lnTo>
                    <a:lnTo>
                      <a:pt x="19" y="123"/>
                    </a:lnTo>
                    <a:lnTo>
                      <a:pt x="19" y="125"/>
                    </a:lnTo>
                    <a:lnTo>
                      <a:pt x="19" y="130"/>
                    </a:lnTo>
                    <a:lnTo>
                      <a:pt x="19" y="135"/>
                    </a:lnTo>
                    <a:lnTo>
                      <a:pt x="21" y="135"/>
                    </a:lnTo>
                    <a:lnTo>
                      <a:pt x="23" y="135"/>
                    </a:lnTo>
                    <a:lnTo>
                      <a:pt x="26" y="132"/>
                    </a:lnTo>
                    <a:lnTo>
                      <a:pt x="28" y="130"/>
                    </a:lnTo>
                    <a:lnTo>
                      <a:pt x="31" y="130"/>
                    </a:lnTo>
                    <a:lnTo>
                      <a:pt x="33" y="128"/>
                    </a:lnTo>
                    <a:lnTo>
                      <a:pt x="38" y="128"/>
                    </a:lnTo>
                    <a:lnTo>
                      <a:pt x="47" y="123"/>
                    </a:lnTo>
                    <a:lnTo>
                      <a:pt x="49" y="120"/>
                    </a:lnTo>
                    <a:lnTo>
                      <a:pt x="57" y="120"/>
                    </a:lnTo>
                    <a:lnTo>
                      <a:pt x="66" y="118"/>
                    </a:lnTo>
                    <a:lnTo>
                      <a:pt x="66" y="118"/>
                    </a:lnTo>
                    <a:lnTo>
                      <a:pt x="64" y="118"/>
                    </a:lnTo>
                    <a:lnTo>
                      <a:pt x="61" y="118"/>
                    </a:lnTo>
                    <a:lnTo>
                      <a:pt x="61" y="118"/>
                    </a:lnTo>
                    <a:lnTo>
                      <a:pt x="61" y="118"/>
                    </a:lnTo>
                    <a:lnTo>
                      <a:pt x="66" y="118"/>
                    </a:lnTo>
                    <a:lnTo>
                      <a:pt x="68" y="118"/>
                    </a:lnTo>
                    <a:lnTo>
                      <a:pt x="68" y="118"/>
                    </a:lnTo>
                    <a:lnTo>
                      <a:pt x="73" y="118"/>
                    </a:lnTo>
                    <a:lnTo>
                      <a:pt x="85" y="116"/>
                    </a:lnTo>
                    <a:lnTo>
                      <a:pt x="85" y="116"/>
                    </a:lnTo>
                    <a:lnTo>
                      <a:pt x="85" y="116"/>
                    </a:lnTo>
                    <a:lnTo>
                      <a:pt x="75" y="116"/>
                    </a:lnTo>
                    <a:lnTo>
                      <a:pt x="75" y="116"/>
                    </a:lnTo>
                    <a:lnTo>
                      <a:pt x="80" y="116"/>
                    </a:lnTo>
                    <a:lnTo>
                      <a:pt x="85" y="116"/>
                    </a:lnTo>
                    <a:lnTo>
                      <a:pt x="87" y="116"/>
                    </a:lnTo>
                    <a:lnTo>
                      <a:pt x="90" y="116"/>
                    </a:lnTo>
                    <a:lnTo>
                      <a:pt x="99" y="118"/>
                    </a:lnTo>
                    <a:lnTo>
                      <a:pt x="99" y="118"/>
                    </a:lnTo>
                    <a:lnTo>
                      <a:pt x="101" y="113"/>
                    </a:lnTo>
                    <a:lnTo>
                      <a:pt x="101" y="113"/>
                    </a:lnTo>
                    <a:lnTo>
                      <a:pt x="101" y="113"/>
                    </a:lnTo>
                    <a:lnTo>
                      <a:pt x="101" y="118"/>
                    </a:lnTo>
                    <a:lnTo>
                      <a:pt x="104" y="118"/>
                    </a:lnTo>
                    <a:lnTo>
                      <a:pt x="104" y="118"/>
                    </a:lnTo>
                    <a:lnTo>
                      <a:pt x="104" y="118"/>
                    </a:lnTo>
                    <a:lnTo>
                      <a:pt x="106" y="118"/>
                    </a:lnTo>
                    <a:lnTo>
                      <a:pt x="106" y="118"/>
                    </a:lnTo>
                    <a:lnTo>
                      <a:pt x="109" y="118"/>
                    </a:lnTo>
                    <a:lnTo>
                      <a:pt x="109" y="118"/>
                    </a:lnTo>
                    <a:lnTo>
                      <a:pt x="109" y="116"/>
                    </a:lnTo>
                    <a:lnTo>
                      <a:pt x="109" y="113"/>
                    </a:lnTo>
                    <a:lnTo>
                      <a:pt x="109" y="113"/>
                    </a:lnTo>
                    <a:lnTo>
                      <a:pt x="109" y="113"/>
                    </a:lnTo>
                    <a:lnTo>
                      <a:pt x="109" y="109"/>
                    </a:lnTo>
                    <a:lnTo>
                      <a:pt x="109" y="109"/>
                    </a:lnTo>
                    <a:lnTo>
                      <a:pt x="106" y="109"/>
                    </a:lnTo>
                    <a:lnTo>
                      <a:pt x="106" y="106"/>
                    </a:lnTo>
                    <a:lnTo>
                      <a:pt x="104" y="106"/>
                    </a:lnTo>
                    <a:lnTo>
                      <a:pt x="104" y="104"/>
                    </a:lnTo>
                    <a:lnTo>
                      <a:pt x="104" y="102"/>
                    </a:lnTo>
                    <a:lnTo>
                      <a:pt x="104" y="99"/>
                    </a:lnTo>
                    <a:lnTo>
                      <a:pt x="101" y="92"/>
                    </a:lnTo>
                    <a:lnTo>
                      <a:pt x="101" y="92"/>
                    </a:lnTo>
                    <a:lnTo>
                      <a:pt x="101" y="90"/>
                    </a:lnTo>
                    <a:lnTo>
                      <a:pt x="101" y="87"/>
                    </a:lnTo>
                    <a:lnTo>
                      <a:pt x="101" y="85"/>
                    </a:lnTo>
                    <a:lnTo>
                      <a:pt x="101" y="85"/>
                    </a:lnTo>
                    <a:lnTo>
                      <a:pt x="101" y="83"/>
                    </a:lnTo>
                    <a:lnTo>
                      <a:pt x="101" y="80"/>
                    </a:lnTo>
                    <a:lnTo>
                      <a:pt x="104" y="78"/>
                    </a:lnTo>
                    <a:lnTo>
                      <a:pt x="104" y="75"/>
                    </a:lnTo>
                    <a:lnTo>
                      <a:pt x="106" y="75"/>
                    </a:lnTo>
                    <a:lnTo>
                      <a:pt x="106" y="73"/>
                    </a:lnTo>
                    <a:lnTo>
                      <a:pt x="106" y="68"/>
                    </a:lnTo>
                    <a:lnTo>
                      <a:pt x="106" y="64"/>
                    </a:lnTo>
                    <a:lnTo>
                      <a:pt x="109" y="64"/>
                    </a:lnTo>
                    <a:lnTo>
                      <a:pt x="109" y="61"/>
                    </a:lnTo>
                    <a:lnTo>
                      <a:pt x="109" y="61"/>
                    </a:lnTo>
                    <a:lnTo>
                      <a:pt x="109" y="59"/>
                    </a:lnTo>
                    <a:lnTo>
                      <a:pt x="111" y="57"/>
                    </a:lnTo>
                    <a:lnTo>
                      <a:pt x="113" y="57"/>
                    </a:lnTo>
                    <a:lnTo>
                      <a:pt x="113" y="57"/>
                    </a:lnTo>
                    <a:lnTo>
                      <a:pt x="113" y="57"/>
                    </a:lnTo>
                    <a:lnTo>
                      <a:pt x="113" y="54"/>
                    </a:lnTo>
                    <a:lnTo>
                      <a:pt x="113" y="54"/>
                    </a:lnTo>
                    <a:lnTo>
                      <a:pt x="113" y="54"/>
                    </a:lnTo>
                    <a:lnTo>
                      <a:pt x="116" y="54"/>
                    </a:lnTo>
                    <a:lnTo>
                      <a:pt x="113" y="47"/>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Freeform 127"/>
              <p:cNvSpPr>
                <a:spLocks noEditPoints="1"/>
              </p:cNvSpPr>
              <p:nvPr/>
            </p:nvSpPr>
            <p:spPr bwMode="auto">
              <a:xfrm>
                <a:off x="2881" y="1808"/>
                <a:ext cx="201" cy="215"/>
              </a:xfrm>
              <a:custGeom>
                <a:avLst/>
                <a:gdLst>
                  <a:gd name="T0" fmla="*/ 149 w 201"/>
                  <a:gd name="T1" fmla="*/ 182 h 215"/>
                  <a:gd name="T2" fmla="*/ 133 w 201"/>
                  <a:gd name="T3" fmla="*/ 187 h 215"/>
                  <a:gd name="T4" fmla="*/ 114 w 201"/>
                  <a:gd name="T5" fmla="*/ 185 h 215"/>
                  <a:gd name="T6" fmla="*/ 102 w 201"/>
                  <a:gd name="T7" fmla="*/ 185 h 215"/>
                  <a:gd name="T8" fmla="*/ 104 w 201"/>
                  <a:gd name="T9" fmla="*/ 196 h 215"/>
                  <a:gd name="T10" fmla="*/ 123 w 201"/>
                  <a:gd name="T11" fmla="*/ 206 h 215"/>
                  <a:gd name="T12" fmla="*/ 142 w 201"/>
                  <a:gd name="T13" fmla="*/ 215 h 215"/>
                  <a:gd name="T14" fmla="*/ 147 w 201"/>
                  <a:gd name="T15" fmla="*/ 206 h 215"/>
                  <a:gd name="T16" fmla="*/ 147 w 201"/>
                  <a:gd name="T17" fmla="*/ 194 h 215"/>
                  <a:gd name="T18" fmla="*/ 26 w 201"/>
                  <a:gd name="T19" fmla="*/ 163 h 215"/>
                  <a:gd name="T20" fmla="*/ 121 w 201"/>
                  <a:gd name="T21" fmla="*/ 133 h 215"/>
                  <a:gd name="T22" fmla="*/ 26 w 201"/>
                  <a:gd name="T23" fmla="*/ 125 h 215"/>
                  <a:gd name="T24" fmla="*/ 47 w 201"/>
                  <a:gd name="T25" fmla="*/ 125 h 215"/>
                  <a:gd name="T26" fmla="*/ 38 w 201"/>
                  <a:gd name="T27" fmla="*/ 123 h 215"/>
                  <a:gd name="T28" fmla="*/ 24 w 201"/>
                  <a:gd name="T29" fmla="*/ 130 h 215"/>
                  <a:gd name="T30" fmla="*/ 28 w 201"/>
                  <a:gd name="T31" fmla="*/ 147 h 215"/>
                  <a:gd name="T32" fmla="*/ 28 w 201"/>
                  <a:gd name="T33" fmla="*/ 151 h 215"/>
                  <a:gd name="T34" fmla="*/ 33 w 201"/>
                  <a:gd name="T35" fmla="*/ 168 h 215"/>
                  <a:gd name="T36" fmla="*/ 45 w 201"/>
                  <a:gd name="T37" fmla="*/ 163 h 215"/>
                  <a:gd name="T38" fmla="*/ 52 w 201"/>
                  <a:gd name="T39" fmla="*/ 140 h 215"/>
                  <a:gd name="T40" fmla="*/ 57 w 201"/>
                  <a:gd name="T41" fmla="*/ 90 h 215"/>
                  <a:gd name="T42" fmla="*/ 199 w 201"/>
                  <a:gd name="T43" fmla="*/ 140 h 215"/>
                  <a:gd name="T44" fmla="*/ 159 w 201"/>
                  <a:gd name="T45" fmla="*/ 111 h 215"/>
                  <a:gd name="T46" fmla="*/ 128 w 201"/>
                  <a:gd name="T47" fmla="*/ 95 h 215"/>
                  <a:gd name="T48" fmla="*/ 97 w 201"/>
                  <a:gd name="T49" fmla="*/ 61 h 215"/>
                  <a:gd name="T50" fmla="*/ 97 w 201"/>
                  <a:gd name="T51" fmla="*/ 43 h 215"/>
                  <a:gd name="T52" fmla="*/ 99 w 201"/>
                  <a:gd name="T53" fmla="*/ 33 h 215"/>
                  <a:gd name="T54" fmla="*/ 118 w 201"/>
                  <a:gd name="T55" fmla="*/ 28 h 215"/>
                  <a:gd name="T56" fmla="*/ 116 w 201"/>
                  <a:gd name="T57" fmla="*/ 24 h 215"/>
                  <a:gd name="T58" fmla="*/ 116 w 201"/>
                  <a:gd name="T59" fmla="*/ 19 h 215"/>
                  <a:gd name="T60" fmla="*/ 116 w 201"/>
                  <a:gd name="T61" fmla="*/ 12 h 215"/>
                  <a:gd name="T62" fmla="*/ 95 w 201"/>
                  <a:gd name="T63" fmla="*/ 7 h 215"/>
                  <a:gd name="T64" fmla="*/ 85 w 201"/>
                  <a:gd name="T65" fmla="*/ 2 h 215"/>
                  <a:gd name="T66" fmla="*/ 71 w 201"/>
                  <a:gd name="T67" fmla="*/ 5 h 215"/>
                  <a:gd name="T68" fmla="*/ 64 w 201"/>
                  <a:gd name="T69" fmla="*/ 9 h 215"/>
                  <a:gd name="T70" fmla="*/ 57 w 201"/>
                  <a:gd name="T71" fmla="*/ 14 h 215"/>
                  <a:gd name="T72" fmla="*/ 50 w 201"/>
                  <a:gd name="T73" fmla="*/ 16 h 215"/>
                  <a:gd name="T74" fmla="*/ 43 w 201"/>
                  <a:gd name="T75" fmla="*/ 16 h 215"/>
                  <a:gd name="T76" fmla="*/ 38 w 201"/>
                  <a:gd name="T77" fmla="*/ 24 h 215"/>
                  <a:gd name="T78" fmla="*/ 31 w 201"/>
                  <a:gd name="T79" fmla="*/ 12 h 215"/>
                  <a:gd name="T80" fmla="*/ 24 w 201"/>
                  <a:gd name="T81" fmla="*/ 21 h 215"/>
                  <a:gd name="T82" fmla="*/ 5 w 201"/>
                  <a:gd name="T83" fmla="*/ 24 h 215"/>
                  <a:gd name="T84" fmla="*/ 10 w 201"/>
                  <a:gd name="T85" fmla="*/ 35 h 215"/>
                  <a:gd name="T86" fmla="*/ 0 w 201"/>
                  <a:gd name="T87" fmla="*/ 43 h 215"/>
                  <a:gd name="T88" fmla="*/ 5 w 201"/>
                  <a:gd name="T89" fmla="*/ 50 h 215"/>
                  <a:gd name="T90" fmla="*/ 12 w 201"/>
                  <a:gd name="T91" fmla="*/ 61 h 215"/>
                  <a:gd name="T92" fmla="*/ 14 w 201"/>
                  <a:gd name="T93" fmla="*/ 69 h 215"/>
                  <a:gd name="T94" fmla="*/ 45 w 201"/>
                  <a:gd name="T95" fmla="*/ 59 h 215"/>
                  <a:gd name="T96" fmla="*/ 64 w 201"/>
                  <a:gd name="T97" fmla="*/ 85 h 215"/>
                  <a:gd name="T98" fmla="*/ 76 w 201"/>
                  <a:gd name="T99" fmla="*/ 97 h 215"/>
                  <a:gd name="T100" fmla="*/ 92 w 201"/>
                  <a:gd name="T101" fmla="*/ 109 h 215"/>
                  <a:gd name="T102" fmla="*/ 118 w 201"/>
                  <a:gd name="T103" fmla="*/ 121 h 215"/>
                  <a:gd name="T104" fmla="*/ 133 w 201"/>
                  <a:gd name="T105" fmla="*/ 133 h 215"/>
                  <a:gd name="T106" fmla="*/ 142 w 201"/>
                  <a:gd name="T107" fmla="*/ 140 h 215"/>
                  <a:gd name="T108" fmla="*/ 159 w 201"/>
                  <a:gd name="T109" fmla="*/ 159 h 215"/>
                  <a:gd name="T110" fmla="*/ 156 w 201"/>
                  <a:gd name="T111" fmla="*/ 182 h 215"/>
                  <a:gd name="T112" fmla="*/ 170 w 201"/>
                  <a:gd name="T113" fmla="*/ 177 h 215"/>
                  <a:gd name="T114" fmla="*/ 173 w 201"/>
                  <a:gd name="T115" fmla="*/ 154 h 215"/>
                  <a:gd name="T116" fmla="*/ 180 w 201"/>
                  <a:gd name="T117" fmla="*/ 137 h 215"/>
                  <a:gd name="T118" fmla="*/ 201 w 201"/>
                  <a:gd name="T119" fmla="*/ 144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1" h="215">
                    <a:moveTo>
                      <a:pt x="90" y="213"/>
                    </a:moveTo>
                    <a:lnTo>
                      <a:pt x="90" y="213"/>
                    </a:lnTo>
                    <a:lnTo>
                      <a:pt x="90" y="213"/>
                    </a:lnTo>
                    <a:lnTo>
                      <a:pt x="90" y="213"/>
                    </a:lnTo>
                    <a:lnTo>
                      <a:pt x="90" y="215"/>
                    </a:lnTo>
                    <a:lnTo>
                      <a:pt x="90" y="215"/>
                    </a:lnTo>
                    <a:lnTo>
                      <a:pt x="90" y="213"/>
                    </a:lnTo>
                    <a:lnTo>
                      <a:pt x="90" y="213"/>
                    </a:lnTo>
                    <a:close/>
                    <a:moveTo>
                      <a:pt x="151" y="182"/>
                    </a:moveTo>
                    <a:lnTo>
                      <a:pt x="149" y="182"/>
                    </a:lnTo>
                    <a:lnTo>
                      <a:pt x="147" y="182"/>
                    </a:lnTo>
                    <a:lnTo>
                      <a:pt x="147" y="182"/>
                    </a:lnTo>
                    <a:lnTo>
                      <a:pt x="144" y="185"/>
                    </a:lnTo>
                    <a:lnTo>
                      <a:pt x="144" y="185"/>
                    </a:lnTo>
                    <a:lnTo>
                      <a:pt x="142" y="185"/>
                    </a:lnTo>
                    <a:lnTo>
                      <a:pt x="140" y="185"/>
                    </a:lnTo>
                    <a:lnTo>
                      <a:pt x="140" y="185"/>
                    </a:lnTo>
                    <a:lnTo>
                      <a:pt x="137" y="185"/>
                    </a:lnTo>
                    <a:lnTo>
                      <a:pt x="135" y="187"/>
                    </a:lnTo>
                    <a:lnTo>
                      <a:pt x="133" y="187"/>
                    </a:lnTo>
                    <a:lnTo>
                      <a:pt x="133" y="187"/>
                    </a:lnTo>
                    <a:lnTo>
                      <a:pt x="130" y="187"/>
                    </a:lnTo>
                    <a:lnTo>
                      <a:pt x="125" y="187"/>
                    </a:lnTo>
                    <a:lnTo>
                      <a:pt x="123" y="187"/>
                    </a:lnTo>
                    <a:lnTo>
                      <a:pt x="121" y="187"/>
                    </a:lnTo>
                    <a:lnTo>
                      <a:pt x="121" y="187"/>
                    </a:lnTo>
                    <a:lnTo>
                      <a:pt x="118" y="187"/>
                    </a:lnTo>
                    <a:lnTo>
                      <a:pt x="116" y="185"/>
                    </a:lnTo>
                    <a:lnTo>
                      <a:pt x="116" y="185"/>
                    </a:lnTo>
                    <a:lnTo>
                      <a:pt x="114" y="185"/>
                    </a:lnTo>
                    <a:lnTo>
                      <a:pt x="114" y="185"/>
                    </a:lnTo>
                    <a:lnTo>
                      <a:pt x="114" y="185"/>
                    </a:lnTo>
                    <a:lnTo>
                      <a:pt x="111" y="185"/>
                    </a:lnTo>
                    <a:lnTo>
                      <a:pt x="109" y="185"/>
                    </a:lnTo>
                    <a:lnTo>
                      <a:pt x="109" y="187"/>
                    </a:lnTo>
                    <a:lnTo>
                      <a:pt x="107" y="187"/>
                    </a:lnTo>
                    <a:lnTo>
                      <a:pt x="107" y="187"/>
                    </a:lnTo>
                    <a:lnTo>
                      <a:pt x="104" y="187"/>
                    </a:lnTo>
                    <a:lnTo>
                      <a:pt x="102" y="185"/>
                    </a:lnTo>
                    <a:lnTo>
                      <a:pt x="102" y="185"/>
                    </a:lnTo>
                    <a:lnTo>
                      <a:pt x="102" y="185"/>
                    </a:lnTo>
                    <a:lnTo>
                      <a:pt x="99" y="187"/>
                    </a:lnTo>
                    <a:lnTo>
                      <a:pt x="99" y="187"/>
                    </a:lnTo>
                    <a:lnTo>
                      <a:pt x="99" y="189"/>
                    </a:lnTo>
                    <a:lnTo>
                      <a:pt x="97" y="192"/>
                    </a:lnTo>
                    <a:lnTo>
                      <a:pt x="97" y="192"/>
                    </a:lnTo>
                    <a:lnTo>
                      <a:pt x="99" y="194"/>
                    </a:lnTo>
                    <a:lnTo>
                      <a:pt x="102" y="196"/>
                    </a:lnTo>
                    <a:lnTo>
                      <a:pt x="102" y="196"/>
                    </a:lnTo>
                    <a:lnTo>
                      <a:pt x="104" y="196"/>
                    </a:lnTo>
                    <a:lnTo>
                      <a:pt x="104" y="196"/>
                    </a:lnTo>
                    <a:lnTo>
                      <a:pt x="107" y="196"/>
                    </a:lnTo>
                    <a:lnTo>
                      <a:pt x="109" y="199"/>
                    </a:lnTo>
                    <a:lnTo>
                      <a:pt x="111" y="199"/>
                    </a:lnTo>
                    <a:lnTo>
                      <a:pt x="111" y="199"/>
                    </a:lnTo>
                    <a:lnTo>
                      <a:pt x="111" y="201"/>
                    </a:lnTo>
                    <a:lnTo>
                      <a:pt x="114" y="201"/>
                    </a:lnTo>
                    <a:lnTo>
                      <a:pt x="118" y="204"/>
                    </a:lnTo>
                    <a:lnTo>
                      <a:pt x="121" y="206"/>
                    </a:lnTo>
                    <a:lnTo>
                      <a:pt x="123" y="206"/>
                    </a:lnTo>
                    <a:lnTo>
                      <a:pt x="125" y="206"/>
                    </a:lnTo>
                    <a:lnTo>
                      <a:pt x="128" y="206"/>
                    </a:lnTo>
                    <a:lnTo>
                      <a:pt x="130" y="208"/>
                    </a:lnTo>
                    <a:lnTo>
                      <a:pt x="133" y="211"/>
                    </a:lnTo>
                    <a:lnTo>
                      <a:pt x="135" y="213"/>
                    </a:lnTo>
                    <a:lnTo>
                      <a:pt x="135" y="213"/>
                    </a:lnTo>
                    <a:lnTo>
                      <a:pt x="135" y="213"/>
                    </a:lnTo>
                    <a:lnTo>
                      <a:pt x="140" y="215"/>
                    </a:lnTo>
                    <a:lnTo>
                      <a:pt x="140" y="215"/>
                    </a:lnTo>
                    <a:lnTo>
                      <a:pt x="142" y="215"/>
                    </a:lnTo>
                    <a:lnTo>
                      <a:pt x="144" y="215"/>
                    </a:lnTo>
                    <a:lnTo>
                      <a:pt x="144" y="215"/>
                    </a:lnTo>
                    <a:lnTo>
                      <a:pt x="144" y="213"/>
                    </a:lnTo>
                    <a:lnTo>
                      <a:pt x="144" y="213"/>
                    </a:lnTo>
                    <a:lnTo>
                      <a:pt x="144" y="211"/>
                    </a:lnTo>
                    <a:lnTo>
                      <a:pt x="147" y="211"/>
                    </a:lnTo>
                    <a:lnTo>
                      <a:pt x="147" y="208"/>
                    </a:lnTo>
                    <a:lnTo>
                      <a:pt x="147" y="208"/>
                    </a:lnTo>
                    <a:lnTo>
                      <a:pt x="147" y="206"/>
                    </a:lnTo>
                    <a:lnTo>
                      <a:pt x="147" y="206"/>
                    </a:lnTo>
                    <a:lnTo>
                      <a:pt x="144" y="204"/>
                    </a:lnTo>
                    <a:lnTo>
                      <a:pt x="147" y="204"/>
                    </a:lnTo>
                    <a:lnTo>
                      <a:pt x="147" y="204"/>
                    </a:lnTo>
                    <a:lnTo>
                      <a:pt x="144" y="204"/>
                    </a:lnTo>
                    <a:lnTo>
                      <a:pt x="144" y="201"/>
                    </a:lnTo>
                    <a:lnTo>
                      <a:pt x="144" y="201"/>
                    </a:lnTo>
                    <a:lnTo>
                      <a:pt x="144" y="199"/>
                    </a:lnTo>
                    <a:lnTo>
                      <a:pt x="144" y="199"/>
                    </a:lnTo>
                    <a:lnTo>
                      <a:pt x="144" y="196"/>
                    </a:lnTo>
                    <a:lnTo>
                      <a:pt x="147" y="194"/>
                    </a:lnTo>
                    <a:lnTo>
                      <a:pt x="147" y="194"/>
                    </a:lnTo>
                    <a:lnTo>
                      <a:pt x="147" y="192"/>
                    </a:lnTo>
                    <a:lnTo>
                      <a:pt x="151" y="187"/>
                    </a:lnTo>
                    <a:lnTo>
                      <a:pt x="151" y="185"/>
                    </a:lnTo>
                    <a:lnTo>
                      <a:pt x="151" y="182"/>
                    </a:lnTo>
                    <a:lnTo>
                      <a:pt x="154" y="182"/>
                    </a:lnTo>
                    <a:lnTo>
                      <a:pt x="151" y="182"/>
                    </a:lnTo>
                    <a:lnTo>
                      <a:pt x="151" y="182"/>
                    </a:lnTo>
                    <a:close/>
                    <a:moveTo>
                      <a:pt x="26" y="163"/>
                    </a:moveTo>
                    <a:lnTo>
                      <a:pt x="26" y="163"/>
                    </a:lnTo>
                    <a:lnTo>
                      <a:pt x="26" y="166"/>
                    </a:lnTo>
                    <a:lnTo>
                      <a:pt x="28" y="168"/>
                    </a:lnTo>
                    <a:lnTo>
                      <a:pt x="28" y="166"/>
                    </a:lnTo>
                    <a:lnTo>
                      <a:pt x="28" y="163"/>
                    </a:lnTo>
                    <a:lnTo>
                      <a:pt x="26" y="163"/>
                    </a:lnTo>
                    <a:close/>
                    <a:moveTo>
                      <a:pt x="123" y="133"/>
                    </a:moveTo>
                    <a:lnTo>
                      <a:pt x="123" y="133"/>
                    </a:lnTo>
                    <a:lnTo>
                      <a:pt x="123" y="133"/>
                    </a:lnTo>
                    <a:lnTo>
                      <a:pt x="123" y="130"/>
                    </a:lnTo>
                    <a:lnTo>
                      <a:pt x="121" y="133"/>
                    </a:lnTo>
                    <a:lnTo>
                      <a:pt x="121" y="133"/>
                    </a:lnTo>
                    <a:lnTo>
                      <a:pt x="123" y="133"/>
                    </a:lnTo>
                    <a:lnTo>
                      <a:pt x="123" y="133"/>
                    </a:lnTo>
                    <a:close/>
                    <a:moveTo>
                      <a:pt x="26" y="125"/>
                    </a:moveTo>
                    <a:lnTo>
                      <a:pt x="26" y="125"/>
                    </a:lnTo>
                    <a:lnTo>
                      <a:pt x="28" y="123"/>
                    </a:lnTo>
                    <a:lnTo>
                      <a:pt x="26" y="123"/>
                    </a:lnTo>
                    <a:lnTo>
                      <a:pt x="26" y="123"/>
                    </a:lnTo>
                    <a:lnTo>
                      <a:pt x="26" y="125"/>
                    </a:lnTo>
                    <a:lnTo>
                      <a:pt x="26" y="125"/>
                    </a:lnTo>
                    <a:lnTo>
                      <a:pt x="26" y="125"/>
                    </a:lnTo>
                    <a:lnTo>
                      <a:pt x="26" y="125"/>
                    </a:lnTo>
                    <a:close/>
                    <a:moveTo>
                      <a:pt x="50" y="130"/>
                    </a:moveTo>
                    <a:lnTo>
                      <a:pt x="50" y="128"/>
                    </a:lnTo>
                    <a:lnTo>
                      <a:pt x="47" y="128"/>
                    </a:lnTo>
                    <a:lnTo>
                      <a:pt x="47" y="128"/>
                    </a:lnTo>
                    <a:lnTo>
                      <a:pt x="50" y="125"/>
                    </a:lnTo>
                    <a:lnTo>
                      <a:pt x="50" y="125"/>
                    </a:lnTo>
                    <a:lnTo>
                      <a:pt x="50" y="125"/>
                    </a:lnTo>
                    <a:lnTo>
                      <a:pt x="47" y="125"/>
                    </a:lnTo>
                    <a:lnTo>
                      <a:pt x="47" y="125"/>
                    </a:lnTo>
                    <a:lnTo>
                      <a:pt x="47" y="123"/>
                    </a:lnTo>
                    <a:lnTo>
                      <a:pt x="47" y="123"/>
                    </a:lnTo>
                    <a:lnTo>
                      <a:pt x="45" y="123"/>
                    </a:lnTo>
                    <a:lnTo>
                      <a:pt x="43" y="121"/>
                    </a:lnTo>
                    <a:lnTo>
                      <a:pt x="43" y="121"/>
                    </a:lnTo>
                    <a:lnTo>
                      <a:pt x="43" y="121"/>
                    </a:lnTo>
                    <a:lnTo>
                      <a:pt x="40" y="123"/>
                    </a:lnTo>
                    <a:lnTo>
                      <a:pt x="40" y="123"/>
                    </a:lnTo>
                    <a:lnTo>
                      <a:pt x="38" y="123"/>
                    </a:lnTo>
                    <a:lnTo>
                      <a:pt x="36" y="128"/>
                    </a:lnTo>
                    <a:lnTo>
                      <a:pt x="33" y="128"/>
                    </a:lnTo>
                    <a:lnTo>
                      <a:pt x="31" y="130"/>
                    </a:lnTo>
                    <a:lnTo>
                      <a:pt x="28" y="130"/>
                    </a:lnTo>
                    <a:lnTo>
                      <a:pt x="28" y="130"/>
                    </a:lnTo>
                    <a:lnTo>
                      <a:pt x="26" y="128"/>
                    </a:lnTo>
                    <a:lnTo>
                      <a:pt x="26" y="128"/>
                    </a:lnTo>
                    <a:lnTo>
                      <a:pt x="26" y="128"/>
                    </a:lnTo>
                    <a:lnTo>
                      <a:pt x="24" y="128"/>
                    </a:lnTo>
                    <a:lnTo>
                      <a:pt x="24" y="130"/>
                    </a:lnTo>
                    <a:lnTo>
                      <a:pt x="24" y="133"/>
                    </a:lnTo>
                    <a:lnTo>
                      <a:pt x="26" y="135"/>
                    </a:lnTo>
                    <a:lnTo>
                      <a:pt x="26" y="135"/>
                    </a:lnTo>
                    <a:lnTo>
                      <a:pt x="28" y="137"/>
                    </a:lnTo>
                    <a:lnTo>
                      <a:pt x="28" y="137"/>
                    </a:lnTo>
                    <a:lnTo>
                      <a:pt x="28" y="140"/>
                    </a:lnTo>
                    <a:lnTo>
                      <a:pt x="28" y="140"/>
                    </a:lnTo>
                    <a:lnTo>
                      <a:pt x="28" y="144"/>
                    </a:lnTo>
                    <a:lnTo>
                      <a:pt x="28" y="144"/>
                    </a:lnTo>
                    <a:lnTo>
                      <a:pt x="28" y="147"/>
                    </a:lnTo>
                    <a:lnTo>
                      <a:pt x="28" y="147"/>
                    </a:lnTo>
                    <a:lnTo>
                      <a:pt x="28" y="147"/>
                    </a:lnTo>
                    <a:lnTo>
                      <a:pt x="31" y="147"/>
                    </a:lnTo>
                    <a:lnTo>
                      <a:pt x="31" y="149"/>
                    </a:lnTo>
                    <a:lnTo>
                      <a:pt x="31" y="149"/>
                    </a:lnTo>
                    <a:lnTo>
                      <a:pt x="31" y="151"/>
                    </a:lnTo>
                    <a:lnTo>
                      <a:pt x="31" y="151"/>
                    </a:lnTo>
                    <a:lnTo>
                      <a:pt x="28" y="151"/>
                    </a:lnTo>
                    <a:lnTo>
                      <a:pt x="28" y="151"/>
                    </a:lnTo>
                    <a:lnTo>
                      <a:pt x="28" y="151"/>
                    </a:lnTo>
                    <a:lnTo>
                      <a:pt x="28" y="154"/>
                    </a:lnTo>
                    <a:lnTo>
                      <a:pt x="28" y="156"/>
                    </a:lnTo>
                    <a:lnTo>
                      <a:pt x="28" y="156"/>
                    </a:lnTo>
                    <a:lnTo>
                      <a:pt x="28" y="161"/>
                    </a:lnTo>
                    <a:lnTo>
                      <a:pt x="28" y="161"/>
                    </a:lnTo>
                    <a:lnTo>
                      <a:pt x="28" y="163"/>
                    </a:lnTo>
                    <a:lnTo>
                      <a:pt x="31" y="166"/>
                    </a:lnTo>
                    <a:lnTo>
                      <a:pt x="31" y="168"/>
                    </a:lnTo>
                    <a:lnTo>
                      <a:pt x="33" y="168"/>
                    </a:lnTo>
                    <a:lnTo>
                      <a:pt x="33" y="168"/>
                    </a:lnTo>
                    <a:lnTo>
                      <a:pt x="36" y="168"/>
                    </a:lnTo>
                    <a:lnTo>
                      <a:pt x="36" y="168"/>
                    </a:lnTo>
                    <a:lnTo>
                      <a:pt x="38" y="168"/>
                    </a:lnTo>
                    <a:lnTo>
                      <a:pt x="38" y="166"/>
                    </a:lnTo>
                    <a:lnTo>
                      <a:pt x="40" y="161"/>
                    </a:lnTo>
                    <a:lnTo>
                      <a:pt x="40" y="161"/>
                    </a:lnTo>
                    <a:lnTo>
                      <a:pt x="40" y="161"/>
                    </a:lnTo>
                    <a:lnTo>
                      <a:pt x="43" y="161"/>
                    </a:lnTo>
                    <a:lnTo>
                      <a:pt x="43" y="161"/>
                    </a:lnTo>
                    <a:lnTo>
                      <a:pt x="45" y="163"/>
                    </a:lnTo>
                    <a:lnTo>
                      <a:pt x="47" y="163"/>
                    </a:lnTo>
                    <a:lnTo>
                      <a:pt x="47" y="163"/>
                    </a:lnTo>
                    <a:lnTo>
                      <a:pt x="47" y="161"/>
                    </a:lnTo>
                    <a:lnTo>
                      <a:pt x="50" y="159"/>
                    </a:lnTo>
                    <a:lnTo>
                      <a:pt x="50" y="147"/>
                    </a:lnTo>
                    <a:lnTo>
                      <a:pt x="50" y="147"/>
                    </a:lnTo>
                    <a:lnTo>
                      <a:pt x="50" y="144"/>
                    </a:lnTo>
                    <a:lnTo>
                      <a:pt x="50" y="144"/>
                    </a:lnTo>
                    <a:lnTo>
                      <a:pt x="50" y="142"/>
                    </a:lnTo>
                    <a:lnTo>
                      <a:pt x="52" y="140"/>
                    </a:lnTo>
                    <a:lnTo>
                      <a:pt x="52" y="137"/>
                    </a:lnTo>
                    <a:lnTo>
                      <a:pt x="52" y="137"/>
                    </a:lnTo>
                    <a:lnTo>
                      <a:pt x="52" y="135"/>
                    </a:lnTo>
                    <a:lnTo>
                      <a:pt x="50" y="130"/>
                    </a:lnTo>
                    <a:close/>
                    <a:moveTo>
                      <a:pt x="64" y="88"/>
                    </a:moveTo>
                    <a:lnTo>
                      <a:pt x="62" y="88"/>
                    </a:lnTo>
                    <a:lnTo>
                      <a:pt x="62" y="88"/>
                    </a:lnTo>
                    <a:lnTo>
                      <a:pt x="62" y="88"/>
                    </a:lnTo>
                    <a:lnTo>
                      <a:pt x="59" y="88"/>
                    </a:lnTo>
                    <a:lnTo>
                      <a:pt x="57" y="90"/>
                    </a:lnTo>
                    <a:lnTo>
                      <a:pt x="57" y="90"/>
                    </a:lnTo>
                    <a:lnTo>
                      <a:pt x="57" y="90"/>
                    </a:lnTo>
                    <a:lnTo>
                      <a:pt x="59" y="90"/>
                    </a:lnTo>
                    <a:lnTo>
                      <a:pt x="62" y="90"/>
                    </a:lnTo>
                    <a:lnTo>
                      <a:pt x="64" y="90"/>
                    </a:lnTo>
                    <a:lnTo>
                      <a:pt x="62" y="90"/>
                    </a:lnTo>
                    <a:lnTo>
                      <a:pt x="64" y="90"/>
                    </a:lnTo>
                    <a:lnTo>
                      <a:pt x="64" y="88"/>
                    </a:lnTo>
                    <a:close/>
                    <a:moveTo>
                      <a:pt x="201" y="142"/>
                    </a:moveTo>
                    <a:lnTo>
                      <a:pt x="199" y="140"/>
                    </a:lnTo>
                    <a:lnTo>
                      <a:pt x="194" y="135"/>
                    </a:lnTo>
                    <a:lnTo>
                      <a:pt x="192" y="133"/>
                    </a:lnTo>
                    <a:lnTo>
                      <a:pt x="185" y="130"/>
                    </a:lnTo>
                    <a:lnTo>
                      <a:pt x="180" y="125"/>
                    </a:lnTo>
                    <a:lnTo>
                      <a:pt x="178" y="125"/>
                    </a:lnTo>
                    <a:lnTo>
                      <a:pt x="168" y="121"/>
                    </a:lnTo>
                    <a:lnTo>
                      <a:pt x="159" y="116"/>
                    </a:lnTo>
                    <a:lnTo>
                      <a:pt x="156" y="116"/>
                    </a:lnTo>
                    <a:lnTo>
                      <a:pt x="156" y="114"/>
                    </a:lnTo>
                    <a:lnTo>
                      <a:pt x="159" y="111"/>
                    </a:lnTo>
                    <a:lnTo>
                      <a:pt x="161" y="111"/>
                    </a:lnTo>
                    <a:lnTo>
                      <a:pt x="161" y="109"/>
                    </a:lnTo>
                    <a:lnTo>
                      <a:pt x="161" y="106"/>
                    </a:lnTo>
                    <a:lnTo>
                      <a:pt x="159" y="106"/>
                    </a:lnTo>
                    <a:lnTo>
                      <a:pt x="156" y="106"/>
                    </a:lnTo>
                    <a:lnTo>
                      <a:pt x="147" y="106"/>
                    </a:lnTo>
                    <a:lnTo>
                      <a:pt x="144" y="106"/>
                    </a:lnTo>
                    <a:lnTo>
                      <a:pt x="140" y="104"/>
                    </a:lnTo>
                    <a:lnTo>
                      <a:pt x="133" y="99"/>
                    </a:lnTo>
                    <a:lnTo>
                      <a:pt x="128" y="95"/>
                    </a:lnTo>
                    <a:lnTo>
                      <a:pt x="123" y="92"/>
                    </a:lnTo>
                    <a:lnTo>
                      <a:pt x="123" y="88"/>
                    </a:lnTo>
                    <a:lnTo>
                      <a:pt x="121" y="80"/>
                    </a:lnTo>
                    <a:lnTo>
                      <a:pt x="118" y="78"/>
                    </a:lnTo>
                    <a:lnTo>
                      <a:pt x="116" y="73"/>
                    </a:lnTo>
                    <a:lnTo>
                      <a:pt x="116" y="73"/>
                    </a:lnTo>
                    <a:lnTo>
                      <a:pt x="111" y="71"/>
                    </a:lnTo>
                    <a:lnTo>
                      <a:pt x="104" y="66"/>
                    </a:lnTo>
                    <a:lnTo>
                      <a:pt x="102" y="64"/>
                    </a:lnTo>
                    <a:lnTo>
                      <a:pt x="97" y="61"/>
                    </a:lnTo>
                    <a:lnTo>
                      <a:pt x="97" y="59"/>
                    </a:lnTo>
                    <a:lnTo>
                      <a:pt x="95" y="57"/>
                    </a:lnTo>
                    <a:lnTo>
                      <a:pt x="95" y="50"/>
                    </a:lnTo>
                    <a:lnTo>
                      <a:pt x="95" y="47"/>
                    </a:lnTo>
                    <a:lnTo>
                      <a:pt x="95" y="47"/>
                    </a:lnTo>
                    <a:lnTo>
                      <a:pt x="97" y="47"/>
                    </a:lnTo>
                    <a:lnTo>
                      <a:pt x="97" y="47"/>
                    </a:lnTo>
                    <a:lnTo>
                      <a:pt x="97" y="45"/>
                    </a:lnTo>
                    <a:lnTo>
                      <a:pt x="97" y="45"/>
                    </a:lnTo>
                    <a:lnTo>
                      <a:pt x="97" y="43"/>
                    </a:lnTo>
                    <a:lnTo>
                      <a:pt x="95" y="38"/>
                    </a:lnTo>
                    <a:lnTo>
                      <a:pt x="92" y="38"/>
                    </a:lnTo>
                    <a:lnTo>
                      <a:pt x="95" y="35"/>
                    </a:lnTo>
                    <a:lnTo>
                      <a:pt x="95" y="33"/>
                    </a:lnTo>
                    <a:lnTo>
                      <a:pt x="95" y="33"/>
                    </a:lnTo>
                    <a:lnTo>
                      <a:pt x="97" y="31"/>
                    </a:lnTo>
                    <a:lnTo>
                      <a:pt x="99" y="31"/>
                    </a:lnTo>
                    <a:lnTo>
                      <a:pt x="97" y="33"/>
                    </a:lnTo>
                    <a:lnTo>
                      <a:pt x="97" y="33"/>
                    </a:lnTo>
                    <a:lnTo>
                      <a:pt x="99" y="33"/>
                    </a:lnTo>
                    <a:lnTo>
                      <a:pt x="102" y="31"/>
                    </a:lnTo>
                    <a:lnTo>
                      <a:pt x="104" y="31"/>
                    </a:lnTo>
                    <a:lnTo>
                      <a:pt x="107" y="28"/>
                    </a:lnTo>
                    <a:lnTo>
                      <a:pt x="109" y="28"/>
                    </a:lnTo>
                    <a:lnTo>
                      <a:pt x="109" y="26"/>
                    </a:lnTo>
                    <a:lnTo>
                      <a:pt x="109" y="26"/>
                    </a:lnTo>
                    <a:lnTo>
                      <a:pt x="114" y="28"/>
                    </a:lnTo>
                    <a:lnTo>
                      <a:pt x="116" y="26"/>
                    </a:lnTo>
                    <a:lnTo>
                      <a:pt x="116" y="26"/>
                    </a:lnTo>
                    <a:lnTo>
                      <a:pt x="118" y="28"/>
                    </a:lnTo>
                    <a:lnTo>
                      <a:pt x="118" y="31"/>
                    </a:lnTo>
                    <a:lnTo>
                      <a:pt x="118" y="31"/>
                    </a:lnTo>
                    <a:lnTo>
                      <a:pt x="121" y="31"/>
                    </a:lnTo>
                    <a:lnTo>
                      <a:pt x="121" y="31"/>
                    </a:lnTo>
                    <a:lnTo>
                      <a:pt x="121" y="28"/>
                    </a:lnTo>
                    <a:lnTo>
                      <a:pt x="118" y="26"/>
                    </a:lnTo>
                    <a:lnTo>
                      <a:pt x="116" y="26"/>
                    </a:lnTo>
                    <a:lnTo>
                      <a:pt x="116" y="26"/>
                    </a:lnTo>
                    <a:lnTo>
                      <a:pt x="116" y="26"/>
                    </a:lnTo>
                    <a:lnTo>
                      <a:pt x="116" y="24"/>
                    </a:lnTo>
                    <a:lnTo>
                      <a:pt x="116" y="21"/>
                    </a:lnTo>
                    <a:lnTo>
                      <a:pt x="114" y="21"/>
                    </a:lnTo>
                    <a:lnTo>
                      <a:pt x="114" y="21"/>
                    </a:lnTo>
                    <a:lnTo>
                      <a:pt x="114" y="21"/>
                    </a:lnTo>
                    <a:lnTo>
                      <a:pt x="114" y="21"/>
                    </a:lnTo>
                    <a:lnTo>
                      <a:pt x="116" y="19"/>
                    </a:lnTo>
                    <a:lnTo>
                      <a:pt x="116" y="19"/>
                    </a:lnTo>
                    <a:lnTo>
                      <a:pt x="116" y="19"/>
                    </a:lnTo>
                    <a:lnTo>
                      <a:pt x="116" y="19"/>
                    </a:lnTo>
                    <a:lnTo>
                      <a:pt x="116" y="19"/>
                    </a:lnTo>
                    <a:lnTo>
                      <a:pt x="114" y="16"/>
                    </a:lnTo>
                    <a:lnTo>
                      <a:pt x="114" y="16"/>
                    </a:lnTo>
                    <a:lnTo>
                      <a:pt x="114" y="16"/>
                    </a:lnTo>
                    <a:lnTo>
                      <a:pt x="114" y="16"/>
                    </a:lnTo>
                    <a:lnTo>
                      <a:pt x="111" y="16"/>
                    </a:lnTo>
                    <a:lnTo>
                      <a:pt x="114" y="14"/>
                    </a:lnTo>
                    <a:lnTo>
                      <a:pt x="114" y="14"/>
                    </a:lnTo>
                    <a:lnTo>
                      <a:pt x="116" y="14"/>
                    </a:lnTo>
                    <a:lnTo>
                      <a:pt x="116" y="12"/>
                    </a:lnTo>
                    <a:lnTo>
                      <a:pt x="116" y="12"/>
                    </a:lnTo>
                    <a:lnTo>
                      <a:pt x="118" y="12"/>
                    </a:lnTo>
                    <a:lnTo>
                      <a:pt x="114" y="9"/>
                    </a:lnTo>
                    <a:lnTo>
                      <a:pt x="111" y="9"/>
                    </a:lnTo>
                    <a:lnTo>
                      <a:pt x="109" y="9"/>
                    </a:lnTo>
                    <a:lnTo>
                      <a:pt x="102" y="9"/>
                    </a:lnTo>
                    <a:lnTo>
                      <a:pt x="102" y="9"/>
                    </a:lnTo>
                    <a:lnTo>
                      <a:pt x="99" y="9"/>
                    </a:lnTo>
                    <a:lnTo>
                      <a:pt x="97" y="7"/>
                    </a:lnTo>
                    <a:lnTo>
                      <a:pt x="95" y="7"/>
                    </a:lnTo>
                    <a:lnTo>
                      <a:pt x="95" y="7"/>
                    </a:lnTo>
                    <a:lnTo>
                      <a:pt x="95" y="5"/>
                    </a:lnTo>
                    <a:lnTo>
                      <a:pt x="92" y="2"/>
                    </a:lnTo>
                    <a:lnTo>
                      <a:pt x="92" y="2"/>
                    </a:lnTo>
                    <a:lnTo>
                      <a:pt x="92" y="0"/>
                    </a:lnTo>
                    <a:lnTo>
                      <a:pt x="92" y="0"/>
                    </a:lnTo>
                    <a:lnTo>
                      <a:pt x="92" y="0"/>
                    </a:lnTo>
                    <a:lnTo>
                      <a:pt x="92" y="0"/>
                    </a:lnTo>
                    <a:lnTo>
                      <a:pt x="88" y="0"/>
                    </a:lnTo>
                    <a:lnTo>
                      <a:pt x="85" y="2"/>
                    </a:lnTo>
                    <a:lnTo>
                      <a:pt x="85" y="2"/>
                    </a:lnTo>
                    <a:lnTo>
                      <a:pt x="83" y="2"/>
                    </a:lnTo>
                    <a:lnTo>
                      <a:pt x="81" y="2"/>
                    </a:lnTo>
                    <a:lnTo>
                      <a:pt x="81" y="2"/>
                    </a:lnTo>
                    <a:lnTo>
                      <a:pt x="76" y="2"/>
                    </a:lnTo>
                    <a:lnTo>
                      <a:pt x="76" y="2"/>
                    </a:lnTo>
                    <a:lnTo>
                      <a:pt x="73" y="5"/>
                    </a:lnTo>
                    <a:lnTo>
                      <a:pt x="73" y="5"/>
                    </a:lnTo>
                    <a:lnTo>
                      <a:pt x="73" y="5"/>
                    </a:lnTo>
                    <a:lnTo>
                      <a:pt x="71" y="7"/>
                    </a:lnTo>
                    <a:lnTo>
                      <a:pt x="71" y="5"/>
                    </a:lnTo>
                    <a:lnTo>
                      <a:pt x="69" y="5"/>
                    </a:lnTo>
                    <a:lnTo>
                      <a:pt x="69" y="5"/>
                    </a:lnTo>
                    <a:lnTo>
                      <a:pt x="66" y="5"/>
                    </a:lnTo>
                    <a:lnTo>
                      <a:pt x="64" y="5"/>
                    </a:lnTo>
                    <a:lnTo>
                      <a:pt x="64" y="5"/>
                    </a:lnTo>
                    <a:lnTo>
                      <a:pt x="64" y="7"/>
                    </a:lnTo>
                    <a:lnTo>
                      <a:pt x="64" y="7"/>
                    </a:lnTo>
                    <a:lnTo>
                      <a:pt x="64" y="9"/>
                    </a:lnTo>
                    <a:lnTo>
                      <a:pt x="64" y="9"/>
                    </a:lnTo>
                    <a:lnTo>
                      <a:pt x="64" y="9"/>
                    </a:lnTo>
                    <a:lnTo>
                      <a:pt x="62" y="9"/>
                    </a:lnTo>
                    <a:lnTo>
                      <a:pt x="62" y="9"/>
                    </a:lnTo>
                    <a:lnTo>
                      <a:pt x="59" y="9"/>
                    </a:lnTo>
                    <a:lnTo>
                      <a:pt x="59" y="9"/>
                    </a:lnTo>
                    <a:lnTo>
                      <a:pt x="57" y="9"/>
                    </a:lnTo>
                    <a:lnTo>
                      <a:pt x="57" y="9"/>
                    </a:lnTo>
                    <a:lnTo>
                      <a:pt x="57" y="12"/>
                    </a:lnTo>
                    <a:lnTo>
                      <a:pt x="57" y="12"/>
                    </a:lnTo>
                    <a:lnTo>
                      <a:pt x="57" y="14"/>
                    </a:lnTo>
                    <a:lnTo>
                      <a:pt x="57" y="14"/>
                    </a:lnTo>
                    <a:lnTo>
                      <a:pt x="59" y="16"/>
                    </a:lnTo>
                    <a:lnTo>
                      <a:pt x="59" y="16"/>
                    </a:lnTo>
                    <a:lnTo>
                      <a:pt x="59" y="16"/>
                    </a:lnTo>
                    <a:lnTo>
                      <a:pt x="57" y="16"/>
                    </a:lnTo>
                    <a:lnTo>
                      <a:pt x="57" y="16"/>
                    </a:lnTo>
                    <a:lnTo>
                      <a:pt x="57" y="14"/>
                    </a:lnTo>
                    <a:lnTo>
                      <a:pt x="55" y="14"/>
                    </a:lnTo>
                    <a:lnTo>
                      <a:pt x="55" y="14"/>
                    </a:lnTo>
                    <a:lnTo>
                      <a:pt x="52" y="14"/>
                    </a:lnTo>
                    <a:lnTo>
                      <a:pt x="50" y="16"/>
                    </a:lnTo>
                    <a:lnTo>
                      <a:pt x="50" y="16"/>
                    </a:lnTo>
                    <a:lnTo>
                      <a:pt x="47" y="16"/>
                    </a:lnTo>
                    <a:lnTo>
                      <a:pt x="47" y="14"/>
                    </a:lnTo>
                    <a:lnTo>
                      <a:pt x="47" y="12"/>
                    </a:lnTo>
                    <a:lnTo>
                      <a:pt x="47" y="12"/>
                    </a:lnTo>
                    <a:lnTo>
                      <a:pt x="47" y="12"/>
                    </a:lnTo>
                    <a:lnTo>
                      <a:pt x="45" y="12"/>
                    </a:lnTo>
                    <a:lnTo>
                      <a:pt x="45" y="12"/>
                    </a:lnTo>
                    <a:lnTo>
                      <a:pt x="45" y="14"/>
                    </a:lnTo>
                    <a:lnTo>
                      <a:pt x="43" y="16"/>
                    </a:lnTo>
                    <a:lnTo>
                      <a:pt x="43" y="16"/>
                    </a:lnTo>
                    <a:lnTo>
                      <a:pt x="40" y="19"/>
                    </a:lnTo>
                    <a:lnTo>
                      <a:pt x="40" y="21"/>
                    </a:lnTo>
                    <a:lnTo>
                      <a:pt x="40" y="21"/>
                    </a:lnTo>
                    <a:lnTo>
                      <a:pt x="40" y="21"/>
                    </a:lnTo>
                    <a:lnTo>
                      <a:pt x="40" y="24"/>
                    </a:lnTo>
                    <a:lnTo>
                      <a:pt x="40" y="24"/>
                    </a:lnTo>
                    <a:lnTo>
                      <a:pt x="40" y="26"/>
                    </a:lnTo>
                    <a:lnTo>
                      <a:pt x="38" y="26"/>
                    </a:lnTo>
                    <a:lnTo>
                      <a:pt x="38" y="24"/>
                    </a:lnTo>
                    <a:lnTo>
                      <a:pt x="38" y="24"/>
                    </a:lnTo>
                    <a:lnTo>
                      <a:pt x="36" y="21"/>
                    </a:lnTo>
                    <a:lnTo>
                      <a:pt x="36" y="21"/>
                    </a:lnTo>
                    <a:lnTo>
                      <a:pt x="36" y="21"/>
                    </a:lnTo>
                    <a:lnTo>
                      <a:pt x="33" y="19"/>
                    </a:lnTo>
                    <a:lnTo>
                      <a:pt x="33" y="19"/>
                    </a:lnTo>
                    <a:lnTo>
                      <a:pt x="31" y="16"/>
                    </a:lnTo>
                    <a:lnTo>
                      <a:pt x="31" y="16"/>
                    </a:lnTo>
                    <a:lnTo>
                      <a:pt x="31" y="14"/>
                    </a:lnTo>
                    <a:lnTo>
                      <a:pt x="31" y="12"/>
                    </a:lnTo>
                    <a:lnTo>
                      <a:pt x="31" y="12"/>
                    </a:lnTo>
                    <a:lnTo>
                      <a:pt x="28" y="12"/>
                    </a:lnTo>
                    <a:lnTo>
                      <a:pt x="28" y="14"/>
                    </a:lnTo>
                    <a:lnTo>
                      <a:pt x="26" y="14"/>
                    </a:lnTo>
                    <a:lnTo>
                      <a:pt x="24" y="16"/>
                    </a:lnTo>
                    <a:lnTo>
                      <a:pt x="24" y="16"/>
                    </a:lnTo>
                    <a:lnTo>
                      <a:pt x="26" y="19"/>
                    </a:lnTo>
                    <a:lnTo>
                      <a:pt x="26" y="19"/>
                    </a:lnTo>
                    <a:lnTo>
                      <a:pt x="24" y="21"/>
                    </a:lnTo>
                    <a:lnTo>
                      <a:pt x="24" y="21"/>
                    </a:lnTo>
                    <a:lnTo>
                      <a:pt x="21" y="24"/>
                    </a:lnTo>
                    <a:lnTo>
                      <a:pt x="19" y="24"/>
                    </a:lnTo>
                    <a:lnTo>
                      <a:pt x="17" y="21"/>
                    </a:lnTo>
                    <a:lnTo>
                      <a:pt x="14" y="21"/>
                    </a:lnTo>
                    <a:lnTo>
                      <a:pt x="14" y="24"/>
                    </a:lnTo>
                    <a:lnTo>
                      <a:pt x="12" y="24"/>
                    </a:lnTo>
                    <a:lnTo>
                      <a:pt x="7" y="24"/>
                    </a:lnTo>
                    <a:lnTo>
                      <a:pt x="7" y="24"/>
                    </a:lnTo>
                    <a:lnTo>
                      <a:pt x="7" y="24"/>
                    </a:lnTo>
                    <a:lnTo>
                      <a:pt x="5" y="24"/>
                    </a:lnTo>
                    <a:lnTo>
                      <a:pt x="2" y="26"/>
                    </a:lnTo>
                    <a:lnTo>
                      <a:pt x="2" y="26"/>
                    </a:lnTo>
                    <a:lnTo>
                      <a:pt x="2" y="26"/>
                    </a:lnTo>
                    <a:lnTo>
                      <a:pt x="2" y="28"/>
                    </a:lnTo>
                    <a:lnTo>
                      <a:pt x="5" y="28"/>
                    </a:lnTo>
                    <a:lnTo>
                      <a:pt x="5" y="31"/>
                    </a:lnTo>
                    <a:lnTo>
                      <a:pt x="7" y="33"/>
                    </a:lnTo>
                    <a:lnTo>
                      <a:pt x="7" y="33"/>
                    </a:lnTo>
                    <a:lnTo>
                      <a:pt x="10" y="33"/>
                    </a:lnTo>
                    <a:lnTo>
                      <a:pt x="10" y="35"/>
                    </a:lnTo>
                    <a:lnTo>
                      <a:pt x="7" y="35"/>
                    </a:lnTo>
                    <a:lnTo>
                      <a:pt x="7" y="38"/>
                    </a:lnTo>
                    <a:lnTo>
                      <a:pt x="7" y="38"/>
                    </a:lnTo>
                    <a:lnTo>
                      <a:pt x="5" y="38"/>
                    </a:lnTo>
                    <a:lnTo>
                      <a:pt x="2" y="40"/>
                    </a:lnTo>
                    <a:lnTo>
                      <a:pt x="2" y="40"/>
                    </a:lnTo>
                    <a:lnTo>
                      <a:pt x="0" y="40"/>
                    </a:lnTo>
                    <a:lnTo>
                      <a:pt x="0" y="40"/>
                    </a:lnTo>
                    <a:lnTo>
                      <a:pt x="0" y="40"/>
                    </a:lnTo>
                    <a:lnTo>
                      <a:pt x="0" y="43"/>
                    </a:lnTo>
                    <a:lnTo>
                      <a:pt x="0" y="45"/>
                    </a:lnTo>
                    <a:lnTo>
                      <a:pt x="2" y="45"/>
                    </a:lnTo>
                    <a:lnTo>
                      <a:pt x="2" y="47"/>
                    </a:lnTo>
                    <a:lnTo>
                      <a:pt x="5" y="47"/>
                    </a:lnTo>
                    <a:lnTo>
                      <a:pt x="5" y="47"/>
                    </a:lnTo>
                    <a:lnTo>
                      <a:pt x="5" y="47"/>
                    </a:lnTo>
                    <a:lnTo>
                      <a:pt x="5" y="47"/>
                    </a:lnTo>
                    <a:lnTo>
                      <a:pt x="7" y="50"/>
                    </a:lnTo>
                    <a:lnTo>
                      <a:pt x="5" y="50"/>
                    </a:lnTo>
                    <a:lnTo>
                      <a:pt x="5" y="50"/>
                    </a:lnTo>
                    <a:lnTo>
                      <a:pt x="5" y="52"/>
                    </a:lnTo>
                    <a:lnTo>
                      <a:pt x="2" y="52"/>
                    </a:lnTo>
                    <a:lnTo>
                      <a:pt x="2" y="54"/>
                    </a:lnTo>
                    <a:lnTo>
                      <a:pt x="2" y="54"/>
                    </a:lnTo>
                    <a:lnTo>
                      <a:pt x="5" y="57"/>
                    </a:lnTo>
                    <a:lnTo>
                      <a:pt x="2" y="57"/>
                    </a:lnTo>
                    <a:lnTo>
                      <a:pt x="5" y="57"/>
                    </a:lnTo>
                    <a:lnTo>
                      <a:pt x="5" y="59"/>
                    </a:lnTo>
                    <a:lnTo>
                      <a:pt x="7" y="61"/>
                    </a:lnTo>
                    <a:lnTo>
                      <a:pt x="12" y="61"/>
                    </a:lnTo>
                    <a:lnTo>
                      <a:pt x="12" y="61"/>
                    </a:lnTo>
                    <a:lnTo>
                      <a:pt x="17" y="61"/>
                    </a:lnTo>
                    <a:lnTo>
                      <a:pt x="17" y="61"/>
                    </a:lnTo>
                    <a:lnTo>
                      <a:pt x="17" y="61"/>
                    </a:lnTo>
                    <a:lnTo>
                      <a:pt x="17" y="64"/>
                    </a:lnTo>
                    <a:lnTo>
                      <a:pt x="17" y="64"/>
                    </a:lnTo>
                    <a:lnTo>
                      <a:pt x="14" y="66"/>
                    </a:lnTo>
                    <a:lnTo>
                      <a:pt x="14" y="66"/>
                    </a:lnTo>
                    <a:lnTo>
                      <a:pt x="14" y="66"/>
                    </a:lnTo>
                    <a:lnTo>
                      <a:pt x="14" y="69"/>
                    </a:lnTo>
                    <a:lnTo>
                      <a:pt x="14" y="69"/>
                    </a:lnTo>
                    <a:lnTo>
                      <a:pt x="17" y="69"/>
                    </a:lnTo>
                    <a:lnTo>
                      <a:pt x="21" y="66"/>
                    </a:lnTo>
                    <a:lnTo>
                      <a:pt x="24" y="66"/>
                    </a:lnTo>
                    <a:lnTo>
                      <a:pt x="26" y="61"/>
                    </a:lnTo>
                    <a:lnTo>
                      <a:pt x="31" y="57"/>
                    </a:lnTo>
                    <a:lnTo>
                      <a:pt x="36" y="57"/>
                    </a:lnTo>
                    <a:lnTo>
                      <a:pt x="38" y="57"/>
                    </a:lnTo>
                    <a:lnTo>
                      <a:pt x="43" y="57"/>
                    </a:lnTo>
                    <a:lnTo>
                      <a:pt x="45" y="59"/>
                    </a:lnTo>
                    <a:lnTo>
                      <a:pt x="52" y="61"/>
                    </a:lnTo>
                    <a:lnTo>
                      <a:pt x="57" y="64"/>
                    </a:lnTo>
                    <a:lnTo>
                      <a:pt x="59" y="66"/>
                    </a:lnTo>
                    <a:lnTo>
                      <a:pt x="59" y="69"/>
                    </a:lnTo>
                    <a:lnTo>
                      <a:pt x="62" y="73"/>
                    </a:lnTo>
                    <a:lnTo>
                      <a:pt x="64" y="78"/>
                    </a:lnTo>
                    <a:lnTo>
                      <a:pt x="64" y="80"/>
                    </a:lnTo>
                    <a:lnTo>
                      <a:pt x="64" y="83"/>
                    </a:lnTo>
                    <a:lnTo>
                      <a:pt x="64" y="83"/>
                    </a:lnTo>
                    <a:lnTo>
                      <a:pt x="64" y="85"/>
                    </a:lnTo>
                    <a:lnTo>
                      <a:pt x="66" y="85"/>
                    </a:lnTo>
                    <a:lnTo>
                      <a:pt x="66" y="85"/>
                    </a:lnTo>
                    <a:lnTo>
                      <a:pt x="69" y="85"/>
                    </a:lnTo>
                    <a:lnTo>
                      <a:pt x="69" y="88"/>
                    </a:lnTo>
                    <a:lnTo>
                      <a:pt x="69" y="88"/>
                    </a:lnTo>
                    <a:lnTo>
                      <a:pt x="69" y="90"/>
                    </a:lnTo>
                    <a:lnTo>
                      <a:pt x="71" y="90"/>
                    </a:lnTo>
                    <a:lnTo>
                      <a:pt x="76" y="95"/>
                    </a:lnTo>
                    <a:lnTo>
                      <a:pt x="76" y="97"/>
                    </a:lnTo>
                    <a:lnTo>
                      <a:pt x="76" y="97"/>
                    </a:lnTo>
                    <a:lnTo>
                      <a:pt x="73" y="97"/>
                    </a:lnTo>
                    <a:lnTo>
                      <a:pt x="76" y="97"/>
                    </a:lnTo>
                    <a:lnTo>
                      <a:pt x="76" y="97"/>
                    </a:lnTo>
                    <a:lnTo>
                      <a:pt x="78" y="97"/>
                    </a:lnTo>
                    <a:lnTo>
                      <a:pt x="78" y="97"/>
                    </a:lnTo>
                    <a:lnTo>
                      <a:pt x="81" y="97"/>
                    </a:lnTo>
                    <a:lnTo>
                      <a:pt x="83" y="99"/>
                    </a:lnTo>
                    <a:lnTo>
                      <a:pt x="88" y="104"/>
                    </a:lnTo>
                    <a:lnTo>
                      <a:pt x="90" y="106"/>
                    </a:lnTo>
                    <a:lnTo>
                      <a:pt x="92" y="109"/>
                    </a:lnTo>
                    <a:lnTo>
                      <a:pt x="99" y="116"/>
                    </a:lnTo>
                    <a:lnTo>
                      <a:pt x="104" y="118"/>
                    </a:lnTo>
                    <a:lnTo>
                      <a:pt x="107" y="121"/>
                    </a:lnTo>
                    <a:lnTo>
                      <a:pt x="107" y="121"/>
                    </a:lnTo>
                    <a:lnTo>
                      <a:pt x="109" y="121"/>
                    </a:lnTo>
                    <a:lnTo>
                      <a:pt x="109" y="121"/>
                    </a:lnTo>
                    <a:lnTo>
                      <a:pt x="111" y="121"/>
                    </a:lnTo>
                    <a:lnTo>
                      <a:pt x="114" y="121"/>
                    </a:lnTo>
                    <a:lnTo>
                      <a:pt x="116" y="121"/>
                    </a:lnTo>
                    <a:lnTo>
                      <a:pt x="118" y="121"/>
                    </a:lnTo>
                    <a:lnTo>
                      <a:pt x="118" y="121"/>
                    </a:lnTo>
                    <a:lnTo>
                      <a:pt x="121" y="123"/>
                    </a:lnTo>
                    <a:lnTo>
                      <a:pt x="125" y="128"/>
                    </a:lnTo>
                    <a:lnTo>
                      <a:pt x="125" y="130"/>
                    </a:lnTo>
                    <a:lnTo>
                      <a:pt x="125" y="130"/>
                    </a:lnTo>
                    <a:lnTo>
                      <a:pt x="125" y="130"/>
                    </a:lnTo>
                    <a:lnTo>
                      <a:pt x="128" y="130"/>
                    </a:lnTo>
                    <a:lnTo>
                      <a:pt x="130" y="130"/>
                    </a:lnTo>
                    <a:lnTo>
                      <a:pt x="133" y="130"/>
                    </a:lnTo>
                    <a:lnTo>
                      <a:pt x="133" y="133"/>
                    </a:lnTo>
                    <a:lnTo>
                      <a:pt x="130" y="135"/>
                    </a:lnTo>
                    <a:lnTo>
                      <a:pt x="130" y="135"/>
                    </a:lnTo>
                    <a:lnTo>
                      <a:pt x="133" y="133"/>
                    </a:lnTo>
                    <a:lnTo>
                      <a:pt x="133" y="135"/>
                    </a:lnTo>
                    <a:lnTo>
                      <a:pt x="135" y="133"/>
                    </a:lnTo>
                    <a:lnTo>
                      <a:pt x="137" y="133"/>
                    </a:lnTo>
                    <a:lnTo>
                      <a:pt x="140" y="133"/>
                    </a:lnTo>
                    <a:lnTo>
                      <a:pt x="140" y="135"/>
                    </a:lnTo>
                    <a:lnTo>
                      <a:pt x="140" y="137"/>
                    </a:lnTo>
                    <a:lnTo>
                      <a:pt x="142" y="140"/>
                    </a:lnTo>
                    <a:lnTo>
                      <a:pt x="140" y="140"/>
                    </a:lnTo>
                    <a:lnTo>
                      <a:pt x="140" y="142"/>
                    </a:lnTo>
                    <a:lnTo>
                      <a:pt x="140" y="142"/>
                    </a:lnTo>
                    <a:lnTo>
                      <a:pt x="147" y="144"/>
                    </a:lnTo>
                    <a:lnTo>
                      <a:pt x="149" y="147"/>
                    </a:lnTo>
                    <a:lnTo>
                      <a:pt x="151" y="147"/>
                    </a:lnTo>
                    <a:lnTo>
                      <a:pt x="154" y="144"/>
                    </a:lnTo>
                    <a:lnTo>
                      <a:pt x="154" y="147"/>
                    </a:lnTo>
                    <a:lnTo>
                      <a:pt x="156" y="154"/>
                    </a:lnTo>
                    <a:lnTo>
                      <a:pt x="159" y="159"/>
                    </a:lnTo>
                    <a:lnTo>
                      <a:pt x="161" y="163"/>
                    </a:lnTo>
                    <a:lnTo>
                      <a:pt x="161" y="166"/>
                    </a:lnTo>
                    <a:lnTo>
                      <a:pt x="163" y="168"/>
                    </a:lnTo>
                    <a:lnTo>
                      <a:pt x="163" y="170"/>
                    </a:lnTo>
                    <a:lnTo>
                      <a:pt x="161" y="173"/>
                    </a:lnTo>
                    <a:lnTo>
                      <a:pt x="159" y="173"/>
                    </a:lnTo>
                    <a:lnTo>
                      <a:pt x="159" y="173"/>
                    </a:lnTo>
                    <a:lnTo>
                      <a:pt x="156" y="175"/>
                    </a:lnTo>
                    <a:lnTo>
                      <a:pt x="159" y="177"/>
                    </a:lnTo>
                    <a:lnTo>
                      <a:pt x="156" y="182"/>
                    </a:lnTo>
                    <a:lnTo>
                      <a:pt x="154" y="182"/>
                    </a:lnTo>
                    <a:lnTo>
                      <a:pt x="154" y="185"/>
                    </a:lnTo>
                    <a:lnTo>
                      <a:pt x="154" y="187"/>
                    </a:lnTo>
                    <a:lnTo>
                      <a:pt x="154" y="189"/>
                    </a:lnTo>
                    <a:lnTo>
                      <a:pt x="161" y="189"/>
                    </a:lnTo>
                    <a:lnTo>
                      <a:pt x="161" y="187"/>
                    </a:lnTo>
                    <a:lnTo>
                      <a:pt x="161" y="187"/>
                    </a:lnTo>
                    <a:lnTo>
                      <a:pt x="163" y="182"/>
                    </a:lnTo>
                    <a:lnTo>
                      <a:pt x="168" y="180"/>
                    </a:lnTo>
                    <a:lnTo>
                      <a:pt x="170" y="177"/>
                    </a:lnTo>
                    <a:lnTo>
                      <a:pt x="168" y="173"/>
                    </a:lnTo>
                    <a:lnTo>
                      <a:pt x="170" y="170"/>
                    </a:lnTo>
                    <a:lnTo>
                      <a:pt x="173" y="168"/>
                    </a:lnTo>
                    <a:lnTo>
                      <a:pt x="175" y="168"/>
                    </a:lnTo>
                    <a:lnTo>
                      <a:pt x="178" y="168"/>
                    </a:lnTo>
                    <a:lnTo>
                      <a:pt x="180" y="166"/>
                    </a:lnTo>
                    <a:lnTo>
                      <a:pt x="178" y="163"/>
                    </a:lnTo>
                    <a:lnTo>
                      <a:pt x="178" y="159"/>
                    </a:lnTo>
                    <a:lnTo>
                      <a:pt x="175" y="156"/>
                    </a:lnTo>
                    <a:lnTo>
                      <a:pt x="173" y="154"/>
                    </a:lnTo>
                    <a:lnTo>
                      <a:pt x="168" y="154"/>
                    </a:lnTo>
                    <a:lnTo>
                      <a:pt x="168" y="151"/>
                    </a:lnTo>
                    <a:lnTo>
                      <a:pt x="168" y="149"/>
                    </a:lnTo>
                    <a:lnTo>
                      <a:pt x="170" y="144"/>
                    </a:lnTo>
                    <a:lnTo>
                      <a:pt x="173" y="140"/>
                    </a:lnTo>
                    <a:lnTo>
                      <a:pt x="175" y="137"/>
                    </a:lnTo>
                    <a:lnTo>
                      <a:pt x="175" y="137"/>
                    </a:lnTo>
                    <a:lnTo>
                      <a:pt x="180" y="137"/>
                    </a:lnTo>
                    <a:lnTo>
                      <a:pt x="180" y="137"/>
                    </a:lnTo>
                    <a:lnTo>
                      <a:pt x="180" y="137"/>
                    </a:lnTo>
                    <a:lnTo>
                      <a:pt x="180" y="140"/>
                    </a:lnTo>
                    <a:lnTo>
                      <a:pt x="182" y="140"/>
                    </a:lnTo>
                    <a:lnTo>
                      <a:pt x="185" y="140"/>
                    </a:lnTo>
                    <a:lnTo>
                      <a:pt x="192" y="142"/>
                    </a:lnTo>
                    <a:lnTo>
                      <a:pt x="194" y="147"/>
                    </a:lnTo>
                    <a:lnTo>
                      <a:pt x="196" y="149"/>
                    </a:lnTo>
                    <a:lnTo>
                      <a:pt x="199" y="149"/>
                    </a:lnTo>
                    <a:lnTo>
                      <a:pt x="199" y="147"/>
                    </a:lnTo>
                    <a:lnTo>
                      <a:pt x="201" y="144"/>
                    </a:lnTo>
                    <a:lnTo>
                      <a:pt x="201" y="144"/>
                    </a:lnTo>
                    <a:lnTo>
                      <a:pt x="201" y="142"/>
                    </a:lnTo>
                    <a:close/>
                    <a:moveTo>
                      <a:pt x="97" y="66"/>
                    </a:moveTo>
                    <a:lnTo>
                      <a:pt x="97" y="66"/>
                    </a:lnTo>
                    <a:lnTo>
                      <a:pt x="97" y="66"/>
                    </a:lnTo>
                    <a:lnTo>
                      <a:pt x="97" y="64"/>
                    </a:lnTo>
                    <a:lnTo>
                      <a:pt x="97" y="64"/>
                    </a:lnTo>
                    <a:lnTo>
                      <a:pt x="97" y="66"/>
                    </a:lnTo>
                    <a:lnTo>
                      <a:pt x="97" y="66"/>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Freeform 128"/>
              <p:cNvSpPr>
                <a:spLocks/>
              </p:cNvSpPr>
              <p:nvPr/>
            </p:nvSpPr>
            <p:spPr bwMode="auto">
              <a:xfrm>
                <a:off x="3368" y="2094"/>
                <a:ext cx="26" cy="83"/>
              </a:xfrm>
              <a:custGeom>
                <a:avLst/>
                <a:gdLst>
                  <a:gd name="T0" fmla="*/ 26 w 26"/>
                  <a:gd name="T1" fmla="*/ 8 h 83"/>
                  <a:gd name="T2" fmla="*/ 26 w 26"/>
                  <a:gd name="T3" fmla="*/ 5 h 83"/>
                  <a:gd name="T4" fmla="*/ 26 w 26"/>
                  <a:gd name="T5" fmla="*/ 3 h 83"/>
                  <a:gd name="T6" fmla="*/ 26 w 26"/>
                  <a:gd name="T7" fmla="*/ 3 h 83"/>
                  <a:gd name="T8" fmla="*/ 26 w 26"/>
                  <a:gd name="T9" fmla="*/ 0 h 83"/>
                  <a:gd name="T10" fmla="*/ 24 w 26"/>
                  <a:gd name="T11" fmla="*/ 0 h 83"/>
                  <a:gd name="T12" fmla="*/ 22 w 26"/>
                  <a:gd name="T13" fmla="*/ 3 h 83"/>
                  <a:gd name="T14" fmla="*/ 22 w 26"/>
                  <a:gd name="T15" fmla="*/ 3 h 83"/>
                  <a:gd name="T16" fmla="*/ 19 w 26"/>
                  <a:gd name="T17" fmla="*/ 5 h 83"/>
                  <a:gd name="T18" fmla="*/ 17 w 26"/>
                  <a:gd name="T19" fmla="*/ 8 h 83"/>
                  <a:gd name="T20" fmla="*/ 12 w 26"/>
                  <a:gd name="T21" fmla="*/ 8 h 83"/>
                  <a:gd name="T22" fmla="*/ 12 w 26"/>
                  <a:gd name="T23" fmla="*/ 12 h 83"/>
                  <a:gd name="T24" fmla="*/ 10 w 26"/>
                  <a:gd name="T25" fmla="*/ 26 h 83"/>
                  <a:gd name="T26" fmla="*/ 5 w 26"/>
                  <a:gd name="T27" fmla="*/ 38 h 83"/>
                  <a:gd name="T28" fmla="*/ 5 w 26"/>
                  <a:gd name="T29" fmla="*/ 38 h 83"/>
                  <a:gd name="T30" fmla="*/ 3 w 26"/>
                  <a:gd name="T31" fmla="*/ 43 h 83"/>
                  <a:gd name="T32" fmla="*/ 0 w 26"/>
                  <a:gd name="T33" fmla="*/ 45 h 83"/>
                  <a:gd name="T34" fmla="*/ 3 w 26"/>
                  <a:gd name="T35" fmla="*/ 55 h 83"/>
                  <a:gd name="T36" fmla="*/ 7 w 26"/>
                  <a:gd name="T37" fmla="*/ 62 h 83"/>
                  <a:gd name="T38" fmla="*/ 10 w 26"/>
                  <a:gd name="T39" fmla="*/ 67 h 83"/>
                  <a:gd name="T40" fmla="*/ 12 w 26"/>
                  <a:gd name="T41" fmla="*/ 76 h 83"/>
                  <a:gd name="T42" fmla="*/ 15 w 26"/>
                  <a:gd name="T43" fmla="*/ 83 h 83"/>
                  <a:gd name="T44" fmla="*/ 17 w 26"/>
                  <a:gd name="T45" fmla="*/ 76 h 83"/>
                  <a:gd name="T46" fmla="*/ 17 w 26"/>
                  <a:gd name="T47" fmla="*/ 71 h 83"/>
                  <a:gd name="T48" fmla="*/ 17 w 26"/>
                  <a:gd name="T49" fmla="*/ 67 h 83"/>
                  <a:gd name="T50" fmla="*/ 17 w 26"/>
                  <a:gd name="T51" fmla="*/ 62 h 83"/>
                  <a:gd name="T52" fmla="*/ 19 w 26"/>
                  <a:gd name="T53" fmla="*/ 57 h 83"/>
                  <a:gd name="T54" fmla="*/ 19 w 26"/>
                  <a:gd name="T55" fmla="*/ 55 h 83"/>
                  <a:gd name="T56" fmla="*/ 22 w 26"/>
                  <a:gd name="T57" fmla="*/ 48 h 83"/>
                  <a:gd name="T58" fmla="*/ 22 w 26"/>
                  <a:gd name="T59" fmla="*/ 45 h 83"/>
                  <a:gd name="T60" fmla="*/ 22 w 26"/>
                  <a:gd name="T61" fmla="*/ 43 h 83"/>
                  <a:gd name="T62" fmla="*/ 22 w 26"/>
                  <a:gd name="T63" fmla="*/ 41 h 83"/>
                  <a:gd name="T64" fmla="*/ 15 w 26"/>
                  <a:gd name="T65" fmla="*/ 43 h 83"/>
                  <a:gd name="T66" fmla="*/ 12 w 26"/>
                  <a:gd name="T67" fmla="*/ 43 h 83"/>
                  <a:gd name="T68" fmla="*/ 12 w 26"/>
                  <a:gd name="T69" fmla="*/ 41 h 83"/>
                  <a:gd name="T70" fmla="*/ 15 w 26"/>
                  <a:gd name="T71" fmla="*/ 36 h 83"/>
                  <a:gd name="T72" fmla="*/ 17 w 26"/>
                  <a:gd name="T73" fmla="*/ 36 h 83"/>
                  <a:gd name="T74" fmla="*/ 15 w 26"/>
                  <a:gd name="T75" fmla="*/ 34 h 83"/>
                  <a:gd name="T76" fmla="*/ 12 w 26"/>
                  <a:gd name="T77" fmla="*/ 34 h 83"/>
                  <a:gd name="T78" fmla="*/ 12 w 26"/>
                  <a:gd name="T79" fmla="*/ 34 h 83"/>
                  <a:gd name="T80" fmla="*/ 12 w 26"/>
                  <a:gd name="T81" fmla="*/ 31 h 83"/>
                  <a:gd name="T82" fmla="*/ 12 w 26"/>
                  <a:gd name="T83" fmla="*/ 29 h 83"/>
                  <a:gd name="T84" fmla="*/ 12 w 26"/>
                  <a:gd name="T85" fmla="*/ 24 h 83"/>
                  <a:gd name="T86" fmla="*/ 12 w 26"/>
                  <a:gd name="T87" fmla="*/ 19 h 83"/>
                  <a:gd name="T88" fmla="*/ 17 w 26"/>
                  <a:gd name="T89" fmla="*/ 19 h 83"/>
                  <a:gd name="T90" fmla="*/ 19 w 26"/>
                  <a:gd name="T91" fmla="*/ 19 h 83"/>
                  <a:gd name="T92" fmla="*/ 22 w 26"/>
                  <a:gd name="T93" fmla="*/ 22 h 83"/>
                  <a:gd name="T94" fmla="*/ 22 w 26"/>
                  <a:gd name="T95" fmla="*/ 17 h 83"/>
                  <a:gd name="T96" fmla="*/ 22 w 26"/>
                  <a:gd name="T97" fmla="*/ 15 h 83"/>
                  <a:gd name="T98" fmla="*/ 24 w 26"/>
                  <a:gd name="T99" fmla="*/ 15 h 83"/>
                  <a:gd name="T100" fmla="*/ 26 w 26"/>
                  <a:gd name="T101" fmla="*/ 12 h 83"/>
                  <a:gd name="T102" fmla="*/ 26 w 26"/>
                  <a:gd name="T103" fmla="*/ 1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6" h="83">
                    <a:moveTo>
                      <a:pt x="26" y="10"/>
                    </a:moveTo>
                    <a:lnTo>
                      <a:pt x="26" y="8"/>
                    </a:lnTo>
                    <a:lnTo>
                      <a:pt x="26" y="8"/>
                    </a:lnTo>
                    <a:lnTo>
                      <a:pt x="26" y="5"/>
                    </a:lnTo>
                    <a:lnTo>
                      <a:pt x="26" y="5"/>
                    </a:lnTo>
                    <a:lnTo>
                      <a:pt x="26" y="3"/>
                    </a:lnTo>
                    <a:lnTo>
                      <a:pt x="26" y="3"/>
                    </a:lnTo>
                    <a:lnTo>
                      <a:pt x="26" y="3"/>
                    </a:lnTo>
                    <a:lnTo>
                      <a:pt x="26" y="0"/>
                    </a:lnTo>
                    <a:lnTo>
                      <a:pt x="26" y="0"/>
                    </a:lnTo>
                    <a:lnTo>
                      <a:pt x="26" y="0"/>
                    </a:lnTo>
                    <a:lnTo>
                      <a:pt x="24" y="0"/>
                    </a:lnTo>
                    <a:lnTo>
                      <a:pt x="24" y="3"/>
                    </a:lnTo>
                    <a:lnTo>
                      <a:pt x="22" y="3"/>
                    </a:lnTo>
                    <a:lnTo>
                      <a:pt x="22" y="3"/>
                    </a:lnTo>
                    <a:lnTo>
                      <a:pt x="22" y="3"/>
                    </a:lnTo>
                    <a:lnTo>
                      <a:pt x="19" y="3"/>
                    </a:lnTo>
                    <a:lnTo>
                      <a:pt x="19" y="5"/>
                    </a:lnTo>
                    <a:lnTo>
                      <a:pt x="19" y="8"/>
                    </a:lnTo>
                    <a:lnTo>
                      <a:pt x="17" y="8"/>
                    </a:lnTo>
                    <a:lnTo>
                      <a:pt x="15" y="8"/>
                    </a:lnTo>
                    <a:lnTo>
                      <a:pt x="12" y="8"/>
                    </a:lnTo>
                    <a:lnTo>
                      <a:pt x="12" y="10"/>
                    </a:lnTo>
                    <a:lnTo>
                      <a:pt x="12" y="12"/>
                    </a:lnTo>
                    <a:lnTo>
                      <a:pt x="10" y="17"/>
                    </a:lnTo>
                    <a:lnTo>
                      <a:pt x="10" y="26"/>
                    </a:lnTo>
                    <a:lnTo>
                      <a:pt x="7" y="31"/>
                    </a:lnTo>
                    <a:lnTo>
                      <a:pt x="5" y="38"/>
                    </a:lnTo>
                    <a:lnTo>
                      <a:pt x="5" y="38"/>
                    </a:lnTo>
                    <a:lnTo>
                      <a:pt x="5" y="38"/>
                    </a:lnTo>
                    <a:lnTo>
                      <a:pt x="5" y="41"/>
                    </a:lnTo>
                    <a:lnTo>
                      <a:pt x="3" y="43"/>
                    </a:lnTo>
                    <a:lnTo>
                      <a:pt x="3" y="45"/>
                    </a:lnTo>
                    <a:lnTo>
                      <a:pt x="0" y="45"/>
                    </a:lnTo>
                    <a:lnTo>
                      <a:pt x="3" y="50"/>
                    </a:lnTo>
                    <a:lnTo>
                      <a:pt x="3" y="55"/>
                    </a:lnTo>
                    <a:lnTo>
                      <a:pt x="5" y="60"/>
                    </a:lnTo>
                    <a:lnTo>
                      <a:pt x="7" y="62"/>
                    </a:lnTo>
                    <a:lnTo>
                      <a:pt x="7" y="62"/>
                    </a:lnTo>
                    <a:lnTo>
                      <a:pt x="10" y="67"/>
                    </a:lnTo>
                    <a:lnTo>
                      <a:pt x="10" y="71"/>
                    </a:lnTo>
                    <a:lnTo>
                      <a:pt x="12" y="76"/>
                    </a:lnTo>
                    <a:lnTo>
                      <a:pt x="15" y="81"/>
                    </a:lnTo>
                    <a:lnTo>
                      <a:pt x="15" y="83"/>
                    </a:lnTo>
                    <a:lnTo>
                      <a:pt x="17" y="81"/>
                    </a:lnTo>
                    <a:lnTo>
                      <a:pt x="17" y="76"/>
                    </a:lnTo>
                    <a:lnTo>
                      <a:pt x="17" y="74"/>
                    </a:lnTo>
                    <a:lnTo>
                      <a:pt x="17" y="71"/>
                    </a:lnTo>
                    <a:lnTo>
                      <a:pt x="17" y="69"/>
                    </a:lnTo>
                    <a:lnTo>
                      <a:pt x="17" y="67"/>
                    </a:lnTo>
                    <a:lnTo>
                      <a:pt x="17" y="64"/>
                    </a:lnTo>
                    <a:lnTo>
                      <a:pt x="17" y="62"/>
                    </a:lnTo>
                    <a:lnTo>
                      <a:pt x="17" y="62"/>
                    </a:lnTo>
                    <a:lnTo>
                      <a:pt x="19" y="57"/>
                    </a:lnTo>
                    <a:lnTo>
                      <a:pt x="19" y="55"/>
                    </a:lnTo>
                    <a:lnTo>
                      <a:pt x="19" y="55"/>
                    </a:lnTo>
                    <a:lnTo>
                      <a:pt x="22" y="50"/>
                    </a:lnTo>
                    <a:lnTo>
                      <a:pt x="22" y="48"/>
                    </a:lnTo>
                    <a:lnTo>
                      <a:pt x="22" y="45"/>
                    </a:lnTo>
                    <a:lnTo>
                      <a:pt x="22" y="45"/>
                    </a:lnTo>
                    <a:lnTo>
                      <a:pt x="22" y="43"/>
                    </a:lnTo>
                    <a:lnTo>
                      <a:pt x="22" y="43"/>
                    </a:lnTo>
                    <a:lnTo>
                      <a:pt x="22" y="41"/>
                    </a:lnTo>
                    <a:lnTo>
                      <a:pt x="22" y="41"/>
                    </a:lnTo>
                    <a:lnTo>
                      <a:pt x="19" y="43"/>
                    </a:lnTo>
                    <a:lnTo>
                      <a:pt x="15" y="43"/>
                    </a:lnTo>
                    <a:lnTo>
                      <a:pt x="12" y="43"/>
                    </a:lnTo>
                    <a:lnTo>
                      <a:pt x="12" y="43"/>
                    </a:lnTo>
                    <a:lnTo>
                      <a:pt x="12" y="43"/>
                    </a:lnTo>
                    <a:lnTo>
                      <a:pt x="12" y="41"/>
                    </a:lnTo>
                    <a:lnTo>
                      <a:pt x="12" y="38"/>
                    </a:lnTo>
                    <a:lnTo>
                      <a:pt x="15" y="36"/>
                    </a:lnTo>
                    <a:lnTo>
                      <a:pt x="17" y="36"/>
                    </a:lnTo>
                    <a:lnTo>
                      <a:pt x="17" y="36"/>
                    </a:lnTo>
                    <a:lnTo>
                      <a:pt x="17" y="34"/>
                    </a:lnTo>
                    <a:lnTo>
                      <a:pt x="15" y="34"/>
                    </a:lnTo>
                    <a:lnTo>
                      <a:pt x="15" y="34"/>
                    </a:lnTo>
                    <a:lnTo>
                      <a:pt x="12" y="34"/>
                    </a:lnTo>
                    <a:lnTo>
                      <a:pt x="12" y="34"/>
                    </a:lnTo>
                    <a:lnTo>
                      <a:pt x="12" y="34"/>
                    </a:lnTo>
                    <a:lnTo>
                      <a:pt x="12" y="34"/>
                    </a:lnTo>
                    <a:lnTo>
                      <a:pt x="12" y="31"/>
                    </a:lnTo>
                    <a:lnTo>
                      <a:pt x="12" y="29"/>
                    </a:lnTo>
                    <a:lnTo>
                      <a:pt x="12" y="29"/>
                    </a:lnTo>
                    <a:lnTo>
                      <a:pt x="12" y="26"/>
                    </a:lnTo>
                    <a:lnTo>
                      <a:pt x="12" y="24"/>
                    </a:lnTo>
                    <a:lnTo>
                      <a:pt x="12" y="22"/>
                    </a:lnTo>
                    <a:lnTo>
                      <a:pt x="12" y="19"/>
                    </a:lnTo>
                    <a:lnTo>
                      <a:pt x="15" y="19"/>
                    </a:lnTo>
                    <a:lnTo>
                      <a:pt x="17" y="19"/>
                    </a:lnTo>
                    <a:lnTo>
                      <a:pt x="19" y="19"/>
                    </a:lnTo>
                    <a:lnTo>
                      <a:pt x="19" y="19"/>
                    </a:lnTo>
                    <a:lnTo>
                      <a:pt x="19" y="19"/>
                    </a:lnTo>
                    <a:lnTo>
                      <a:pt x="22" y="22"/>
                    </a:lnTo>
                    <a:lnTo>
                      <a:pt x="22" y="22"/>
                    </a:lnTo>
                    <a:lnTo>
                      <a:pt x="22" y="17"/>
                    </a:lnTo>
                    <a:lnTo>
                      <a:pt x="22" y="17"/>
                    </a:lnTo>
                    <a:lnTo>
                      <a:pt x="22" y="15"/>
                    </a:lnTo>
                    <a:lnTo>
                      <a:pt x="22" y="15"/>
                    </a:lnTo>
                    <a:lnTo>
                      <a:pt x="24" y="15"/>
                    </a:lnTo>
                    <a:lnTo>
                      <a:pt x="26" y="15"/>
                    </a:lnTo>
                    <a:lnTo>
                      <a:pt x="26" y="12"/>
                    </a:lnTo>
                    <a:lnTo>
                      <a:pt x="26" y="12"/>
                    </a:lnTo>
                    <a:lnTo>
                      <a:pt x="26" y="10"/>
                    </a:lnTo>
                    <a:lnTo>
                      <a:pt x="26" y="10"/>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Freeform 129"/>
              <p:cNvSpPr>
                <a:spLocks/>
              </p:cNvSpPr>
              <p:nvPr/>
            </p:nvSpPr>
            <p:spPr bwMode="auto">
              <a:xfrm>
                <a:off x="2706" y="1659"/>
                <a:ext cx="7" cy="7"/>
              </a:xfrm>
              <a:custGeom>
                <a:avLst/>
                <a:gdLst>
                  <a:gd name="T0" fmla="*/ 7 w 7"/>
                  <a:gd name="T1" fmla="*/ 0 h 7"/>
                  <a:gd name="T2" fmla="*/ 7 w 7"/>
                  <a:gd name="T3" fmla="*/ 0 h 7"/>
                  <a:gd name="T4" fmla="*/ 7 w 7"/>
                  <a:gd name="T5" fmla="*/ 0 h 7"/>
                  <a:gd name="T6" fmla="*/ 5 w 7"/>
                  <a:gd name="T7" fmla="*/ 0 h 7"/>
                  <a:gd name="T8" fmla="*/ 2 w 7"/>
                  <a:gd name="T9" fmla="*/ 2 h 7"/>
                  <a:gd name="T10" fmla="*/ 2 w 7"/>
                  <a:gd name="T11" fmla="*/ 2 h 7"/>
                  <a:gd name="T12" fmla="*/ 0 w 7"/>
                  <a:gd name="T13" fmla="*/ 4 h 7"/>
                  <a:gd name="T14" fmla="*/ 0 w 7"/>
                  <a:gd name="T15" fmla="*/ 4 h 7"/>
                  <a:gd name="T16" fmla="*/ 0 w 7"/>
                  <a:gd name="T17" fmla="*/ 7 h 7"/>
                  <a:gd name="T18" fmla="*/ 2 w 7"/>
                  <a:gd name="T19" fmla="*/ 4 h 7"/>
                  <a:gd name="T20" fmla="*/ 2 w 7"/>
                  <a:gd name="T21" fmla="*/ 7 h 7"/>
                  <a:gd name="T22" fmla="*/ 7 w 7"/>
                  <a:gd name="T23" fmla="*/ 4 h 7"/>
                  <a:gd name="T24" fmla="*/ 7 w 7"/>
                  <a:gd name="T25" fmla="*/ 2 h 7"/>
                  <a:gd name="T26" fmla="*/ 7 w 7"/>
                  <a:gd name="T27" fmla="*/ 2 h 7"/>
                  <a:gd name="T28" fmla="*/ 7 w 7"/>
                  <a:gd name="T2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 h="7">
                    <a:moveTo>
                      <a:pt x="7" y="0"/>
                    </a:moveTo>
                    <a:lnTo>
                      <a:pt x="7" y="0"/>
                    </a:lnTo>
                    <a:lnTo>
                      <a:pt x="7" y="0"/>
                    </a:lnTo>
                    <a:lnTo>
                      <a:pt x="5" y="0"/>
                    </a:lnTo>
                    <a:lnTo>
                      <a:pt x="2" y="2"/>
                    </a:lnTo>
                    <a:lnTo>
                      <a:pt x="2" y="2"/>
                    </a:lnTo>
                    <a:lnTo>
                      <a:pt x="0" y="4"/>
                    </a:lnTo>
                    <a:lnTo>
                      <a:pt x="0" y="4"/>
                    </a:lnTo>
                    <a:lnTo>
                      <a:pt x="0" y="7"/>
                    </a:lnTo>
                    <a:lnTo>
                      <a:pt x="2" y="4"/>
                    </a:lnTo>
                    <a:lnTo>
                      <a:pt x="2" y="7"/>
                    </a:lnTo>
                    <a:lnTo>
                      <a:pt x="7" y="4"/>
                    </a:lnTo>
                    <a:lnTo>
                      <a:pt x="7" y="2"/>
                    </a:lnTo>
                    <a:lnTo>
                      <a:pt x="7" y="2"/>
                    </a:lnTo>
                    <a:lnTo>
                      <a:pt x="7" y="0"/>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reeform 130"/>
              <p:cNvSpPr>
                <a:spLocks noEditPoints="1"/>
              </p:cNvSpPr>
              <p:nvPr/>
            </p:nvSpPr>
            <p:spPr bwMode="auto">
              <a:xfrm>
                <a:off x="2611" y="1640"/>
                <a:ext cx="74" cy="78"/>
              </a:xfrm>
              <a:custGeom>
                <a:avLst/>
                <a:gdLst>
                  <a:gd name="T0" fmla="*/ 12 w 74"/>
                  <a:gd name="T1" fmla="*/ 26 h 78"/>
                  <a:gd name="T2" fmla="*/ 12 w 74"/>
                  <a:gd name="T3" fmla="*/ 28 h 78"/>
                  <a:gd name="T4" fmla="*/ 71 w 74"/>
                  <a:gd name="T5" fmla="*/ 35 h 78"/>
                  <a:gd name="T6" fmla="*/ 71 w 74"/>
                  <a:gd name="T7" fmla="*/ 28 h 78"/>
                  <a:gd name="T8" fmla="*/ 74 w 74"/>
                  <a:gd name="T9" fmla="*/ 26 h 78"/>
                  <a:gd name="T10" fmla="*/ 69 w 74"/>
                  <a:gd name="T11" fmla="*/ 26 h 78"/>
                  <a:gd name="T12" fmla="*/ 67 w 74"/>
                  <a:gd name="T13" fmla="*/ 23 h 78"/>
                  <a:gd name="T14" fmla="*/ 62 w 74"/>
                  <a:gd name="T15" fmla="*/ 21 h 78"/>
                  <a:gd name="T16" fmla="*/ 60 w 74"/>
                  <a:gd name="T17" fmla="*/ 19 h 78"/>
                  <a:gd name="T18" fmla="*/ 55 w 74"/>
                  <a:gd name="T19" fmla="*/ 23 h 78"/>
                  <a:gd name="T20" fmla="*/ 50 w 74"/>
                  <a:gd name="T21" fmla="*/ 23 h 78"/>
                  <a:gd name="T22" fmla="*/ 43 w 74"/>
                  <a:gd name="T23" fmla="*/ 19 h 78"/>
                  <a:gd name="T24" fmla="*/ 50 w 74"/>
                  <a:gd name="T25" fmla="*/ 14 h 78"/>
                  <a:gd name="T26" fmla="*/ 48 w 74"/>
                  <a:gd name="T27" fmla="*/ 12 h 78"/>
                  <a:gd name="T28" fmla="*/ 52 w 74"/>
                  <a:gd name="T29" fmla="*/ 12 h 78"/>
                  <a:gd name="T30" fmla="*/ 57 w 74"/>
                  <a:gd name="T31" fmla="*/ 7 h 78"/>
                  <a:gd name="T32" fmla="*/ 64 w 74"/>
                  <a:gd name="T33" fmla="*/ 2 h 78"/>
                  <a:gd name="T34" fmla="*/ 57 w 74"/>
                  <a:gd name="T35" fmla="*/ 0 h 78"/>
                  <a:gd name="T36" fmla="*/ 55 w 74"/>
                  <a:gd name="T37" fmla="*/ 2 h 78"/>
                  <a:gd name="T38" fmla="*/ 52 w 74"/>
                  <a:gd name="T39" fmla="*/ 5 h 78"/>
                  <a:gd name="T40" fmla="*/ 52 w 74"/>
                  <a:gd name="T41" fmla="*/ 2 h 78"/>
                  <a:gd name="T42" fmla="*/ 50 w 74"/>
                  <a:gd name="T43" fmla="*/ 2 h 78"/>
                  <a:gd name="T44" fmla="*/ 43 w 74"/>
                  <a:gd name="T45" fmla="*/ 5 h 78"/>
                  <a:gd name="T46" fmla="*/ 38 w 74"/>
                  <a:gd name="T47" fmla="*/ 9 h 78"/>
                  <a:gd name="T48" fmla="*/ 34 w 74"/>
                  <a:gd name="T49" fmla="*/ 12 h 78"/>
                  <a:gd name="T50" fmla="*/ 41 w 74"/>
                  <a:gd name="T51" fmla="*/ 16 h 78"/>
                  <a:gd name="T52" fmla="*/ 36 w 74"/>
                  <a:gd name="T53" fmla="*/ 21 h 78"/>
                  <a:gd name="T54" fmla="*/ 29 w 74"/>
                  <a:gd name="T55" fmla="*/ 21 h 78"/>
                  <a:gd name="T56" fmla="*/ 17 w 74"/>
                  <a:gd name="T57" fmla="*/ 21 h 78"/>
                  <a:gd name="T58" fmla="*/ 12 w 74"/>
                  <a:gd name="T59" fmla="*/ 21 h 78"/>
                  <a:gd name="T60" fmla="*/ 15 w 74"/>
                  <a:gd name="T61" fmla="*/ 23 h 78"/>
                  <a:gd name="T62" fmla="*/ 17 w 74"/>
                  <a:gd name="T63" fmla="*/ 28 h 78"/>
                  <a:gd name="T64" fmla="*/ 15 w 74"/>
                  <a:gd name="T65" fmla="*/ 31 h 78"/>
                  <a:gd name="T66" fmla="*/ 15 w 74"/>
                  <a:gd name="T67" fmla="*/ 35 h 78"/>
                  <a:gd name="T68" fmla="*/ 10 w 74"/>
                  <a:gd name="T69" fmla="*/ 38 h 78"/>
                  <a:gd name="T70" fmla="*/ 15 w 74"/>
                  <a:gd name="T71" fmla="*/ 38 h 78"/>
                  <a:gd name="T72" fmla="*/ 17 w 74"/>
                  <a:gd name="T73" fmla="*/ 40 h 78"/>
                  <a:gd name="T74" fmla="*/ 19 w 74"/>
                  <a:gd name="T75" fmla="*/ 42 h 78"/>
                  <a:gd name="T76" fmla="*/ 26 w 74"/>
                  <a:gd name="T77" fmla="*/ 42 h 78"/>
                  <a:gd name="T78" fmla="*/ 19 w 74"/>
                  <a:gd name="T79" fmla="*/ 47 h 78"/>
                  <a:gd name="T80" fmla="*/ 12 w 74"/>
                  <a:gd name="T81" fmla="*/ 54 h 78"/>
                  <a:gd name="T82" fmla="*/ 17 w 74"/>
                  <a:gd name="T83" fmla="*/ 54 h 78"/>
                  <a:gd name="T84" fmla="*/ 26 w 74"/>
                  <a:gd name="T85" fmla="*/ 52 h 78"/>
                  <a:gd name="T86" fmla="*/ 15 w 74"/>
                  <a:gd name="T87" fmla="*/ 54 h 78"/>
                  <a:gd name="T88" fmla="*/ 10 w 74"/>
                  <a:gd name="T89" fmla="*/ 59 h 78"/>
                  <a:gd name="T90" fmla="*/ 8 w 74"/>
                  <a:gd name="T91" fmla="*/ 61 h 78"/>
                  <a:gd name="T92" fmla="*/ 3 w 74"/>
                  <a:gd name="T93" fmla="*/ 64 h 78"/>
                  <a:gd name="T94" fmla="*/ 8 w 74"/>
                  <a:gd name="T95" fmla="*/ 66 h 78"/>
                  <a:gd name="T96" fmla="*/ 3 w 74"/>
                  <a:gd name="T97" fmla="*/ 71 h 78"/>
                  <a:gd name="T98" fmla="*/ 10 w 74"/>
                  <a:gd name="T99" fmla="*/ 71 h 78"/>
                  <a:gd name="T100" fmla="*/ 8 w 74"/>
                  <a:gd name="T101" fmla="*/ 73 h 78"/>
                  <a:gd name="T102" fmla="*/ 12 w 74"/>
                  <a:gd name="T103" fmla="*/ 76 h 78"/>
                  <a:gd name="T104" fmla="*/ 17 w 74"/>
                  <a:gd name="T105" fmla="*/ 76 h 78"/>
                  <a:gd name="T106" fmla="*/ 29 w 74"/>
                  <a:gd name="T107" fmla="*/ 73 h 78"/>
                  <a:gd name="T108" fmla="*/ 34 w 74"/>
                  <a:gd name="T109" fmla="*/ 68 h 78"/>
                  <a:gd name="T110" fmla="*/ 36 w 74"/>
                  <a:gd name="T111" fmla="*/ 68 h 78"/>
                  <a:gd name="T112" fmla="*/ 43 w 74"/>
                  <a:gd name="T113" fmla="*/ 68 h 78"/>
                  <a:gd name="T114" fmla="*/ 48 w 74"/>
                  <a:gd name="T115" fmla="*/ 64 h 78"/>
                  <a:gd name="T116" fmla="*/ 57 w 74"/>
                  <a:gd name="T117" fmla="*/ 61 h 78"/>
                  <a:gd name="T118" fmla="*/ 62 w 74"/>
                  <a:gd name="T119" fmla="*/ 61 h 78"/>
                  <a:gd name="T120" fmla="*/ 67 w 74"/>
                  <a:gd name="T121" fmla="*/ 59 h 78"/>
                  <a:gd name="T122" fmla="*/ 71 w 74"/>
                  <a:gd name="T123" fmla="*/ 50 h 78"/>
                  <a:gd name="T124" fmla="*/ 71 w 74"/>
                  <a:gd name="T125" fmla="*/ 4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4" h="78">
                    <a:moveTo>
                      <a:pt x="12" y="28"/>
                    </a:moveTo>
                    <a:lnTo>
                      <a:pt x="12" y="28"/>
                    </a:lnTo>
                    <a:lnTo>
                      <a:pt x="12" y="28"/>
                    </a:lnTo>
                    <a:lnTo>
                      <a:pt x="15" y="26"/>
                    </a:lnTo>
                    <a:lnTo>
                      <a:pt x="12" y="26"/>
                    </a:lnTo>
                    <a:lnTo>
                      <a:pt x="10" y="26"/>
                    </a:lnTo>
                    <a:lnTo>
                      <a:pt x="10" y="26"/>
                    </a:lnTo>
                    <a:lnTo>
                      <a:pt x="8" y="26"/>
                    </a:lnTo>
                    <a:lnTo>
                      <a:pt x="12" y="26"/>
                    </a:lnTo>
                    <a:lnTo>
                      <a:pt x="12" y="28"/>
                    </a:lnTo>
                    <a:close/>
                    <a:moveTo>
                      <a:pt x="71" y="40"/>
                    </a:moveTo>
                    <a:lnTo>
                      <a:pt x="71" y="38"/>
                    </a:lnTo>
                    <a:lnTo>
                      <a:pt x="71" y="38"/>
                    </a:lnTo>
                    <a:lnTo>
                      <a:pt x="71" y="38"/>
                    </a:lnTo>
                    <a:lnTo>
                      <a:pt x="71" y="35"/>
                    </a:lnTo>
                    <a:lnTo>
                      <a:pt x="71" y="35"/>
                    </a:lnTo>
                    <a:lnTo>
                      <a:pt x="71" y="33"/>
                    </a:lnTo>
                    <a:lnTo>
                      <a:pt x="71" y="31"/>
                    </a:lnTo>
                    <a:lnTo>
                      <a:pt x="71" y="28"/>
                    </a:lnTo>
                    <a:lnTo>
                      <a:pt x="71" y="28"/>
                    </a:lnTo>
                    <a:lnTo>
                      <a:pt x="69" y="28"/>
                    </a:lnTo>
                    <a:lnTo>
                      <a:pt x="71" y="26"/>
                    </a:lnTo>
                    <a:lnTo>
                      <a:pt x="71" y="26"/>
                    </a:lnTo>
                    <a:lnTo>
                      <a:pt x="71" y="26"/>
                    </a:lnTo>
                    <a:lnTo>
                      <a:pt x="74" y="26"/>
                    </a:lnTo>
                    <a:lnTo>
                      <a:pt x="74" y="26"/>
                    </a:lnTo>
                    <a:lnTo>
                      <a:pt x="71" y="23"/>
                    </a:lnTo>
                    <a:lnTo>
                      <a:pt x="71" y="23"/>
                    </a:lnTo>
                    <a:lnTo>
                      <a:pt x="69" y="23"/>
                    </a:lnTo>
                    <a:lnTo>
                      <a:pt x="69" y="26"/>
                    </a:lnTo>
                    <a:lnTo>
                      <a:pt x="69" y="26"/>
                    </a:lnTo>
                    <a:lnTo>
                      <a:pt x="67" y="26"/>
                    </a:lnTo>
                    <a:lnTo>
                      <a:pt x="67" y="26"/>
                    </a:lnTo>
                    <a:lnTo>
                      <a:pt x="64" y="23"/>
                    </a:lnTo>
                    <a:lnTo>
                      <a:pt x="67" y="23"/>
                    </a:lnTo>
                    <a:lnTo>
                      <a:pt x="67" y="23"/>
                    </a:lnTo>
                    <a:lnTo>
                      <a:pt x="64" y="21"/>
                    </a:lnTo>
                    <a:lnTo>
                      <a:pt x="64" y="21"/>
                    </a:lnTo>
                    <a:lnTo>
                      <a:pt x="62" y="21"/>
                    </a:lnTo>
                    <a:lnTo>
                      <a:pt x="62" y="21"/>
                    </a:lnTo>
                    <a:lnTo>
                      <a:pt x="62" y="19"/>
                    </a:lnTo>
                    <a:lnTo>
                      <a:pt x="62" y="19"/>
                    </a:lnTo>
                    <a:lnTo>
                      <a:pt x="62" y="19"/>
                    </a:lnTo>
                    <a:lnTo>
                      <a:pt x="60" y="19"/>
                    </a:lnTo>
                    <a:lnTo>
                      <a:pt x="60" y="19"/>
                    </a:lnTo>
                    <a:lnTo>
                      <a:pt x="57" y="21"/>
                    </a:lnTo>
                    <a:lnTo>
                      <a:pt x="57" y="21"/>
                    </a:lnTo>
                    <a:lnTo>
                      <a:pt x="57" y="21"/>
                    </a:lnTo>
                    <a:lnTo>
                      <a:pt x="57" y="21"/>
                    </a:lnTo>
                    <a:lnTo>
                      <a:pt x="55" y="23"/>
                    </a:lnTo>
                    <a:lnTo>
                      <a:pt x="55" y="23"/>
                    </a:lnTo>
                    <a:lnTo>
                      <a:pt x="55" y="23"/>
                    </a:lnTo>
                    <a:lnTo>
                      <a:pt x="55" y="23"/>
                    </a:lnTo>
                    <a:lnTo>
                      <a:pt x="52" y="23"/>
                    </a:lnTo>
                    <a:lnTo>
                      <a:pt x="50" y="23"/>
                    </a:lnTo>
                    <a:lnTo>
                      <a:pt x="50" y="23"/>
                    </a:lnTo>
                    <a:lnTo>
                      <a:pt x="48" y="21"/>
                    </a:lnTo>
                    <a:lnTo>
                      <a:pt x="48" y="21"/>
                    </a:lnTo>
                    <a:lnTo>
                      <a:pt x="45" y="21"/>
                    </a:lnTo>
                    <a:lnTo>
                      <a:pt x="43" y="19"/>
                    </a:lnTo>
                    <a:lnTo>
                      <a:pt x="43" y="16"/>
                    </a:lnTo>
                    <a:lnTo>
                      <a:pt x="43" y="16"/>
                    </a:lnTo>
                    <a:lnTo>
                      <a:pt x="45" y="16"/>
                    </a:lnTo>
                    <a:lnTo>
                      <a:pt x="48" y="14"/>
                    </a:lnTo>
                    <a:lnTo>
                      <a:pt x="50" y="14"/>
                    </a:lnTo>
                    <a:lnTo>
                      <a:pt x="50" y="14"/>
                    </a:lnTo>
                    <a:lnTo>
                      <a:pt x="48" y="14"/>
                    </a:lnTo>
                    <a:lnTo>
                      <a:pt x="48" y="12"/>
                    </a:lnTo>
                    <a:lnTo>
                      <a:pt x="48" y="12"/>
                    </a:lnTo>
                    <a:lnTo>
                      <a:pt x="48" y="12"/>
                    </a:lnTo>
                    <a:lnTo>
                      <a:pt x="48" y="12"/>
                    </a:lnTo>
                    <a:lnTo>
                      <a:pt x="50" y="12"/>
                    </a:lnTo>
                    <a:lnTo>
                      <a:pt x="50" y="12"/>
                    </a:lnTo>
                    <a:lnTo>
                      <a:pt x="50" y="12"/>
                    </a:lnTo>
                    <a:lnTo>
                      <a:pt x="52" y="12"/>
                    </a:lnTo>
                    <a:lnTo>
                      <a:pt x="52" y="12"/>
                    </a:lnTo>
                    <a:lnTo>
                      <a:pt x="55" y="9"/>
                    </a:lnTo>
                    <a:lnTo>
                      <a:pt x="55" y="9"/>
                    </a:lnTo>
                    <a:lnTo>
                      <a:pt x="55" y="7"/>
                    </a:lnTo>
                    <a:lnTo>
                      <a:pt x="57" y="7"/>
                    </a:lnTo>
                    <a:lnTo>
                      <a:pt x="57" y="5"/>
                    </a:lnTo>
                    <a:lnTo>
                      <a:pt x="60" y="5"/>
                    </a:lnTo>
                    <a:lnTo>
                      <a:pt x="60" y="2"/>
                    </a:lnTo>
                    <a:lnTo>
                      <a:pt x="62" y="2"/>
                    </a:lnTo>
                    <a:lnTo>
                      <a:pt x="64" y="2"/>
                    </a:lnTo>
                    <a:lnTo>
                      <a:pt x="62" y="0"/>
                    </a:lnTo>
                    <a:lnTo>
                      <a:pt x="60" y="0"/>
                    </a:lnTo>
                    <a:lnTo>
                      <a:pt x="60" y="0"/>
                    </a:lnTo>
                    <a:lnTo>
                      <a:pt x="57" y="0"/>
                    </a:lnTo>
                    <a:lnTo>
                      <a:pt x="57" y="0"/>
                    </a:lnTo>
                    <a:lnTo>
                      <a:pt x="57" y="0"/>
                    </a:lnTo>
                    <a:lnTo>
                      <a:pt x="55" y="0"/>
                    </a:lnTo>
                    <a:lnTo>
                      <a:pt x="55" y="2"/>
                    </a:lnTo>
                    <a:lnTo>
                      <a:pt x="55" y="2"/>
                    </a:lnTo>
                    <a:lnTo>
                      <a:pt x="55" y="2"/>
                    </a:lnTo>
                    <a:lnTo>
                      <a:pt x="55" y="5"/>
                    </a:lnTo>
                    <a:lnTo>
                      <a:pt x="55" y="5"/>
                    </a:lnTo>
                    <a:lnTo>
                      <a:pt x="52" y="7"/>
                    </a:lnTo>
                    <a:lnTo>
                      <a:pt x="52" y="7"/>
                    </a:lnTo>
                    <a:lnTo>
                      <a:pt x="52" y="5"/>
                    </a:lnTo>
                    <a:lnTo>
                      <a:pt x="52" y="5"/>
                    </a:lnTo>
                    <a:lnTo>
                      <a:pt x="52" y="5"/>
                    </a:lnTo>
                    <a:lnTo>
                      <a:pt x="55" y="5"/>
                    </a:lnTo>
                    <a:lnTo>
                      <a:pt x="55" y="2"/>
                    </a:lnTo>
                    <a:lnTo>
                      <a:pt x="52" y="2"/>
                    </a:lnTo>
                    <a:lnTo>
                      <a:pt x="52" y="2"/>
                    </a:lnTo>
                    <a:lnTo>
                      <a:pt x="52" y="0"/>
                    </a:lnTo>
                    <a:lnTo>
                      <a:pt x="50" y="2"/>
                    </a:lnTo>
                    <a:lnTo>
                      <a:pt x="50" y="2"/>
                    </a:lnTo>
                    <a:lnTo>
                      <a:pt x="50" y="2"/>
                    </a:lnTo>
                    <a:lnTo>
                      <a:pt x="48" y="2"/>
                    </a:lnTo>
                    <a:lnTo>
                      <a:pt x="48" y="2"/>
                    </a:lnTo>
                    <a:lnTo>
                      <a:pt x="45" y="2"/>
                    </a:lnTo>
                    <a:lnTo>
                      <a:pt x="43" y="2"/>
                    </a:lnTo>
                    <a:lnTo>
                      <a:pt x="43" y="5"/>
                    </a:lnTo>
                    <a:lnTo>
                      <a:pt x="41" y="5"/>
                    </a:lnTo>
                    <a:lnTo>
                      <a:pt x="41" y="5"/>
                    </a:lnTo>
                    <a:lnTo>
                      <a:pt x="41" y="7"/>
                    </a:lnTo>
                    <a:lnTo>
                      <a:pt x="41" y="9"/>
                    </a:lnTo>
                    <a:lnTo>
                      <a:pt x="38" y="9"/>
                    </a:lnTo>
                    <a:lnTo>
                      <a:pt x="38" y="9"/>
                    </a:lnTo>
                    <a:lnTo>
                      <a:pt x="38" y="9"/>
                    </a:lnTo>
                    <a:lnTo>
                      <a:pt x="36" y="12"/>
                    </a:lnTo>
                    <a:lnTo>
                      <a:pt x="36" y="12"/>
                    </a:lnTo>
                    <a:lnTo>
                      <a:pt x="34" y="12"/>
                    </a:lnTo>
                    <a:lnTo>
                      <a:pt x="38" y="14"/>
                    </a:lnTo>
                    <a:lnTo>
                      <a:pt x="43" y="14"/>
                    </a:lnTo>
                    <a:lnTo>
                      <a:pt x="43" y="14"/>
                    </a:lnTo>
                    <a:lnTo>
                      <a:pt x="43" y="16"/>
                    </a:lnTo>
                    <a:lnTo>
                      <a:pt x="41" y="16"/>
                    </a:lnTo>
                    <a:lnTo>
                      <a:pt x="38" y="16"/>
                    </a:lnTo>
                    <a:lnTo>
                      <a:pt x="38" y="16"/>
                    </a:lnTo>
                    <a:lnTo>
                      <a:pt x="36" y="19"/>
                    </a:lnTo>
                    <a:lnTo>
                      <a:pt x="36" y="19"/>
                    </a:lnTo>
                    <a:lnTo>
                      <a:pt x="36" y="21"/>
                    </a:lnTo>
                    <a:lnTo>
                      <a:pt x="36" y="21"/>
                    </a:lnTo>
                    <a:lnTo>
                      <a:pt x="36" y="21"/>
                    </a:lnTo>
                    <a:lnTo>
                      <a:pt x="34" y="21"/>
                    </a:lnTo>
                    <a:lnTo>
                      <a:pt x="29" y="21"/>
                    </a:lnTo>
                    <a:lnTo>
                      <a:pt x="29" y="21"/>
                    </a:lnTo>
                    <a:lnTo>
                      <a:pt x="26" y="21"/>
                    </a:lnTo>
                    <a:lnTo>
                      <a:pt x="26" y="21"/>
                    </a:lnTo>
                    <a:lnTo>
                      <a:pt x="24" y="21"/>
                    </a:lnTo>
                    <a:lnTo>
                      <a:pt x="19" y="19"/>
                    </a:lnTo>
                    <a:lnTo>
                      <a:pt x="17" y="21"/>
                    </a:lnTo>
                    <a:lnTo>
                      <a:pt x="17" y="21"/>
                    </a:lnTo>
                    <a:lnTo>
                      <a:pt x="15" y="21"/>
                    </a:lnTo>
                    <a:lnTo>
                      <a:pt x="15" y="21"/>
                    </a:lnTo>
                    <a:lnTo>
                      <a:pt x="12" y="21"/>
                    </a:lnTo>
                    <a:lnTo>
                      <a:pt x="12" y="21"/>
                    </a:lnTo>
                    <a:lnTo>
                      <a:pt x="12" y="23"/>
                    </a:lnTo>
                    <a:lnTo>
                      <a:pt x="15" y="23"/>
                    </a:lnTo>
                    <a:lnTo>
                      <a:pt x="15" y="23"/>
                    </a:lnTo>
                    <a:lnTo>
                      <a:pt x="15" y="23"/>
                    </a:lnTo>
                    <a:lnTo>
                      <a:pt x="15" y="23"/>
                    </a:lnTo>
                    <a:lnTo>
                      <a:pt x="15" y="26"/>
                    </a:lnTo>
                    <a:lnTo>
                      <a:pt x="15" y="26"/>
                    </a:lnTo>
                    <a:lnTo>
                      <a:pt x="15" y="28"/>
                    </a:lnTo>
                    <a:lnTo>
                      <a:pt x="15" y="28"/>
                    </a:lnTo>
                    <a:lnTo>
                      <a:pt x="17" y="28"/>
                    </a:lnTo>
                    <a:lnTo>
                      <a:pt x="19" y="28"/>
                    </a:lnTo>
                    <a:lnTo>
                      <a:pt x="19" y="28"/>
                    </a:lnTo>
                    <a:lnTo>
                      <a:pt x="19" y="31"/>
                    </a:lnTo>
                    <a:lnTo>
                      <a:pt x="17" y="31"/>
                    </a:lnTo>
                    <a:lnTo>
                      <a:pt x="15" y="31"/>
                    </a:lnTo>
                    <a:lnTo>
                      <a:pt x="12" y="33"/>
                    </a:lnTo>
                    <a:lnTo>
                      <a:pt x="12" y="33"/>
                    </a:lnTo>
                    <a:lnTo>
                      <a:pt x="15" y="33"/>
                    </a:lnTo>
                    <a:lnTo>
                      <a:pt x="17" y="33"/>
                    </a:lnTo>
                    <a:lnTo>
                      <a:pt x="15" y="35"/>
                    </a:lnTo>
                    <a:lnTo>
                      <a:pt x="12" y="35"/>
                    </a:lnTo>
                    <a:lnTo>
                      <a:pt x="10" y="35"/>
                    </a:lnTo>
                    <a:lnTo>
                      <a:pt x="10" y="35"/>
                    </a:lnTo>
                    <a:lnTo>
                      <a:pt x="10" y="35"/>
                    </a:lnTo>
                    <a:lnTo>
                      <a:pt x="10" y="38"/>
                    </a:lnTo>
                    <a:lnTo>
                      <a:pt x="10" y="38"/>
                    </a:lnTo>
                    <a:lnTo>
                      <a:pt x="10" y="38"/>
                    </a:lnTo>
                    <a:lnTo>
                      <a:pt x="12" y="38"/>
                    </a:lnTo>
                    <a:lnTo>
                      <a:pt x="12" y="38"/>
                    </a:lnTo>
                    <a:lnTo>
                      <a:pt x="15" y="38"/>
                    </a:lnTo>
                    <a:lnTo>
                      <a:pt x="12" y="40"/>
                    </a:lnTo>
                    <a:lnTo>
                      <a:pt x="15" y="40"/>
                    </a:lnTo>
                    <a:lnTo>
                      <a:pt x="15" y="40"/>
                    </a:lnTo>
                    <a:lnTo>
                      <a:pt x="15" y="40"/>
                    </a:lnTo>
                    <a:lnTo>
                      <a:pt x="17" y="40"/>
                    </a:lnTo>
                    <a:lnTo>
                      <a:pt x="17" y="40"/>
                    </a:lnTo>
                    <a:lnTo>
                      <a:pt x="17" y="40"/>
                    </a:lnTo>
                    <a:lnTo>
                      <a:pt x="17" y="40"/>
                    </a:lnTo>
                    <a:lnTo>
                      <a:pt x="19" y="42"/>
                    </a:lnTo>
                    <a:lnTo>
                      <a:pt x="19" y="42"/>
                    </a:lnTo>
                    <a:lnTo>
                      <a:pt x="24" y="40"/>
                    </a:lnTo>
                    <a:lnTo>
                      <a:pt x="26" y="42"/>
                    </a:lnTo>
                    <a:lnTo>
                      <a:pt x="29" y="42"/>
                    </a:lnTo>
                    <a:lnTo>
                      <a:pt x="26" y="42"/>
                    </a:lnTo>
                    <a:lnTo>
                      <a:pt x="26" y="42"/>
                    </a:lnTo>
                    <a:lnTo>
                      <a:pt x="26" y="42"/>
                    </a:lnTo>
                    <a:lnTo>
                      <a:pt x="24" y="42"/>
                    </a:lnTo>
                    <a:lnTo>
                      <a:pt x="22" y="45"/>
                    </a:lnTo>
                    <a:lnTo>
                      <a:pt x="22" y="45"/>
                    </a:lnTo>
                    <a:lnTo>
                      <a:pt x="19" y="47"/>
                    </a:lnTo>
                    <a:lnTo>
                      <a:pt x="19" y="47"/>
                    </a:lnTo>
                    <a:lnTo>
                      <a:pt x="19" y="47"/>
                    </a:lnTo>
                    <a:lnTo>
                      <a:pt x="19" y="50"/>
                    </a:lnTo>
                    <a:lnTo>
                      <a:pt x="17" y="50"/>
                    </a:lnTo>
                    <a:lnTo>
                      <a:pt x="12" y="54"/>
                    </a:lnTo>
                    <a:lnTo>
                      <a:pt x="10" y="54"/>
                    </a:lnTo>
                    <a:lnTo>
                      <a:pt x="12" y="54"/>
                    </a:lnTo>
                    <a:lnTo>
                      <a:pt x="15" y="54"/>
                    </a:lnTo>
                    <a:lnTo>
                      <a:pt x="15" y="54"/>
                    </a:lnTo>
                    <a:lnTo>
                      <a:pt x="17" y="54"/>
                    </a:lnTo>
                    <a:lnTo>
                      <a:pt x="17" y="54"/>
                    </a:lnTo>
                    <a:lnTo>
                      <a:pt x="19" y="54"/>
                    </a:lnTo>
                    <a:lnTo>
                      <a:pt x="22" y="54"/>
                    </a:lnTo>
                    <a:lnTo>
                      <a:pt x="24" y="52"/>
                    </a:lnTo>
                    <a:lnTo>
                      <a:pt x="26" y="52"/>
                    </a:lnTo>
                    <a:lnTo>
                      <a:pt x="26" y="52"/>
                    </a:lnTo>
                    <a:lnTo>
                      <a:pt x="29" y="52"/>
                    </a:lnTo>
                    <a:lnTo>
                      <a:pt x="24" y="54"/>
                    </a:lnTo>
                    <a:lnTo>
                      <a:pt x="19" y="54"/>
                    </a:lnTo>
                    <a:lnTo>
                      <a:pt x="15" y="54"/>
                    </a:lnTo>
                    <a:lnTo>
                      <a:pt x="15" y="54"/>
                    </a:lnTo>
                    <a:lnTo>
                      <a:pt x="12" y="57"/>
                    </a:lnTo>
                    <a:lnTo>
                      <a:pt x="12" y="57"/>
                    </a:lnTo>
                    <a:lnTo>
                      <a:pt x="10" y="59"/>
                    </a:lnTo>
                    <a:lnTo>
                      <a:pt x="10" y="59"/>
                    </a:lnTo>
                    <a:lnTo>
                      <a:pt x="10" y="61"/>
                    </a:lnTo>
                    <a:lnTo>
                      <a:pt x="12" y="61"/>
                    </a:lnTo>
                    <a:lnTo>
                      <a:pt x="10" y="61"/>
                    </a:lnTo>
                    <a:lnTo>
                      <a:pt x="8" y="61"/>
                    </a:lnTo>
                    <a:lnTo>
                      <a:pt x="8" y="61"/>
                    </a:lnTo>
                    <a:lnTo>
                      <a:pt x="5" y="61"/>
                    </a:lnTo>
                    <a:lnTo>
                      <a:pt x="5" y="61"/>
                    </a:lnTo>
                    <a:lnTo>
                      <a:pt x="3" y="61"/>
                    </a:lnTo>
                    <a:lnTo>
                      <a:pt x="3" y="64"/>
                    </a:lnTo>
                    <a:lnTo>
                      <a:pt x="3" y="64"/>
                    </a:lnTo>
                    <a:lnTo>
                      <a:pt x="3" y="64"/>
                    </a:lnTo>
                    <a:lnTo>
                      <a:pt x="8" y="64"/>
                    </a:lnTo>
                    <a:lnTo>
                      <a:pt x="10" y="64"/>
                    </a:lnTo>
                    <a:lnTo>
                      <a:pt x="8" y="64"/>
                    </a:lnTo>
                    <a:lnTo>
                      <a:pt x="8" y="66"/>
                    </a:lnTo>
                    <a:lnTo>
                      <a:pt x="5" y="66"/>
                    </a:lnTo>
                    <a:lnTo>
                      <a:pt x="3" y="66"/>
                    </a:lnTo>
                    <a:lnTo>
                      <a:pt x="0" y="68"/>
                    </a:lnTo>
                    <a:lnTo>
                      <a:pt x="3" y="71"/>
                    </a:lnTo>
                    <a:lnTo>
                      <a:pt x="3" y="71"/>
                    </a:lnTo>
                    <a:lnTo>
                      <a:pt x="3" y="71"/>
                    </a:lnTo>
                    <a:lnTo>
                      <a:pt x="5" y="71"/>
                    </a:lnTo>
                    <a:lnTo>
                      <a:pt x="15" y="68"/>
                    </a:lnTo>
                    <a:lnTo>
                      <a:pt x="12" y="71"/>
                    </a:lnTo>
                    <a:lnTo>
                      <a:pt x="10" y="71"/>
                    </a:lnTo>
                    <a:lnTo>
                      <a:pt x="10" y="71"/>
                    </a:lnTo>
                    <a:lnTo>
                      <a:pt x="8" y="71"/>
                    </a:lnTo>
                    <a:lnTo>
                      <a:pt x="5" y="73"/>
                    </a:lnTo>
                    <a:lnTo>
                      <a:pt x="5" y="76"/>
                    </a:lnTo>
                    <a:lnTo>
                      <a:pt x="8" y="73"/>
                    </a:lnTo>
                    <a:lnTo>
                      <a:pt x="8" y="73"/>
                    </a:lnTo>
                    <a:lnTo>
                      <a:pt x="15" y="73"/>
                    </a:lnTo>
                    <a:lnTo>
                      <a:pt x="15" y="73"/>
                    </a:lnTo>
                    <a:lnTo>
                      <a:pt x="15" y="73"/>
                    </a:lnTo>
                    <a:lnTo>
                      <a:pt x="12" y="76"/>
                    </a:lnTo>
                    <a:lnTo>
                      <a:pt x="10" y="78"/>
                    </a:lnTo>
                    <a:lnTo>
                      <a:pt x="10" y="78"/>
                    </a:lnTo>
                    <a:lnTo>
                      <a:pt x="15" y="76"/>
                    </a:lnTo>
                    <a:lnTo>
                      <a:pt x="15" y="76"/>
                    </a:lnTo>
                    <a:lnTo>
                      <a:pt x="17" y="76"/>
                    </a:lnTo>
                    <a:lnTo>
                      <a:pt x="17" y="76"/>
                    </a:lnTo>
                    <a:lnTo>
                      <a:pt x="17" y="76"/>
                    </a:lnTo>
                    <a:lnTo>
                      <a:pt x="26" y="76"/>
                    </a:lnTo>
                    <a:lnTo>
                      <a:pt x="26" y="73"/>
                    </a:lnTo>
                    <a:lnTo>
                      <a:pt x="29" y="73"/>
                    </a:lnTo>
                    <a:lnTo>
                      <a:pt x="31" y="73"/>
                    </a:lnTo>
                    <a:lnTo>
                      <a:pt x="31" y="73"/>
                    </a:lnTo>
                    <a:lnTo>
                      <a:pt x="34" y="71"/>
                    </a:lnTo>
                    <a:lnTo>
                      <a:pt x="34" y="71"/>
                    </a:lnTo>
                    <a:lnTo>
                      <a:pt x="34" y="68"/>
                    </a:lnTo>
                    <a:lnTo>
                      <a:pt x="34" y="68"/>
                    </a:lnTo>
                    <a:lnTo>
                      <a:pt x="34" y="68"/>
                    </a:lnTo>
                    <a:lnTo>
                      <a:pt x="34" y="68"/>
                    </a:lnTo>
                    <a:lnTo>
                      <a:pt x="36" y="68"/>
                    </a:lnTo>
                    <a:lnTo>
                      <a:pt x="36" y="68"/>
                    </a:lnTo>
                    <a:lnTo>
                      <a:pt x="36" y="71"/>
                    </a:lnTo>
                    <a:lnTo>
                      <a:pt x="38" y="71"/>
                    </a:lnTo>
                    <a:lnTo>
                      <a:pt x="41" y="68"/>
                    </a:lnTo>
                    <a:lnTo>
                      <a:pt x="41" y="68"/>
                    </a:lnTo>
                    <a:lnTo>
                      <a:pt x="43" y="68"/>
                    </a:lnTo>
                    <a:lnTo>
                      <a:pt x="45" y="66"/>
                    </a:lnTo>
                    <a:lnTo>
                      <a:pt x="45" y="66"/>
                    </a:lnTo>
                    <a:lnTo>
                      <a:pt x="45" y="66"/>
                    </a:lnTo>
                    <a:lnTo>
                      <a:pt x="48" y="66"/>
                    </a:lnTo>
                    <a:lnTo>
                      <a:pt x="48" y="64"/>
                    </a:lnTo>
                    <a:lnTo>
                      <a:pt x="48" y="64"/>
                    </a:lnTo>
                    <a:lnTo>
                      <a:pt x="52" y="64"/>
                    </a:lnTo>
                    <a:lnTo>
                      <a:pt x="55" y="64"/>
                    </a:lnTo>
                    <a:lnTo>
                      <a:pt x="55" y="64"/>
                    </a:lnTo>
                    <a:lnTo>
                      <a:pt x="57" y="61"/>
                    </a:lnTo>
                    <a:lnTo>
                      <a:pt x="57" y="64"/>
                    </a:lnTo>
                    <a:lnTo>
                      <a:pt x="57" y="64"/>
                    </a:lnTo>
                    <a:lnTo>
                      <a:pt x="57" y="64"/>
                    </a:lnTo>
                    <a:lnTo>
                      <a:pt x="60" y="61"/>
                    </a:lnTo>
                    <a:lnTo>
                      <a:pt x="62" y="61"/>
                    </a:lnTo>
                    <a:lnTo>
                      <a:pt x="62" y="64"/>
                    </a:lnTo>
                    <a:lnTo>
                      <a:pt x="64" y="61"/>
                    </a:lnTo>
                    <a:lnTo>
                      <a:pt x="67" y="61"/>
                    </a:lnTo>
                    <a:lnTo>
                      <a:pt x="64" y="59"/>
                    </a:lnTo>
                    <a:lnTo>
                      <a:pt x="67" y="59"/>
                    </a:lnTo>
                    <a:lnTo>
                      <a:pt x="67" y="59"/>
                    </a:lnTo>
                    <a:lnTo>
                      <a:pt x="69" y="54"/>
                    </a:lnTo>
                    <a:lnTo>
                      <a:pt x="69" y="52"/>
                    </a:lnTo>
                    <a:lnTo>
                      <a:pt x="71" y="52"/>
                    </a:lnTo>
                    <a:lnTo>
                      <a:pt x="71" y="50"/>
                    </a:lnTo>
                    <a:lnTo>
                      <a:pt x="71" y="50"/>
                    </a:lnTo>
                    <a:lnTo>
                      <a:pt x="74" y="47"/>
                    </a:lnTo>
                    <a:lnTo>
                      <a:pt x="74" y="45"/>
                    </a:lnTo>
                    <a:lnTo>
                      <a:pt x="74" y="42"/>
                    </a:lnTo>
                    <a:lnTo>
                      <a:pt x="71" y="40"/>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Freeform 131"/>
              <p:cNvSpPr>
                <a:spLocks/>
              </p:cNvSpPr>
              <p:nvPr/>
            </p:nvSpPr>
            <p:spPr bwMode="auto">
              <a:xfrm>
                <a:off x="3446" y="2009"/>
                <a:ext cx="180" cy="178"/>
              </a:xfrm>
              <a:custGeom>
                <a:avLst/>
                <a:gdLst>
                  <a:gd name="T0" fmla="*/ 178 w 180"/>
                  <a:gd name="T1" fmla="*/ 154 h 178"/>
                  <a:gd name="T2" fmla="*/ 176 w 180"/>
                  <a:gd name="T3" fmla="*/ 149 h 178"/>
                  <a:gd name="T4" fmla="*/ 171 w 180"/>
                  <a:gd name="T5" fmla="*/ 147 h 178"/>
                  <a:gd name="T6" fmla="*/ 168 w 180"/>
                  <a:gd name="T7" fmla="*/ 135 h 178"/>
                  <a:gd name="T8" fmla="*/ 161 w 180"/>
                  <a:gd name="T9" fmla="*/ 128 h 178"/>
                  <a:gd name="T10" fmla="*/ 159 w 180"/>
                  <a:gd name="T11" fmla="*/ 114 h 178"/>
                  <a:gd name="T12" fmla="*/ 154 w 180"/>
                  <a:gd name="T13" fmla="*/ 104 h 178"/>
                  <a:gd name="T14" fmla="*/ 142 w 180"/>
                  <a:gd name="T15" fmla="*/ 100 h 178"/>
                  <a:gd name="T16" fmla="*/ 131 w 180"/>
                  <a:gd name="T17" fmla="*/ 95 h 178"/>
                  <a:gd name="T18" fmla="*/ 131 w 180"/>
                  <a:gd name="T19" fmla="*/ 90 h 178"/>
                  <a:gd name="T20" fmla="*/ 126 w 180"/>
                  <a:gd name="T21" fmla="*/ 83 h 178"/>
                  <a:gd name="T22" fmla="*/ 123 w 180"/>
                  <a:gd name="T23" fmla="*/ 81 h 178"/>
                  <a:gd name="T24" fmla="*/ 116 w 180"/>
                  <a:gd name="T25" fmla="*/ 74 h 178"/>
                  <a:gd name="T26" fmla="*/ 116 w 180"/>
                  <a:gd name="T27" fmla="*/ 69 h 178"/>
                  <a:gd name="T28" fmla="*/ 116 w 180"/>
                  <a:gd name="T29" fmla="*/ 62 h 178"/>
                  <a:gd name="T30" fmla="*/ 119 w 180"/>
                  <a:gd name="T31" fmla="*/ 59 h 178"/>
                  <a:gd name="T32" fmla="*/ 121 w 180"/>
                  <a:gd name="T33" fmla="*/ 50 h 178"/>
                  <a:gd name="T34" fmla="*/ 126 w 180"/>
                  <a:gd name="T35" fmla="*/ 45 h 178"/>
                  <a:gd name="T36" fmla="*/ 121 w 180"/>
                  <a:gd name="T37" fmla="*/ 40 h 178"/>
                  <a:gd name="T38" fmla="*/ 126 w 180"/>
                  <a:gd name="T39" fmla="*/ 36 h 178"/>
                  <a:gd name="T40" fmla="*/ 121 w 180"/>
                  <a:gd name="T41" fmla="*/ 33 h 178"/>
                  <a:gd name="T42" fmla="*/ 114 w 180"/>
                  <a:gd name="T43" fmla="*/ 31 h 178"/>
                  <a:gd name="T44" fmla="*/ 109 w 180"/>
                  <a:gd name="T45" fmla="*/ 29 h 178"/>
                  <a:gd name="T46" fmla="*/ 105 w 180"/>
                  <a:gd name="T47" fmla="*/ 21 h 178"/>
                  <a:gd name="T48" fmla="*/ 102 w 180"/>
                  <a:gd name="T49" fmla="*/ 17 h 178"/>
                  <a:gd name="T50" fmla="*/ 100 w 180"/>
                  <a:gd name="T51" fmla="*/ 14 h 178"/>
                  <a:gd name="T52" fmla="*/ 97 w 180"/>
                  <a:gd name="T53" fmla="*/ 5 h 178"/>
                  <a:gd name="T54" fmla="*/ 93 w 180"/>
                  <a:gd name="T55" fmla="*/ 5 h 178"/>
                  <a:gd name="T56" fmla="*/ 88 w 180"/>
                  <a:gd name="T57" fmla="*/ 10 h 178"/>
                  <a:gd name="T58" fmla="*/ 86 w 180"/>
                  <a:gd name="T59" fmla="*/ 5 h 178"/>
                  <a:gd name="T60" fmla="*/ 83 w 180"/>
                  <a:gd name="T61" fmla="*/ 3 h 178"/>
                  <a:gd name="T62" fmla="*/ 76 w 180"/>
                  <a:gd name="T63" fmla="*/ 3 h 178"/>
                  <a:gd name="T64" fmla="*/ 69 w 180"/>
                  <a:gd name="T65" fmla="*/ 0 h 178"/>
                  <a:gd name="T66" fmla="*/ 62 w 180"/>
                  <a:gd name="T67" fmla="*/ 0 h 178"/>
                  <a:gd name="T68" fmla="*/ 57 w 180"/>
                  <a:gd name="T69" fmla="*/ 5 h 178"/>
                  <a:gd name="T70" fmla="*/ 52 w 180"/>
                  <a:gd name="T71" fmla="*/ 10 h 178"/>
                  <a:gd name="T72" fmla="*/ 43 w 180"/>
                  <a:gd name="T73" fmla="*/ 17 h 178"/>
                  <a:gd name="T74" fmla="*/ 38 w 180"/>
                  <a:gd name="T75" fmla="*/ 24 h 178"/>
                  <a:gd name="T76" fmla="*/ 41 w 180"/>
                  <a:gd name="T77" fmla="*/ 33 h 178"/>
                  <a:gd name="T78" fmla="*/ 38 w 180"/>
                  <a:gd name="T79" fmla="*/ 43 h 178"/>
                  <a:gd name="T80" fmla="*/ 38 w 180"/>
                  <a:gd name="T81" fmla="*/ 57 h 178"/>
                  <a:gd name="T82" fmla="*/ 31 w 180"/>
                  <a:gd name="T83" fmla="*/ 66 h 178"/>
                  <a:gd name="T84" fmla="*/ 12 w 180"/>
                  <a:gd name="T85" fmla="*/ 78 h 178"/>
                  <a:gd name="T86" fmla="*/ 0 w 180"/>
                  <a:gd name="T87" fmla="*/ 90 h 178"/>
                  <a:gd name="T88" fmla="*/ 5 w 180"/>
                  <a:gd name="T89" fmla="*/ 104 h 178"/>
                  <a:gd name="T90" fmla="*/ 10 w 180"/>
                  <a:gd name="T91" fmla="*/ 109 h 178"/>
                  <a:gd name="T92" fmla="*/ 24 w 180"/>
                  <a:gd name="T93" fmla="*/ 114 h 178"/>
                  <a:gd name="T94" fmla="*/ 43 w 180"/>
                  <a:gd name="T95" fmla="*/ 123 h 178"/>
                  <a:gd name="T96" fmla="*/ 62 w 180"/>
                  <a:gd name="T97" fmla="*/ 135 h 178"/>
                  <a:gd name="T98" fmla="*/ 83 w 180"/>
                  <a:gd name="T99" fmla="*/ 149 h 178"/>
                  <a:gd name="T100" fmla="*/ 107 w 180"/>
                  <a:gd name="T101" fmla="*/ 168 h 178"/>
                  <a:gd name="T102" fmla="*/ 128 w 180"/>
                  <a:gd name="T103" fmla="*/ 175 h 178"/>
                  <a:gd name="T104" fmla="*/ 149 w 180"/>
                  <a:gd name="T105" fmla="*/ 173 h 178"/>
                  <a:gd name="T106" fmla="*/ 154 w 180"/>
                  <a:gd name="T107" fmla="*/ 161 h 178"/>
                  <a:gd name="T108" fmla="*/ 157 w 180"/>
                  <a:gd name="T109" fmla="*/ 156 h 178"/>
                  <a:gd name="T110" fmla="*/ 164 w 180"/>
                  <a:gd name="T111" fmla="*/ 154 h 178"/>
                  <a:gd name="T112" fmla="*/ 171 w 180"/>
                  <a:gd name="T113" fmla="*/ 156 h 178"/>
                  <a:gd name="T114" fmla="*/ 180 w 180"/>
                  <a:gd name="T115" fmla="*/ 159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0" h="178">
                    <a:moveTo>
                      <a:pt x="180" y="156"/>
                    </a:moveTo>
                    <a:lnTo>
                      <a:pt x="178" y="156"/>
                    </a:lnTo>
                    <a:lnTo>
                      <a:pt x="178" y="154"/>
                    </a:lnTo>
                    <a:lnTo>
                      <a:pt x="178" y="154"/>
                    </a:lnTo>
                    <a:lnTo>
                      <a:pt x="178" y="154"/>
                    </a:lnTo>
                    <a:lnTo>
                      <a:pt x="178" y="152"/>
                    </a:lnTo>
                    <a:lnTo>
                      <a:pt x="176" y="152"/>
                    </a:lnTo>
                    <a:lnTo>
                      <a:pt x="176" y="149"/>
                    </a:lnTo>
                    <a:lnTo>
                      <a:pt x="173" y="149"/>
                    </a:lnTo>
                    <a:lnTo>
                      <a:pt x="173" y="149"/>
                    </a:lnTo>
                    <a:lnTo>
                      <a:pt x="173" y="147"/>
                    </a:lnTo>
                    <a:lnTo>
                      <a:pt x="171" y="147"/>
                    </a:lnTo>
                    <a:lnTo>
                      <a:pt x="171" y="147"/>
                    </a:lnTo>
                    <a:lnTo>
                      <a:pt x="168" y="142"/>
                    </a:lnTo>
                    <a:lnTo>
                      <a:pt x="168" y="140"/>
                    </a:lnTo>
                    <a:lnTo>
                      <a:pt x="168" y="135"/>
                    </a:lnTo>
                    <a:lnTo>
                      <a:pt x="166" y="135"/>
                    </a:lnTo>
                    <a:lnTo>
                      <a:pt x="164" y="135"/>
                    </a:lnTo>
                    <a:lnTo>
                      <a:pt x="161" y="133"/>
                    </a:lnTo>
                    <a:lnTo>
                      <a:pt x="161" y="128"/>
                    </a:lnTo>
                    <a:lnTo>
                      <a:pt x="164" y="123"/>
                    </a:lnTo>
                    <a:lnTo>
                      <a:pt x="164" y="119"/>
                    </a:lnTo>
                    <a:lnTo>
                      <a:pt x="161" y="116"/>
                    </a:lnTo>
                    <a:lnTo>
                      <a:pt x="159" y="114"/>
                    </a:lnTo>
                    <a:lnTo>
                      <a:pt x="157" y="111"/>
                    </a:lnTo>
                    <a:lnTo>
                      <a:pt x="154" y="107"/>
                    </a:lnTo>
                    <a:lnTo>
                      <a:pt x="154" y="107"/>
                    </a:lnTo>
                    <a:lnTo>
                      <a:pt x="154" y="104"/>
                    </a:lnTo>
                    <a:lnTo>
                      <a:pt x="152" y="104"/>
                    </a:lnTo>
                    <a:lnTo>
                      <a:pt x="149" y="104"/>
                    </a:lnTo>
                    <a:lnTo>
                      <a:pt x="147" y="102"/>
                    </a:lnTo>
                    <a:lnTo>
                      <a:pt x="142" y="100"/>
                    </a:lnTo>
                    <a:lnTo>
                      <a:pt x="138" y="97"/>
                    </a:lnTo>
                    <a:lnTo>
                      <a:pt x="135" y="95"/>
                    </a:lnTo>
                    <a:lnTo>
                      <a:pt x="133" y="95"/>
                    </a:lnTo>
                    <a:lnTo>
                      <a:pt x="131" y="95"/>
                    </a:lnTo>
                    <a:lnTo>
                      <a:pt x="131" y="95"/>
                    </a:lnTo>
                    <a:lnTo>
                      <a:pt x="131" y="93"/>
                    </a:lnTo>
                    <a:lnTo>
                      <a:pt x="131" y="93"/>
                    </a:lnTo>
                    <a:lnTo>
                      <a:pt x="131" y="90"/>
                    </a:lnTo>
                    <a:lnTo>
                      <a:pt x="131" y="88"/>
                    </a:lnTo>
                    <a:lnTo>
                      <a:pt x="128" y="85"/>
                    </a:lnTo>
                    <a:lnTo>
                      <a:pt x="126" y="83"/>
                    </a:lnTo>
                    <a:lnTo>
                      <a:pt x="126" y="83"/>
                    </a:lnTo>
                    <a:lnTo>
                      <a:pt x="126" y="83"/>
                    </a:lnTo>
                    <a:lnTo>
                      <a:pt x="126" y="81"/>
                    </a:lnTo>
                    <a:lnTo>
                      <a:pt x="126" y="81"/>
                    </a:lnTo>
                    <a:lnTo>
                      <a:pt x="123" y="81"/>
                    </a:lnTo>
                    <a:lnTo>
                      <a:pt x="123" y="81"/>
                    </a:lnTo>
                    <a:lnTo>
                      <a:pt x="121" y="81"/>
                    </a:lnTo>
                    <a:lnTo>
                      <a:pt x="121" y="78"/>
                    </a:lnTo>
                    <a:lnTo>
                      <a:pt x="116" y="74"/>
                    </a:lnTo>
                    <a:lnTo>
                      <a:pt x="116" y="74"/>
                    </a:lnTo>
                    <a:lnTo>
                      <a:pt x="116" y="74"/>
                    </a:lnTo>
                    <a:lnTo>
                      <a:pt x="116" y="71"/>
                    </a:lnTo>
                    <a:lnTo>
                      <a:pt x="116" y="69"/>
                    </a:lnTo>
                    <a:lnTo>
                      <a:pt x="116" y="69"/>
                    </a:lnTo>
                    <a:lnTo>
                      <a:pt x="116" y="66"/>
                    </a:lnTo>
                    <a:lnTo>
                      <a:pt x="114" y="64"/>
                    </a:lnTo>
                    <a:lnTo>
                      <a:pt x="116" y="62"/>
                    </a:lnTo>
                    <a:lnTo>
                      <a:pt x="116" y="62"/>
                    </a:lnTo>
                    <a:lnTo>
                      <a:pt x="116" y="59"/>
                    </a:lnTo>
                    <a:lnTo>
                      <a:pt x="116" y="59"/>
                    </a:lnTo>
                    <a:lnTo>
                      <a:pt x="119" y="59"/>
                    </a:lnTo>
                    <a:lnTo>
                      <a:pt x="119" y="59"/>
                    </a:lnTo>
                    <a:lnTo>
                      <a:pt x="119" y="57"/>
                    </a:lnTo>
                    <a:lnTo>
                      <a:pt x="119" y="55"/>
                    </a:lnTo>
                    <a:lnTo>
                      <a:pt x="121" y="50"/>
                    </a:lnTo>
                    <a:lnTo>
                      <a:pt x="123" y="50"/>
                    </a:lnTo>
                    <a:lnTo>
                      <a:pt x="126" y="48"/>
                    </a:lnTo>
                    <a:lnTo>
                      <a:pt x="126" y="48"/>
                    </a:lnTo>
                    <a:lnTo>
                      <a:pt x="126" y="45"/>
                    </a:lnTo>
                    <a:lnTo>
                      <a:pt x="126" y="45"/>
                    </a:lnTo>
                    <a:lnTo>
                      <a:pt x="126" y="45"/>
                    </a:lnTo>
                    <a:lnTo>
                      <a:pt x="123" y="43"/>
                    </a:lnTo>
                    <a:lnTo>
                      <a:pt x="121" y="40"/>
                    </a:lnTo>
                    <a:lnTo>
                      <a:pt x="121" y="40"/>
                    </a:lnTo>
                    <a:lnTo>
                      <a:pt x="121" y="38"/>
                    </a:lnTo>
                    <a:lnTo>
                      <a:pt x="123" y="36"/>
                    </a:lnTo>
                    <a:lnTo>
                      <a:pt x="126" y="36"/>
                    </a:lnTo>
                    <a:lnTo>
                      <a:pt x="126" y="36"/>
                    </a:lnTo>
                    <a:lnTo>
                      <a:pt x="126" y="36"/>
                    </a:lnTo>
                    <a:lnTo>
                      <a:pt x="123" y="33"/>
                    </a:lnTo>
                    <a:lnTo>
                      <a:pt x="121" y="33"/>
                    </a:lnTo>
                    <a:lnTo>
                      <a:pt x="116" y="33"/>
                    </a:lnTo>
                    <a:lnTo>
                      <a:pt x="116" y="33"/>
                    </a:lnTo>
                    <a:lnTo>
                      <a:pt x="114" y="31"/>
                    </a:lnTo>
                    <a:lnTo>
                      <a:pt x="114" y="31"/>
                    </a:lnTo>
                    <a:lnTo>
                      <a:pt x="112" y="29"/>
                    </a:lnTo>
                    <a:lnTo>
                      <a:pt x="112" y="29"/>
                    </a:lnTo>
                    <a:lnTo>
                      <a:pt x="109" y="29"/>
                    </a:lnTo>
                    <a:lnTo>
                      <a:pt x="109" y="29"/>
                    </a:lnTo>
                    <a:lnTo>
                      <a:pt x="107" y="21"/>
                    </a:lnTo>
                    <a:lnTo>
                      <a:pt x="107" y="21"/>
                    </a:lnTo>
                    <a:lnTo>
                      <a:pt x="105" y="21"/>
                    </a:lnTo>
                    <a:lnTo>
                      <a:pt x="105" y="21"/>
                    </a:lnTo>
                    <a:lnTo>
                      <a:pt x="105" y="21"/>
                    </a:lnTo>
                    <a:lnTo>
                      <a:pt x="102" y="19"/>
                    </a:lnTo>
                    <a:lnTo>
                      <a:pt x="102" y="19"/>
                    </a:lnTo>
                    <a:lnTo>
                      <a:pt x="102" y="17"/>
                    </a:lnTo>
                    <a:lnTo>
                      <a:pt x="102" y="14"/>
                    </a:lnTo>
                    <a:lnTo>
                      <a:pt x="102" y="14"/>
                    </a:lnTo>
                    <a:lnTo>
                      <a:pt x="102" y="14"/>
                    </a:lnTo>
                    <a:lnTo>
                      <a:pt x="100" y="14"/>
                    </a:lnTo>
                    <a:lnTo>
                      <a:pt x="100" y="12"/>
                    </a:lnTo>
                    <a:lnTo>
                      <a:pt x="97" y="7"/>
                    </a:lnTo>
                    <a:lnTo>
                      <a:pt x="97" y="5"/>
                    </a:lnTo>
                    <a:lnTo>
                      <a:pt x="97" y="5"/>
                    </a:lnTo>
                    <a:lnTo>
                      <a:pt x="95" y="5"/>
                    </a:lnTo>
                    <a:lnTo>
                      <a:pt x="95" y="5"/>
                    </a:lnTo>
                    <a:lnTo>
                      <a:pt x="93" y="5"/>
                    </a:lnTo>
                    <a:lnTo>
                      <a:pt x="93" y="5"/>
                    </a:lnTo>
                    <a:lnTo>
                      <a:pt x="93" y="5"/>
                    </a:lnTo>
                    <a:lnTo>
                      <a:pt x="90" y="7"/>
                    </a:lnTo>
                    <a:lnTo>
                      <a:pt x="88" y="7"/>
                    </a:lnTo>
                    <a:lnTo>
                      <a:pt x="88" y="10"/>
                    </a:lnTo>
                    <a:lnTo>
                      <a:pt x="88" y="10"/>
                    </a:lnTo>
                    <a:lnTo>
                      <a:pt x="88" y="7"/>
                    </a:lnTo>
                    <a:lnTo>
                      <a:pt x="88" y="7"/>
                    </a:lnTo>
                    <a:lnTo>
                      <a:pt x="86" y="5"/>
                    </a:lnTo>
                    <a:lnTo>
                      <a:pt x="86" y="3"/>
                    </a:lnTo>
                    <a:lnTo>
                      <a:pt x="86" y="3"/>
                    </a:lnTo>
                    <a:lnTo>
                      <a:pt x="86" y="3"/>
                    </a:lnTo>
                    <a:lnTo>
                      <a:pt x="83" y="3"/>
                    </a:lnTo>
                    <a:lnTo>
                      <a:pt x="83" y="3"/>
                    </a:lnTo>
                    <a:lnTo>
                      <a:pt x="81" y="3"/>
                    </a:lnTo>
                    <a:lnTo>
                      <a:pt x="81" y="3"/>
                    </a:lnTo>
                    <a:lnTo>
                      <a:pt x="76" y="3"/>
                    </a:lnTo>
                    <a:lnTo>
                      <a:pt x="76" y="3"/>
                    </a:lnTo>
                    <a:lnTo>
                      <a:pt x="74" y="3"/>
                    </a:lnTo>
                    <a:lnTo>
                      <a:pt x="71" y="3"/>
                    </a:lnTo>
                    <a:lnTo>
                      <a:pt x="69" y="0"/>
                    </a:lnTo>
                    <a:lnTo>
                      <a:pt x="69" y="0"/>
                    </a:lnTo>
                    <a:lnTo>
                      <a:pt x="67" y="0"/>
                    </a:lnTo>
                    <a:lnTo>
                      <a:pt x="64" y="0"/>
                    </a:lnTo>
                    <a:lnTo>
                      <a:pt x="62" y="0"/>
                    </a:lnTo>
                    <a:lnTo>
                      <a:pt x="62" y="0"/>
                    </a:lnTo>
                    <a:lnTo>
                      <a:pt x="60" y="0"/>
                    </a:lnTo>
                    <a:lnTo>
                      <a:pt x="60" y="3"/>
                    </a:lnTo>
                    <a:lnTo>
                      <a:pt x="57" y="5"/>
                    </a:lnTo>
                    <a:lnTo>
                      <a:pt x="55" y="5"/>
                    </a:lnTo>
                    <a:lnTo>
                      <a:pt x="55" y="7"/>
                    </a:lnTo>
                    <a:lnTo>
                      <a:pt x="55" y="7"/>
                    </a:lnTo>
                    <a:lnTo>
                      <a:pt x="52" y="10"/>
                    </a:lnTo>
                    <a:lnTo>
                      <a:pt x="50" y="12"/>
                    </a:lnTo>
                    <a:lnTo>
                      <a:pt x="48" y="14"/>
                    </a:lnTo>
                    <a:lnTo>
                      <a:pt x="45" y="17"/>
                    </a:lnTo>
                    <a:lnTo>
                      <a:pt x="43" y="17"/>
                    </a:lnTo>
                    <a:lnTo>
                      <a:pt x="38" y="19"/>
                    </a:lnTo>
                    <a:lnTo>
                      <a:pt x="38" y="19"/>
                    </a:lnTo>
                    <a:lnTo>
                      <a:pt x="38" y="21"/>
                    </a:lnTo>
                    <a:lnTo>
                      <a:pt x="38" y="24"/>
                    </a:lnTo>
                    <a:lnTo>
                      <a:pt x="38" y="26"/>
                    </a:lnTo>
                    <a:lnTo>
                      <a:pt x="38" y="29"/>
                    </a:lnTo>
                    <a:lnTo>
                      <a:pt x="38" y="31"/>
                    </a:lnTo>
                    <a:lnTo>
                      <a:pt x="41" y="33"/>
                    </a:lnTo>
                    <a:lnTo>
                      <a:pt x="41" y="36"/>
                    </a:lnTo>
                    <a:lnTo>
                      <a:pt x="41" y="38"/>
                    </a:lnTo>
                    <a:lnTo>
                      <a:pt x="41" y="40"/>
                    </a:lnTo>
                    <a:lnTo>
                      <a:pt x="38" y="43"/>
                    </a:lnTo>
                    <a:lnTo>
                      <a:pt x="38" y="45"/>
                    </a:lnTo>
                    <a:lnTo>
                      <a:pt x="38" y="50"/>
                    </a:lnTo>
                    <a:lnTo>
                      <a:pt x="38" y="55"/>
                    </a:lnTo>
                    <a:lnTo>
                      <a:pt x="38" y="57"/>
                    </a:lnTo>
                    <a:lnTo>
                      <a:pt x="38" y="59"/>
                    </a:lnTo>
                    <a:lnTo>
                      <a:pt x="36" y="64"/>
                    </a:lnTo>
                    <a:lnTo>
                      <a:pt x="36" y="64"/>
                    </a:lnTo>
                    <a:lnTo>
                      <a:pt x="31" y="66"/>
                    </a:lnTo>
                    <a:lnTo>
                      <a:pt x="26" y="69"/>
                    </a:lnTo>
                    <a:lnTo>
                      <a:pt x="22" y="71"/>
                    </a:lnTo>
                    <a:lnTo>
                      <a:pt x="17" y="74"/>
                    </a:lnTo>
                    <a:lnTo>
                      <a:pt x="12" y="78"/>
                    </a:lnTo>
                    <a:lnTo>
                      <a:pt x="8" y="81"/>
                    </a:lnTo>
                    <a:lnTo>
                      <a:pt x="5" y="83"/>
                    </a:lnTo>
                    <a:lnTo>
                      <a:pt x="0" y="85"/>
                    </a:lnTo>
                    <a:lnTo>
                      <a:pt x="0" y="90"/>
                    </a:lnTo>
                    <a:lnTo>
                      <a:pt x="3" y="95"/>
                    </a:lnTo>
                    <a:lnTo>
                      <a:pt x="5" y="100"/>
                    </a:lnTo>
                    <a:lnTo>
                      <a:pt x="5" y="104"/>
                    </a:lnTo>
                    <a:lnTo>
                      <a:pt x="5" y="104"/>
                    </a:lnTo>
                    <a:lnTo>
                      <a:pt x="5" y="109"/>
                    </a:lnTo>
                    <a:lnTo>
                      <a:pt x="8" y="107"/>
                    </a:lnTo>
                    <a:lnTo>
                      <a:pt x="10" y="107"/>
                    </a:lnTo>
                    <a:lnTo>
                      <a:pt x="10" y="109"/>
                    </a:lnTo>
                    <a:lnTo>
                      <a:pt x="8" y="111"/>
                    </a:lnTo>
                    <a:lnTo>
                      <a:pt x="12" y="114"/>
                    </a:lnTo>
                    <a:lnTo>
                      <a:pt x="19" y="114"/>
                    </a:lnTo>
                    <a:lnTo>
                      <a:pt x="24" y="114"/>
                    </a:lnTo>
                    <a:lnTo>
                      <a:pt x="31" y="116"/>
                    </a:lnTo>
                    <a:lnTo>
                      <a:pt x="34" y="116"/>
                    </a:lnTo>
                    <a:lnTo>
                      <a:pt x="38" y="121"/>
                    </a:lnTo>
                    <a:lnTo>
                      <a:pt x="43" y="123"/>
                    </a:lnTo>
                    <a:lnTo>
                      <a:pt x="48" y="126"/>
                    </a:lnTo>
                    <a:lnTo>
                      <a:pt x="52" y="128"/>
                    </a:lnTo>
                    <a:lnTo>
                      <a:pt x="57" y="130"/>
                    </a:lnTo>
                    <a:lnTo>
                      <a:pt x="62" y="135"/>
                    </a:lnTo>
                    <a:lnTo>
                      <a:pt x="67" y="138"/>
                    </a:lnTo>
                    <a:lnTo>
                      <a:pt x="71" y="142"/>
                    </a:lnTo>
                    <a:lnTo>
                      <a:pt x="79" y="147"/>
                    </a:lnTo>
                    <a:lnTo>
                      <a:pt x="83" y="149"/>
                    </a:lnTo>
                    <a:lnTo>
                      <a:pt x="88" y="154"/>
                    </a:lnTo>
                    <a:lnTo>
                      <a:pt x="95" y="161"/>
                    </a:lnTo>
                    <a:lnTo>
                      <a:pt x="102" y="166"/>
                    </a:lnTo>
                    <a:lnTo>
                      <a:pt x="107" y="168"/>
                    </a:lnTo>
                    <a:lnTo>
                      <a:pt x="114" y="173"/>
                    </a:lnTo>
                    <a:lnTo>
                      <a:pt x="114" y="173"/>
                    </a:lnTo>
                    <a:lnTo>
                      <a:pt x="119" y="175"/>
                    </a:lnTo>
                    <a:lnTo>
                      <a:pt x="128" y="175"/>
                    </a:lnTo>
                    <a:lnTo>
                      <a:pt x="135" y="175"/>
                    </a:lnTo>
                    <a:lnTo>
                      <a:pt x="142" y="178"/>
                    </a:lnTo>
                    <a:lnTo>
                      <a:pt x="147" y="175"/>
                    </a:lnTo>
                    <a:lnTo>
                      <a:pt x="149" y="173"/>
                    </a:lnTo>
                    <a:lnTo>
                      <a:pt x="149" y="171"/>
                    </a:lnTo>
                    <a:lnTo>
                      <a:pt x="152" y="166"/>
                    </a:lnTo>
                    <a:lnTo>
                      <a:pt x="152" y="164"/>
                    </a:lnTo>
                    <a:lnTo>
                      <a:pt x="154" y="161"/>
                    </a:lnTo>
                    <a:lnTo>
                      <a:pt x="154" y="159"/>
                    </a:lnTo>
                    <a:lnTo>
                      <a:pt x="154" y="159"/>
                    </a:lnTo>
                    <a:lnTo>
                      <a:pt x="154" y="156"/>
                    </a:lnTo>
                    <a:lnTo>
                      <a:pt x="157" y="156"/>
                    </a:lnTo>
                    <a:lnTo>
                      <a:pt x="159" y="154"/>
                    </a:lnTo>
                    <a:lnTo>
                      <a:pt x="161" y="154"/>
                    </a:lnTo>
                    <a:lnTo>
                      <a:pt x="164" y="154"/>
                    </a:lnTo>
                    <a:lnTo>
                      <a:pt x="164" y="154"/>
                    </a:lnTo>
                    <a:lnTo>
                      <a:pt x="166" y="154"/>
                    </a:lnTo>
                    <a:lnTo>
                      <a:pt x="171" y="156"/>
                    </a:lnTo>
                    <a:lnTo>
                      <a:pt x="171" y="156"/>
                    </a:lnTo>
                    <a:lnTo>
                      <a:pt x="171" y="156"/>
                    </a:lnTo>
                    <a:lnTo>
                      <a:pt x="173" y="156"/>
                    </a:lnTo>
                    <a:lnTo>
                      <a:pt x="178" y="159"/>
                    </a:lnTo>
                    <a:lnTo>
                      <a:pt x="178" y="159"/>
                    </a:lnTo>
                    <a:lnTo>
                      <a:pt x="180" y="159"/>
                    </a:lnTo>
                    <a:lnTo>
                      <a:pt x="180" y="156"/>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Freeform 132"/>
              <p:cNvSpPr>
                <a:spLocks noEditPoints="1"/>
              </p:cNvSpPr>
              <p:nvPr/>
            </p:nvSpPr>
            <p:spPr bwMode="auto">
              <a:xfrm>
                <a:off x="3525" y="1957"/>
                <a:ext cx="373" cy="313"/>
              </a:xfrm>
              <a:custGeom>
                <a:avLst/>
                <a:gdLst>
                  <a:gd name="T0" fmla="*/ 229 w 373"/>
                  <a:gd name="T1" fmla="*/ 279 h 313"/>
                  <a:gd name="T2" fmla="*/ 243 w 373"/>
                  <a:gd name="T3" fmla="*/ 277 h 313"/>
                  <a:gd name="T4" fmla="*/ 371 w 373"/>
                  <a:gd name="T5" fmla="*/ 268 h 313"/>
                  <a:gd name="T6" fmla="*/ 361 w 373"/>
                  <a:gd name="T7" fmla="*/ 251 h 313"/>
                  <a:gd name="T8" fmla="*/ 345 w 373"/>
                  <a:gd name="T9" fmla="*/ 239 h 313"/>
                  <a:gd name="T10" fmla="*/ 321 w 373"/>
                  <a:gd name="T11" fmla="*/ 211 h 313"/>
                  <a:gd name="T12" fmla="*/ 326 w 373"/>
                  <a:gd name="T13" fmla="*/ 180 h 313"/>
                  <a:gd name="T14" fmla="*/ 312 w 373"/>
                  <a:gd name="T15" fmla="*/ 154 h 313"/>
                  <a:gd name="T16" fmla="*/ 309 w 373"/>
                  <a:gd name="T17" fmla="*/ 133 h 313"/>
                  <a:gd name="T18" fmla="*/ 307 w 373"/>
                  <a:gd name="T19" fmla="*/ 116 h 313"/>
                  <a:gd name="T20" fmla="*/ 309 w 373"/>
                  <a:gd name="T21" fmla="*/ 109 h 313"/>
                  <a:gd name="T22" fmla="*/ 309 w 373"/>
                  <a:gd name="T23" fmla="*/ 97 h 313"/>
                  <a:gd name="T24" fmla="*/ 309 w 373"/>
                  <a:gd name="T25" fmla="*/ 88 h 313"/>
                  <a:gd name="T26" fmla="*/ 305 w 373"/>
                  <a:gd name="T27" fmla="*/ 69 h 313"/>
                  <a:gd name="T28" fmla="*/ 274 w 373"/>
                  <a:gd name="T29" fmla="*/ 55 h 313"/>
                  <a:gd name="T30" fmla="*/ 257 w 373"/>
                  <a:gd name="T31" fmla="*/ 45 h 313"/>
                  <a:gd name="T32" fmla="*/ 236 w 373"/>
                  <a:gd name="T33" fmla="*/ 40 h 313"/>
                  <a:gd name="T34" fmla="*/ 224 w 373"/>
                  <a:gd name="T35" fmla="*/ 33 h 313"/>
                  <a:gd name="T36" fmla="*/ 212 w 373"/>
                  <a:gd name="T37" fmla="*/ 38 h 313"/>
                  <a:gd name="T38" fmla="*/ 189 w 373"/>
                  <a:gd name="T39" fmla="*/ 50 h 313"/>
                  <a:gd name="T40" fmla="*/ 179 w 373"/>
                  <a:gd name="T41" fmla="*/ 64 h 313"/>
                  <a:gd name="T42" fmla="*/ 141 w 373"/>
                  <a:gd name="T43" fmla="*/ 69 h 313"/>
                  <a:gd name="T44" fmla="*/ 99 w 373"/>
                  <a:gd name="T45" fmla="*/ 50 h 313"/>
                  <a:gd name="T46" fmla="*/ 85 w 373"/>
                  <a:gd name="T47" fmla="*/ 28 h 313"/>
                  <a:gd name="T48" fmla="*/ 68 w 373"/>
                  <a:gd name="T49" fmla="*/ 21 h 313"/>
                  <a:gd name="T50" fmla="*/ 70 w 373"/>
                  <a:gd name="T51" fmla="*/ 14 h 313"/>
                  <a:gd name="T52" fmla="*/ 63 w 373"/>
                  <a:gd name="T53" fmla="*/ 2 h 313"/>
                  <a:gd name="T54" fmla="*/ 44 w 373"/>
                  <a:gd name="T55" fmla="*/ 19 h 313"/>
                  <a:gd name="T56" fmla="*/ 21 w 373"/>
                  <a:gd name="T57" fmla="*/ 14 h 313"/>
                  <a:gd name="T58" fmla="*/ 7 w 373"/>
                  <a:gd name="T59" fmla="*/ 0 h 313"/>
                  <a:gd name="T60" fmla="*/ 0 w 373"/>
                  <a:gd name="T61" fmla="*/ 10 h 313"/>
                  <a:gd name="T62" fmla="*/ 4 w 373"/>
                  <a:gd name="T63" fmla="*/ 19 h 313"/>
                  <a:gd name="T64" fmla="*/ 9 w 373"/>
                  <a:gd name="T65" fmla="*/ 31 h 313"/>
                  <a:gd name="T66" fmla="*/ 9 w 373"/>
                  <a:gd name="T67" fmla="*/ 40 h 313"/>
                  <a:gd name="T68" fmla="*/ 14 w 373"/>
                  <a:gd name="T69" fmla="*/ 52 h 313"/>
                  <a:gd name="T70" fmla="*/ 21 w 373"/>
                  <a:gd name="T71" fmla="*/ 66 h 313"/>
                  <a:gd name="T72" fmla="*/ 28 w 373"/>
                  <a:gd name="T73" fmla="*/ 73 h 313"/>
                  <a:gd name="T74" fmla="*/ 42 w 373"/>
                  <a:gd name="T75" fmla="*/ 85 h 313"/>
                  <a:gd name="T76" fmla="*/ 47 w 373"/>
                  <a:gd name="T77" fmla="*/ 97 h 313"/>
                  <a:gd name="T78" fmla="*/ 40 w 373"/>
                  <a:gd name="T79" fmla="*/ 111 h 313"/>
                  <a:gd name="T80" fmla="*/ 37 w 373"/>
                  <a:gd name="T81" fmla="*/ 126 h 313"/>
                  <a:gd name="T82" fmla="*/ 47 w 373"/>
                  <a:gd name="T83" fmla="*/ 135 h 313"/>
                  <a:gd name="T84" fmla="*/ 56 w 373"/>
                  <a:gd name="T85" fmla="*/ 147 h 313"/>
                  <a:gd name="T86" fmla="*/ 80 w 373"/>
                  <a:gd name="T87" fmla="*/ 166 h 313"/>
                  <a:gd name="T88" fmla="*/ 89 w 373"/>
                  <a:gd name="T89" fmla="*/ 194 h 313"/>
                  <a:gd name="T90" fmla="*/ 99 w 373"/>
                  <a:gd name="T91" fmla="*/ 206 h 313"/>
                  <a:gd name="T92" fmla="*/ 108 w 373"/>
                  <a:gd name="T93" fmla="*/ 204 h 313"/>
                  <a:gd name="T94" fmla="*/ 111 w 373"/>
                  <a:gd name="T95" fmla="*/ 201 h 313"/>
                  <a:gd name="T96" fmla="*/ 132 w 373"/>
                  <a:gd name="T97" fmla="*/ 211 h 313"/>
                  <a:gd name="T98" fmla="*/ 144 w 373"/>
                  <a:gd name="T99" fmla="*/ 232 h 313"/>
                  <a:gd name="T100" fmla="*/ 163 w 373"/>
                  <a:gd name="T101" fmla="*/ 253 h 313"/>
                  <a:gd name="T102" fmla="*/ 196 w 373"/>
                  <a:gd name="T103" fmla="*/ 272 h 313"/>
                  <a:gd name="T104" fmla="*/ 227 w 373"/>
                  <a:gd name="T105" fmla="*/ 277 h 313"/>
                  <a:gd name="T106" fmla="*/ 255 w 373"/>
                  <a:gd name="T107" fmla="*/ 270 h 313"/>
                  <a:gd name="T108" fmla="*/ 269 w 373"/>
                  <a:gd name="T109" fmla="*/ 298 h 313"/>
                  <a:gd name="T110" fmla="*/ 305 w 373"/>
                  <a:gd name="T111" fmla="*/ 306 h 313"/>
                  <a:gd name="T112" fmla="*/ 331 w 373"/>
                  <a:gd name="T113" fmla="*/ 308 h 313"/>
                  <a:gd name="T114" fmla="*/ 347 w 373"/>
                  <a:gd name="T115" fmla="*/ 298 h 313"/>
                  <a:gd name="T116" fmla="*/ 357 w 373"/>
                  <a:gd name="T117" fmla="*/ 287 h 313"/>
                  <a:gd name="T118" fmla="*/ 373 w 373"/>
                  <a:gd name="T119" fmla="*/ 279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73" h="313">
                    <a:moveTo>
                      <a:pt x="243" y="272"/>
                    </a:moveTo>
                    <a:lnTo>
                      <a:pt x="241" y="275"/>
                    </a:lnTo>
                    <a:lnTo>
                      <a:pt x="238" y="272"/>
                    </a:lnTo>
                    <a:lnTo>
                      <a:pt x="238" y="275"/>
                    </a:lnTo>
                    <a:lnTo>
                      <a:pt x="238" y="275"/>
                    </a:lnTo>
                    <a:lnTo>
                      <a:pt x="238" y="277"/>
                    </a:lnTo>
                    <a:lnTo>
                      <a:pt x="234" y="279"/>
                    </a:lnTo>
                    <a:lnTo>
                      <a:pt x="231" y="279"/>
                    </a:lnTo>
                    <a:lnTo>
                      <a:pt x="229" y="279"/>
                    </a:lnTo>
                    <a:lnTo>
                      <a:pt x="229" y="279"/>
                    </a:lnTo>
                    <a:lnTo>
                      <a:pt x="231" y="282"/>
                    </a:lnTo>
                    <a:lnTo>
                      <a:pt x="231" y="282"/>
                    </a:lnTo>
                    <a:lnTo>
                      <a:pt x="231" y="282"/>
                    </a:lnTo>
                    <a:lnTo>
                      <a:pt x="234" y="279"/>
                    </a:lnTo>
                    <a:lnTo>
                      <a:pt x="236" y="279"/>
                    </a:lnTo>
                    <a:lnTo>
                      <a:pt x="238" y="279"/>
                    </a:lnTo>
                    <a:lnTo>
                      <a:pt x="241" y="277"/>
                    </a:lnTo>
                    <a:lnTo>
                      <a:pt x="241" y="277"/>
                    </a:lnTo>
                    <a:lnTo>
                      <a:pt x="241" y="279"/>
                    </a:lnTo>
                    <a:lnTo>
                      <a:pt x="243" y="277"/>
                    </a:lnTo>
                    <a:lnTo>
                      <a:pt x="246" y="275"/>
                    </a:lnTo>
                    <a:lnTo>
                      <a:pt x="248" y="272"/>
                    </a:lnTo>
                    <a:lnTo>
                      <a:pt x="246" y="272"/>
                    </a:lnTo>
                    <a:lnTo>
                      <a:pt x="243" y="272"/>
                    </a:lnTo>
                    <a:close/>
                    <a:moveTo>
                      <a:pt x="373" y="270"/>
                    </a:moveTo>
                    <a:lnTo>
                      <a:pt x="373" y="270"/>
                    </a:lnTo>
                    <a:lnTo>
                      <a:pt x="373" y="270"/>
                    </a:lnTo>
                    <a:lnTo>
                      <a:pt x="373" y="268"/>
                    </a:lnTo>
                    <a:lnTo>
                      <a:pt x="371" y="268"/>
                    </a:lnTo>
                    <a:lnTo>
                      <a:pt x="371" y="268"/>
                    </a:lnTo>
                    <a:lnTo>
                      <a:pt x="366" y="268"/>
                    </a:lnTo>
                    <a:lnTo>
                      <a:pt x="364" y="268"/>
                    </a:lnTo>
                    <a:lnTo>
                      <a:pt x="364" y="268"/>
                    </a:lnTo>
                    <a:lnTo>
                      <a:pt x="364" y="268"/>
                    </a:lnTo>
                    <a:lnTo>
                      <a:pt x="364" y="265"/>
                    </a:lnTo>
                    <a:lnTo>
                      <a:pt x="364" y="265"/>
                    </a:lnTo>
                    <a:lnTo>
                      <a:pt x="364" y="263"/>
                    </a:lnTo>
                    <a:lnTo>
                      <a:pt x="364" y="263"/>
                    </a:lnTo>
                    <a:lnTo>
                      <a:pt x="361" y="256"/>
                    </a:lnTo>
                    <a:lnTo>
                      <a:pt x="361" y="251"/>
                    </a:lnTo>
                    <a:lnTo>
                      <a:pt x="361" y="246"/>
                    </a:lnTo>
                    <a:lnTo>
                      <a:pt x="361" y="246"/>
                    </a:lnTo>
                    <a:lnTo>
                      <a:pt x="361" y="246"/>
                    </a:lnTo>
                    <a:lnTo>
                      <a:pt x="359" y="246"/>
                    </a:lnTo>
                    <a:lnTo>
                      <a:pt x="357" y="246"/>
                    </a:lnTo>
                    <a:lnTo>
                      <a:pt x="354" y="244"/>
                    </a:lnTo>
                    <a:lnTo>
                      <a:pt x="354" y="242"/>
                    </a:lnTo>
                    <a:lnTo>
                      <a:pt x="350" y="242"/>
                    </a:lnTo>
                    <a:lnTo>
                      <a:pt x="347" y="242"/>
                    </a:lnTo>
                    <a:lnTo>
                      <a:pt x="345" y="239"/>
                    </a:lnTo>
                    <a:lnTo>
                      <a:pt x="343" y="237"/>
                    </a:lnTo>
                    <a:lnTo>
                      <a:pt x="340" y="234"/>
                    </a:lnTo>
                    <a:lnTo>
                      <a:pt x="338" y="232"/>
                    </a:lnTo>
                    <a:lnTo>
                      <a:pt x="335" y="230"/>
                    </a:lnTo>
                    <a:lnTo>
                      <a:pt x="333" y="225"/>
                    </a:lnTo>
                    <a:lnTo>
                      <a:pt x="333" y="223"/>
                    </a:lnTo>
                    <a:lnTo>
                      <a:pt x="333" y="223"/>
                    </a:lnTo>
                    <a:lnTo>
                      <a:pt x="328" y="218"/>
                    </a:lnTo>
                    <a:lnTo>
                      <a:pt x="326" y="216"/>
                    </a:lnTo>
                    <a:lnTo>
                      <a:pt x="321" y="211"/>
                    </a:lnTo>
                    <a:lnTo>
                      <a:pt x="324" y="211"/>
                    </a:lnTo>
                    <a:lnTo>
                      <a:pt x="326" y="206"/>
                    </a:lnTo>
                    <a:lnTo>
                      <a:pt x="328" y="201"/>
                    </a:lnTo>
                    <a:lnTo>
                      <a:pt x="333" y="197"/>
                    </a:lnTo>
                    <a:lnTo>
                      <a:pt x="335" y="192"/>
                    </a:lnTo>
                    <a:lnTo>
                      <a:pt x="335" y="190"/>
                    </a:lnTo>
                    <a:lnTo>
                      <a:pt x="335" y="187"/>
                    </a:lnTo>
                    <a:lnTo>
                      <a:pt x="333" y="182"/>
                    </a:lnTo>
                    <a:lnTo>
                      <a:pt x="333" y="180"/>
                    </a:lnTo>
                    <a:lnTo>
                      <a:pt x="326" y="180"/>
                    </a:lnTo>
                    <a:lnTo>
                      <a:pt x="321" y="178"/>
                    </a:lnTo>
                    <a:lnTo>
                      <a:pt x="317" y="178"/>
                    </a:lnTo>
                    <a:lnTo>
                      <a:pt x="317" y="178"/>
                    </a:lnTo>
                    <a:lnTo>
                      <a:pt x="317" y="173"/>
                    </a:lnTo>
                    <a:lnTo>
                      <a:pt x="317" y="173"/>
                    </a:lnTo>
                    <a:lnTo>
                      <a:pt x="314" y="168"/>
                    </a:lnTo>
                    <a:lnTo>
                      <a:pt x="314" y="168"/>
                    </a:lnTo>
                    <a:lnTo>
                      <a:pt x="314" y="163"/>
                    </a:lnTo>
                    <a:lnTo>
                      <a:pt x="314" y="161"/>
                    </a:lnTo>
                    <a:lnTo>
                      <a:pt x="312" y="154"/>
                    </a:lnTo>
                    <a:lnTo>
                      <a:pt x="309" y="149"/>
                    </a:lnTo>
                    <a:lnTo>
                      <a:pt x="307" y="147"/>
                    </a:lnTo>
                    <a:lnTo>
                      <a:pt x="307" y="145"/>
                    </a:lnTo>
                    <a:lnTo>
                      <a:pt x="307" y="142"/>
                    </a:lnTo>
                    <a:lnTo>
                      <a:pt x="309" y="140"/>
                    </a:lnTo>
                    <a:lnTo>
                      <a:pt x="309" y="137"/>
                    </a:lnTo>
                    <a:lnTo>
                      <a:pt x="312" y="135"/>
                    </a:lnTo>
                    <a:lnTo>
                      <a:pt x="312" y="135"/>
                    </a:lnTo>
                    <a:lnTo>
                      <a:pt x="312" y="135"/>
                    </a:lnTo>
                    <a:lnTo>
                      <a:pt x="309" y="133"/>
                    </a:lnTo>
                    <a:lnTo>
                      <a:pt x="307" y="133"/>
                    </a:lnTo>
                    <a:lnTo>
                      <a:pt x="305" y="133"/>
                    </a:lnTo>
                    <a:lnTo>
                      <a:pt x="305" y="133"/>
                    </a:lnTo>
                    <a:lnTo>
                      <a:pt x="305" y="130"/>
                    </a:lnTo>
                    <a:lnTo>
                      <a:pt x="305" y="128"/>
                    </a:lnTo>
                    <a:lnTo>
                      <a:pt x="302" y="123"/>
                    </a:lnTo>
                    <a:lnTo>
                      <a:pt x="305" y="121"/>
                    </a:lnTo>
                    <a:lnTo>
                      <a:pt x="305" y="118"/>
                    </a:lnTo>
                    <a:lnTo>
                      <a:pt x="309" y="118"/>
                    </a:lnTo>
                    <a:lnTo>
                      <a:pt x="307" y="116"/>
                    </a:lnTo>
                    <a:lnTo>
                      <a:pt x="307" y="114"/>
                    </a:lnTo>
                    <a:lnTo>
                      <a:pt x="305" y="114"/>
                    </a:lnTo>
                    <a:lnTo>
                      <a:pt x="305" y="114"/>
                    </a:lnTo>
                    <a:lnTo>
                      <a:pt x="305" y="114"/>
                    </a:lnTo>
                    <a:lnTo>
                      <a:pt x="307" y="114"/>
                    </a:lnTo>
                    <a:lnTo>
                      <a:pt x="307" y="111"/>
                    </a:lnTo>
                    <a:lnTo>
                      <a:pt x="307" y="111"/>
                    </a:lnTo>
                    <a:lnTo>
                      <a:pt x="309" y="111"/>
                    </a:lnTo>
                    <a:lnTo>
                      <a:pt x="309" y="109"/>
                    </a:lnTo>
                    <a:lnTo>
                      <a:pt x="309" y="109"/>
                    </a:lnTo>
                    <a:lnTo>
                      <a:pt x="309" y="107"/>
                    </a:lnTo>
                    <a:lnTo>
                      <a:pt x="309" y="107"/>
                    </a:lnTo>
                    <a:lnTo>
                      <a:pt x="309" y="104"/>
                    </a:lnTo>
                    <a:lnTo>
                      <a:pt x="309" y="104"/>
                    </a:lnTo>
                    <a:lnTo>
                      <a:pt x="309" y="102"/>
                    </a:lnTo>
                    <a:lnTo>
                      <a:pt x="312" y="102"/>
                    </a:lnTo>
                    <a:lnTo>
                      <a:pt x="309" y="100"/>
                    </a:lnTo>
                    <a:lnTo>
                      <a:pt x="309" y="100"/>
                    </a:lnTo>
                    <a:lnTo>
                      <a:pt x="309" y="97"/>
                    </a:lnTo>
                    <a:lnTo>
                      <a:pt x="309" y="97"/>
                    </a:lnTo>
                    <a:lnTo>
                      <a:pt x="309" y="97"/>
                    </a:lnTo>
                    <a:lnTo>
                      <a:pt x="309" y="95"/>
                    </a:lnTo>
                    <a:lnTo>
                      <a:pt x="312" y="95"/>
                    </a:lnTo>
                    <a:lnTo>
                      <a:pt x="312" y="92"/>
                    </a:lnTo>
                    <a:lnTo>
                      <a:pt x="312" y="92"/>
                    </a:lnTo>
                    <a:lnTo>
                      <a:pt x="312" y="92"/>
                    </a:lnTo>
                    <a:lnTo>
                      <a:pt x="312" y="90"/>
                    </a:lnTo>
                    <a:lnTo>
                      <a:pt x="309" y="90"/>
                    </a:lnTo>
                    <a:lnTo>
                      <a:pt x="309" y="88"/>
                    </a:lnTo>
                    <a:lnTo>
                      <a:pt x="309" y="88"/>
                    </a:lnTo>
                    <a:lnTo>
                      <a:pt x="309" y="85"/>
                    </a:lnTo>
                    <a:lnTo>
                      <a:pt x="309" y="83"/>
                    </a:lnTo>
                    <a:lnTo>
                      <a:pt x="307" y="83"/>
                    </a:lnTo>
                    <a:lnTo>
                      <a:pt x="307" y="81"/>
                    </a:lnTo>
                    <a:lnTo>
                      <a:pt x="307" y="81"/>
                    </a:lnTo>
                    <a:lnTo>
                      <a:pt x="307" y="81"/>
                    </a:lnTo>
                    <a:lnTo>
                      <a:pt x="307" y="78"/>
                    </a:lnTo>
                    <a:lnTo>
                      <a:pt x="307" y="76"/>
                    </a:lnTo>
                    <a:lnTo>
                      <a:pt x="307" y="73"/>
                    </a:lnTo>
                    <a:lnTo>
                      <a:pt x="305" y="69"/>
                    </a:lnTo>
                    <a:lnTo>
                      <a:pt x="305" y="69"/>
                    </a:lnTo>
                    <a:lnTo>
                      <a:pt x="298" y="69"/>
                    </a:lnTo>
                    <a:lnTo>
                      <a:pt x="290" y="69"/>
                    </a:lnTo>
                    <a:lnTo>
                      <a:pt x="290" y="69"/>
                    </a:lnTo>
                    <a:lnTo>
                      <a:pt x="288" y="64"/>
                    </a:lnTo>
                    <a:lnTo>
                      <a:pt x="286" y="62"/>
                    </a:lnTo>
                    <a:lnTo>
                      <a:pt x="283" y="59"/>
                    </a:lnTo>
                    <a:lnTo>
                      <a:pt x="279" y="57"/>
                    </a:lnTo>
                    <a:lnTo>
                      <a:pt x="276" y="57"/>
                    </a:lnTo>
                    <a:lnTo>
                      <a:pt x="274" y="55"/>
                    </a:lnTo>
                    <a:lnTo>
                      <a:pt x="272" y="52"/>
                    </a:lnTo>
                    <a:lnTo>
                      <a:pt x="272" y="50"/>
                    </a:lnTo>
                    <a:lnTo>
                      <a:pt x="269" y="50"/>
                    </a:lnTo>
                    <a:lnTo>
                      <a:pt x="269" y="50"/>
                    </a:lnTo>
                    <a:lnTo>
                      <a:pt x="269" y="50"/>
                    </a:lnTo>
                    <a:lnTo>
                      <a:pt x="269" y="50"/>
                    </a:lnTo>
                    <a:lnTo>
                      <a:pt x="262" y="45"/>
                    </a:lnTo>
                    <a:lnTo>
                      <a:pt x="260" y="45"/>
                    </a:lnTo>
                    <a:lnTo>
                      <a:pt x="257" y="45"/>
                    </a:lnTo>
                    <a:lnTo>
                      <a:pt x="257" y="45"/>
                    </a:lnTo>
                    <a:lnTo>
                      <a:pt x="255" y="45"/>
                    </a:lnTo>
                    <a:lnTo>
                      <a:pt x="255" y="47"/>
                    </a:lnTo>
                    <a:lnTo>
                      <a:pt x="253" y="47"/>
                    </a:lnTo>
                    <a:lnTo>
                      <a:pt x="253" y="45"/>
                    </a:lnTo>
                    <a:lnTo>
                      <a:pt x="250" y="45"/>
                    </a:lnTo>
                    <a:lnTo>
                      <a:pt x="248" y="43"/>
                    </a:lnTo>
                    <a:lnTo>
                      <a:pt x="246" y="43"/>
                    </a:lnTo>
                    <a:lnTo>
                      <a:pt x="243" y="43"/>
                    </a:lnTo>
                    <a:lnTo>
                      <a:pt x="241" y="40"/>
                    </a:lnTo>
                    <a:lnTo>
                      <a:pt x="236" y="40"/>
                    </a:lnTo>
                    <a:lnTo>
                      <a:pt x="236" y="40"/>
                    </a:lnTo>
                    <a:lnTo>
                      <a:pt x="234" y="40"/>
                    </a:lnTo>
                    <a:lnTo>
                      <a:pt x="234" y="38"/>
                    </a:lnTo>
                    <a:lnTo>
                      <a:pt x="234" y="38"/>
                    </a:lnTo>
                    <a:lnTo>
                      <a:pt x="234" y="36"/>
                    </a:lnTo>
                    <a:lnTo>
                      <a:pt x="231" y="36"/>
                    </a:lnTo>
                    <a:lnTo>
                      <a:pt x="231" y="36"/>
                    </a:lnTo>
                    <a:lnTo>
                      <a:pt x="229" y="33"/>
                    </a:lnTo>
                    <a:lnTo>
                      <a:pt x="229" y="33"/>
                    </a:lnTo>
                    <a:lnTo>
                      <a:pt x="224" y="33"/>
                    </a:lnTo>
                    <a:lnTo>
                      <a:pt x="222" y="33"/>
                    </a:lnTo>
                    <a:lnTo>
                      <a:pt x="222" y="33"/>
                    </a:lnTo>
                    <a:lnTo>
                      <a:pt x="220" y="33"/>
                    </a:lnTo>
                    <a:lnTo>
                      <a:pt x="217" y="33"/>
                    </a:lnTo>
                    <a:lnTo>
                      <a:pt x="215" y="33"/>
                    </a:lnTo>
                    <a:lnTo>
                      <a:pt x="215" y="36"/>
                    </a:lnTo>
                    <a:lnTo>
                      <a:pt x="215" y="36"/>
                    </a:lnTo>
                    <a:lnTo>
                      <a:pt x="215" y="38"/>
                    </a:lnTo>
                    <a:lnTo>
                      <a:pt x="215" y="38"/>
                    </a:lnTo>
                    <a:lnTo>
                      <a:pt x="212" y="38"/>
                    </a:lnTo>
                    <a:lnTo>
                      <a:pt x="210" y="38"/>
                    </a:lnTo>
                    <a:lnTo>
                      <a:pt x="208" y="36"/>
                    </a:lnTo>
                    <a:lnTo>
                      <a:pt x="203" y="36"/>
                    </a:lnTo>
                    <a:lnTo>
                      <a:pt x="198" y="38"/>
                    </a:lnTo>
                    <a:lnTo>
                      <a:pt x="196" y="38"/>
                    </a:lnTo>
                    <a:lnTo>
                      <a:pt x="193" y="40"/>
                    </a:lnTo>
                    <a:lnTo>
                      <a:pt x="191" y="43"/>
                    </a:lnTo>
                    <a:lnTo>
                      <a:pt x="191" y="45"/>
                    </a:lnTo>
                    <a:lnTo>
                      <a:pt x="191" y="50"/>
                    </a:lnTo>
                    <a:lnTo>
                      <a:pt x="189" y="50"/>
                    </a:lnTo>
                    <a:lnTo>
                      <a:pt x="189" y="50"/>
                    </a:lnTo>
                    <a:lnTo>
                      <a:pt x="186" y="50"/>
                    </a:lnTo>
                    <a:lnTo>
                      <a:pt x="186" y="52"/>
                    </a:lnTo>
                    <a:lnTo>
                      <a:pt x="184" y="52"/>
                    </a:lnTo>
                    <a:lnTo>
                      <a:pt x="182" y="52"/>
                    </a:lnTo>
                    <a:lnTo>
                      <a:pt x="177" y="52"/>
                    </a:lnTo>
                    <a:lnTo>
                      <a:pt x="177" y="57"/>
                    </a:lnTo>
                    <a:lnTo>
                      <a:pt x="179" y="62"/>
                    </a:lnTo>
                    <a:lnTo>
                      <a:pt x="179" y="62"/>
                    </a:lnTo>
                    <a:lnTo>
                      <a:pt x="179" y="64"/>
                    </a:lnTo>
                    <a:lnTo>
                      <a:pt x="179" y="64"/>
                    </a:lnTo>
                    <a:lnTo>
                      <a:pt x="177" y="64"/>
                    </a:lnTo>
                    <a:lnTo>
                      <a:pt x="175" y="64"/>
                    </a:lnTo>
                    <a:lnTo>
                      <a:pt x="175" y="64"/>
                    </a:lnTo>
                    <a:lnTo>
                      <a:pt x="177" y="62"/>
                    </a:lnTo>
                    <a:lnTo>
                      <a:pt x="177" y="62"/>
                    </a:lnTo>
                    <a:lnTo>
                      <a:pt x="175" y="62"/>
                    </a:lnTo>
                    <a:lnTo>
                      <a:pt x="167" y="64"/>
                    </a:lnTo>
                    <a:lnTo>
                      <a:pt x="149" y="69"/>
                    </a:lnTo>
                    <a:lnTo>
                      <a:pt x="141" y="69"/>
                    </a:lnTo>
                    <a:lnTo>
                      <a:pt x="130" y="66"/>
                    </a:lnTo>
                    <a:lnTo>
                      <a:pt x="125" y="64"/>
                    </a:lnTo>
                    <a:lnTo>
                      <a:pt x="118" y="59"/>
                    </a:lnTo>
                    <a:lnTo>
                      <a:pt x="115" y="57"/>
                    </a:lnTo>
                    <a:lnTo>
                      <a:pt x="111" y="52"/>
                    </a:lnTo>
                    <a:lnTo>
                      <a:pt x="111" y="52"/>
                    </a:lnTo>
                    <a:lnTo>
                      <a:pt x="111" y="52"/>
                    </a:lnTo>
                    <a:lnTo>
                      <a:pt x="108" y="50"/>
                    </a:lnTo>
                    <a:lnTo>
                      <a:pt x="104" y="50"/>
                    </a:lnTo>
                    <a:lnTo>
                      <a:pt x="99" y="50"/>
                    </a:lnTo>
                    <a:lnTo>
                      <a:pt x="97" y="50"/>
                    </a:lnTo>
                    <a:lnTo>
                      <a:pt x="92" y="47"/>
                    </a:lnTo>
                    <a:lnTo>
                      <a:pt x="92" y="45"/>
                    </a:lnTo>
                    <a:lnTo>
                      <a:pt x="89" y="43"/>
                    </a:lnTo>
                    <a:lnTo>
                      <a:pt x="89" y="40"/>
                    </a:lnTo>
                    <a:lnTo>
                      <a:pt x="87" y="38"/>
                    </a:lnTo>
                    <a:lnTo>
                      <a:pt x="87" y="36"/>
                    </a:lnTo>
                    <a:lnTo>
                      <a:pt x="85" y="31"/>
                    </a:lnTo>
                    <a:lnTo>
                      <a:pt x="85" y="28"/>
                    </a:lnTo>
                    <a:lnTo>
                      <a:pt x="85" y="28"/>
                    </a:lnTo>
                    <a:lnTo>
                      <a:pt x="80" y="31"/>
                    </a:lnTo>
                    <a:lnTo>
                      <a:pt x="80" y="31"/>
                    </a:lnTo>
                    <a:lnTo>
                      <a:pt x="78" y="26"/>
                    </a:lnTo>
                    <a:lnTo>
                      <a:pt x="75" y="26"/>
                    </a:lnTo>
                    <a:lnTo>
                      <a:pt x="75" y="26"/>
                    </a:lnTo>
                    <a:lnTo>
                      <a:pt x="73" y="24"/>
                    </a:lnTo>
                    <a:lnTo>
                      <a:pt x="73" y="24"/>
                    </a:lnTo>
                    <a:lnTo>
                      <a:pt x="73" y="24"/>
                    </a:lnTo>
                    <a:lnTo>
                      <a:pt x="68" y="21"/>
                    </a:lnTo>
                    <a:lnTo>
                      <a:pt x="68" y="21"/>
                    </a:lnTo>
                    <a:lnTo>
                      <a:pt x="68" y="19"/>
                    </a:lnTo>
                    <a:lnTo>
                      <a:pt x="68" y="19"/>
                    </a:lnTo>
                    <a:lnTo>
                      <a:pt x="70" y="19"/>
                    </a:lnTo>
                    <a:lnTo>
                      <a:pt x="70" y="19"/>
                    </a:lnTo>
                    <a:lnTo>
                      <a:pt x="73" y="17"/>
                    </a:lnTo>
                    <a:lnTo>
                      <a:pt x="73" y="17"/>
                    </a:lnTo>
                    <a:lnTo>
                      <a:pt x="73" y="17"/>
                    </a:lnTo>
                    <a:lnTo>
                      <a:pt x="73" y="17"/>
                    </a:lnTo>
                    <a:lnTo>
                      <a:pt x="73" y="14"/>
                    </a:lnTo>
                    <a:lnTo>
                      <a:pt x="70" y="14"/>
                    </a:lnTo>
                    <a:lnTo>
                      <a:pt x="70" y="12"/>
                    </a:lnTo>
                    <a:lnTo>
                      <a:pt x="70" y="12"/>
                    </a:lnTo>
                    <a:lnTo>
                      <a:pt x="70" y="12"/>
                    </a:lnTo>
                    <a:lnTo>
                      <a:pt x="70" y="10"/>
                    </a:lnTo>
                    <a:lnTo>
                      <a:pt x="70" y="10"/>
                    </a:lnTo>
                    <a:lnTo>
                      <a:pt x="73" y="10"/>
                    </a:lnTo>
                    <a:lnTo>
                      <a:pt x="73" y="7"/>
                    </a:lnTo>
                    <a:lnTo>
                      <a:pt x="68" y="5"/>
                    </a:lnTo>
                    <a:lnTo>
                      <a:pt x="66" y="2"/>
                    </a:lnTo>
                    <a:lnTo>
                      <a:pt x="63" y="2"/>
                    </a:lnTo>
                    <a:lnTo>
                      <a:pt x="63" y="2"/>
                    </a:lnTo>
                    <a:lnTo>
                      <a:pt x="59" y="5"/>
                    </a:lnTo>
                    <a:lnTo>
                      <a:pt x="59" y="7"/>
                    </a:lnTo>
                    <a:lnTo>
                      <a:pt x="56" y="7"/>
                    </a:lnTo>
                    <a:lnTo>
                      <a:pt x="54" y="10"/>
                    </a:lnTo>
                    <a:lnTo>
                      <a:pt x="52" y="12"/>
                    </a:lnTo>
                    <a:lnTo>
                      <a:pt x="49" y="14"/>
                    </a:lnTo>
                    <a:lnTo>
                      <a:pt x="47" y="14"/>
                    </a:lnTo>
                    <a:lnTo>
                      <a:pt x="47" y="14"/>
                    </a:lnTo>
                    <a:lnTo>
                      <a:pt x="44" y="19"/>
                    </a:lnTo>
                    <a:lnTo>
                      <a:pt x="42" y="19"/>
                    </a:lnTo>
                    <a:lnTo>
                      <a:pt x="40" y="19"/>
                    </a:lnTo>
                    <a:lnTo>
                      <a:pt x="37" y="19"/>
                    </a:lnTo>
                    <a:lnTo>
                      <a:pt x="35" y="19"/>
                    </a:lnTo>
                    <a:lnTo>
                      <a:pt x="33" y="19"/>
                    </a:lnTo>
                    <a:lnTo>
                      <a:pt x="26" y="17"/>
                    </a:lnTo>
                    <a:lnTo>
                      <a:pt x="26" y="17"/>
                    </a:lnTo>
                    <a:lnTo>
                      <a:pt x="23" y="14"/>
                    </a:lnTo>
                    <a:lnTo>
                      <a:pt x="21" y="14"/>
                    </a:lnTo>
                    <a:lnTo>
                      <a:pt x="21" y="14"/>
                    </a:lnTo>
                    <a:lnTo>
                      <a:pt x="18" y="12"/>
                    </a:lnTo>
                    <a:lnTo>
                      <a:pt x="18" y="12"/>
                    </a:lnTo>
                    <a:lnTo>
                      <a:pt x="18" y="10"/>
                    </a:lnTo>
                    <a:lnTo>
                      <a:pt x="16" y="10"/>
                    </a:lnTo>
                    <a:lnTo>
                      <a:pt x="16" y="7"/>
                    </a:lnTo>
                    <a:lnTo>
                      <a:pt x="11" y="5"/>
                    </a:lnTo>
                    <a:lnTo>
                      <a:pt x="11" y="2"/>
                    </a:lnTo>
                    <a:lnTo>
                      <a:pt x="11" y="2"/>
                    </a:lnTo>
                    <a:lnTo>
                      <a:pt x="9" y="2"/>
                    </a:lnTo>
                    <a:lnTo>
                      <a:pt x="7" y="0"/>
                    </a:lnTo>
                    <a:lnTo>
                      <a:pt x="7" y="2"/>
                    </a:lnTo>
                    <a:lnTo>
                      <a:pt x="4" y="2"/>
                    </a:lnTo>
                    <a:lnTo>
                      <a:pt x="4" y="7"/>
                    </a:lnTo>
                    <a:lnTo>
                      <a:pt x="4" y="10"/>
                    </a:lnTo>
                    <a:lnTo>
                      <a:pt x="2" y="10"/>
                    </a:lnTo>
                    <a:lnTo>
                      <a:pt x="0" y="10"/>
                    </a:lnTo>
                    <a:lnTo>
                      <a:pt x="0" y="10"/>
                    </a:lnTo>
                    <a:lnTo>
                      <a:pt x="0" y="10"/>
                    </a:lnTo>
                    <a:lnTo>
                      <a:pt x="0" y="10"/>
                    </a:lnTo>
                    <a:lnTo>
                      <a:pt x="0" y="10"/>
                    </a:lnTo>
                    <a:lnTo>
                      <a:pt x="0" y="12"/>
                    </a:lnTo>
                    <a:lnTo>
                      <a:pt x="0" y="12"/>
                    </a:lnTo>
                    <a:lnTo>
                      <a:pt x="2" y="14"/>
                    </a:lnTo>
                    <a:lnTo>
                      <a:pt x="2" y="14"/>
                    </a:lnTo>
                    <a:lnTo>
                      <a:pt x="2" y="14"/>
                    </a:lnTo>
                    <a:lnTo>
                      <a:pt x="2" y="17"/>
                    </a:lnTo>
                    <a:lnTo>
                      <a:pt x="2" y="17"/>
                    </a:lnTo>
                    <a:lnTo>
                      <a:pt x="2" y="17"/>
                    </a:lnTo>
                    <a:lnTo>
                      <a:pt x="2" y="19"/>
                    </a:lnTo>
                    <a:lnTo>
                      <a:pt x="4" y="19"/>
                    </a:lnTo>
                    <a:lnTo>
                      <a:pt x="4" y="21"/>
                    </a:lnTo>
                    <a:lnTo>
                      <a:pt x="4" y="24"/>
                    </a:lnTo>
                    <a:lnTo>
                      <a:pt x="4" y="24"/>
                    </a:lnTo>
                    <a:lnTo>
                      <a:pt x="7" y="26"/>
                    </a:lnTo>
                    <a:lnTo>
                      <a:pt x="7" y="28"/>
                    </a:lnTo>
                    <a:lnTo>
                      <a:pt x="7" y="31"/>
                    </a:lnTo>
                    <a:lnTo>
                      <a:pt x="7" y="31"/>
                    </a:lnTo>
                    <a:lnTo>
                      <a:pt x="7" y="31"/>
                    </a:lnTo>
                    <a:lnTo>
                      <a:pt x="9" y="31"/>
                    </a:lnTo>
                    <a:lnTo>
                      <a:pt x="9" y="31"/>
                    </a:lnTo>
                    <a:lnTo>
                      <a:pt x="9" y="31"/>
                    </a:lnTo>
                    <a:lnTo>
                      <a:pt x="7" y="33"/>
                    </a:lnTo>
                    <a:lnTo>
                      <a:pt x="7" y="33"/>
                    </a:lnTo>
                    <a:lnTo>
                      <a:pt x="7" y="36"/>
                    </a:lnTo>
                    <a:lnTo>
                      <a:pt x="7" y="36"/>
                    </a:lnTo>
                    <a:lnTo>
                      <a:pt x="7" y="38"/>
                    </a:lnTo>
                    <a:lnTo>
                      <a:pt x="7" y="40"/>
                    </a:lnTo>
                    <a:lnTo>
                      <a:pt x="7" y="40"/>
                    </a:lnTo>
                    <a:lnTo>
                      <a:pt x="7" y="40"/>
                    </a:lnTo>
                    <a:lnTo>
                      <a:pt x="9" y="40"/>
                    </a:lnTo>
                    <a:lnTo>
                      <a:pt x="9" y="43"/>
                    </a:lnTo>
                    <a:lnTo>
                      <a:pt x="11" y="45"/>
                    </a:lnTo>
                    <a:lnTo>
                      <a:pt x="14" y="45"/>
                    </a:lnTo>
                    <a:lnTo>
                      <a:pt x="11" y="45"/>
                    </a:lnTo>
                    <a:lnTo>
                      <a:pt x="11" y="47"/>
                    </a:lnTo>
                    <a:lnTo>
                      <a:pt x="14" y="47"/>
                    </a:lnTo>
                    <a:lnTo>
                      <a:pt x="14" y="47"/>
                    </a:lnTo>
                    <a:lnTo>
                      <a:pt x="14" y="50"/>
                    </a:lnTo>
                    <a:lnTo>
                      <a:pt x="14" y="50"/>
                    </a:lnTo>
                    <a:lnTo>
                      <a:pt x="14" y="52"/>
                    </a:lnTo>
                    <a:lnTo>
                      <a:pt x="16" y="52"/>
                    </a:lnTo>
                    <a:lnTo>
                      <a:pt x="18" y="55"/>
                    </a:lnTo>
                    <a:lnTo>
                      <a:pt x="18" y="55"/>
                    </a:lnTo>
                    <a:lnTo>
                      <a:pt x="16" y="55"/>
                    </a:lnTo>
                    <a:lnTo>
                      <a:pt x="18" y="57"/>
                    </a:lnTo>
                    <a:lnTo>
                      <a:pt x="18" y="57"/>
                    </a:lnTo>
                    <a:lnTo>
                      <a:pt x="18" y="57"/>
                    </a:lnTo>
                    <a:lnTo>
                      <a:pt x="18" y="59"/>
                    </a:lnTo>
                    <a:lnTo>
                      <a:pt x="21" y="64"/>
                    </a:lnTo>
                    <a:lnTo>
                      <a:pt x="21" y="66"/>
                    </a:lnTo>
                    <a:lnTo>
                      <a:pt x="23" y="66"/>
                    </a:lnTo>
                    <a:lnTo>
                      <a:pt x="23" y="66"/>
                    </a:lnTo>
                    <a:lnTo>
                      <a:pt x="23" y="66"/>
                    </a:lnTo>
                    <a:lnTo>
                      <a:pt x="23" y="69"/>
                    </a:lnTo>
                    <a:lnTo>
                      <a:pt x="23" y="71"/>
                    </a:lnTo>
                    <a:lnTo>
                      <a:pt x="23" y="71"/>
                    </a:lnTo>
                    <a:lnTo>
                      <a:pt x="26" y="73"/>
                    </a:lnTo>
                    <a:lnTo>
                      <a:pt x="26" y="73"/>
                    </a:lnTo>
                    <a:lnTo>
                      <a:pt x="26" y="73"/>
                    </a:lnTo>
                    <a:lnTo>
                      <a:pt x="28" y="73"/>
                    </a:lnTo>
                    <a:lnTo>
                      <a:pt x="28" y="73"/>
                    </a:lnTo>
                    <a:lnTo>
                      <a:pt x="30" y="81"/>
                    </a:lnTo>
                    <a:lnTo>
                      <a:pt x="30" y="81"/>
                    </a:lnTo>
                    <a:lnTo>
                      <a:pt x="33" y="81"/>
                    </a:lnTo>
                    <a:lnTo>
                      <a:pt x="33" y="81"/>
                    </a:lnTo>
                    <a:lnTo>
                      <a:pt x="35" y="83"/>
                    </a:lnTo>
                    <a:lnTo>
                      <a:pt x="35" y="83"/>
                    </a:lnTo>
                    <a:lnTo>
                      <a:pt x="37" y="85"/>
                    </a:lnTo>
                    <a:lnTo>
                      <a:pt x="37" y="85"/>
                    </a:lnTo>
                    <a:lnTo>
                      <a:pt x="42" y="85"/>
                    </a:lnTo>
                    <a:lnTo>
                      <a:pt x="44" y="85"/>
                    </a:lnTo>
                    <a:lnTo>
                      <a:pt x="47" y="88"/>
                    </a:lnTo>
                    <a:lnTo>
                      <a:pt x="47" y="88"/>
                    </a:lnTo>
                    <a:lnTo>
                      <a:pt x="47" y="88"/>
                    </a:lnTo>
                    <a:lnTo>
                      <a:pt x="44" y="88"/>
                    </a:lnTo>
                    <a:lnTo>
                      <a:pt x="42" y="90"/>
                    </a:lnTo>
                    <a:lnTo>
                      <a:pt x="42" y="92"/>
                    </a:lnTo>
                    <a:lnTo>
                      <a:pt x="42" y="92"/>
                    </a:lnTo>
                    <a:lnTo>
                      <a:pt x="44" y="95"/>
                    </a:lnTo>
                    <a:lnTo>
                      <a:pt x="47" y="97"/>
                    </a:lnTo>
                    <a:lnTo>
                      <a:pt x="47" y="97"/>
                    </a:lnTo>
                    <a:lnTo>
                      <a:pt x="47" y="97"/>
                    </a:lnTo>
                    <a:lnTo>
                      <a:pt x="47" y="100"/>
                    </a:lnTo>
                    <a:lnTo>
                      <a:pt x="47" y="100"/>
                    </a:lnTo>
                    <a:lnTo>
                      <a:pt x="44" y="102"/>
                    </a:lnTo>
                    <a:lnTo>
                      <a:pt x="42" y="102"/>
                    </a:lnTo>
                    <a:lnTo>
                      <a:pt x="40" y="107"/>
                    </a:lnTo>
                    <a:lnTo>
                      <a:pt x="40" y="109"/>
                    </a:lnTo>
                    <a:lnTo>
                      <a:pt x="40" y="111"/>
                    </a:lnTo>
                    <a:lnTo>
                      <a:pt x="40" y="111"/>
                    </a:lnTo>
                    <a:lnTo>
                      <a:pt x="37" y="111"/>
                    </a:lnTo>
                    <a:lnTo>
                      <a:pt x="37" y="111"/>
                    </a:lnTo>
                    <a:lnTo>
                      <a:pt x="37" y="114"/>
                    </a:lnTo>
                    <a:lnTo>
                      <a:pt x="37" y="114"/>
                    </a:lnTo>
                    <a:lnTo>
                      <a:pt x="35" y="116"/>
                    </a:lnTo>
                    <a:lnTo>
                      <a:pt x="37" y="118"/>
                    </a:lnTo>
                    <a:lnTo>
                      <a:pt x="37" y="121"/>
                    </a:lnTo>
                    <a:lnTo>
                      <a:pt x="37" y="121"/>
                    </a:lnTo>
                    <a:lnTo>
                      <a:pt x="37" y="123"/>
                    </a:lnTo>
                    <a:lnTo>
                      <a:pt x="37" y="126"/>
                    </a:lnTo>
                    <a:lnTo>
                      <a:pt x="37" y="126"/>
                    </a:lnTo>
                    <a:lnTo>
                      <a:pt x="37" y="126"/>
                    </a:lnTo>
                    <a:lnTo>
                      <a:pt x="42" y="130"/>
                    </a:lnTo>
                    <a:lnTo>
                      <a:pt x="42" y="133"/>
                    </a:lnTo>
                    <a:lnTo>
                      <a:pt x="44" y="133"/>
                    </a:lnTo>
                    <a:lnTo>
                      <a:pt x="44" y="133"/>
                    </a:lnTo>
                    <a:lnTo>
                      <a:pt x="47" y="133"/>
                    </a:lnTo>
                    <a:lnTo>
                      <a:pt x="47" y="133"/>
                    </a:lnTo>
                    <a:lnTo>
                      <a:pt x="47" y="135"/>
                    </a:lnTo>
                    <a:lnTo>
                      <a:pt x="47" y="135"/>
                    </a:lnTo>
                    <a:lnTo>
                      <a:pt x="47" y="135"/>
                    </a:lnTo>
                    <a:lnTo>
                      <a:pt x="49" y="137"/>
                    </a:lnTo>
                    <a:lnTo>
                      <a:pt x="52" y="140"/>
                    </a:lnTo>
                    <a:lnTo>
                      <a:pt x="52" y="142"/>
                    </a:lnTo>
                    <a:lnTo>
                      <a:pt x="52" y="145"/>
                    </a:lnTo>
                    <a:lnTo>
                      <a:pt x="52" y="145"/>
                    </a:lnTo>
                    <a:lnTo>
                      <a:pt x="52" y="147"/>
                    </a:lnTo>
                    <a:lnTo>
                      <a:pt x="52" y="147"/>
                    </a:lnTo>
                    <a:lnTo>
                      <a:pt x="54" y="147"/>
                    </a:lnTo>
                    <a:lnTo>
                      <a:pt x="56" y="147"/>
                    </a:lnTo>
                    <a:lnTo>
                      <a:pt x="59" y="149"/>
                    </a:lnTo>
                    <a:lnTo>
                      <a:pt x="63" y="152"/>
                    </a:lnTo>
                    <a:lnTo>
                      <a:pt x="68" y="154"/>
                    </a:lnTo>
                    <a:lnTo>
                      <a:pt x="70" y="156"/>
                    </a:lnTo>
                    <a:lnTo>
                      <a:pt x="73" y="156"/>
                    </a:lnTo>
                    <a:lnTo>
                      <a:pt x="75" y="156"/>
                    </a:lnTo>
                    <a:lnTo>
                      <a:pt x="75" y="159"/>
                    </a:lnTo>
                    <a:lnTo>
                      <a:pt x="75" y="159"/>
                    </a:lnTo>
                    <a:lnTo>
                      <a:pt x="78" y="163"/>
                    </a:lnTo>
                    <a:lnTo>
                      <a:pt x="80" y="166"/>
                    </a:lnTo>
                    <a:lnTo>
                      <a:pt x="82" y="168"/>
                    </a:lnTo>
                    <a:lnTo>
                      <a:pt x="85" y="171"/>
                    </a:lnTo>
                    <a:lnTo>
                      <a:pt x="85" y="175"/>
                    </a:lnTo>
                    <a:lnTo>
                      <a:pt x="82" y="180"/>
                    </a:lnTo>
                    <a:lnTo>
                      <a:pt x="82" y="185"/>
                    </a:lnTo>
                    <a:lnTo>
                      <a:pt x="85" y="187"/>
                    </a:lnTo>
                    <a:lnTo>
                      <a:pt x="87" y="187"/>
                    </a:lnTo>
                    <a:lnTo>
                      <a:pt x="89" y="187"/>
                    </a:lnTo>
                    <a:lnTo>
                      <a:pt x="89" y="192"/>
                    </a:lnTo>
                    <a:lnTo>
                      <a:pt x="89" y="194"/>
                    </a:lnTo>
                    <a:lnTo>
                      <a:pt x="92" y="199"/>
                    </a:lnTo>
                    <a:lnTo>
                      <a:pt x="92" y="199"/>
                    </a:lnTo>
                    <a:lnTo>
                      <a:pt x="94" y="199"/>
                    </a:lnTo>
                    <a:lnTo>
                      <a:pt x="94" y="201"/>
                    </a:lnTo>
                    <a:lnTo>
                      <a:pt x="94" y="201"/>
                    </a:lnTo>
                    <a:lnTo>
                      <a:pt x="97" y="201"/>
                    </a:lnTo>
                    <a:lnTo>
                      <a:pt x="97" y="204"/>
                    </a:lnTo>
                    <a:lnTo>
                      <a:pt x="99" y="204"/>
                    </a:lnTo>
                    <a:lnTo>
                      <a:pt x="99" y="206"/>
                    </a:lnTo>
                    <a:lnTo>
                      <a:pt x="99" y="206"/>
                    </a:lnTo>
                    <a:lnTo>
                      <a:pt x="99" y="206"/>
                    </a:lnTo>
                    <a:lnTo>
                      <a:pt x="99" y="208"/>
                    </a:lnTo>
                    <a:lnTo>
                      <a:pt x="101" y="208"/>
                    </a:lnTo>
                    <a:lnTo>
                      <a:pt x="101" y="211"/>
                    </a:lnTo>
                    <a:lnTo>
                      <a:pt x="101" y="208"/>
                    </a:lnTo>
                    <a:lnTo>
                      <a:pt x="104" y="208"/>
                    </a:lnTo>
                    <a:lnTo>
                      <a:pt x="106" y="208"/>
                    </a:lnTo>
                    <a:lnTo>
                      <a:pt x="106" y="208"/>
                    </a:lnTo>
                    <a:lnTo>
                      <a:pt x="108" y="206"/>
                    </a:lnTo>
                    <a:lnTo>
                      <a:pt x="108" y="204"/>
                    </a:lnTo>
                    <a:lnTo>
                      <a:pt x="106" y="201"/>
                    </a:lnTo>
                    <a:lnTo>
                      <a:pt x="108" y="201"/>
                    </a:lnTo>
                    <a:lnTo>
                      <a:pt x="108" y="199"/>
                    </a:lnTo>
                    <a:lnTo>
                      <a:pt x="108" y="199"/>
                    </a:lnTo>
                    <a:lnTo>
                      <a:pt x="111" y="199"/>
                    </a:lnTo>
                    <a:lnTo>
                      <a:pt x="113" y="199"/>
                    </a:lnTo>
                    <a:lnTo>
                      <a:pt x="113" y="201"/>
                    </a:lnTo>
                    <a:lnTo>
                      <a:pt x="113" y="201"/>
                    </a:lnTo>
                    <a:lnTo>
                      <a:pt x="111" y="201"/>
                    </a:lnTo>
                    <a:lnTo>
                      <a:pt x="111" y="201"/>
                    </a:lnTo>
                    <a:lnTo>
                      <a:pt x="108" y="201"/>
                    </a:lnTo>
                    <a:lnTo>
                      <a:pt x="108" y="201"/>
                    </a:lnTo>
                    <a:lnTo>
                      <a:pt x="111" y="201"/>
                    </a:lnTo>
                    <a:lnTo>
                      <a:pt x="118" y="206"/>
                    </a:lnTo>
                    <a:lnTo>
                      <a:pt x="120" y="208"/>
                    </a:lnTo>
                    <a:lnTo>
                      <a:pt x="127" y="204"/>
                    </a:lnTo>
                    <a:lnTo>
                      <a:pt x="127" y="204"/>
                    </a:lnTo>
                    <a:lnTo>
                      <a:pt x="130" y="208"/>
                    </a:lnTo>
                    <a:lnTo>
                      <a:pt x="130" y="211"/>
                    </a:lnTo>
                    <a:lnTo>
                      <a:pt x="132" y="211"/>
                    </a:lnTo>
                    <a:lnTo>
                      <a:pt x="134" y="216"/>
                    </a:lnTo>
                    <a:lnTo>
                      <a:pt x="139" y="218"/>
                    </a:lnTo>
                    <a:lnTo>
                      <a:pt x="141" y="220"/>
                    </a:lnTo>
                    <a:lnTo>
                      <a:pt x="141" y="223"/>
                    </a:lnTo>
                    <a:lnTo>
                      <a:pt x="141" y="225"/>
                    </a:lnTo>
                    <a:lnTo>
                      <a:pt x="141" y="227"/>
                    </a:lnTo>
                    <a:lnTo>
                      <a:pt x="144" y="227"/>
                    </a:lnTo>
                    <a:lnTo>
                      <a:pt x="146" y="230"/>
                    </a:lnTo>
                    <a:lnTo>
                      <a:pt x="146" y="230"/>
                    </a:lnTo>
                    <a:lnTo>
                      <a:pt x="144" y="232"/>
                    </a:lnTo>
                    <a:lnTo>
                      <a:pt x="146" y="232"/>
                    </a:lnTo>
                    <a:lnTo>
                      <a:pt x="149" y="234"/>
                    </a:lnTo>
                    <a:lnTo>
                      <a:pt x="149" y="237"/>
                    </a:lnTo>
                    <a:lnTo>
                      <a:pt x="151" y="239"/>
                    </a:lnTo>
                    <a:lnTo>
                      <a:pt x="151" y="242"/>
                    </a:lnTo>
                    <a:lnTo>
                      <a:pt x="153" y="246"/>
                    </a:lnTo>
                    <a:lnTo>
                      <a:pt x="153" y="249"/>
                    </a:lnTo>
                    <a:lnTo>
                      <a:pt x="158" y="253"/>
                    </a:lnTo>
                    <a:lnTo>
                      <a:pt x="160" y="253"/>
                    </a:lnTo>
                    <a:lnTo>
                      <a:pt x="163" y="253"/>
                    </a:lnTo>
                    <a:lnTo>
                      <a:pt x="165" y="253"/>
                    </a:lnTo>
                    <a:lnTo>
                      <a:pt x="167" y="256"/>
                    </a:lnTo>
                    <a:lnTo>
                      <a:pt x="172" y="258"/>
                    </a:lnTo>
                    <a:lnTo>
                      <a:pt x="177" y="258"/>
                    </a:lnTo>
                    <a:lnTo>
                      <a:pt x="179" y="263"/>
                    </a:lnTo>
                    <a:lnTo>
                      <a:pt x="179" y="263"/>
                    </a:lnTo>
                    <a:lnTo>
                      <a:pt x="182" y="265"/>
                    </a:lnTo>
                    <a:lnTo>
                      <a:pt x="186" y="270"/>
                    </a:lnTo>
                    <a:lnTo>
                      <a:pt x="193" y="272"/>
                    </a:lnTo>
                    <a:lnTo>
                      <a:pt x="196" y="272"/>
                    </a:lnTo>
                    <a:lnTo>
                      <a:pt x="198" y="275"/>
                    </a:lnTo>
                    <a:lnTo>
                      <a:pt x="201" y="277"/>
                    </a:lnTo>
                    <a:lnTo>
                      <a:pt x="203" y="279"/>
                    </a:lnTo>
                    <a:lnTo>
                      <a:pt x="208" y="277"/>
                    </a:lnTo>
                    <a:lnTo>
                      <a:pt x="210" y="279"/>
                    </a:lnTo>
                    <a:lnTo>
                      <a:pt x="217" y="282"/>
                    </a:lnTo>
                    <a:lnTo>
                      <a:pt x="220" y="282"/>
                    </a:lnTo>
                    <a:lnTo>
                      <a:pt x="220" y="282"/>
                    </a:lnTo>
                    <a:lnTo>
                      <a:pt x="222" y="282"/>
                    </a:lnTo>
                    <a:lnTo>
                      <a:pt x="227" y="277"/>
                    </a:lnTo>
                    <a:lnTo>
                      <a:pt x="229" y="277"/>
                    </a:lnTo>
                    <a:lnTo>
                      <a:pt x="231" y="277"/>
                    </a:lnTo>
                    <a:lnTo>
                      <a:pt x="234" y="275"/>
                    </a:lnTo>
                    <a:lnTo>
                      <a:pt x="234" y="275"/>
                    </a:lnTo>
                    <a:lnTo>
                      <a:pt x="236" y="272"/>
                    </a:lnTo>
                    <a:lnTo>
                      <a:pt x="241" y="272"/>
                    </a:lnTo>
                    <a:lnTo>
                      <a:pt x="243" y="270"/>
                    </a:lnTo>
                    <a:lnTo>
                      <a:pt x="246" y="268"/>
                    </a:lnTo>
                    <a:lnTo>
                      <a:pt x="248" y="268"/>
                    </a:lnTo>
                    <a:lnTo>
                      <a:pt x="255" y="270"/>
                    </a:lnTo>
                    <a:lnTo>
                      <a:pt x="257" y="270"/>
                    </a:lnTo>
                    <a:lnTo>
                      <a:pt x="257" y="272"/>
                    </a:lnTo>
                    <a:lnTo>
                      <a:pt x="260" y="275"/>
                    </a:lnTo>
                    <a:lnTo>
                      <a:pt x="262" y="277"/>
                    </a:lnTo>
                    <a:lnTo>
                      <a:pt x="262" y="279"/>
                    </a:lnTo>
                    <a:lnTo>
                      <a:pt x="262" y="287"/>
                    </a:lnTo>
                    <a:lnTo>
                      <a:pt x="264" y="289"/>
                    </a:lnTo>
                    <a:lnTo>
                      <a:pt x="267" y="294"/>
                    </a:lnTo>
                    <a:lnTo>
                      <a:pt x="267" y="296"/>
                    </a:lnTo>
                    <a:lnTo>
                      <a:pt x="269" y="298"/>
                    </a:lnTo>
                    <a:lnTo>
                      <a:pt x="276" y="298"/>
                    </a:lnTo>
                    <a:lnTo>
                      <a:pt x="276" y="301"/>
                    </a:lnTo>
                    <a:lnTo>
                      <a:pt x="279" y="301"/>
                    </a:lnTo>
                    <a:lnTo>
                      <a:pt x="281" y="301"/>
                    </a:lnTo>
                    <a:lnTo>
                      <a:pt x="286" y="303"/>
                    </a:lnTo>
                    <a:lnTo>
                      <a:pt x="286" y="303"/>
                    </a:lnTo>
                    <a:lnTo>
                      <a:pt x="290" y="303"/>
                    </a:lnTo>
                    <a:lnTo>
                      <a:pt x="295" y="303"/>
                    </a:lnTo>
                    <a:lnTo>
                      <a:pt x="300" y="306"/>
                    </a:lnTo>
                    <a:lnTo>
                      <a:pt x="305" y="306"/>
                    </a:lnTo>
                    <a:lnTo>
                      <a:pt x="307" y="306"/>
                    </a:lnTo>
                    <a:lnTo>
                      <a:pt x="312" y="306"/>
                    </a:lnTo>
                    <a:lnTo>
                      <a:pt x="314" y="306"/>
                    </a:lnTo>
                    <a:lnTo>
                      <a:pt x="317" y="308"/>
                    </a:lnTo>
                    <a:lnTo>
                      <a:pt x="319" y="306"/>
                    </a:lnTo>
                    <a:lnTo>
                      <a:pt x="326" y="308"/>
                    </a:lnTo>
                    <a:lnTo>
                      <a:pt x="326" y="306"/>
                    </a:lnTo>
                    <a:lnTo>
                      <a:pt x="328" y="306"/>
                    </a:lnTo>
                    <a:lnTo>
                      <a:pt x="328" y="308"/>
                    </a:lnTo>
                    <a:lnTo>
                      <a:pt x="331" y="308"/>
                    </a:lnTo>
                    <a:lnTo>
                      <a:pt x="338" y="310"/>
                    </a:lnTo>
                    <a:lnTo>
                      <a:pt x="340" y="313"/>
                    </a:lnTo>
                    <a:lnTo>
                      <a:pt x="345" y="313"/>
                    </a:lnTo>
                    <a:lnTo>
                      <a:pt x="345" y="310"/>
                    </a:lnTo>
                    <a:lnTo>
                      <a:pt x="345" y="310"/>
                    </a:lnTo>
                    <a:lnTo>
                      <a:pt x="347" y="310"/>
                    </a:lnTo>
                    <a:lnTo>
                      <a:pt x="347" y="308"/>
                    </a:lnTo>
                    <a:lnTo>
                      <a:pt x="347" y="303"/>
                    </a:lnTo>
                    <a:lnTo>
                      <a:pt x="347" y="301"/>
                    </a:lnTo>
                    <a:lnTo>
                      <a:pt x="347" y="298"/>
                    </a:lnTo>
                    <a:lnTo>
                      <a:pt x="347" y="298"/>
                    </a:lnTo>
                    <a:lnTo>
                      <a:pt x="347" y="296"/>
                    </a:lnTo>
                    <a:lnTo>
                      <a:pt x="350" y="296"/>
                    </a:lnTo>
                    <a:lnTo>
                      <a:pt x="350" y="294"/>
                    </a:lnTo>
                    <a:lnTo>
                      <a:pt x="350" y="289"/>
                    </a:lnTo>
                    <a:lnTo>
                      <a:pt x="350" y="289"/>
                    </a:lnTo>
                    <a:lnTo>
                      <a:pt x="350" y="289"/>
                    </a:lnTo>
                    <a:lnTo>
                      <a:pt x="354" y="287"/>
                    </a:lnTo>
                    <a:lnTo>
                      <a:pt x="354" y="287"/>
                    </a:lnTo>
                    <a:lnTo>
                      <a:pt x="357" y="287"/>
                    </a:lnTo>
                    <a:lnTo>
                      <a:pt x="357" y="287"/>
                    </a:lnTo>
                    <a:lnTo>
                      <a:pt x="357" y="284"/>
                    </a:lnTo>
                    <a:lnTo>
                      <a:pt x="357" y="282"/>
                    </a:lnTo>
                    <a:lnTo>
                      <a:pt x="359" y="282"/>
                    </a:lnTo>
                    <a:lnTo>
                      <a:pt x="359" y="282"/>
                    </a:lnTo>
                    <a:lnTo>
                      <a:pt x="364" y="282"/>
                    </a:lnTo>
                    <a:lnTo>
                      <a:pt x="364" y="279"/>
                    </a:lnTo>
                    <a:lnTo>
                      <a:pt x="366" y="279"/>
                    </a:lnTo>
                    <a:lnTo>
                      <a:pt x="371" y="279"/>
                    </a:lnTo>
                    <a:lnTo>
                      <a:pt x="373" y="279"/>
                    </a:lnTo>
                    <a:lnTo>
                      <a:pt x="373" y="279"/>
                    </a:lnTo>
                    <a:lnTo>
                      <a:pt x="373" y="275"/>
                    </a:lnTo>
                    <a:lnTo>
                      <a:pt x="373" y="275"/>
                    </a:lnTo>
                    <a:lnTo>
                      <a:pt x="373" y="275"/>
                    </a:lnTo>
                    <a:lnTo>
                      <a:pt x="373" y="272"/>
                    </a:lnTo>
                    <a:lnTo>
                      <a:pt x="373" y="270"/>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Freeform 133"/>
              <p:cNvSpPr>
                <a:spLocks noEditPoints="1"/>
              </p:cNvSpPr>
              <p:nvPr/>
            </p:nvSpPr>
            <p:spPr bwMode="auto">
              <a:xfrm>
                <a:off x="4523" y="2675"/>
                <a:ext cx="856" cy="355"/>
              </a:xfrm>
              <a:custGeom>
                <a:avLst/>
                <a:gdLst>
                  <a:gd name="T0" fmla="*/ 437 w 856"/>
                  <a:gd name="T1" fmla="*/ 326 h 355"/>
                  <a:gd name="T2" fmla="*/ 527 w 856"/>
                  <a:gd name="T3" fmla="*/ 343 h 355"/>
                  <a:gd name="T4" fmla="*/ 449 w 856"/>
                  <a:gd name="T5" fmla="*/ 307 h 355"/>
                  <a:gd name="T6" fmla="*/ 532 w 856"/>
                  <a:gd name="T7" fmla="*/ 300 h 355"/>
                  <a:gd name="T8" fmla="*/ 539 w 856"/>
                  <a:gd name="T9" fmla="*/ 300 h 355"/>
                  <a:gd name="T10" fmla="*/ 471 w 856"/>
                  <a:gd name="T11" fmla="*/ 300 h 355"/>
                  <a:gd name="T12" fmla="*/ 437 w 856"/>
                  <a:gd name="T13" fmla="*/ 310 h 355"/>
                  <a:gd name="T14" fmla="*/ 397 w 856"/>
                  <a:gd name="T15" fmla="*/ 312 h 355"/>
                  <a:gd name="T16" fmla="*/ 369 w 856"/>
                  <a:gd name="T17" fmla="*/ 312 h 355"/>
                  <a:gd name="T18" fmla="*/ 799 w 856"/>
                  <a:gd name="T19" fmla="*/ 281 h 355"/>
                  <a:gd name="T20" fmla="*/ 355 w 856"/>
                  <a:gd name="T21" fmla="*/ 277 h 355"/>
                  <a:gd name="T22" fmla="*/ 735 w 856"/>
                  <a:gd name="T23" fmla="*/ 265 h 355"/>
                  <a:gd name="T24" fmla="*/ 338 w 856"/>
                  <a:gd name="T25" fmla="*/ 288 h 355"/>
                  <a:gd name="T26" fmla="*/ 239 w 856"/>
                  <a:gd name="T27" fmla="*/ 258 h 355"/>
                  <a:gd name="T28" fmla="*/ 229 w 856"/>
                  <a:gd name="T29" fmla="*/ 286 h 355"/>
                  <a:gd name="T30" fmla="*/ 326 w 856"/>
                  <a:gd name="T31" fmla="*/ 246 h 355"/>
                  <a:gd name="T32" fmla="*/ 705 w 856"/>
                  <a:gd name="T33" fmla="*/ 243 h 355"/>
                  <a:gd name="T34" fmla="*/ 506 w 856"/>
                  <a:gd name="T35" fmla="*/ 232 h 355"/>
                  <a:gd name="T36" fmla="*/ 523 w 856"/>
                  <a:gd name="T37" fmla="*/ 210 h 355"/>
                  <a:gd name="T38" fmla="*/ 395 w 856"/>
                  <a:gd name="T39" fmla="*/ 201 h 355"/>
                  <a:gd name="T40" fmla="*/ 220 w 856"/>
                  <a:gd name="T41" fmla="*/ 189 h 355"/>
                  <a:gd name="T42" fmla="*/ 622 w 856"/>
                  <a:gd name="T43" fmla="*/ 198 h 355"/>
                  <a:gd name="T44" fmla="*/ 243 w 856"/>
                  <a:gd name="T45" fmla="*/ 189 h 355"/>
                  <a:gd name="T46" fmla="*/ 534 w 856"/>
                  <a:gd name="T47" fmla="*/ 168 h 355"/>
                  <a:gd name="T48" fmla="*/ 549 w 856"/>
                  <a:gd name="T49" fmla="*/ 168 h 355"/>
                  <a:gd name="T50" fmla="*/ 215 w 856"/>
                  <a:gd name="T51" fmla="*/ 182 h 355"/>
                  <a:gd name="T52" fmla="*/ 530 w 856"/>
                  <a:gd name="T53" fmla="*/ 153 h 355"/>
                  <a:gd name="T54" fmla="*/ 73 w 856"/>
                  <a:gd name="T55" fmla="*/ 146 h 355"/>
                  <a:gd name="T56" fmla="*/ 769 w 856"/>
                  <a:gd name="T57" fmla="*/ 149 h 355"/>
                  <a:gd name="T58" fmla="*/ 802 w 856"/>
                  <a:gd name="T59" fmla="*/ 158 h 355"/>
                  <a:gd name="T60" fmla="*/ 728 w 856"/>
                  <a:gd name="T61" fmla="*/ 146 h 355"/>
                  <a:gd name="T62" fmla="*/ 724 w 856"/>
                  <a:gd name="T63" fmla="*/ 172 h 355"/>
                  <a:gd name="T64" fmla="*/ 719 w 856"/>
                  <a:gd name="T65" fmla="*/ 196 h 355"/>
                  <a:gd name="T66" fmla="*/ 804 w 856"/>
                  <a:gd name="T67" fmla="*/ 246 h 355"/>
                  <a:gd name="T68" fmla="*/ 830 w 856"/>
                  <a:gd name="T69" fmla="*/ 295 h 355"/>
                  <a:gd name="T70" fmla="*/ 177 w 856"/>
                  <a:gd name="T71" fmla="*/ 134 h 355"/>
                  <a:gd name="T72" fmla="*/ 667 w 856"/>
                  <a:gd name="T73" fmla="*/ 132 h 355"/>
                  <a:gd name="T74" fmla="*/ 184 w 856"/>
                  <a:gd name="T75" fmla="*/ 130 h 355"/>
                  <a:gd name="T76" fmla="*/ 156 w 856"/>
                  <a:gd name="T77" fmla="*/ 111 h 355"/>
                  <a:gd name="T78" fmla="*/ 142 w 856"/>
                  <a:gd name="T79" fmla="*/ 101 h 355"/>
                  <a:gd name="T80" fmla="*/ 42 w 856"/>
                  <a:gd name="T81" fmla="*/ 94 h 355"/>
                  <a:gd name="T82" fmla="*/ 452 w 856"/>
                  <a:gd name="T83" fmla="*/ 234 h 355"/>
                  <a:gd name="T84" fmla="*/ 494 w 856"/>
                  <a:gd name="T85" fmla="*/ 227 h 355"/>
                  <a:gd name="T86" fmla="*/ 494 w 856"/>
                  <a:gd name="T87" fmla="*/ 165 h 355"/>
                  <a:gd name="T88" fmla="*/ 466 w 856"/>
                  <a:gd name="T89" fmla="*/ 137 h 355"/>
                  <a:gd name="T90" fmla="*/ 544 w 856"/>
                  <a:gd name="T91" fmla="*/ 104 h 355"/>
                  <a:gd name="T92" fmla="*/ 461 w 856"/>
                  <a:gd name="T93" fmla="*/ 142 h 355"/>
                  <a:gd name="T94" fmla="*/ 615 w 856"/>
                  <a:gd name="T95" fmla="*/ 130 h 355"/>
                  <a:gd name="T96" fmla="*/ 612 w 856"/>
                  <a:gd name="T97" fmla="*/ 85 h 355"/>
                  <a:gd name="T98" fmla="*/ 21 w 856"/>
                  <a:gd name="T99" fmla="*/ 73 h 355"/>
                  <a:gd name="T100" fmla="*/ 591 w 856"/>
                  <a:gd name="T101" fmla="*/ 45 h 355"/>
                  <a:gd name="T102" fmla="*/ 272 w 856"/>
                  <a:gd name="T103" fmla="*/ 144 h 355"/>
                  <a:gd name="T104" fmla="*/ 345 w 856"/>
                  <a:gd name="T105" fmla="*/ 196 h 355"/>
                  <a:gd name="T106" fmla="*/ 395 w 856"/>
                  <a:gd name="T107" fmla="*/ 163 h 355"/>
                  <a:gd name="T108" fmla="*/ 426 w 856"/>
                  <a:gd name="T109" fmla="*/ 80 h 355"/>
                  <a:gd name="T110" fmla="*/ 395 w 856"/>
                  <a:gd name="T111" fmla="*/ 33 h 355"/>
                  <a:gd name="T112" fmla="*/ 355 w 856"/>
                  <a:gd name="T113" fmla="*/ 94 h 355"/>
                  <a:gd name="T114" fmla="*/ 260 w 856"/>
                  <a:gd name="T115" fmla="*/ 99 h 355"/>
                  <a:gd name="T116" fmla="*/ 189 w 856"/>
                  <a:gd name="T117" fmla="*/ 175 h 355"/>
                  <a:gd name="T118" fmla="*/ 146 w 856"/>
                  <a:gd name="T119" fmla="*/ 111 h 355"/>
                  <a:gd name="T120" fmla="*/ 42 w 856"/>
                  <a:gd name="T121" fmla="*/ 14 h 355"/>
                  <a:gd name="T122" fmla="*/ 85 w 856"/>
                  <a:gd name="T123" fmla="*/ 125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56" h="355">
                    <a:moveTo>
                      <a:pt x="518" y="348"/>
                    </a:moveTo>
                    <a:lnTo>
                      <a:pt x="518" y="348"/>
                    </a:lnTo>
                    <a:lnTo>
                      <a:pt x="518" y="348"/>
                    </a:lnTo>
                    <a:lnTo>
                      <a:pt x="518" y="348"/>
                    </a:lnTo>
                    <a:lnTo>
                      <a:pt x="515" y="348"/>
                    </a:lnTo>
                    <a:lnTo>
                      <a:pt x="513" y="350"/>
                    </a:lnTo>
                    <a:lnTo>
                      <a:pt x="511" y="352"/>
                    </a:lnTo>
                    <a:lnTo>
                      <a:pt x="506" y="352"/>
                    </a:lnTo>
                    <a:lnTo>
                      <a:pt x="506" y="355"/>
                    </a:lnTo>
                    <a:lnTo>
                      <a:pt x="506" y="355"/>
                    </a:lnTo>
                    <a:lnTo>
                      <a:pt x="506" y="355"/>
                    </a:lnTo>
                    <a:lnTo>
                      <a:pt x="508" y="355"/>
                    </a:lnTo>
                    <a:lnTo>
                      <a:pt x="511" y="355"/>
                    </a:lnTo>
                    <a:lnTo>
                      <a:pt x="513" y="355"/>
                    </a:lnTo>
                    <a:lnTo>
                      <a:pt x="515" y="352"/>
                    </a:lnTo>
                    <a:lnTo>
                      <a:pt x="518" y="350"/>
                    </a:lnTo>
                    <a:lnTo>
                      <a:pt x="518" y="350"/>
                    </a:lnTo>
                    <a:lnTo>
                      <a:pt x="518" y="348"/>
                    </a:lnTo>
                    <a:close/>
                    <a:moveTo>
                      <a:pt x="489" y="345"/>
                    </a:moveTo>
                    <a:lnTo>
                      <a:pt x="487" y="348"/>
                    </a:lnTo>
                    <a:lnTo>
                      <a:pt x="487" y="348"/>
                    </a:lnTo>
                    <a:lnTo>
                      <a:pt x="487" y="348"/>
                    </a:lnTo>
                    <a:lnTo>
                      <a:pt x="489" y="350"/>
                    </a:lnTo>
                    <a:lnTo>
                      <a:pt x="489" y="350"/>
                    </a:lnTo>
                    <a:lnTo>
                      <a:pt x="492" y="348"/>
                    </a:lnTo>
                    <a:lnTo>
                      <a:pt x="492" y="345"/>
                    </a:lnTo>
                    <a:lnTo>
                      <a:pt x="492" y="345"/>
                    </a:lnTo>
                    <a:lnTo>
                      <a:pt x="489" y="345"/>
                    </a:lnTo>
                    <a:close/>
                    <a:moveTo>
                      <a:pt x="520" y="340"/>
                    </a:moveTo>
                    <a:lnTo>
                      <a:pt x="520" y="340"/>
                    </a:lnTo>
                    <a:lnTo>
                      <a:pt x="518" y="340"/>
                    </a:lnTo>
                    <a:lnTo>
                      <a:pt x="518" y="343"/>
                    </a:lnTo>
                    <a:lnTo>
                      <a:pt x="518" y="343"/>
                    </a:lnTo>
                    <a:lnTo>
                      <a:pt x="518" y="343"/>
                    </a:lnTo>
                    <a:lnTo>
                      <a:pt x="518" y="340"/>
                    </a:lnTo>
                    <a:lnTo>
                      <a:pt x="520" y="340"/>
                    </a:lnTo>
                    <a:lnTo>
                      <a:pt x="520" y="340"/>
                    </a:lnTo>
                    <a:close/>
                    <a:moveTo>
                      <a:pt x="468" y="333"/>
                    </a:moveTo>
                    <a:lnTo>
                      <a:pt x="468" y="333"/>
                    </a:lnTo>
                    <a:lnTo>
                      <a:pt x="466" y="331"/>
                    </a:lnTo>
                    <a:lnTo>
                      <a:pt x="466" y="329"/>
                    </a:lnTo>
                    <a:lnTo>
                      <a:pt x="463" y="329"/>
                    </a:lnTo>
                    <a:lnTo>
                      <a:pt x="463" y="329"/>
                    </a:lnTo>
                    <a:lnTo>
                      <a:pt x="461" y="329"/>
                    </a:lnTo>
                    <a:lnTo>
                      <a:pt x="461" y="329"/>
                    </a:lnTo>
                    <a:lnTo>
                      <a:pt x="461" y="326"/>
                    </a:lnTo>
                    <a:lnTo>
                      <a:pt x="461" y="326"/>
                    </a:lnTo>
                    <a:lnTo>
                      <a:pt x="459" y="324"/>
                    </a:lnTo>
                    <a:lnTo>
                      <a:pt x="456" y="324"/>
                    </a:lnTo>
                    <a:lnTo>
                      <a:pt x="456" y="322"/>
                    </a:lnTo>
                    <a:lnTo>
                      <a:pt x="456" y="322"/>
                    </a:lnTo>
                    <a:lnTo>
                      <a:pt x="454" y="324"/>
                    </a:lnTo>
                    <a:lnTo>
                      <a:pt x="452" y="324"/>
                    </a:lnTo>
                    <a:lnTo>
                      <a:pt x="449" y="324"/>
                    </a:lnTo>
                    <a:lnTo>
                      <a:pt x="447" y="324"/>
                    </a:lnTo>
                    <a:lnTo>
                      <a:pt x="444" y="324"/>
                    </a:lnTo>
                    <a:lnTo>
                      <a:pt x="442" y="324"/>
                    </a:lnTo>
                    <a:lnTo>
                      <a:pt x="437" y="324"/>
                    </a:lnTo>
                    <a:lnTo>
                      <a:pt x="437" y="326"/>
                    </a:lnTo>
                    <a:lnTo>
                      <a:pt x="437" y="326"/>
                    </a:lnTo>
                    <a:lnTo>
                      <a:pt x="437" y="326"/>
                    </a:lnTo>
                    <a:lnTo>
                      <a:pt x="437" y="329"/>
                    </a:lnTo>
                    <a:lnTo>
                      <a:pt x="437" y="329"/>
                    </a:lnTo>
                    <a:lnTo>
                      <a:pt x="440" y="331"/>
                    </a:lnTo>
                    <a:lnTo>
                      <a:pt x="444" y="331"/>
                    </a:lnTo>
                    <a:lnTo>
                      <a:pt x="444" y="331"/>
                    </a:lnTo>
                    <a:lnTo>
                      <a:pt x="447" y="331"/>
                    </a:lnTo>
                    <a:lnTo>
                      <a:pt x="449" y="331"/>
                    </a:lnTo>
                    <a:lnTo>
                      <a:pt x="452" y="336"/>
                    </a:lnTo>
                    <a:lnTo>
                      <a:pt x="454" y="336"/>
                    </a:lnTo>
                    <a:lnTo>
                      <a:pt x="456" y="338"/>
                    </a:lnTo>
                    <a:lnTo>
                      <a:pt x="456" y="338"/>
                    </a:lnTo>
                    <a:lnTo>
                      <a:pt x="459" y="340"/>
                    </a:lnTo>
                    <a:lnTo>
                      <a:pt x="459" y="340"/>
                    </a:lnTo>
                    <a:lnTo>
                      <a:pt x="463" y="343"/>
                    </a:lnTo>
                    <a:lnTo>
                      <a:pt x="463" y="343"/>
                    </a:lnTo>
                    <a:lnTo>
                      <a:pt x="466" y="340"/>
                    </a:lnTo>
                    <a:lnTo>
                      <a:pt x="468" y="340"/>
                    </a:lnTo>
                    <a:lnTo>
                      <a:pt x="468" y="340"/>
                    </a:lnTo>
                    <a:lnTo>
                      <a:pt x="471" y="338"/>
                    </a:lnTo>
                    <a:lnTo>
                      <a:pt x="471" y="338"/>
                    </a:lnTo>
                    <a:lnTo>
                      <a:pt x="471" y="336"/>
                    </a:lnTo>
                    <a:lnTo>
                      <a:pt x="468" y="333"/>
                    </a:lnTo>
                    <a:close/>
                    <a:moveTo>
                      <a:pt x="551" y="314"/>
                    </a:moveTo>
                    <a:lnTo>
                      <a:pt x="549" y="317"/>
                    </a:lnTo>
                    <a:lnTo>
                      <a:pt x="549" y="317"/>
                    </a:lnTo>
                    <a:lnTo>
                      <a:pt x="549" y="317"/>
                    </a:lnTo>
                    <a:lnTo>
                      <a:pt x="549" y="314"/>
                    </a:lnTo>
                    <a:lnTo>
                      <a:pt x="549" y="314"/>
                    </a:lnTo>
                    <a:lnTo>
                      <a:pt x="544" y="317"/>
                    </a:lnTo>
                    <a:lnTo>
                      <a:pt x="544" y="317"/>
                    </a:lnTo>
                    <a:lnTo>
                      <a:pt x="541" y="319"/>
                    </a:lnTo>
                    <a:lnTo>
                      <a:pt x="539" y="319"/>
                    </a:lnTo>
                    <a:lnTo>
                      <a:pt x="539" y="322"/>
                    </a:lnTo>
                    <a:lnTo>
                      <a:pt x="539" y="322"/>
                    </a:lnTo>
                    <a:lnTo>
                      <a:pt x="537" y="324"/>
                    </a:lnTo>
                    <a:lnTo>
                      <a:pt x="537" y="324"/>
                    </a:lnTo>
                    <a:lnTo>
                      <a:pt x="537" y="324"/>
                    </a:lnTo>
                    <a:lnTo>
                      <a:pt x="534" y="324"/>
                    </a:lnTo>
                    <a:lnTo>
                      <a:pt x="532" y="324"/>
                    </a:lnTo>
                    <a:lnTo>
                      <a:pt x="532" y="324"/>
                    </a:lnTo>
                    <a:lnTo>
                      <a:pt x="532" y="324"/>
                    </a:lnTo>
                    <a:lnTo>
                      <a:pt x="532" y="322"/>
                    </a:lnTo>
                    <a:lnTo>
                      <a:pt x="530" y="324"/>
                    </a:lnTo>
                    <a:lnTo>
                      <a:pt x="527" y="324"/>
                    </a:lnTo>
                    <a:lnTo>
                      <a:pt x="525" y="329"/>
                    </a:lnTo>
                    <a:lnTo>
                      <a:pt x="525" y="331"/>
                    </a:lnTo>
                    <a:lnTo>
                      <a:pt x="523" y="333"/>
                    </a:lnTo>
                    <a:lnTo>
                      <a:pt x="523" y="336"/>
                    </a:lnTo>
                    <a:lnTo>
                      <a:pt x="523" y="336"/>
                    </a:lnTo>
                    <a:lnTo>
                      <a:pt x="525" y="338"/>
                    </a:lnTo>
                    <a:lnTo>
                      <a:pt x="525" y="338"/>
                    </a:lnTo>
                    <a:lnTo>
                      <a:pt x="523" y="340"/>
                    </a:lnTo>
                    <a:lnTo>
                      <a:pt x="523" y="340"/>
                    </a:lnTo>
                    <a:lnTo>
                      <a:pt x="523" y="343"/>
                    </a:lnTo>
                    <a:lnTo>
                      <a:pt x="523" y="343"/>
                    </a:lnTo>
                    <a:lnTo>
                      <a:pt x="525" y="343"/>
                    </a:lnTo>
                    <a:lnTo>
                      <a:pt x="527" y="343"/>
                    </a:lnTo>
                    <a:lnTo>
                      <a:pt x="530" y="343"/>
                    </a:lnTo>
                    <a:lnTo>
                      <a:pt x="532" y="340"/>
                    </a:lnTo>
                    <a:lnTo>
                      <a:pt x="537" y="340"/>
                    </a:lnTo>
                    <a:lnTo>
                      <a:pt x="537" y="340"/>
                    </a:lnTo>
                    <a:lnTo>
                      <a:pt x="539" y="338"/>
                    </a:lnTo>
                    <a:lnTo>
                      <a:pt x="541" y="336"/>
                    </a:lnTo>
                    <a:lnTo>
                      <a:pt x="544" y="336"/>
                    </a:lnTo>
                    <a:lnTo>
                      <a:pt x="546" y="331"/>
                    </a:lnTo>
                    <a:lnTo>
                      <a:pt x="549" y="329"/>
                    </a:lnTo>
                    <a:lnTo>
                      <a:pt x="549" y="326"/>
                    </a:lnTo>
                    <a:lnTo>
                      <a:pt x="551" y="326"/>
                    </a:lnTo>
                    <a:lnTo>
                      <a:pt x="551" y="324"/>
                    </a:lnTo>
                    <a:lnTo>
                      <a:pt x="549" y="322"/>
                    </a:lnTo>
                    <a:lnTo>
                      <a:pt x="549" y="322"/>
                    </a:lnTo>
                    <a:lnTo>
                      <a:pt x="549" y="322"/>
                    </a:lnTo>
                    <a:lnTo>
                      <a:pt x="549" y="319"/>
                    </a:lnTo>
                    <a:lnTo>
                      <a:pt x="549" y="319"/>
                    </a:lnTo>
                    <a:lnTo>
                      <a:pt x="551" y="319"/>
                    </a:lnTo>
                    <a:lnTo>
                      <a:pt x="553" y="317"/>
                    </a:lnTo>
                    <a:lnTo>
                      <a:pt x="553" y="317"/>
                    </a:lnTo>
                    <a:lnTo>
                      <a:pt x="553" y="317"/>
                    </a:lnTo>
                    <a:lnTo>
                      <a:pt x="551" y="314"/>
                    </a:lnTo>
                    <a:close/>
                    <a:moveTo>
                      <a:pt x="374" y="307"/>
                    </a:moveTo>
                    <a:lnTo>
                      <a:pt x="374" y="310"/>
                    </a:lnTo>
                    <a:lnTo>
                      <a:pt x="374" y="310"/>
                    </a:lnTo>
                    <a:lnTo>
                      <a:pt x="376" y="312"/>
                    </a:lnTo>
                    <a:lnTo>
                      <a:pt x="376" y="310"/>
                    </a:lnTo>
                    <a:lnTo>
                      <a:pt x="376" y="310"/>
                    </a:lnTo>
                    <a:lnTo>
                      <a:pt x="376" y="307"/>
                    </a:lnTo>
                    <a:lnTo>
                      <a:pt x="374" y="307"/>
                    </a:lnTo>
                    <a:close/>
                    <a:moveTo>
                      <a:pt x="513" y="303"/>
                    </a:moveTo>
                    <a:lnTo>
                      <a:pt x="513" y="305"/>
                    </a:lnTo>
                    <a:lnTo>
                      <a:pt x="511" y="305"/>
                    </a:lnTo>
                    <a:lnTo>
                      <a:pt x="511" y="307"/>
                    </a:lnTo>
                    <a:lnTo>
                      <a:pt x="513" y="307"/>
                    </a:lnTo>
                    <a:lnTo>
                      <a:pt x="513" y="305"/>
                    </a:lnTo>
                    <a:lnTo>
                      <a:pt x="513" y="305"/>
                    </a:lnTo>
                    <a:lnTo>
                      <a:pt x="515" y="305"/>
                    </a:lnTo>
                    <a:lnTo>
                      <a:pt x="515" y="305"/>
                    </a:lnTo>
                    <a:lnTo>
                      <a:pt x="515" y="303"/>
                    </a:lnTo>
                    <a:lnTo>
                      <a:pt x="513" y="303"/>
                    </a:lnTo>
                    <a:close/>
                    <a:moveTo>
                      <a:pt x="449" y="307"/>
                    </a:moveTo>
                    <a:lnTo>
                      <a:pt x="449" y="305"/>
                    </a:lnTo>
                    <a:lnTo>
                      <a:pt x="449" y="305"/>
                    </a:lnTo>
                    <a:lnTo>
                      <a:pt x="449" y="305"/>
                    </a:lnTo>
                    <a:lnTo>
                      <a:pt x="449" y="305"/>
                    </a:lnTo>
                    <a:lnTo>
                      <a:pt x="449" y="305"/>
                    </a:lnTo>
                    <a:lnTo>
                      <a:pt x="449" y="305"/>
                    </a:lnTo>
                    <a:lnTo>
                      <a:pt x="447" y="303"/>
                    </a:lnTo>
                    <a:lnTo>
                      <a:pt x="447" y="305"/>
                    </a:lnTo>
                    <a:lnTo>
                      <a:pt x="447" y="305"/>
                    </a:lnTo>
                    <a:lnTo>
                      <a:pt x="447" y="307"/>
                    </a:lnTo>
                    <a:lnTo>
                      <a:pt x="447" y="307"/>
                    </a:lnTo>
                    <a:lnTo>
                      <a:pt x="447" y="310"/>
                    </a:lnTo>
                    <a:lnTo>
                      <a:pt x="447" y="310"/>
                    </a:lnTo>
                    <a:lnTo>
                      <a:pt x="447" y="310"/>
                    </a:lnTo>
                    <a:lnTo>
                      <a:pt x="447" y="307"/>
                    </a:lnTo>
                    <a:lnTo>
                      <a:pt x="449" y="307"/>
                    </a:lnTo>
                    <a:lnTo>
                      <a:pt x="449" y="307"/>
                    </a:lnTo>
                    <a:close/>
                    <a:moveTo>
                      <a:pt x="520" y="303"/>
                    </a:moveTo>
                    <a:lnTo>
                      <a:pt x="520" y="300"/>
                    </a:lnTo>
                    <a:lnTo>
                      <a:pt x="518" y="300"/>
                    </a:lnTo>
                    <a:lnTo>
                      <a:pt x="515" y="300"/>
                    </a:lnTo>
                    <a:lnTo>
                      <a:pt x="515" y="300"/>
                    </a:lnTo>
                    <a:lnTo>
                      <a:pt x="515" y="300"/>
                    </a:lnTo>
                    <a:lnTo>
                      <a:pt x="513" y="303"/>
                    </a:lnTo>
                    <a:lnTo>
                      <a:pt x="520" y="303"/>
                    </a:lnTo>
                    <a:lnTo>
                      <a:pt x="520" y="303"/>
                    </a:lnTo>
                    <a:close/>
                    <a:moveTo>
                      <a:pt x="397" y="303"/>
                    </a:moveTo>
                    <a:lnTo>
                      <a:pt x="397" y="300"/>
                    </a:lnTo>
                    <a:lnTo>
                      <a:pt x="397" y="300"/>
                    </a:lnTo>
                    <a:lnTo>
                      <a:pt x="395" y="300"/>
                    </a:lnTo>
                    <a:lnTo>
                      <a:pt x="392" y="298"/>
                    </a:lnTo>
                    <a:lnTo>
                      <a:pt x="390" y="300"/>
                    </a:lnTo>
                    <a:lnTo>
                      <a:pt x="388" y="300"/>
                    </a:lnTo>
                    <a:lnTo>
                      <a:pt x="385" y="303"/>
                    </a:lnTo>
                    <a:lnTo>
                      <a:pt x="385" y="307"/>
                    </a:lnTo>
                    <a:lnTo>
                      <a:pt x="385" y="310"/>
                    </a:lnTo>
                    <a:lnTo>
                      <a:pt x="383" y="310"/>
                    </a:lnTo>
                    <a:lnTo>
                      <a:pt x="381" y="310"/>
                    </a:lnTo>
                    <a:lnTo>
                      <a:pt x="381" y="310"/>
                    </a:lnTo>
                    <a:lnTo>
                      <a:pt x="381" y="310"/>
                    </a:lnTo>
                    <a:lnTo>
                      <a:pt x="381" y="312"/>
                    </a:lnTo>
                    <a:lnTo>
                      <a:pt x="383" y="312"/>
                    </a:lnTo>
                    <a:lnTo>
                      <a:pt x="388" y="314"/>
                    </a:lnTo>
                    <a:lnTo>
                      <a:pt x="388" y="314"/>
                    </a:lnTo>
                    <a:lnTo>
                      <a:pt x="390" y="314"/>
                    </a:lnTo>
                    <a:lnTo>
                      <a:pt x="395" y="312"/>
                    </a:lnTo>
                    <a:lnTo>
                      <a:pt x="392" y="312"/>
                    </a:lnTo>
                    <a:lnTo>
                      <a:pt x="392" y="312"/>
                    </a:lnTo>
                    <a:lnTo>
                      <a:pt x="395" y="307"/>
                    </a:lnTo>
                    <a:lnTo>
                      <a:pt x="397" y="303"/>
                    </a:lnTo>
                    <a:close/>
                    <a:moveTo>
                      <a:pt x="532" y="303"/>
                    </a:moveTo>
                    <a:lnTo>
                      <a:pt x="534" y="305"/>
                    </a:lnTo>
                    <a:lnTo>
                      <a:pt x="534" y="305"/>
                    </a:lnTo>
                    <a:lnTo>
                      <a:pt x="537" y="305"/>
                    </a:lnTo>
                    <a:lnTo>
                      <a:pt x="537" y="303"/>
                    </a:lnTo>
                    <a:lnTo>
                      <a:pt x="537" y="300"/>
                    </a:lnTo>
                    <a:lnTo>
                      <a:pt x="539" y="298"/>
                    </a:lnTo>
                    <a:lnTo>
                      <a:pt x="539" y="298"/>
                    </a:lnTo>
                    <a:lnTo>
                      <a:pt x="537" y="298"/>
                    </a:lnTo>
                    <a:lnTo>
                      <a:pt x="537" y="298"/>
                    </a:lnTo>
                    <a:lnTo>
                      <a:pt x="534" y="303"/>
                    </a:lnTo>
                    <a:lnTo>
                      <a:pt x="534" y="303"/>
                    </a:lnTo>
                    <a:lnTo>
                      <a:pt x="534" y="300"/>
                    </a:lnTo>
                    <a:lnTo>
                      <a:pt x="532" y="300"/>
                    </a:lnTo>
                    <a:lnTo>
                      <a:pt x="532" y="303"/>
                    </a:lnTo>
                    <a:lnTo>
                      <a:pt x="532" y="303"/>
                    </a:lnTo>
                    <a:lnTo>
                      <a:pt x="532" y="303"/>
                    </a:lnTo>
                    <a:close/>
                    <a:moveTo>
                      <a:pt x="525" y="307"/>
                    </a:moveTo>
                    <a:lnTo>
                      <a:pt x="525" y="305"/>
                    </a:lnTo>
                    <a:lnTo>
                      <a:pt x="525" y="305"/>
                    </a:lnTo>
                    <a:lnTo>
                      <a:pt x="525" y="305"/>
                    </a:lnTo>
                    <a:lnTo>
                      <a:pt x="525" y="305"/>
                    </a:lnTo>
                    <a:lnTo>
                      <a:pt x="525" y="303"/>
                    </a:lnTo>
                    <a:lnTo>
                      <a:pt x="527" y="303"/>
                    </a:lnTo>
                    <a:lnTo>
                      <a:pt x="530" y="300"/>
                    </a:lnTo>
                    <a:lnTo>
                      <a:pt x="532" y="300"/>
                    </a:lnTo>
                    <a:lnTo>
                      <a:pt x="530" y="300"/>
                    </a:lnTo>
                    <a:lnTo>
                      <a:pt x="530" y="298"/>
                    </a:lnTo>
                    <a:lnTo>
                      <a:pt x="530" y="298"/>
                    </a:lnTo>
                    <a:lnTo>
                      <a:pt x="525" y="300"/>
                    </a:lnTo>
                    <a:lnTo>
                      <a:pt x="525" y="300"/>
                    </a:lnTo>
                    <a:lnTo>
                      <a:pt x="525" y="300"/>
                    </a:lnTo>
                    <a:lnTo>
                      <a:pt x="523" y="300"/>
                    </a:lnTo>
                    <a:lnTo>
                      <a:pt x="520" y="300"/>
                    </a:lnTo>
                    <a:lnTo>
                      <a:pt x="520" y="300"/>
                    </a:lnTo>
                    <a:lnTo>
                      <a:pt x="523" y="300"/>
                    </a:lnTo>
                    <a:lnTo>
                      <a:pt x="523" y="300"/>
                    </a:lnTo>
                    <a:lnTo>
                      <a:pt x="523" y="303"/>
                    </a:lnTo>
                    <a:lnTo>
                      <a:pt x="520" y="303"/>
                    </a:lnTo>
                    <a:lnTo>
                      <a:pt x="518" y="305"/>
                    </a:lnTo>
                    <a:lnTo>
                      <a:pt x="518" y="305"/>
                    </a:lnTo>
                    <a:lnTo>
                      <a:pt x="520" y="305"/>
                    </a:lnTo>
                    <a:lnTo>
                      <a:pt x="520" y="307"/>
                    </a:lnTo>
                    <a:lnTo>
                      <a:pt x="523" y="307"/>
                    </a:lnTo>
                    <a:lnTo>
                      <a:pt x="523" y="305"/>
                    </a:lnTo>
                    <a:lnTo>
                      <a:pt x="525" y="307"/>
                    </a:lnTo>
                    <a:close/>
                    <a:moveTo>
                      <a:pt x="806" y="298"/>
                    </a:moveTo>
                    <a:lnTo>
                      <a:pt x="806" y="298"/>
                    </a:lnTo>
                    <a:lnTo>
                      <a:pt x="804" y="300"/>
                    </a:lnTo>
                    <a:lnTo>
                      <a:pt x="804" y="300"/>
                    </a:lnTo>
                    <a:lnTo>
                      <a:pt x="804" y="300"/>
                    </a:lnTo>
                    <a:lnTo>
                      <a:pt x="804" y="303"/>
                    </a:lnTo>
                    <a:lnTo>
                      <a:pt x="809" y="303"/>
                    </a:lnTo>
                    <a:lnTo>
                      <a:pt x="809" y="303"/>
                    </a:lnTo>
                    <a:lnTo>
                      <a:pt x="809" y="300"/>
                    </a:lnTo>
                    <a:lnTo>
                      <a:pt x="809" y="298"/>
                    </a:lnTo>
                    <a:lnTo>
                      <a:pt x="806" y="298"/>
                    </a:lnTo>
                    <a:close/>
                    <a:moveTo>
                      <a:pt x="411" y="303"/>
                    </a:moveTo>
                    <a:lnTo>
                      <a:pt x="414" y="303"/>
                    </a:lnTo>
                    <a:lnTo>
                      <a:pt x="416" y="298"/>
                    </a:lnTo>
                    <a:lnTo>
                      <a:pt x="414" y="298"/>
                    </a:lnTo>
                    <a:lnTo>
                      <a:pt x="414" y="298"/>
                    </a:lnTo>
                    <a:lnTo>
                      <a:pt x="411" y="298"/>
                    </a:lnTo>
                    <a:lnTo>
                      <a:pt x="411" y="300"/>
                    </a:lnTo>
                    <a:lnTo>
                      <a:pt x="411" y="300"/>
                    </a:lnTo>
                    <a:lnTo>
                      <a:pt x="411" y="303"/>
                    </a:lnTo>
                    <a:lnTo>
                      <a:pt x="411" y="303"/>
                    </a:lnTo>
                    <a:close/>
                    <a:moveTo>
                      <a:pt x="442" y="298"/>
                    </a:moveTo>
                    <a:lnTo>
                      <a:pt x="440" y="298"/>
                    </a:lnTo>
                    <a:lnTo>
                      <a:pt x="440" y="298"/>
                    </a:lnTo>
                    <a:lnTo>
                      <a:pt x="440" y="300"/>
                    </a:lnTo>
                    <a:lnTo>
                      <a:pt x="442" y="300"/>
                    </a:lnTo>
                    <a:lnTo>
                      <a:pt x="442" y="298"/>
                    </a:lnTo>
                    <a:lnTo>
                      <a:pt x="442" y="298"/>
                    </a:lnTo>
                    <a:lnTo>
                      <a:pt x="442" y="298"/>
                    </a:lnTo>
                    <a:lnTo>
                      <a:pt x="442" y="298"/>
                    </a:lnTo>
                    <a:lnTo>
                      <a:pt x="442" y="298"/>
                    </a:lnTo>
                    <a:close/>
                    <a:moveTo>
                      <a:pt x="551" y="298"/>
                    </a:moveTo>
                    <a:lnTo>
                      <a:pt x="546" y="298"/>
                    </a:lnTo>
                    <a:lnTo>
                      <a:pt x="546" y="298"/>
                    </a:lnTo>
                    <a:lnTo>
                      <a:pt x="544" y="298"/>
                    </a:lnTo>
                    <a:lnTo>
                      <a:pt x="544" y="298"/>
                    </a:lnTo>
                    <a:lnTo>
                      <a:pt x="541" y="298"/>
                    </a:lnTo>
                    <a:lnTo>
                      <a:pt x="541" y="298"/>
                    </a:lnTo>
                    <a:lnTo>
                      <a:pt x="539" y="300"/>
                    </a:lnTo>
                    <a:lnTo>
                      <a:pt x="541" y="300"/>
                    </a:lnTo>
                    <a:lnTo>
                      <a:pt x="539" y="303"/>
                    </a:lnTo>
                    <a:lnTo>
                      <a:pt x="539" y="303"/>
                    </a:lnTo>
                    <a:lnTo>
                      <a:pt x="541" y="303"/>
                    </a:lnTo>
                    <a:lnTo>
                      <a:pt x="553" y="303"/>
                    </a:lnTo>
                    <a:lnTo>
                      <a:pt x="553" y="300"/>
                    </a:lnTo>
                    <a:lnTo>
                      <a:pt x="553" y="298"/>
                    </a:lnTo>
                    <a:lnTo>
                      <a:pt x="553" y="298"/>
                    </a:lnTo>
                    <a:lnTo>
                      <a:pt x="551" y="298"/>
                    </a:lnTo>
                    <a:close/>
                    <a:moveTo>
                      <a:pt x="608" y="298"/>
                    </a:moveTo>
                    <a:lnTo>
                      <a:pt x="603" y="295"/>
                    </a:lnTo>
                    <a:lnTo>
                      <a:pt x="603" y="298"/>
                    </a:lnTo>
                    <a:lnTo>
                      <a:pt x="603" y="298"/>
                    </a:lnTo>
                    <a:lnTo>
                      <a:pt x="608" y="300"/>
                    </a:lnTo>
                    <a:lnTo>
                      <a:pt x="610" y="298"/>
                    </a:lnTo>
                    <a:lnTo>
                      <a:pt x="610" y="298"/>
                    </a:lnTo>
                    <a:lnTo>
                      <a:pt x="608" y="298"/>
                    </a:lnTo>
                    <a:close/>
                    <a:moveTo>
                      <a:pt x="508" y="307"/>
                    </a:moveTo>
                    <a:lnTo>
                      <a:pt x="511" y="307"/>
                    </a:lnTo>
                    <a:lnTo>
                      <a:pt x="511" y="305"/>
                    </a:lnTo>
                    <a:lnTo>
                      <a:pt x="511" y="305"/>
                    </a:lnTo>
                    <a:lnTo>
                      <a:pt x="513" y="303"/>
                    </a:lnTo>
                    <a:lnTo>
                      <a:pt x="513" y="303"/>
                    </a:lnTo>
                    <a:lnTo>
                      <a:pt x="513" y="303"/>
                    </a:lnTo>
                    <a:lnTo>
                      <a:pt x="513" y="300"/>
                    </a:lnTo>
                    <a:lnTo>
                      <a:pt x="513" y="298"/>
                    </a:lnTo>
                    <a:lnTo>
                      <a:pt x="513" y="295"/>
                    </a:lnTo>
                    <a:lnTo>
                      <a:pt x="511" y="295"/>
                    </a:lnTo>
                    <a:lnTo>
                      <a:pt x="511" y="298"/>
                    </a:lnTo>
                    <a:lnTo>
                      <a:pt x="511" y="298"/>
                    </a:lnTo>
                    <a:lnTo>
                      <a:pt x="513" y="298"/>
                    </a:lnTo>
                    <a:lnTo>
                      <a:pt x="511" y="300"/>
                    </a:lnTo>
                    <a:lnTo>
                      <a:pt x="508" y="303"/>
                    </a:lnTo>
                    <a:lnTo>
                      <a:pt x="506" y="303"/>
                    </a:lnTo>
                    <a:lnTo>
                      <a:pt x="506" y="303"/>
                    </a:lnTo>
                    <a:lnTo>
                      <a:pt x="504" y="305"/>
                    </a:lnTo>
                    <a:lnTo>
                      <a:pt x="504" y="305"/>
                    </a:lnTo>
                    <a:lnTo>
                      <a:pt x="504" y="307"/>
                    </a:lnTo>
                    <a:lnTo>
                      <a:pt x="504" y="307"/>
                    </a:lnTo>
                    <a:lnTo>
                      <a:pt x="501" y="307"/>
                    </a:lnTo>
                    <a:lnTo>
                      <a:pt x="499" y="307"/>
                    </a:lnTo>
                    <a:lnTo>
                      <a:pt x="497" y="305"/>
                    </a:lnTo>
                    <a:lnTo>
                      <a:pt x="497" y="305"/>
                    </a:lnTo>
                    <a:lnTo>
                      <a:pt x="494" y="305"/>
                    </a:lnTo>
                    <a:lnTo>
                      <a:pt x="494" y="305"/>
                    </a:lnTo>
                    <a:lnTo>
                      <a:pt x="492" y="305"/>
                    </a:lnTo>
                    <a:lnTo>
                      <a:pt x="489" y="305"/>
                    </a:lnTo>
                    <a:lnTo>
                      <a:pt x="489" y="305"/>
                    </a:lnTo>
                    <a:lnTo>
                      <a:pt x="487" y="305"/>
                    </a:lnTo>
                    <a:lnTo>
                      <a:pt x="487" y="307"/>
                    </a:lnTo>
                    <a:lnTo>
                      <a:pt x="485" y="307"/>
                    </a:lnTo>
                    <a:lnTo>
                      <a:pt x="485" y="307"/>
                    </a:lnTo>
                    <a:lnTo>
                      <a:pt x="482" y="305"/>
                    </a:lnTo>
                    <a:lnTo>
                      <a:pt x="482" y="305"/>
                    </a:lnTo>
                    <a:lnTo>
                      <a:pt x="478" y="303"/>
                    </a:lnTo>
                    <a:lnTo>
                      <a:pt x="478" y="303"/>
                    </a:lnTo>
                    <a:lnTo>
                      <a:pt x="475" y="300"/>
                    </a:lnTo>
                    <a:lnTo>
                      <a:pt x="473" y="300"/>
                    </a:lnTo>
                    <a:lnTo>
                      <a:pt x="471" y="300"/>
                    </a:lnTo>
                    <a:lnTo>
                      <a:pt x="471" y="300"/>
                    </a:lnTo>
                    <a:lnTo>
                      <a:pt x="468" y="300"/>
                    </a:lnTo>
                    <a:lnTo>
                      <a:pt x="468" y="300"/>
                    </a:lnTo>
                    <a:lnTo>
                      <a:pt x="466" y="300"/>
                    </a:lnTo>
                    <a:lnTo>
                      <a:pt x="466" y="300"/>
                    </a:lnTo>
                    <a:lnTo>
                      <a:pt x="463" y="300"/>
                    </a:lnTo>
                    <a:lnTo>
                      <a:pt x="461" y="303"/>
                    </a:lnTo>
                    <a:lnTo>
                      <a:pt x="456" y="303"/>
                    </a:lnTo>
                    <a:lnTo>
                      <a:pt x="456" y="303"/>
                    </a:lnTo>
                    <a:lnTo>
                      <a:pt x="456" y="303"/>
                    </a:lnTo>
                    <a:lnTo>
                      <a:pt x="456" y="305"/>
                    </a:lnTo>
                    <a:lnTo>
                      <a:pt x="454" y="305"/>
                    </a:lnTo>
                    <a:lnTo>
                      <a:pt x="454" y="307"/>
                    </a:lnTo>
                    <a:lnTo>
                      <a:pt x="454" y="307"/>
                    </a:lnTo>
                    <a:lnTo>
                      <a:pt x="454" y="310"/>
                    </a:lnTo>
                    <a:lnTo>
                      <a:pt x="454" y="310"/>
                    </a:lnTo>
                    <a:lnTo>
                      <a:pt x="456" y="312"/>
                    </a:lnTo>
                    <a:lnTo>
                      <a:pt x="456" y="312"/>
                    </a:lnTo>
                    <a:lnTo>
                      <a:pt x="459" y="312"/>
                    </a:lnTo>
                    <a:lnTo>
                      <a:pt x="459" y="310"/>
                    </a:lnTo>
                    <a:lnTo>
                      <a:pt x="463" y="312"/>
                    </a:lnTo>
                    <a:lnTo>
                      <a:pt x="468" y="312"/>
                    </a:lnTo>
                    <a:lnTo>
                      <a:pt x="473" y="312"/>
                    </a:lnTo>
                    <a:lnTo>
                      <a:pt x="475" y="314"/>
                    </a:lnTo>
                    <a:lnTo>
                      <a:pt x="478" y="314"/>
                    </a:lnTo>
                    <a:lnTo>
                      <a:pt x="478" y="314"/>
                    </a:lnTo>
                    <a:lnTo>
                      <a:pt x="478" y="314"/>
                    </a:lnTo>
                    <a:lnTo>
                      <a:pt x="480" y="312"/>
                    </a:lnTo>
                    <a:lnTo>
                      <a:pt x="482" y="314"/>
                    </a:lnTo>
                    <a:lnTo>
                      <a:pt x="485" y="312"/>
                    </a:lnTo>
                    <a:lnTo>
                      <a:pt x="485" y="312"/>
                    </a:lnTo>
                    <a:lnTo>
                      <a:pt x="487" y="312"/>
                    </a:lnTo>
                    <a:lnTo>
                      <a:pt x="487" y="312"/>
                    </a:lnTo>
                    <a:lnTo>
                      <a:pt x="487" y="312"/>
                    </a:lnTo>
                    <a:lnTo>
                      <a:pt x="489" y="312"/>
                    </a:lnTo>
                    <a:lnTo>
                      <a:pt x="492" y="312"/>
                    </a:lnTo>
                    <a:lnTo>
                      <a:pt x="497" y="310"/>
                    </a:lnTo>
                    <a:lnTo>
                      <a:pt x="499" y="310"/>
                    </a:lnTo>
                    <a:lnTo>
                      <a:pt x="501" y="310"/>
                    </a:lnTo>
                    <a:lnTo>
                      <a:pt x="504" y="310"/>
                    </a:lnTo>
                    <a:lnTo>
                      <a:pt x="504" y="310"/>
                    </a:lnTo>
                    <a:lnTo>
                      <a:pt x="506" y="310"/>
                    </a:lnTo>
                    <a:lnTo>
                      <a:pt x="506" y="307"/>
                    </a:lnTo>
                    <a:lnTo>
                      <a:pt x="508" y="307"/>
                    </a:lnTo>
                    <a:close/>
                    <a:moveTo>
                      <a:pt x="664" y="295"/>
                    </a:moveTo>
                    <a:lnTo>
                      <a:pt x="660" y="300"/>
                    </a:lnTo>
                    <a:lnTo>
                      <a:pt x="657" y="303"/>
                    </a:lnTo>
                    <a:lnTo>
                      <a:pt x="660" y="300"/>
                    </a:lnTo>
                    <a:lnTo>
                      <a:pt x="662" y="300"/>
                    </a:lnTo>
                    <a:lnTo>
                      <a:pt x="664" y="298"/>
                    </a:lnTo>
                    <a:lnTo>
                      <a:pt x="667" y="298"/>
                    </a:lnTo>
                    <a:lnTo>
                      <a:pt x="664" y="298"/>
                    </a:lnTo>
                    <a:lnTo>
                      <a:pt x="664" y="295"/>
                    </a:lnTo>
                    <a:close/>
                    <a:moveTo>
                      <a:pt x="435" y="310"/>
                    </a:moveTo>
                    <a:lnTo>
                      <a:pt x="435" y="310"/>
                    </a:lnTo>
                    <a:lnTo>
                      <a:pt x="435" y="310"/>
                    </a:lnTo>
                    <a:lnTo>
                      <a:pt x="437" y="310"/>
                    </a:lnTo>
                    <a:lnTo>
                      <a:pt x="437" y="310"/>
                    </a:lnTo>
                    <a:lnTo>
                      <a:pt x="437" y="310"/>
                    </a:lnTo>
                    <a:lnTo>
                      <a:pt x="440" y="310"/>
                    </a:lnTo>
                    <a:lnTo>
                      <a:pt x="440" y="310"/>
                    </a:lnTo>
                    <a:lnTo>
                      <a:pt x="440" y="310"/>
                    </a:lnTo>
                    <a:lnTo>
                      <a:pt x="442" y="307"/>
                    </a:lnTo>
                    <a:lnTo>
                      <a:pt x="442" y="307"/>
                    </a:lnTo>
                    <a:lnTo>
                      <a:pt x="440" y="307"/>
                    </a:lnTo>
                    <a:lnTo>
                      <a:pt x="440" y="305"/>
                    </a:lnTo>
                    <a:lnTo>
                      <a:pt x="440" y="305"/>
                    </a:lnTo>
                    <a:lnTo>
                      <a:pt x="440" y="300"/>
                    </a:lnTo>
                    <a:lnTo>
                      <a:pt x="437" y="300"/>
                    </a:lnTo>
                    <a:lnTo>
                      <a:pt x="437" y="300"/>
                    </a:lnTo>
                    <a:lnTo>
                      <a:pt x="435" y="300"/>
                    </a:lnTo>
                    <a:lnTo>
                      <a:pt x="435" y="300"/>
                    </a:lnTo>
                    <a:lnTo>
                      <a:pt x="435" y="303"/>
                    </a:lnTo>
                    <a:lnTo>
                      <a:pt x="433" y="303"/>
                    </a:lnTo>
                    <a:lnTo>
                      <a:pt x="433" y="300"/>
                    </a:lnTo>
                    <a:lnTo>
                      <a:pt x="433" y="300"/>
                    </a:lnTo>
                    <a:lnTo>
                      <a:pt x="430" y="300"/>
                    </a:lnTo>
                    <a:lnTo>
                      <a:pt x="430" y="300"/>
                    </a:lnTo>
                    <a:lnTo>
                      <a:pt x="428" y="300"/>
                    </a:lnTo>
                    <a:lnTo>
                      <a:pt x="428" y="303"/>
                    </a:lnTo>
                    <a:lnTo>
                      <a:pt x="426" y="303"/>
                    </a:lnTo>
                    <a:lnTo>
                      <a:pt x="426" y="300"/>
                    </a:lnTo>
                    <a:lnTo>
                      <a:pt x="426" y="300"/>
                    </a:lnTo>
                    <a:lnTo>
                      <a:pt x="423" y="298"/>
                    </a:lnTo>
                    <a:lnTo>
                      <a:pt x="423" y="298"/>
                    </a:lnTo>
                    <a:lnTo>
                      <a:pt x="421" y="295"/>
                    </a:lnTo>
                    <a:lnTo>
                      <a:pt x="418" y="295"/>
                    </a:lnTo>
                    <a:lnTo>
                      <a:pt x="416" y="298"/>
                    </a:lnTo>
                    <a:lnTo>
                      <a:pt x="416" y="298"/>
                    </a:lnTo>
                    <a:lnTo>
                      <a:pt x="416" y="300"/>
                    </a:lnTo>
                    <a:lnTo>
                      <a:pt x="418" y="303"/>
                    </a:lnTo>
                    <a:lnTo>
                      <a:pt x="421" y="305"/>
                    </a:lnTo>
                    <a:lnTo>
                      <a:pt x="421" y="305"/>
                    </a:lnTo>
                    <a:lnTo>
                      <a:pt x="421" y="305"/>
                    </a:lnTo>
                    <a:lnTo>
                      <a:pt x="423" y="305"/>
                    </a:lnTo>
                    <a:lnTo>
                      <a:pt x="423" y="305"/>
                    </a:lnTo>
                    <a:lnTo>
                      <a:pt x="426" y="307"/>
                    </a:lnTo>
                    <a:lnTo>
                      <a:pt x="423" y="307"/>
                    </a:lnTo>
                    <a:lnTo>
                      <a:pt x="423" y="307"/>
                    </a:lnTo>
                    <a:lnTo>
                      <a:pt x="421" y="310"/>
                    </a:lnTo>
                    <a:lnTo>
                      <a:pt x="418" y="310"/>
                    </a:lnTo>
                    <a:lnTo>
                      <a:pt x="416" y="310"/>
                    </a:lnTo>
                    <a:lnTo>
                      <a:pt x="416" y="307"/>
                    </a:lnTo>
                    <a:lnTo>
                      <a:pt x="414" y="305"/>
                    </a:lnTo>
                    <a:lnTo>
                      <a:pt x="414" y="305"/>
                    </a:lnTo>
                    <a:lnTo>
                      <a:pt x="414" y="305"/>
                    </a:lnTo>
                    <a:lnTo>
                      <a:pt x="414" y="303"/>
                    </a:lnTo>
                    <a:lnTo>
                      <a:pt x="411" y="303"/>
                    </a:lnTo>
                    <a:lnTo>
                      <a:pt x="409" y="303"/>
                    </a:lnTo>
                    <a:lnTo>
                      <a:pt x="407" y="303"/>
                    </a:lnTo>
                    <a:lnTo>
                      <a:pt x="404" y="303"/>
                    </a:lnTo>
                    <a:lnTo>
                      <a:pt x="404" y="303"/>
                    </a:lnTo>
                    <a:lnTo>
                      <a:pt x="402" y="305"/>
                    </a:lnTo>
                    <a:lnTo>
                      <a:pt x="400" y="305"/>
                    </a:lnTo>
                    <a:lnTo>
                      <a:pt x="400" y="305"/>
                    </a:lnTo>
                    <a:lnTo>
                      <a:pt x="397" y="307"/>
                    </a:lnTo>
                    <a:lnTo>
                      <a:pt x="397" y="307"/>
                    </a:lnTo>
                    <a:lnTo>
                      <a:pt x="397" y="312"/>
                    </a:lnTo>
                    <a:lnTo>
                      <a:pt x="397" y="312"/>
                    </a:lnTo>
                    <a:lnTo>
                      <a:pt x="397" y="314"/>
                    </a:lnTo>
                    <a:lnTo>
                      <a:pt x="397" y="314"/>
                    </a:lnTo>
                    <a:lnTo>
                      <a:pt x="400" y="317"/>
                    </a:lnTo>
                    <a:lnTo>
                      <a:pt x="400" y="317"/>
                    </a:lnTo>
                    <a:lnTo>
                      <a:pt x="402" y="317"/>
                    </a:lnTo>
                    <a:lnTo>
                      <a:pt x="404" y="317"/>
                    </a:lnTo>
                    <a:lnTo>
                      <a:pt x="404" y="317"/>
                    </a:lnTo>
                    <a:lnTo>
                      <a:pt x="407" y="317"/>
                    </a:lnTo>
                    <a:lnTo>
                      <a:pt x="407" y="317"/>
                    </a:lnTo>
                    <a:lnTo>
                      <a:pt x="409" y="317"/>
                    </a:lnTo>
                    <a:lnTo>
                      <a:pt x="411" y="314"/>
                    </a:lnTo>
                    <a:lnTo>
                      <a:pt x="416" y="314"/>
                    </a:lnTo>
                    <a:lnTo>
                      <a:pt x="416" y="314"/>
                    </a:lnTo>
                    <a:lnTo>
                      <a:pt x="418" y="314"/>
                    </a:lnTo>
                    <a:lnTo>
                      <a:pt x="421" y="312"/>
                    </a:lnTo>
                    <a:lnTo>
                      <a:pt x="423" y="312"/>
                    </a:lnTo>
                    <a:lnTo>
                      <a:pt x="423" y="312"/>
                    </a:lnTo>
                    <a:lnTo>
                      <a:pt x="426" y="312"/>
                    </a:lnTo>
                    <a:lnTo>
                      <a:pt x="428" y="307"/>
                    </a:lnTo>
                    <a:lnTo>
                      <a:pt x="428" y="310"/>
                    </a:lnTo>
                    <a:lnTo>
                      <a:pt x="428" y="312"/>
                    </a:lnTo>
                    <a:lnTo>
                      <a:pt x="428" y="312"/>
                    </a:lnTo>
                    <a:lnTo>
                      <a:pt x="428" y="312"/>
                    </a:lnTo>
                    <a:lnTo>
                      <a:pt x="433" y="312"/>
                    </a:lnTo>
                    <a:lnTo>
                      <a:pt x="433" y="312"/>
                    </a:lnTo>
                    <a:lnTo>
                      <a:pt x="435" y="312"/>
                    </a:lnTo>
                    <a:lnTo>
                      <a:pt x="435" y="312"/>
                    </a:lnTo>
                    <a:lnTo>
                      <a:pt x="435" y="312"/>
                    </a:lnTo>
                    <a:lnTo>
                      <a:pt x="435" y="312"/>
                    </a:lnTo>
                    <a:lnTo>
                      <a:pt x="435" y="310"/>
                    </a:lnTo>
                    <a:close/>
                    <a:moveTo>
                      <a:pt x="376" y="298"/>
                    </a:moveTo>
                    <a:lnTo>
                      <a:pt x="374" y="298"/>
                    </a:lnTo>
                    <a:lnTo>
                      <a:pt x="371" y="295"/>
                    </a:lnTo>
                    <a:lnTo>
                      <a:pt x="369" y="295"/>
                    </a:lnTo>
                    <a:lnTo>
                      <a:pt x="369" y="295"/>
                    </a:lnTo>
                    <a:lnTo>
                      <a:pt x="366" y="298"/>
                    </a:lnTo>
                    <a:lnTo>
                      <a:pt x="364" y="298"/>
                    </a:lnTo>
                    <a:lnTo>
                      <a:pt x="362" y="298"/>
                    </a:lnTo>
                    <a:lnTo>
                      <a:pt x="359" y="298"/>
                    </a:lnTo>
                    <a:lnTo>
                      <a:pt x="357" y="295"/>
                    </a:lnTo>
                    <a:lnTo>
                      <a:pt x="355" y="298"/>
                    </a:lnTo>
                    <a:lnTo>
                      <a:pt x="355" y="298"/>
                    </a:lnTo>
                    <a:lnTo>
                      <a:pt x="355" y="298"/>
                    </a:lnTo>
                    <a:lnTo>
                      <a:pt x="357" y="300"/>
                    </a:lnTo>
                    <a:lnTo>
                      <a:pt x="357" y="303"/>
                    </a:lnTo>
                    <a:lnTo>
                      <a:pt x="357" y="303"/>
                    </a:lnTo>
                    <a:lnTo>
                      <a:pt x="359" y="303"/>
                    </a:lnTo>
                    <a:lnTo>
                      <a:pt x="362" y="303"/>
                    </a:lnTo>
                    <a:lnTo>
                      <a:pt x="364" y="305"/>
                    </a:lnTo>
                    <a:lnTo>
                      <a:pt x="366" y="307"/>
                    </a:lnTo>
                    <a:lnTo>
                      <a:pt x="366" y="307"/>
                    </a:lnTo>
                    <a:lnTo>
                      <a:pt x="366" y="310"/>
                    </a:lnTo>
                    <a:lnTo>
                      <a:pt x="366" y="310"/>
                    </a:lnTo>
                    <a:lnTo>
                      <a:pt x="366" y="312"/>
                    </a:lnTo>
                    <a:lnTo>
                      <a:pt x="366" y="312"/>
                    </a:lnTo>
                    <a:lnTo>
                      <a:pt x="369" y="312"/>
                    </a:lnTo>
                    <a:lnTo>
                      <a:pt x="369" y="312"/>
                    </a:lnTo>
                    <a:lnTo>
                      <a:pt x="369" y="312"/>
                    </a:lnTo>
                    <a:lnTo>
                      <a:pt x="369" y="310"/>
                    </a:lnTo>
                    <a:lnTo>
                      <a:pt x="371" y="307"/>
                    </a:lnTo>
                    <a:lnTo>
                      <a:pt x="371" y="307"/>
                    </a:lnTo>
                    <a:lnTo>
                      <a:pt x="376" y="305"/>
                    </a:lnTo>
                    <a:lnTo>
                      <a:pt x="378" y="303"/>
                    </a:lnTo>
                    <a:lnTo>
                      <a:pt x="378" y="303"/>
                    </a:lnTo>
                    <a:lnTo>
                      <a:pt x="378" y="303"/>
                    </a:lnTo>
                    <a:lnTo>
                      <a:pt x="376" y="298"/>
                    </a:lnTo>
                    <a:close/>
                    <a:moveTo>
                      <a:pt x="638" y="291"/>
                    </a:moveTo>
                    <a:lnTo>
                      <a:pt x="638" y="291"/>
                    </a:lnTo>
                    <a:lnTo>
                      <a:pt x="638" y="291"/>
                    </a:lnTo>
                    <a:lnTo>
                      <a:pt x="636" y="293"/>
                    </a:lnTo>
                    <a:lnTo>
                      <a:pt x="638" y="295"/>
                    </a:lnTo>
                    <a:lnTo>
                      <a:pt x="641" y="295"/>
                    </a:lnTo>
                    <a:lnTo>
                      <a:pt x="641" y="293"/>
                    </a:lnTo>
                    <a:lnTo>
                      <a:pt x="641" y="291"/>
                    </a:lnTo>
                    <a:lnTo>
                      <a:pt x="641" y="291"/>
                    </a:lnTo>
                    <a:lnTo>
                      <a:pt x="638" y="291"/>
                    </a:lnTo>
                    <a:close/>
                    <a:moveTo>
                      <a:pt x="584" y="286"/>
                    </a:moveTo>
                    <a:lnTo>
                      <a:pt x="582" y="286"/>
                    </a:lnTo>
                    <a:lnTo>
                      <a:pt x="579" y="286"/>
                    </a:lnTo>
                    <a:lnTo>
                      <a:pt x="577" y="288"/>
                    </a:lnTo>
                    <a:lnTo>
                      <a:pt x="575" y="288"/>
                    </a:lnTo>
                    <a:lnTo>
                      <a:pt x="572" y="288"/>
                    </a:lnTo>
                    <a:lnTo>
                      <a:pt x="570" y="286"/>
                    </a:lnTo>
                    <a:lnTo>
                      <a:pt x="568" y="291"/>
                    </a:lnTo>
                    <a:lnTo>
                      <a:pt x="568" y="291"/>
                    </a:lnTo>
                    <a:lnTo>
                      <a:pt x="568" y="293"/>
                    </a:lnTo>
                    <a:lnTo>
                      <a:pt x="568" y="293"/>
                    </a:lnTo>
                    <a:lnTo>
                      <a:pt x="570" y="293"/>
                    </a:lnTo>
                    <a:lnTo>
                      <a:pt x="572" y="291"/>
                    </a:lnTo>
                    <a:lnTo>
                      <a:pt x="572" y="291"/>
                    </a:lnTo>
                    <a:lnTo>
                      <a:pt x="575" y="293"/>
                    </a:lnTo>
                    <a:lnTo>
                      <a:pt x="577" y="293"/>
                    </a:lnTo>
                    <a:lnTo>
                      <a:pt x="579" y="293"/>
                    </a:lnTo>
                    <a:lnTo>
                      <a:pt x="579" y="291"/>
                    </a:lnTo>
                    <a:lnTo>
                      <a:pt x="582" y="291"/>
                    </a:lnTo>
                    <a:lnTo>
                      <a:pt x="584" y="288"/>
                    </a:lnTo>
                    <a:lnTo>
                      <a:pt x="586" y="288"/>
                    </a:lnTo>
                    <a:lnTo>
                      <a:pt x="586" y="288"/>
                    </a:lnTo>
                    <a:lnTo>
                      <a:pt x="586" y="286"/>
                    </a:lnTo>
                    <a:lnTo>
                      <a:pt x="584" y="286"/>
                    </a:lnTo>
                    <a:close/>
                    <a:moveTo>
                      <a:pt x="596" y="286"/>
                    </a:moveTo>
                    <a:lnTo>
                      <a:pt x="596" y="286"/>
                    </a:lnTo>
                    <a:lnTo>
                      <a:pt x="598" y="286"/>
                    </a:lnTo>
                    <a:lnTo>
                      <a:pt x="598" y="286"/>
                    </a:lnTo>
                    <a:lnTo>
                      <a:pt x="598" y="286"/>
                    </a:lnTo>
                    <a:lnTo>
                      <a:pt x="598" y="284"/>
                    </a:lnTo>
                    <a:lnTo>
                      <a:pt x="596" y="284"/>
                    </a:lnTo>
                    <a:lnTo>
                      <a:pt x="596" y="286"/>
                    </a:lnTo>
                    <a:close/>
                    <a:moveTo>
                      <a:pt x="809" y="295"/>
                    </a:moveTo>
                    <a:lnTo>
                      <a:pt x="811" y="291"/>
                    </a:lnTo>
                    <a:lnTo>
                      <a:pt x="811" y="288"/>
                    </a:lnTo>
                    <a:lnTo>
                      <a:pt x="811" y="286"/>
                    </a:lnTo>
                    <a:lnTo>
                      <a:pt x="811" y="284"/>
                    </a:lnTo>
                    <a:lnTo>
                      <a:pt x="809" y="281"/>
                    </a:lnTo>
                    <a:lnTo>
                      <a:pt x="809" y="281"/>
                    </a:lnTo>
                    <a:lnTo>
                      <a:pt x="804" y="281"/>
                    </a:lnTo>
                    <a:lnTo>
                      <a:pt x="799" y="281"/>
                    </a:lnTo>
                    <a:lnTo>
                      <a:pt x="797" y="284"/>
                    </a:lnTo>
                    <a:lnTo>
                      <a:pt x="795" y="286"/>
                    </a:lnTo>
                    <a:lnTo>
                      <a:pt x="795" y="286"/>
                    </a:lnTo>
                    <a:lnTo>
                      <a:pt x="790" y="293"/>
                    </a:lnTo>
                    <a:lnTo>
                      <a:pt x="788" y="300"/>
                    </a:lnTo>
                    <a:lnTo>
                      <a:pt x="785" y="303"/>
                    </a:lnTo>
                    <a:lnTo>
                      <a:pt x="788" y="303"/>
                    </a:lnTo>
                    <a:lnTo>
                      <a:pt x="790" y="303"/>
                    </a:lnTo>
                    <a:lnTo>
                      <a:pt x="792" y="303"/>
                    </a:lnTo>
                    <a:lnTo>
                      <a:pt x="799" y="303"/>
                    </a:lnTo>
                    <a:lnTo>
                      <a:pt x="804" y="300"/>
                    </a:lnTo>
                    <a:lnTo>
                      <a:pt x="804" y="298"/>
                    </a:lnTo>
                    <a:lnTo>
                      <a:pt x="809" y="295"/>
                    </a:lnTo>
                    <a:close/>
                    <a:moveTo>
                      <a:pt x="676" y="277"/>
                    </a:moveTo>
                    <a:lnTo>
                      <a:pt x="676" y="277"/>
                    </a:lnTo>
                    <a:lnTo>
                      <a:pt x="674" y="277"/>
                    </a:lnTo>
                    <a:lnTo>
                      <a:pt x="674" y="277"/>
                    </a:lnTo>
                    <a:lnTo>
                      <a:pt x="674" y="277"/>
                    </a:lnTo>
                    <a:lnTo>
                      <a:pt x="674" y="279"/>
                    </a:lnTo>
                    <a:lnTo>
                      <a:pt x="672" y="279"/>
                    </a:lnTo>
                    <a:lnTo>
                      <a:pt x="672" y="281"/>
                    </a:lnTo>
                    <a:lnTo>
                      <a:pt x="672" y="281"/>
                    </a:lnTo>
                    <a:lnTo>
                      <a:pt x="669" y="281"/>
                    </a:lnTo>
                    <a:lnTo>
                      <a:pt x="669" y="284"/>
                    </a:lnTo>
                    <a:lnTo>
                      <a:pt x="667" y="286"/>
                    </a:lnTo>
                    <a:lnTo>
                      <a:pt x="667" y="288"/>
                    </a:lnTo>
                    <a:lnTo>
                      <a:pt x="667" y="288"/>
                    </a:lnTo>
                    <a:lnTo>
                      <a:pt x="667" y="291"/>
                    </a:lnTo>
                    <a:lnTo>
                      <a:pt x="664" y="291"/>
                    </a:lnTo>
                    <a:lnTo>
                      <a:pt x="664" y="293"/>
                    </a:lnTo>
                    <a:lnTo>
                      <a:pt x="664" y="293"/>
                    </a:lnTo>
                    <a:lnTo>
                      <a:pt x="667" y="293"/>
                    </a:lnTo>
                    <a:lnTo>
                      <a:pt x="669" y="295"/>
                    </a:lnTo>
                    <a:lnTo>
                      <a:pt x="669" y="293"/>
                    </a:lnTo>
                    <a:lnTo>
                      <a:pt x="669" y="293"/>
                    </a:lnTo>
                    <a:lnTo>
                      <a:pt x="669" y="293"/>
                    </a:lnTo>
                    <a:lnTo>
                      <a:pt x="672" y="291"/>
                    </a:lnTo>
                    <a:lnTo>
                      <a:pt x="672" y="288"/>
                    </a:lnTo>
                    <a:lnTo>
                      <a:pt x="674" y="288"/>
                    </a:lnTo>
                    <a:lnTo>
                      <a:pt x="674" y="288"/>
                    </a:lnTo>
                    <a:lnTo>
                      <a:pt x="676" y="286"/>
                    </a:lnTo>
                    <a:lnTo>
                      <a:pt x="676" y="281"/>
                    </a:lnTo>
                    <a:lnTo>
                      <a:pt x="676" y="279"/>
                    </a:lnTo>
                    <a:lnTo>
                      <a:pt x="679" y="277"/>
                    </a:lnTo>
                    <a:lnTo>
                      <a:pt x="676" y="277"/>
                    </a:lnTo>
                    <a:close/>
                    <a:moveTo>
                      <a:pt x="679" y="277"/>
                    </a:moveTo>
                    <a:lnTo>
                      <a:pt x="679" y="277"/>
                    </a:lnTo>
                    <a:lnTo>
                      <a:pt x="679" y="277"/>
                    </a:lnTo>
                    <a:lnTo>
                      <a:pt x="681" y="277"/>
                    </a:lnTo>
                    <a:lnTo>
                      <a:pt x="681" y="279"/>
                    </a:lnTo>
                    <a:lnTo>
                      <a:pt x="683" y="279"/>
                    </a:lnTo>
                    <a:lnTo>
                      <a:pt x="683" y="277"/>
                    </a:lnTo>
                    <a:lnTo>
                      <a:pt x="681" y="274"/>
                    </a:lnTo>
                    <a:lnTo>
                      <a:pt x="679" y="277"/>
                    </a:lnTo>
                    <a:close/>
                    <a:moveTo>
                      <a:pt x="355" y="274"/>
                    </a:moveTo>
                    <a:lnTo>
                      <a:pt x="355" y="274"/>
                    </a:lnTo>
                    <a:lnTo>
                      <a:pt x="355" y="277"/>
                    </a:lnTo>
                    <a:lnTo>
                      <a:pt x="355" y="277"/>
                    </a:lnTo>
                    <a:lnTo>
                      <a:pt x="355" y="277"/>
                    </a:lnTo>
                    <a:lnTo>
                      <a:pt x="355" y="274"/>
                    </a:lnTo>
                    <a:lnTo>
                      <a:pt x="355" y="274"/>
                    </a:lnTo>
                    <a:lnTo>
                      <a:pt x="355" y="274"/>
                    </a:lnTo>
                    <a:close/>
                    <a:moveTo>
                      <a:pt x="620" y="274"/>
                    </a:moveTo>
                    <a:lnTo>
                      <a:pt x="620" y="274"/>
                    </a:lnTo>
                    <a:lnTo>
                      <a:pt x="620" y="277"/>
                    </a:lnTo>
                    <a:lnTo>
                      <a:pt x="620" y="277"/>
                    </a:lnTo>
                    <a:lnTo>
                      <a:pt x="620" y="277"/>
                    </a:lnTo>
                    <a:lnTo>
                      <a:pt x="622" y="277"/>
                    </a:lnTo>
                    <a:lnTo>
                      <a:pt x="622" y="277"/>
                    </a:lnTo>
                    <a:lnTo>
                      <a:pt x="622" y="277"/>
                    </a:lnTo>
                    <a:lnTo>
                      <a:pt x="622" y="274"/>
                    </a:lnTo>
                    <a:lnTo>
                      <a:pt x="620" y="274"/>
                    </a:lnTo>
                    <a:close/>
                    <a:moveTo>
                      <a:pt x="471" y="274"/>
                    </a:moveTo>
                    <a:lnTo>
                      <a:pt x="471" y="277"/>
                    </a:lnTo>
                    <a:lnTo>
                      <a:pt x="473" y="277"/>
                    </a:lnTo>
                    <a:lnTo>
                      <a:pt x="475" y="277"/>
                    </a:lnTo>
                    <a:lnTo>
                      <a:pt x="475" y="274"/>
                    </a:lnTo>
                    <a:lnTo>
                      <a:pt x="473" y="274"/>
                    </a:lnTo>
                    <a:lnTo>
                      <a:pt x="471" y="274"/>
                    </a:lnTo>
                    <a:close/>
                    <a:moveTo>
                      <a:pt x="331" y="277"/>
                    </a:moveTo>
                    <a:lnTo>
                      <a:pt x="331" y="279"/>
                    </a:lnTo>
                    <a:lnTo>
                      <a:pt x="331" y="277"/>
                    </a:lnTo>
                    <a:lnTo>
                      <a:pt x="333" y="277"/>
                    </a:lnTo>
                    <a:lnTo>
                      <a:pt x="333" y="277"/>
                    </a:lnTo>
                    <a:lnTo>
                      <a:pt x="338" y="277"/>
                    </a:lnTo>
                    <a:lnTo>
                      <a:pt x="340" y="277"/>
                    </a:lnTo>
                    <a:lnTo>
                      <a:pt x="343" y="277"/>
                    </a:lnTo>
                    <a:lnTo>
                      <a:pt x="345" y="277"/>
                    </a:lnTo>
                    <a:lnTo>
                      <a:pt x="345" y="274"/>
                    </a:lnTo>
                    <a:lnTo>
                      <a:pt x="345" y="274"/>
                    </a:lnTo>
                    <a:lnTo>
                      <a:pt x="350" y="272"/>
                    </a:lnTo>
                    <a:lnTo>
                      <a:pt x="350" y="272"/>
                    </a:lnTo>
                    <a:lnTo>
                      <a:pt x="348" y="269"/>
                    </a:lnTo>
                    <a:lnTo>
                      <a:pt x="331" y="269"/>
                    </a:lnTo>
                    <a:lnTo>
                      <a:pt x="326" y="272"/>
                    </a:lnTo>
                    <a:lnTo>
                      <a:pt x="326" y="274"/>
                    </a:lnTo>
                    <a:lnTo>
                      <a:pt x="324" y="274"/>
                    </a:lnTo>
                    <a:lnTo>
                      <a:pt x="324" y="277"/>
                    </a:lnTo>
                    <a:lnTo>
                      <a:pt x="331" y="277"/>
                    </a:lnTo>
                    <a:close/>
                    <a:moveTo>
                      <a:pt x="374" y="269"/>
                    </a:moveTo>
                    <a:lnTo>
                      <a:pt x="374" y="269"/>
                    </a:lnTo>
                    <a:lnTo>
                      <a:pt x="371" y="269"/>
                    </a:lnTo>
                    <a:lnTo>
                      <a:pt x="371" y="272"/>
                    </a:lnTo>
                    <a:lnTo>
                      <a:pt x="371" y="272"/>
                    </a:lnTo>
                    <a:lnTo>
                      <a:pt x="371" y="272"/>
                    </a:lnTo>
                    <a:lnTo>
                      <a:pt x="374" y="272"/>
                    </a:lnTo>
                    <a:lnTo>
                      <a:pt x="376" y="272"/>
                    </a:lnTo>
                    <a:lnTo>
                      <a:pt x="376" y="272"/>
                    </a:lnTo>
                    <a:lnTo>
                      <a:pt x="376" y="272"/>
                    </a:lnTo>
                    <a:lnTo>
                      <a:pt x="376" y="269"/>
                    </a:lnTo>
                    <a:lnTo>
                      <a:pt x="374" y="269"/>
                    </a:lnTo>
                    <a:close/>
                    <a:moveTo>
                      <a:pt x="733" y="265"/>
                    </a:moveTo>
                    <a:lnTo>
                      <a:pt x="733" y="267"/>
                    </a:lnTo>
                    <a:lnTo>
                      <a:pt x="733" y="267"/>
                    </a:lnTo>
                    <a:lnTo>
                      <a:pt x="733" y="267"/>
                    </a:lnTo>
                    <a:lnTo>
                      <a:pt x="733" y="267"/>
                    </a:lnTo>
                    <a:lnTo>
                      <a:pt x="735" y="267"/>
                    </a:lnTo>
                    <a:lnTo>
                      <a:pt x="735" y="265"/>
                    </a:lnTo>
                    <a:lnTo>
                      <a:pt x="733" y="265"/>
                    </a:lnTo>
                    <a:lnTo>
                      <a:pt x="733" y="265"/>
                    </a:lnTo>
                    <a:close/>
                    <a:moveTo>
                      <a:pt x="187" y="265"/>
                    </a:moveTo>
                    <a:lnTo>
                      <a:pt x="187" y="262"/>
                    </a:lnTo>
                    <a:lnTo>
                      <a:pt x="184" y="262"/>
                    </a:lnTo>
                    <a:lnTo>
                      <a:pt x="184" y="262"/>
                    </a:lnTo>
                    <a:lnTo>
                      <a:pt x="184" y="265"/>
                    </a:lnTo>
                    <a:lnTo>
                      <a:pt x="184" y="265"/>
                    </a:lnTo>
                    <a:lnTo>
                      <a:pt x="184" y="267"/>
                    </a:lnTo>
                    <a:lnTo>
                      <a:pt x="187" y="265"/>
                    </a:lnTo>
                    <a:lnTo>
                      <a:pt x="187" y="265"/>
                    </a:lnTo>
                    <a:close/>
                    <a:moveTo>
                      <a:pt x="733" y="262"/>
                    </a:moveTo>
                    <a:lnTo>
                      <a:pt x="733" y="265"/>
                    </a:lnTo>
                    <a:lnTo>
                      <a:pt x="735" y="265"/>
                    </a:lnTo>
                    <a:lnTo>
                      <a:pt x="735" y="262"/>
                    </a:lnTo>
                    <a:lnTo>
                      <a:pt x="733" y="262"/>
                    </a:lnTo>
                    <a:lnTo>
                      <a:pt x="733" y="262"/>
                    </a:lnTo>
                    <a:close/>
                    <a:moveTo>
                      <a:pt x="738" y="260"/>
                    </a:moveTo>
                    <a:lnTo>
                      <a:pt x="735" y="260"/>
                    </a:lnTo>
                    <a:lnTo>
                      <a:pt x="735" y="262"/>
                    </a:lnTo>
                    <a:lnTo>
                      <a:pt x="735" y="260"/>
                    </a:lnTo>
                    <a:lnTo>
                      <a:pt x="738" y="258"/>
                    </a:lnTo>
                    <a:lnTo>
                      <a:pt x="738" y="258"/>
                    </a:lnTo>
                    <a:lnTo>
                      <a:pt x="738" y="260"/>
                    </a:lnTo>
                    <a:close/>
                    <a:moveTo>
                      <a:pt x="728" y="258"/>
                    </a:moveTo>
                    <a:lnTo>
                      <a:pt x="726" y="258"/>
                    </a:lnTo>
                    <a:lnTo>
                      <a:pt x="724" y="255"/>
                    </a:lnTo>
                    <a:lnTo>
                      <a:pt x="724" y="255"/>
                    </a:lnTo>
                    <a:lnTo>
                      <a:pt x="724" y="258"/>
                    </a:lnTo>
                    <a:lnTo>
                      <a:pt x="724" y="260"/>
                    </a:lnTo>
                    <a:lnTo>
                      <a:pt x="724" y="262"/>
                    </a:lnTo>
                    <a:lnTo>
                      <a:pt x="724" y="262"/>
                    </a:lnTo>
                    <a:lnTo>
                      <a:pt x="724" y="262"/>
                    </a:lnTo>
                    <a:lnTo>
                      <a:pt x="724" y="262"/>
                    </a:lnTo>
                    <a:lnTo>
                      <a:pt x="721" y="267"/>
                    </a:lnTo>
                    <a:lnTo>
                      <a:pt x="721" y="269"/>
                    </a:lnTo>
                    <a:lnTo>
                      <a:pt x="724" y="272"/>
                    </a:lnTo>
                    <a:lnTo>
                      <a:pt x="726" y="269"/>
                    </a:lnTo>
                    <a:lnTo>
                      <a:pt x="728" y="269"/>
                    </a:lnTo>
                    <a:lnTo>
                      <a:pt x="728" y="267"/>
                    </a:lnTo>
                    <a:lnTo>
                      <a:pt x="731" y="265"/>
                    </a:lnTo>
                    <a:lnTo>
                      <a:pt x="731" y="262"/>
                    </a:lnTo>
                    <a:lnTo>
                      <a:pt x="731" y="262"/>
                    </a:lnTo>
                    <a:lnTo>
                      <a:pt x="728" y="260"/>
                    </a:lnTo>
                    <a:lnTo>
                      <a:pt x="728" y="258"/>
                    </a:lnTo>
                    <a:close/>
                    <a:moveTo>
                      <a:pt x="355" y="307"/>
                    </a:moveTo>
                    <a:lnTo>
                      <a:pt x="355" y="305"/>
                    </a:lnTo>
                    <a:lnTo>
                      <a:pt x="355" y="303"/>
                    </a:lnTo>
                    <a:lnTo>
                      <a:pt x="355" y="300"/>
                    </a:lnTo>
                    <a:lnTo>
                      <a:pt x="355" y="300"/>
                    </a:lnTo>
                    <a:lnTo>
                      <a:pt x="355" y="293"/>
                    </a:lnTo>
                    <a:lnTo>
                      <a:pt x="355" y="293"/>
                    </a:lnTo>
                    <a:lnTo>
                      <a:pt x="355" y="291"/>
                    </a:lnTo>
                    <a:lnTo>
                      <a:pt x="355" y="288"/>
                    </a:lnTo>
                    <a:lnTo>
                      <a:pt x="350" y="286"/>
                    </a:lnTo>
                    <a:lnTo>
                      <a:pt x="348" y="286"/>
                    </a:lnTo>
                    <a:lnTo>
                      <a:pt x="345" y="288"/>
                    </a:lnTo>
                    <a:lnTo>
                      <a:pt x="343" y="288"/>
                    </a:lnTo>
                    <a:lnTo>
                      <a:pt x="338" y="288"/>
                    </a:lnTo>
                    <a:lnTo>
                      <a:pt x="333" y="288"/>
                    </a:lnTo>
                    <a:lnTo>
                      <a:pt x="329" y="286"/>
                    </a:lnTo>
                    <a:lnTo>
                      <a:pt x="326" y="284"/>
                    </a:lnTo>
                    <a:lnTo>
                      <a:pt x="324" y="281"/>
                    </a:lnTo>
                    <a:lnTo>
                      <a:pt x="326" y="279"/>
                    </a:lnTo>
                    <a:lnTo>
                      <a:pt x="324" y="279"/>
                    </a:lnTo>
                    <a:lnTo>
                      <a:pt x="324" y="279"/>
                    </a:lnTo>
                    <a:lnTo>
                      <a:pt x="321" y="277"/>
                    </a:lnTo>
                    <a:lnTo>
                      <a:pt x="321" y="274"/>
                    </a:lnTo>
                    <a:lnTo>
                      <a:pt x="321" y="272"/>
                    </a:lnTo>
                    <a:lnTo>
                      <a:pt x="319" y="272"/>
                    </a:lnTo>
                    <a:lnTo>
                      <a:pt x="317" y="272"/>
                    </a:lnTo>
                    <a:lnTo>
                      <a:pt x="314" y="272"/>
                    </a:lnTo>
                    <a:lnTo>
                      <a:pt x="312" y="272"/>
                    </a:lnTo>
                    <a:lnTo>
                      <a:pt x="312" y="269"/>
                    </a:lnTo>
                    <a:lnTo>
                      <a:pt x="307" y="269"/>
                    </a:lnTo>
                    <a:lnTo>
                      <a:pt x="305" y="267"/>
                    </a:lnTo>
                    <a:lnTo>
                      <a:pt x="305" y="267"/>
                    </a:lnTo>
                    <a:lnTo>
                      <a:pt x="303" y="265"/>
                    </a:lnTo>
                    <a:lnTo>
                      <a:pt x="303" y="265"/>
                    </a:lnTo>
                    <a:lnTo>
                      <a:pt x="300" y="267"/>
                    </a:lnTo>
                    <a:lnTo>
                      <a:pt x="298" y="267"/>
                    </a:lnTo>
                    <a:lnTo>
                      <a:pt x="295" y="267"/>
                    </a:lnTo>
                    <a:lnTo>
                      <a:pt x="295" y="267"/>
                    </a:lnTo>
                    <a:lnTo>
                      <a:pt x="293" y="262"/>
                    </a:lnTo>
                    <a:lnTo>
                      <a:pt x="293" y="260"/>
                    </a:lnTo>
                    <a:lnTo>
                      <a:pt x="291" y="260"/>
                    </a:lnTo>
                    <a:lnTo>
                      <a:pt x="288" y="262"/>
                    </a:lnTo>
                    <a:lnTo>
                      <a:pt x="288" y="262"/>
                    </a:lnTo>
                    <a:lnTo>
                      <a:pt x="288" y="262"/>
                    </a:lnTo>
                    <a:lnTo>
                      <a:pt x="286" y="265"/>
                    </a:lnTo>
                    <a:lnTo>
                      <a:pt x="286" y="267"/>
                    </a:lnTo>
                    <a:lnTo>
                      <a:pt x="284" y="269"/>
                    </a:lnTo>
                    <a:lnTo>
                      <a:pt x="284" y="272"/>
                    </a:lnTo>
                    <a:lnTo>
                      <a:pt x="281" y="272"/>
                    </a:lnTo>
                    <a:lnTo>
                      <a:pt x="281" y="272"/>
                    </a:lnTo>
                    <a:lnTo>
                      <a:pt x="279" y="272"/>
                    </a:lnTo>
                    <a:lnTo>
                      <a:pt x="279" y="272"/>
                    </a:lnTo>
                    <a:lnTo>
                      <a:pt x="277" y="272"/>
                    </a:lnTo>
                    <a:lnTo>
                      <a:pt x="274" y="272"/>
                    </a:lnTo>
                    <a:lnTo>
                      <a:pt x="272" y="272"/>
                    </a:lnTo>
                    <a:lnTo>
                      <a:pt x="269" y="272"/>
                    </a:lnTo>
                    <a:lnTo>
                      <a:pt x="267" y="269"/>
                    </a:lnTo>
                    <a:lnTo>
                      <a:pt x="265" y="269"/>
                    </a:lnTo>
                    <a:lnTo>
                      <a:pt x="262" y="269"/>
                    </a:lnTo>
                    <a:lnTo>
                      <a:pt x="260" y="269"/>
                    </a:lnTo>
                    <a:lnTo>
                      <a:pt x="255" y="269"/>
                    </a:lnTo>
                    <a:lnTo>
                      <a:pt x="253" y="269"/>
                    </a:lnTo>
                    <a:lnTo>
                      <a:pt x="251" y="269"/>
                    </a:lnTo>
                    <a:lnTo>
                      <a:pt x="248" y="269"/>
                    </a:lnTo>
                    <a:lnTo>
                      <a:pt x="248" y="267"/>
                    </a:lnTo>
                    <a:lnTo>
                      <a:pt x="248" y="262"/>
                    </a:lnTo>
                    <a:lnTo>
                      <a:pt x="246" y="262"/>
                    </a:lnTo>
                    <a:lnTo>
                      <a:pt x="246" y="260"/>
                    </a:lnTo>
                    <a:lnTo>
                      <a:pt x="243" y="258"/>
                    </a:lnTo>
                    <a:lnTo>
                      <a:pt x="243" y="258"/>
                    </a:lnTo>
                    <a:lnTo>
                      <a:pt x="241" y="258"/>
                    </a:lnTo>
                    <a:lnTo>
                      <a:pt x="241" y="258"/>
                    </a:lnTo>
                    <a:lnTo>
                      <a:pt x="239" y="258"/>
                    </a:lnTo>
                    <a:lnTo>
                      <a:pt x="236" y="258"/>
                    </a:lnTo>
                    <a:lnTo>
                      <a:pt x="234" y="258"/>
                    </a:lnTo>
                    <a:lnTo>
                      <a:pt x="234" y="258"/>
                    </a:lnTo>
                    <a:lnTo>
                      <a:pt x="232" y="258"/>
                    </a:lnTo>
                    <a:lnTo>
                      <a:pt x="229" y="255"/>
                    </a:lnTo>
                    <a:lnTo>
                      <a:pt x="227" y="255"/>
                    </a:lnTo>
                    <a:lnTo>
                      <a:pt x="227" y="253"/>
                    </a:lnTo>
                    <a:lnTo>
                      <a:pt x="225" y="251"/>
                    </a:lnTo>
                    <a:lnTo>
                      <a:pt x="222" y="251"/>
                    </a:lnTo>
                    <a:lnTo>
                      <a:pt x="220" y="251"/>
                    </a:lnTo>
                    <a:lnTo>
                      <a:pt x="220" y="253"/>
                    </a:lnTo>
                    <a:lnTo>
                      <a:pt x="217" y="253"/>
                    </a:lnTo>
                    <a:lnTo>
                      <a:pt x="217" y="253"/>
                    </a:lnTo>
                    <a:lnTo>
                      <a:pt x="215" y="253"/>
                    </a:lnTo>
                    <a:lnTo>
                      <a:pt x="213" y="253"/>
                    </a:lnTo>
                    <a:lnTo>
                      <a:pt x="210" y="253"/>
                    </a:lnTo>
                    <a:lnTo>
                      <a:pt x="208" y="253"/>
                    </a:lnTo>
                    <a:lnTo>
                      <a:pt x="208" y="251"/>
                    </a:lnTo>
                    <a:lnTo>
                      <a:pt x="203" y="251"/>
                    </a:lnTo>
                    <a:lnTo>
                      <a:pt x="201" y="251"/>
                    </a:lnTo>
                    <a:lnTo>
                      <a:pt x="201" y="251"/>
                    </a:lnTo>
                    <a:lnTo>
                      <a:pt x="198" y="253"/>
                    </a:lnTo>
                    <a:lnTo>
                      <a:pt x="198" y="255"/>
                    </a:lnTo>
                    <a:lnTo>
                      <a:pt x="196" y="262"/>
                    </a:lnTo>
                    <a:lnTo>
                      <a:pt x="196" y="262"/>
                    </a:lnTo>
                    <a:lnTo>
                      <a:pt x="194" y="262"/>
                    </a:lnTo>
                    <a:lnTo>
                      <a:pt x="194" y="262"/>
                    </a:lnTo>
                    <a:lnTo>
                      <a:pt x="191" y="265"/>
                    </a:lnTo>
                    <a:lnTo>
                      <a:pt x="191" y="267"/>
                    </a:lnTo>
                    <a:lnTo>
                      <a:pt x="189" y="269"/>
                    </a:lnTo>
                    <a:lnTo>
                      <a:pt x="189" y="269"/>
                    </a:lnTo>
                    <a:lnTo>
                      <a:pt x="189" y="267"/>
                    </a:lnTo>
                    <a:lnTo>
                      <a:pt x="189" y="267"/>
                    </a:lnTo>
                    <a:lnTo>
                      <a:pt x="189" y="267"/>
                    </a:lnTo>
                    <a:lnTo>
                      <a:pt x="187" y="267"/>
                    </a:lnTo>
                    <a:lnTo>
                      <a:pt x="187" y="267"/>
                    </a:lnTo>
                    <a:lnTo>
                      <a:pt x="184" y="269"/>
                    </a:lnTo>
                    <a:lnTo>
                      <a:pt x="187" y="269"/>
                    </a:lnTo>
                    <a:lnTo>
                      <a:pt x="187" y="269"/>
                    </a:lnTo>
                    <a:lnTo>
                      <a:pt x="187" y="269"/>
                    </a:lnTo>
                    <a:lnTo>
                      <a:pt x="189" y="269"/>
                    </a:lnTo>
                    <a:lnTo>
                      <a:pt x="189" y="269"/>
                    </a:lnTo>
                    <a:lnTo>
                      <a:pt x="191" y="269"/>
                    </a:lnTo>
                    <a:lnTo>
                      <a:pt x="194" y="269"/>
                    </a:lnTo>
                    <a:lnTo>
                      <a:pt x="196" y="269"/>
                    </a:lnTo>
                    <a:lnTo>
                      <a:pt x="198" y="269"/>
                    </a:lnTo>
                    <a:lnTo>
                      <a:pt x="203" y="272"/>
                    </a:lnTo>
                    <a:lnTo>
                      <a:pt x="208" y="274"/>
                    </a:lnTo>
                    <a:lnTo>
                      <a:pt x="208" y="277"/>
                    </a:lnTo>
                    <a:lnTo>
                      <a:pt x="208" y="277"/>
                    </a:lnTo>
                    <a:lnTo>
                      <a:pt x="206" y="279"/>
                    </a:lnTo>
                    <a:lnTo>
                      <a:pt x="206" y="279"/>
                    </a:lnTo>
                    <a:lnTo>
                      <a:pt x="208" y="281"/>
                    </a:lnTo>
                    <a:lnTo>
                      <a:pt x="208" y="281"/>
                    </a:lnTo>
                    <a:lnTo>
                      <a:pt x="210" y="281"/>
                    </a:lnTo>
                    <a:lnTo>
                      <a:pt x="220" y="284"/>
                    </a:lnTo>
                    <a:lnTo>
                      <a:pt x="222" y="284"/>
                    </a:lnTo>
                    <a:lnTo>
                      <a:pt x="227" y="284"/>
                    </a:lnTo>
                    <a:lnTo>
                      <a:pt x="229" y="286"/>
                    </a:lnTo>
                    <a:lnTo>
                      <a:pt x="229" y="286"/>
                    </a:lnTo>
                    <a:lnTo>
                      <a:pt x="232" y="288"/>
                    </a:lnTo>
                    <a:lnTo>
                      <a:pt x="234" y="288"/>
                    </a:lnTo>
                    <a:lnTo>
                      <a:pt x="239" y="291"/>
                    </a:lnTo>
                    <a:lnTo>
                      <a:pt x="241" y="291"/>
                    </a:lnTo>
                    <a:lnTo>
                      <a:pt x="243" y="291"/>
                    </a:lnTo>
                    <a:lnTo>
                      <a:pt x="246" y="288"/>
                    </a:lnTo>
                    <a:lnTo>
                      <a:pt x="246" y="288"/>
                    </a:lnTo>
                    <a:lnTo>
                      <a:pt x="251" y="286"/>
                    </a:lnTo>
                    <a:lnTo>
                      <a:pt x="251" y="286"/>
                    </a:lnTo>
                    <a:lnTo>
                      <a:pt x="253" y="288"/>
                    </a:lnTo>
                    <a:lnTo>
                      <a:pt x="258" y="288"/>
                    </a:lnTo>
                    <a:lnTo>
                      <a:pt x="260" y="288"/>
                    </a:lnTo>
                    <a:lnTo>
                      <a:pt x="269" y="291"/>
                    </a:lnTo>
                    <a:lnTo>
                      <a:pt x="274" y="291"/>
                    </a:lnTo>
                    <a:lnTo>
                      <a:pt x="284" y="298"/>
                    </a:lnTo>
                    <a:lnTo>
                      <a:pt x="288" y="298"/>
                    </a:lnTo>
                    <a:lnTo>
                      <a:pt x="291" y="300"/>
                    </a:lnTo>
                    <a:lnTo>
                      <a:pt x="298" y="300"/>
                    </a:lnTo>
                    <a:lnTo>
                      <a:pt x="300" y="300"/>
                    </a:lnTo>
                    <a:lnTo>
                      <a:pt x="312" y="300"/>
                    </a:lnTo>
                    <a:lnTo>
                      <a:pt x="317" y="303"/>
                    </a:lnTo>
                    <a:lnTo>
                      <a:pt x="319" y="303"/>
                    </a:lnTo>
                    <a:lnTo>
                      <a:pt x="321" y="303"/>
                    </a:lnTo>
                    <a:lnTo>
                      <a:pt x="324" y="303"/>
                    </a:lnTo>
                    <a:lnTo>
                      <a:pt x="326" y="303"/>
                    </a:lnTo>
                    <a:lnTo>
                      <a:pt x="329" y="300"/>
                    </a:lnTo>
                    <a:lnTo>
                      <a:pt x="331" y="300"/>
                    </a:lnTo>
                    <a:lnTo>
                      <a:pt x="333" y="300"/>
                    </a:lnTo>
                    <a:lnTo>
                      <a:pt x="340" y="305"/>
                    </a:lnTo>
                    <a:lnTo>
                      <a:pt x="345" y="307"/>
                    </a:lnTo>
                    <a:lnTo>
                      <a:pt x="350" y="307"/>
                    </a:lnTo>
                    <a:lnTo>
                      <a:pt x="352" y="307"/>
                    </a:lnTo>
                    <a:lnTo>
                      <a:pt x="352" y="307"/>
                    </a:lnTo>
                    <a:lnTo>
                      <a:pt x="352" y="310"/>
                    </a:lnTo>
                    <a:lnTo>
                      <a:pt x="355" y="310"/>
                    </a:lnTo>
                    <a:lnTo>
                      <a:pt x="357" y="310"/>
                    </a:lnTo>
                    <a:lnTo>
                      <a:pt x="357" y="310"/>
                    </a:lnTo>
                    <a:lnTo>
                      <a:pt x="357" y="310"/>
                    </a:lnTo>
                    <a:lnTo>
                      <a:pt x="355" y="307"/>
                    </a:lnTo>
                    <a:close/>
                    <a:moveTo>
                      <a:pt x="534" y="251"/>
                    </a:moveTo>
                    <a:lnTo>
                      <a:pt x="537" y="251"/>
                    </a:lnTo>
                    <a:lnTo>
                      <a:pt x="537" y="253"/>
                    </a:lnTo>
                    <a:lnTo>
                      <a:pt x="537" y="251"/>
                    </a:lnTo>
                    <a:lnTo>
                      <a:pt x="537" y="251"/>
                    </a:lnTo>
                    <a:lnTo>
                      <a:pt x="534" y="251"/>
                    </a:lnTo>
                    <a:lnTo>
                      <a:pt x="534" y="251"/>
                    </a:lnTo>
                    <a:close/>
                    <a:moveTo>
                      <a:pt x="471" y="262"/>
                    </a:moveTo>
                    <a:lnTo>
                      <a:pt x="471" y="258"/>
                    </a:lnTo>
                    <a:lnTo>
                      <a:pt x="471" y="251"/>
                    </a:lnTo>
                    <a:lnTo>
                      <a:pt x="471" y="251"/>
                    </a:lnTo>
                    <a:lnTo>
                      <a:pt x="471" y="248"/>
                    </a:lnTo>
                    <a:lnTo>
                      <a:pt x="471" y="248"/>
                    </a:lnTo>
                    <a:lnTo>
                      <a:pt x="468" y="253"/>
                    </a:lnTo>
                    <a:lnTo>
                      <a:pt x="468" y="255"/>
                    </a:lnTo>
                    <a:lnTo>
                      <a:pt x="468" y="258"/>
                    </a:lnTo>
                    <a:lnTo>
                      <a:pt x="468" y="260"/>
                    </a:lnTo>
                    <a:lnTo>
                      <a:pt x="471" y="262"/>
                    </a:lnTo>
                    <a:close/>
                    <a:moveTo>
                      <a:pt x="326" y="246"/>
                    </a:moveTo>
                    <a:lnTo>
                      <a:pt x="326" y="246"/>
                    </a:lnTo>
                    <a:lnTo>
                      <a:pt x="324" y="246"/>
                    </a:lnTo>
                    <a:lnTo>
                      <a:pt x="324" y="248"/>
                    </a:lnTo>
                    <a:lnTo>
                      <a:pt x="324" y="248"/>
                    </a:lnTo>
                    <a:lnTo>
                      <a:pt x="326" y="248"/>
                    </a:lnTo>
                    <a:lnTo>
                      <a:pt x="326" y="248"/>
                    </a:lnTo>
                    <a:lnTo>
                      <a:pt x="326" y="246"/>
                    </a:lnTo>
                    <a:close/>
                    <a:moveTo>
                      <a:pt x="698" y="243"/>
                    </a:moveTo>
                    <a:lnTo>
                      <a:pt x="698" y="243"/>
                    </a:lnTo>
                    <a:lnTo>
                      <a:pt x="698" y="243"/>
                    </a:lnTo>
                    <a:lnTo>
                      <a:pt x="698" y="246"/>
                    </a:lnTo>
                    <a:lnTo>
                      <a:pt x="698" y="248"/>
                    </a:lnTo>
                    <a:lnTo>
                      <a:pt x="698" y="251"/>
                    </a:lnTo>
                    <a:lnTo>
                      <a:pt x="698" y="251"/>
                    </a:lnTo>
                    <a:lnTo>
                      <a:pt x="698" y="251"/>
                    </a:lnTo>
                    <a:lnTo>
                      <a:pt x="700" y="248"/>
                    </a:lnTo>
                    <a:lnTo>
                      <a:pt x="700" y="248"/>
                    </a:lnTo>
                    <a:lnTo>
                      <a:pt x="698" y="246"/>
                    </a:lnTo>
                    <a:lnTo>
                      <a:pt x="698" y="243"/>
                    </a:lnTo>
                    <a:close/>
                    <a:moveTo>
                      <a:pt x="735" y="248"/>
                    </a:moveTo>
                    <a:lnTo>
                      <a:pt x="735" y="246"/>
                    </a:lnTo>
                    <a:lnTo>
                      <a:pt x="735" y="246"/>
                    </a:lnTo>
                    <a:lnTo>
                      <a:pt x="735" y="243"/>
                    </a:lnTo>
                    <a:lnTo>
                      <a:pt x="735" y="243"/>
                    </a:lnTo>
                    <a:lnTo>
                      <a:pt x="735" y="241"/>
                    </a:lnTo>
                    <a:lnTo>
                      <a:pt x="735" y="241"/>
                    </a:lnTo>
                    <a:lnTo>
                      <a:pt x="733" y="241"/>
                    </a:lnTo>
                    <a:lnTo>
                      <a:pt x="733" y="239"/>
                    </a:lnTo>
                    <a:lnTo>
                      <a:pt x="731" y="241"/>
                    </a:lnTo>
                    <a:lnTo>
                      <a:pt x="731" y="241"/>
                    </a:lnTo>
                    <a:lnTo>
                      <a:pt x="731" y="243"/>
                    </a:lnTo>
                    <a:lnTo>
                      <a:pt x="728" y="246"/>
                    </a:lnTo>
                    <a:lnTo>
                      <a:pt x="726" y="246"/>
                    </a:lnTo>
                    <a:lnTo>
                      <a:pt x="726" y="246"/>
                    </a:lnTo>
                    <a:lnTo>
                      <a:pt x="726" y="246"/>
                    </a:lnTo>
                    <a:lnTo>
                      <a:pt x="728" y="248"/>
                    </a:lnTo>
                    <a:lnTo>
                      <a:pt x="728" y="251"/>
                    </a:lnTo>
                    <a:lnTo>
                      <a:pt x="728" y="253"/>
                    </a:lnTo>
                    <a:lnTo>
                      <a:pt x="726" y="253"/>
                    </a:lnTo>
                    <a:lnTo>
                      <a:pt x="724" y="253"/>
                    </a:lnTo>
                    <a:lnTo>
                      <a:pt x="724" y="253"/>
                    </a:lnTo>
                    <a:lnTo>
                      <a:pt x="726" y="253"/>
                    </a:lnTo>
                    <a:lnTo>
                      <a:pt x="726" y="255"/>
                    </a:lnTo>
                    <a:lnTo>
                      <a:pt x="726" y="255"/>
                    </a:lnTo>
                    <a:lnTo>
                      <a:pt x="728" y="258"/>
                    </a:lnTo>
                    <a:lnTo>
                      <a:pt x="731" y="260"/>
                    </a:lnTo>
                    <a:lnTo>
                      <a:pt x="733" y="260"/>
                    </a:lnTo>
                    <a:lnTo>
                      <a:pt x="733" y="260"/>
                    </a:lnTo>
                    <a:lnTo>
                      <a:pt x="733" y="260"/>
                    </a:lnTo>
                    <a:lnTo>
                      <a:pt x="735" y="258"/>
                    </a:lnTo>
                    <a:lnTo>
                      <a:pt x="735" y="255"/>
                    </a:lnTo>
                    <a:lnTo>
                      <a:pt x="735" y="255"/>
                    </a:lnTo>
                    <a:lnTo>
                      <a:pt x="735" y="253"/>
                    </a:lnTo>
                    <a:lnTo>
                      <a:pt x="735" y="253"/>
                    </a:lnTo>
                    <a:lnTo>
                      <a:pt x="735" y="251"/>
                    </a:lnTo>
                    <a:lnTo>
                      <a:pt x="735" y="251"/>
                    </a:lnTo>
                    <a:lnTo>
                      <a:pt x="735" y="248"/>
                    </a:lnTo>
                    <a:close/>
                    <a:moveTo>
                      <a:pt x="707" y="236"/>
                    </a:moveTo>
                    <a:lnTo>
                      <a:pt x="705" y="243"/>
                    </a:lnTo>
                    <a:lnTo>
                      <a:pt x="702" y="246"/>
                    </a:lnTo>
                    <a:lnTo>
                      <a:pt x="702" y="248"/>
                    </a:lnTo>
                    <a:lnTo>
                      <a:pt x="700" y="251"/>
                    </a:lnTo>
                    <a:lnTo>
                      <a:pt x="702" y="251"/>
                    </a:lnTo>
                    <a:lnTo>
                      <a:pt x="702" y="246"/>
                    </a:lnTo>
                    <a:lnTo>
                      <a:pt x="705" y="243"/>
                    </a:lnTo>
                    <a:lnTo>
                      <a:pt x="707" y="239"/>
                    </a:lnTo>
                    <a:lnTo>
                      <a:pt x="707" y="239"/>
                    </a:lnTo>
                    <a:lnTo>
                      <a:pt x="707" y="236"/>
                    </a:lnTo>
                    <a:close/>
                    <a:moveTo>
                      <a:pt x="130" y="236"/>
                    </a:moveTo>
                    <a:lnTo>
                      <a:pt x="130" y="236"/>
                    </a:lnTo>
                    <a:lnTo>
                      <a:pt x="128" y="239"/>
                    </a:lnTo>
                    <a:lnTo>
                      <a:pt x="130" y="239"/>
                    </a:lnTo>
                    <a:lnTo>
                      <a:pt x="132" y="241"/>
                    </a:lnTo>
                    <a:lnTo>
                      <a:pt x="132" y="241"/>
                    </a:lnTo>
                    <a:lnTo>
                      <a:pt x="135" y="239"/>
                    </a:lnTo>
                    <a:lnTo>
                      <a:pt x="132" y="239"/>
                    </a:lnTo>
                    <a:lnTo>
                      <a:pt x="130" y="236"/>
                    </a:lnTo>
                    <a:close/>
                    <a:moveTo>
                      <a:pt x="527" y="236"/>
                    </a:moveTo>
                    <a:lnTo>
                      <a:pt x="527" y="236"/>
                    </a:lnTo>
                    <a:lnTo>
                      <a:pt x="527" y="239"/>
                    </a:lnTo>
                    <a:lnTo>
                      <a:pt x="527" y="239"/>
                    </a:lnTo>
                    <a:lnTo>
                      <a:pt x="530" y="239"/>
                    </a:lnTo>
                    <a:lnTo>
                      <a:pt x="530" y="236"/>
                    </a:lnTo>
                    <a:lnTo>
                      <a:pt x="527" y="236"/>
                    </a:lnTo>
                    <a:lnTo>
                      <a:pt x="527" y="236"/>
                    </a:lnTo>
                    <a:close/>
                    <a:moveTo>
                      <a:pt x="497" y="234"/>
                    </a:moveTo>
                    <a:lnTo>
                      <a:pt x="497" y="236"/>
                    </a:lnTo>
                    <a:lnTo>
                      <a:pt x="497" y="239"/>
                    </a:lnTo>
                    <a:lnTo>
                      <a:pt x="499" y="241"/>
                    </a:lnTo>
                    <a:lnTo>
                      <a:pt x="499" y="241"/>
                    </a:lnTo>
                    <a:lnTo>
                      <a:pt x="501" y="236"/>
                    </a:lnTo>
                    <a:lnTo>
                      <a:pt x="499" y="234"/>
                    </a:lnTo>
                    <a:lnTo>
                      <a:pt x="499" y="234"/>
                    </a:lnTo>
                    <a:lnTo>
                      <a:pt x="499" y="232"/>
                    </a:lnTo>
                    <a:lnTo>
                      <a:pt x="497" y="232"/>
                    </a:lnTo>
                    <a:lnTo>
                      <a:pt x="497" y="234"/>
                    </a:lnTo>
                    <a:lnTo>
                      <a:pt x="497" y="234"/>
                    </a:lnTo>
                    <a:lnTo>
                      <a:pt x="497" y="234"/>
                    </a:lnTo>
                    <a:lnTo>
                      <a:pt x="497" y="234"/>
                    </a:lnTo>
                    <a:close/>
                    <a:moveTo>
                      <a:pt x="504" y="239"/>
                    </a:moveTo>
                    <a:lnTo>
                      <a:pt x="504" y="239"/>
                    </a:lnTo>
                    <a:lnTo>
                      <a:pt x="506" y="239"/>
                    </a:lnTo>
                    <a:lnTo>
                      <a:pt x="506" y="239"/>
                    </a:lnTo>
                    <a:lnTo>
                      <a:pt x="508" y="239"/>
                    </a:lnTo>
                    <a:lnTo>
                      <a:pt x="508" y="239"/>
                    </a:lnTo>
                    <a:lnTo>
                      <a:pt x="508" y="239"/>
                    </a:lnTo>
                    <a:lnTo>
                      <a:pt x="511" y="239"/>
                    </a:lnTo>
                    <a:lnTo>
                      <a:pt x="511" y="236"/>
                    </a:lnTo>
                    <a:lnTo>
                      <a:pt x="511" y="234"/>
                    </a:lnTo>
                    <a:lnTo>
                      <a:pt x="513" y="229"/>
                    </a:lnTo>
                    <a:lnTo>
                      <a:pt x="513" y="224"/>
                    </a:lnTo>
                    <a:lnTo>
                      <a:pt x="513" y="222"/>
                    </a:lnTo>
                    <a:lnTo>
                      <a:pt x="513" y="222"/>
                    </a:lnTo>
                    <a:lnTo>
                      <a:pt x="508" y="224"/>
                    </a:lnTo>
                    <a:lnTo>
                      <a:pt x="506" y="227"/>
                    </a:lnTo>
                    <a:lnTo>
                      <a:pt x="506" y="227"/>
                    </a:lnTo>
                    <a:lnTo>
                      <a:pt x="506" y="232"/>
                    </a:lnTo>
                    <a:lnTo>
                      <a:pt x="506" y="232"/>
                    </a:lnTo>
                    <a:lnTo>
                      <a:pt x="506" y="234"/>
                    </a:lnTo>
                    <a:lnTo>
                      <a:pt x="504" y="239"/>
                    </a:lnTo>
                    <a:close/>
                    <a:moveTo>
                      <a:pt x="518" y="229"/>
                    </a:moveTo>
                    <a:lnTo>
                      <a:pt x="518" y="227"/>
                    </a:lnTo>
                    <a:lnTo>
                      <a:pt x="520" y="224"/>
                    </a:lnTo>
                    <a:lnTo>
                      <a:pt x="520" y="224"/>
                    </a:lnTo>
                    <a:lnTo>
                      <a:pt x="520" y="224"/>
                    </a:lnTo>
                    <a:lnTo>
                      <a:pt x="520" y="224"/>
                    </a:lnTo>
                    <a:lnTo>
                      <a:pt x="520" y="224"/>
                    </a:lnTo>
                    <a:lnTo>
                      <a:pt x="523" y="227"/>
                    </a:lnTo>
                    <a:lnTo>
                      <a:pt x="523" y="227"/>
                    </a:lnTo>
                    <a:lnTo>
                      <a:pt x="523" y="222"/>
                    </a:lnTo>
                    <a:lnTo>
                      <a:pt x="520" y="220"/>
                    </a:lnTo>
                    <a:lnTo>
                      <a:pt x="520" y="217"/>
                    </a:lnTo>
                    <a:lnTo>
                      <a:pt x="520" y="217"/>
                    </a:lnTo>
                    <a:lnTo>
                      <a:pt x="518" y="220"/>
                    </a:lnTo>
                    <a:lnTo>
                      <a:pt x="515" y="222"/>
                    </a:lnTo>
                    <a:lnTo>
                      <a:pt x="515" y="227"/>
                    </a:lnTo>
                    <a:lnTo>
                      <a:pt x="515" y="229"/>
                    </a:lnTo>
                    <a:lnTo>
                      <a:pt x="515" y="232"/>
                    </a:lnTo>
                    <a:lnTo>
                      <a:pt x="513" y="232"/>
                    </a:lnTo>
                    <a:lnTo>
                      <a:pt x="513" y="234"/>
                    </a:lnTo>
                    <a:lnTo>
                      <a:pt x="513" y="236"/>
                    </a:lnTo>
                    <a:lnTo>
                      <a:pt x="513" y="236"/>
                    </a:lnTo>
                    <a:lnTo>
                      <a:pt x="511" y="239"/>
                    </a:lnTo>
                    <a:lnTo>
                      <a:pt x="511" y="239"/>
                    </a:lnTo>
                    <a:lnTo>
                      <a:pt x="511" y="239"/>
                    </a:lnTo>
                    <a:lnTo>
                      <a:pt x="511" y="241"/>
                    </a:lnTo>
                    <a:lnTo>
                      <a:pt x="511" y="243"/>
                    </a:lnTo>
                    <a:lnTo>
                      <a:pt x="511" y="246"/>
                    </a:lnTo>
                    <a:lnTo>
                      <a:pt x="511" y="246"/>
                    </a:lnTo>
                    <a:lnTo>
                      <a:pt x="513" y="243"/>
                    </a:lnTo>
                    <a:lnTo>
                      <a:pt x="513" y="246"/>
                    </a:lnTo>
                    <a:lnTo>
                      <a:pt x="515" y="243"/>
                    </a:lnTo>
                    <a:lnTo>
                      <a:pt x="515" y="241"/>
                    </a:lnTo>
                    <a:lnTo>
                      <a:pt x="515" y="241"/>
                    </a:lnTo>
                    <a:lnTo>
                      <a:pt x="515" y="241"/>
                    </a:lnTo>
                    <a:lnTo>
                      <a:pt x="518" y="239"/>
                    </a:lnTo>
                    <a:lnTo>
                      <a:pt x="518" y="239"/>
                    </a:lnTo>
                    <a:lnTo>
                      <a:pt x="518" y="239"/>
                    </a:lnTo>
                    <a:lnTo>
                      <a:pt x="520" y="239"/>
                    </a:lnTo>
                    <a:lnTo>
                      <a:pt x="520" y="239"/>
                    </a:lnTo>
                    <a:lnTo>
                      <a:pt x="523" y="236"/>
                    </a:lnTo>
                    <a:lnTo>
                      <a:pt x="520" y="236"/>
                    </a:lnTo>
                    <a:lnTo>
                      <a:pt x="518" y="234"/>
                    </a:lnTo>
                    <a:lnTo>
                      <a:pt x="518" y="234"/>
                    </a:lnTo>
                    <a:lnTo>
                      <a:pt x="518" y="234"/>
                    </a:lnTo>
                    <a:lnTo>
                      <a:pt x="518" y="234"/>
                    </a:lnTo>
                    <a:lnTo>
                      <a:pt x="518" y="229"/>
                    </a:lnTo>
                    <a:lnTo>
                      <a:pt x="518" y="229"/>
                    </a:lnTo>
                    <a:close/>
                    <a:moveTo>
                      <a:pt x="714" y="215"/>
                    </a:moveTo>
                    <a:lnTo>
                      <a:pt x="712" y="213"/>
                    </a:lnTo>
                    <a:lnTo>
                      <a:pt x="712" y="213"/>
                    </a:lnTo>
                    <a:lnTo>
                      <a:pt x="714" y="215"/>
                    </a:lnTo>
                    <a:lnTo>
                      <a:pt x="717" y="215"/>
                    </a:lnTo>
                    <a:lnTo>
                      <a:pt x="717" y="215"/>
                    </a:lnTo>
                    <a:lnTo>
                      <a:pt x="714" y="215"/>
                    </a:lnTo>
                    <a:close/>
                    <a:moveTo>
                      <a:pt x="523" y="210"/>
                    </a:moveTo>
                    <a:lnTo>
                      <a:pt x="523" y="210"/>
                    </a:lnTo>
                    <a:lnTo>
                      <a:pt x="520" y="210"/>
                    </a:lnTo>
                    <a:lnTo>
                      <a:pt x="518" y="210"/>
                    </a:lnTo>
                    <a:lnTo>
                      <a:pt x="518" y="210"/>
                    </a:lnTo>
                    <a:lnTo>
                      <a:pt x="518" y="213"/>
                    </a:lnTo>
                    <a:lnTo>
                      <a:pt x="520" y="215"/>
                    </a:lnTo>
                    <a:lnTo>
                      <a:pt x="520" y="215"/>
                    </a:lnTo>
                    <a:lnTo>
                      <a:pt x="523" y="213"/>
                    </a:lnTo>
                    <a:lnTo>
                      <a:pt x="523" y="210"/>
                    </a:lnTo>
                    <a:close/>
                    <a:moveTo>
                      <a:pt x="622" y="198"/>
                    </a:moveTo>
                    <a:lnTo>
                      <a:pt x="620" y="201"/>
                    </a:lnTo>
                    <a:lnTo>
                      <a:pt x="620" y="203"/>
                    </a:lnTo>
                    <a:lnTo>
                      <a:pt x="622" y="201"/>
                    </a:lnTo>
                    <a:lnTo>
                      <a:pt x="622" y="201"/>
                    </a:lnTo>
                    <a:lnTo>
                      <a:pt x="622" y="198"/>
                    </a:lnTo>
                    <a:close/>
                    <a:moveTo>
                      <a:pt x="617" y="198"/>
                    </a:moveTo>
                    <a:lnTo>
                      <a:pt x="615" y="201"/>
                    </a:lnTo>
                    <a:lnTo>
                      <a:pt x="612" y="201"/>
                    </a:lnTo>
                    <a:lnTo>
                      <a:pt x="610" y="203"/>
                    </a:lnTo>
                    <a:lnTo>
                      <a:pt x="610" y="203"/>
                    </a:lnTo>
                    <a:lnTo>
                      <a:pt x="610" y="203"/>
                    </a:lnTo>
                    <a:lnTo>
                      <a:pt x="612" y="206"/>
                    </a:lnTo>
                    <a:lnTo>
                      <a:pt x="612" y="203"/>
                    </a:lnTo>
                    <a:lnTo>
                      <a:pt x="615" y="203"/>
                    </a:lnTo>
                    <a:lnTo>
                      <a:pt x="615" y="203"/>
                    </a:lnTo>
                    <a:lnTo>
                      <a:pt x="615" y="203"/>
                    </a:lnTo>
                    <a:lnTo>
                      <a:pt x="615" y="203"/>
                    </a:lnTo>
                    <a:lnTo>
                      <a:pt x="615" y="203"/>
                    </a:lnTo>
                    <a:lnTo>
                      <a:pt x="617" y="203"/>
                    </a:lnTo>
                    <a:lnTo>
                      <a:pt x="617" y="203"/>
                    </a:lnTo>
                    <a:lnTo>
                      <a:pt x="617" y="201"/>
                    </a:lnTo>
                    <a:lnTo>
                      <a:pt x="617" y="201"/>
                    </a:lnTo>
                    <a:lnTo>
                      <a:pt x="617" y="201"/>
                    </a:lnTo>
                    <a:lnTo>
                      <a:pt x="620" y="198"/>
                    </a:lnTo>
                    <a:lnTo>
                      <a:pt x="617" y="198"/>
                    </a:lnTo>
                    <a:close/>
                    <a:moveTo>
                      <a:pt x="624" y="198"/>
                    </a:moveTo>
                    <a:lnTo>
                      <a:pt x="624" y="198"/>
                    </a:lnTo>
                    <a:lnTo>
                      <a:pt x="624" y="198"/>
                    </a:lnTo>
                    <a:lnTo>
                      <a:pt x="624" y="201"/>
                    </a:lnTo>
                    <a:lnTo>
                      <a:pt x="624" y="201"/>
                    </a:lnTo>
                    <a:lnTo>
                      <a:pt x="627" y="201"/>
                    </a:lnTo>
                    <a:lnTo>
                      <a:pt x="627" y="201"/>
                    </a:lnTo>
                    <a:lnTo>
                      <a:pt x="627" y="201"/>
                    </a:lnTo>
                    <a:lnTo>
                      <a:pt x="627" y="198"/>
                    </a:lnTo>
                    <a:lnTo>
                      <a:pt x="624" y="198"/>
                    </a:lnTo>
                    <a:close/>
                    <a:moveTo>
                      <a:pt x="395" y="201"/>
                    </a:moveTo>
                    <a:lnTo>
                      <a:pt x="395" y="201"/>
                    </a:lnTo>
                    <a:lnTo>
                      <a:pt x="397" y="198"/>
                    </a:lnTo>
                    <a:lnTo>
                      <a:pt x="397" y="196"/>
                    </a:lnTo>
                    <a:lnTo>
                      <a:pt x="397" y="198"/>
                    </a:lnTo>
                    <a:lnTo>
                      <a:pt x="395" y="201"/>
                    </a:lnTo>
                    <a:close/>
                    <a:moveTo>
                      <a:pt x="605" y="196"/>
                    </a:moveTo>
                    <a:lnTo>
                      <a:pt x="605" y="196"/>
                    </a:lnTo>
                    <a:lnTo>
                      <a:pt x="605" y="194"/>
                    </a:lnTo>
                    <a:lnTo>
                      <a:pt x="603" y="194"/>
                    </a:lnTo>
                    <a:lnTo>
                      <a:pt x="603" y="194"/>
                    </a:lnTo>
                    <a:lnTo>
                      <a:pt x="603" y="196"/>
                    </a:lnTo>
                    <a:lnTo>
                      <a:pt x="605" y="196"/>
                    </a:lnTo>
                    <a:close/>
                    <a:moveTo>
                      <a:pt x="395" y="203"/>
                    </a:moveTo>
                    <a:lnTo>
                      <a:pt x="395" y="201"/>
                    </a:lnTo>
                    <a:lnTo>
                      <a:pt x="395" y="198"/>
                    </a:lnTo>
                    <a:lnTo>
                      <a:pt x="395" y="198"/>
                    </a:lnTo>
                    <a:lnTo>
                      <a:pt x="395" y="196"/>
                    </a:lnTo>
                    <a:lnTo>
                      <a:pt x="395" y="194"/>
                    </a:lnTo>
                    <a:lnTo>
                      <a:pt x="392" y="194"/>
                    </a:lnTo>
                    <a:lnTo>
                      <a:pt x="390" y="196"/>
                    </a:lnTo>
                    <a:lnTo>
                      <a:pt x="390" y="198"/>
                    </a:lnTo>
                    <a:lnTo>
                      <a:pt x="390" y="201"/>
                    </a:lnTo>
                    <a:lnTo>
                      <a:pt x="390" y="203"/>
                    </a:lnTo>
                    <a:lnTo>
                      <a:pt x="390" y="206"/>
                    </a:lnTo>
                    <a:lnTo>
                      <a:pt x="390" y="210"/>
                    </a:lnTo>
                    <a:lnTo>
                      <a:pt x="390" y="210"/>
                    </a:lnTo>
                    <a:lnTo>
                      <a:pt x="395" y="208"/>
                    </a:lnTo>
                    <a:lnTo>
                      <a:pt x="395" y="206"/>
                    </a:lnTo>
                    <a:lnTo>
                      <a:pt x="395" y="206"/>
                    </a:lnTo>
                    <a:lnTo>
                      <a:pt x="395" y="203"/>
                    </a:lnTo>
                    <a:close/>
                    <a:moveTo>
                      <a:pt x="598" y="196"/>
                    </a:moveTo>
                    <a:lnTo>
                      <a:pt x="596" y="196"/>
                    </a:lnTo>
                    <a:lnTo>
                      <a:pt x="596" y="194"/>
                    </a:lnTo>
                    <a:lnTo>
                      <a:pt x="596" y="194"/>
                    </a:lnTo>
                    <a:lnTo>
                      <a:pt x="594" y="191"/>
                    </a:lnTo>
                    <a:lnTo>
                      <a:pt x="591" y="191"/>
                    </a:lnTo>
                    <a:lnTo>
                      <a:pt x="591" y="189"/>
                    </a:lnTo>
                    <a:lnTo>
                      <a:pt x="586" y="189"/>
                    </a:lnTo>
                    <a:lnTo>
                      <a:pt x="582" y="191"/>
                    </a:lnTo>
                    <a:lnTo>
                      <a:pt x="579" y="191"/>
                    </a:lnTo>
                    <a:lnTo>
                      <a:pt x="577" y="191"/>
                    </a:lnTo>
                    <a:lnTo>
                      <a:pt x="577" y="191"/>
                    </a:lnTo>
                    <a:lnTo>
                      <a:pt x="577" y="191"/>
                    </a:lnTo>
                    <a:lnTo>
                      <a:pt x="577" y="196"/>
                    </a:lnTo>
                    <a:lnTo>
                      <a:pt x="577" y="198"/>
                    </a:lnTo>
                    <a:lnTo>
                      <a:pt x="577" y="198"/>
                    </a:lnTo>
                    <a:lnTo>
                      <a:pt x="579" y="201"/>
                    </a:lnTo>
                    <a:lnTo>
                      <a:pt x="579" y="201"/>
                    </a:lnTo>
                    <a:lnTo>
                      <a:pt x="582" y="203"/>
                    </a:lnTo>
                    <a:lnTo>
                      <a:pt x="584" y="206"/>
                    </a:lnTo>
                    <a:lnTo>
                      <a:pt x="589" y="206"/>
                    </a:lnTo>
                    <a:lnTo>
                      <a:pt x="589" y="206"/>
                    </a:lnTo>
                    <a:lnTo>
                      <a:pt x="589" y="206"/>
                    </a:lnTo>
                    <a:lnTo>
                      <a:pt x="591" y="206"/>
                    </a:lnTo>
                    <a:lnTo>
                      <a:pt x="594" y="206"/>
                    </a:lnTo>
                    <a:lnTo>
                      <a:pt x="596" y="203"/>
                    </a:lnTo>
                    <a:lnTo>
                      <a:pt x="596" y="203"/>
                    </a:lnTo>
                    <a:lnTo>
                      <a:pt x="598" y="201"/>
                    </a:lnTo>
                    <a:lnTo>
                      <a:pt x="598" y="198"/>
                    </a:lnTo>
                    <a:lnTo>
                      <a:pt x="598" y="196"/>
                    </a:lnTo>
                    <a:lnTo>
                      <a:pt x="598" y="196"/>
                    </a:lnTo>
                    <a:close/>
                    <a:moveTo>
                      <a:pt x="612" y="187"/>
                    </a:moveTo>
                    <a:lnTo>
                      <a:pt x="612" y="187"/>
                    </a:lnTo>
                    <a:lnTo>
                      <a:pt x="610" y="189"/>
                    </a:lnTo>
                    <a:lnTo>
                      <a:pt x="610" y="189"/>
                    </a:lnTo>
                    <a:lnTo>
                      <a:pt x="612" y="189"/>
                    </a:lnTo>
                    <a:lnTo>
                      <a:pt x="612" y="187"/>
                    </a:lnTo>
                    <a:close/>
                    <a:moveTo>
                      <a:pt x="217" y="187"/>
                    </a:moveTo>
                    <a:lnTo>
                      <a:pt x="217" y="187"/>
                    </a:lnTo>
                    <a:lnTo>
                      <a:pt x="217" y="189"/>
                    </a:lnTo>
                    <a:lnTo>
                      <a:pt x="217" y="189"/>
                    </a:lnTo>
                    <a:lnTo>
                      <a:pt x="220" y="189"/>
                    </a:lnTo>
                    <a:lnTo>
                      <a:pt x="220" y="189"/>
                    </a:lnTo>
                    <a:lnTo>
                      <a:pt x="220" y="187"/>
                    </a:lnTo>
                    <a:lnTo>
                      <a:pt x="217" y="187"/>
                    </a:lnTo>
                    <a:lnTo>
                      <a:pt x="217" y="187"/>
                    </a:lnTo>
                    <a:close/>
                    <a:moveTo>
                      <a:pt x="229" y="187"/>
                    </a:moveTo>
                    <a:lnTo>
                      <a:pt x="229" y="187"/>
                    </a:lnTo>
                    <a:lnTo>
                      <a:pt x="232" y="184"/>
                    </a:lnTo>
                    <a:lnTo>
                      <a:pt x="229" y="184"/>
                    </a:lnTo>
                    <a:lnTo>
                      <a:pt x="229" y="184"/>
                    </a:lnTo>
                    <a:lnTo>
                      <a:pt x="229" y="187"/>
                    </a:lnTo>
                    <a:lnTo>
                      <a:pt x="229" y="187"/>
                    </a:lnTo>
                    <a:lnTo>
                      <a:pt x="229" y="187"/>
                    </a:lnTo>
                    <a:close/>
                    <a:moveTo>
                      <a:pt x="664" y="206"/>
                    </a:moveTo>
                    <a:lnTo>
                      <a:pt x="667" y="201"/>
                    </a:lnTo>
                    <a:lnTo>
                      <a:pt x="664" y="201"/>
                    </a:lnTo>
                    <a:lnTo>
                      <a:pt x="664" y="198"/>
                    </a:lnTo>
                    <a:lnTo>
                      <a:pt x="664" y="196"/>
                    </a:lnTo>
                    <a:lnTo>
                      <a:pt x="662" y="196"/>
                    </a:lnTo>
                    <a:lnTo>
                      <a:pt x="662" y="196"/>
                    </a:lnTo>
                    <a:lnTo>
                      <a:pt x="662" y="194"/>
                    </a:lnTo>
                    <a:lnTo>
                      <a:pt x="660" y="191"/>
                    </a:lnTo>
                    <a:lnTo>
                      <a:pt x="657" y="189"/>
                    </a:lnTo>
                    <a:lnTo>
                      <a:pt x="655" y="189"/>
                    </a:lnTo>
                    <a:lnTo>
                      <a:pt x="653" y="189"/>
                    </a:lnTo>
                    <a:lnTo>
                      <a:pt x="650" y="189"/>
                    </a:lnTo>
                    <a:lnTo>
                      <a:pt x="646" y="187"/>
                    </a:lnTo>
                    <a:lnTo>
                      <a:pt x="643" y="184"/>
                    </a:lnTo>
                    <a:lnTo>
                      <a:pt x="641" y="184"/>
                    </a:lnTo>
                    <a:lnTo>
                      <a:pt x="641" y="184"/>
                    </a:lnTo>
                    <a:lnTo>
                      <a:pt x="641" y="184"/>
                    </a:lnTo>
                    <a:lnTo>
                      <a:pt x="638" y="184"/>
                    </a:lnTo>
                    <a:lnTo>
                      <a:pt x="636" y="187"/>
                    </a:lnTo>
                    <a:lnTo>
                      <a:pt x="634" y="187"/>
                    </a:lnTo>
                    <a:lnTo>
                      <a:pt x="634" y="187"/>
                    </a:lnTo>
                    <a:lnTo>
                      <a:pt x="634" y="187"/>
                    </a:lnTo>
                    <a:lnTo>
                      <a:pt x="634" y="184"/>
                    </a:lnTo>
                    <a:lnTo>
                      <a:pt x="631" y="184"/>
                    </a:lnTo>
                    <a:lnTo>
                      <a:pt x="629" y="184"/>
                    </a:lnTo>
                    <a:lnTo>
                      <a:pt x="627" y="187"/>
                    </a:lnTo>
                    <a:lnTo>
                      <a:pt x="624" y="184"/>
                    </a:lnTo>
                    <a:lnTo>
                      <a:pt x="617" y="187"/>
                    </a:lnTo>
                    <a:lnTo>
                      <a:pt x="615" y="187"/>
                    </a:lnTo>
                    <a:lnTo>
                      <a:pt x="610" y="194"/>
                    </a:lnTo>
                    <a:lnTo>
                      <a:pt x="610" y="194"/>
                    </a:lnTo>
                    <a:lnTo>
                      <a:pt x="612" y="196"/>
                    </a:lnTo>
                    <a:lnTo>
                      <a:pt x="612" y="196"/>
                    </a:lnTo>
                    <a:lnTo>
                      <a:pt x="610" y="198"/>
                    </a:lnTo>
                    <a:lnTo>
                      <a:pt x="610" y="198"/>
                    </a:lnTo>
                    <a:lnTo>
                      <a:pt x="612" y="198"/>
                    </a:lnTo>
                    <a:lnTo>
                      <a:pt x="612" y="196"/>
                    </a:lnTo>
                    <a:lnTo>
                      <a:pt x="612" y="196"/>
                    </a:lnTo>
                    <a:lnTo>
                      <a:pt x="615" y="194"/>
                    </a:lnTo>
                    <a:lnTo>
                      <a:pt x="615" y="191"/>
                    </a:lnTo>
                    <a:lnTo>
                      <a:pt x="615" y="191"/>
                    </a:lnTo>
                    <a:lnTo>
                      <a:pt x="617" y="191"/>
                    </a:lnTo>
                    <a:lnTo>
                      <a:pt x="617" y="194"/>
                    </a:lnTo>
                    <a:lnTo>
                      <a:pt x="617" y="194"/>
                    </a:lnTo>
                    <a:lnTo>
                      <a:pt x="620" y="198"/>
                    </a:lnTo>
                    <a:lnTo>
                      <a:pt x="622" y="198"/>
                    </a:lnTo>
                    <a:lnTo>
                      <a:pt x="622" y="198"/>
                    </a:lnTo>
                    <a:lnTo>
                      <a:pt x="624" y="198"/>
                    </a:lnTo>
                    <a:lnTo>
                      <a:pt x="624" y="196"/>
                    </a:lnTo>
                    <a:lnTo>
                      <a:pt x="627" y="194"/>
                    </a:lnTo>
                    <a:lnTo>
                      <a:pt x="627" y="194"/>
                    </a:lnTo>
                    <a:lnTo>
                      <a:pt x="629" y="194"/>
                    </a:lnTo>
                    <a:lnTo>
                      <a:pt x="629" y="194"/>
                    </a:lnTo>
                    <a:lnTo>
                      <a:pt x="631" y="194"/>
                    </a:lnTo>
                    <a:lnTo>
                      <a:pt x="631" y="194"/>
                    </a:lnTo>
                    <a:lnTo>
                      <a:pt x="631" y="196"/>
                    </a:lnTo>
                    <a:lnTo>
                      <a:pt x="631" y="196"/>
                    </a:lnTo>
                    <a:lnTo>
                      <a:pt x="634" y="196"/>
                    </a:lnTo>
                    <a:lnTo>
                      <a:pt x="636" y="196"/>
                    </a:lnTo>
                    <a:lnTo>
                      <a:pt x="638" y="196"/>
                    </a:lnTo>
                    <a:lnTo>
                      <a:pt x="641" y="198"/>
                    </a:lnTo>
                    <a:lnTo>
                      <a:pt x="641" y="198"/>
                    </a:lnTo>
                    <a:lnTo>
                      <a:pt x="641" y="196"/>
                    </a:lnTo>
                    <a:lnTo>
                      <a:pt x="641" y="196"/>
                    </a:lnTo>
                    <a:lnTo>
                      <a:pt x="641" y="196"/>
                    </a:lnTo>
                    <a:lnTo>
                      <a:pt x="643" y="196"/>
                    </a:lnTo>
                    <a:lnTo>
                      <a:pt x="648" y="196"/>
                    </a:lnTo>
                    <a:lnTo>
                      <a:pt x="648" y="196"/>
                    </a:lnTo>
                    <a:lnTo>
                      <a:pt x="650" y="198"/>
                    </a:lnTo>
                    <a:lnTo>
                      <a:pt x="650" y="198"/>
                    </a:lnTo>
                    <a:lnTo>
                      <a:pt x="655" y="201"/>
                    </a:lnTo>
                    <a:lnTo>
                      <a:pt x="657" y="201"/>
                    </a:lnTo>
                    <a:lnTo>
                      <a:pt x="660" y="203"/>
                    </a:lnTo>
                    <a:lnTo>
                      <a:pt x="664" y="206"/>
                    </a:lnTo>
                    <a:close/>
                    <a:moveTo>
                      <a:pt x="94" y="184"/>
                    </a:moveTo>
                    <a:lnTo>
                      <a:pt x="94" y="184"/>
                    </a:lnTo>
                    <a:lnTo>
                      <a:pt x="94" y="184"/>
                    </a:lnTo>
                    <a:lnTo>
                      <a:pt x="94" y="189"/>
                    </a:lnTo>
                    <a:lnTo>
                      <a:pt x="94" y="189"/>
                    </a:lnTo>
                    <a:lnTo>
                      <a:pt x="97" y="191"/>
                    </a:lnTo>
                    <a:lnTo>
                      <a:pt x="97" y="191"/>
                    </a:lnTo>
                    <a:lnTo>
                      <a:pt x="97" y="194"/>
                    </a:lnTo>
                    <a:lnTo>
                      <a:pt x="99" y="196"/>
                    </a:lnTo>
                    <a:lnTo>
                      <a:pt x="99" y="191"/>
                    </a:lnTo>
                    <a:lnTo>
                      <a:pt x="99" y="191"/>
                    </a:lnTo>
                    <a:lnTo>
                      <a:pt x="99" y="191"/>
                    </a:lnTo>
                    <a:lnTo>
                      <a:pt x="99" y="189"/>
                    </a:lnTo>
                    <a:lnTo>
                      <a:pt x="99" y="189"/>
                    </a:lnTo>
                    <a:lnTo>
                      <a:pt x="94" y="184"/>
                    </a:lnTo>
                    <a:close/>
                    <a:moveTo>
                      <a:pt x="232" y="187"/>
                    </a:moveTo>
                    <a:lnTo>
                      <a:pt x="232" y="189"/>
                    </a:lnTo>
                    <a:lnTo>
                      <a:pt x="232" y="189"/>
                    </a:lnTo>
                    <a:lnTo>
                      <a:pt x="234" y="191"/>
                    </a:lnTo>
                    <a:lnTo>
                      <a:pt x="232" y="194"/>
                    </a:lnTo>
                    <a:lnTo>
                      <a:pt x="234" y="194"/>
                    </a:lnTo>
                    <a:lnTo>
                      <a:pt x="236" y="191"/>
                    </a:lnTo>
                    <a:lnTo>
                      <a:pt x="236" y="191"/>
                    </a:lnTo>
                    <a:lnTo>
                      <a:pt x="236" y="191"/>
                    </a:lnTo>
                    <a:lnTo>
                      <a:pt x="239" y="191"/>
                    </a:lnTo>
                    <a:lnTo>
                      <a:pt x="239" y="191"/>
                    </a:lnTo>
                    <a:lnTo>
                      <a:pt x="239" y="194"/>
                    </a:lnTo>
                    <a:lnTo>
                      <a:pt x="241" y="194"/>
                    </a:lnTo>
                    <a:lnTo>
                      <a:pt x="241" y="194"/>
                    </a:lnTo>
                    <a:lnTo>
                      <a:pt x="243" y="191"/>
                    </a:lnTo>
                    <a:lnTo>
                      <a:pt x="243" y="191"/>
                    </a:lnTo>
                    <a:lnTo>
                      <a:pt x="243" y="189"/>
                    </a:lnTo>
                    <a:lnTo>
                      <a:pt x="246" y="184"/>
                    </a:lnTo>
                    <a:lnTo>
                      <a:pt x="243" y="182"/>
                    </a:lnTo>
                    <a:lnTo>
                      <a:pt x="241" y="179"/>
                    </a:lnTo>
                    <a:lnTo>
                      <a:pt x="239" y="179"/>
                    </a:lnTo>
                    <a:lnTo>
                      <a:pt x="236" y="179"/>
                    </a:lnTo>
                    <a:lnTo>
                      <a:pt x="234" y="179"/>
                    </a:lnTo>
                    <a:lnTo>
                      <a:pt x="234" y="182"/>
                    </a:lnTo>
                    <a:lnTo>
                      <a:pt x="232" y="184"/>
                    </a:lnTo>
                    <a:lnTo>
                      <a:pt x="232" y="187"/>
                    </a:lnTo>
                    <a:lnTo>
                      <a:pt x="232" y="187"/>
                    </a:lnTo>
                    <a:lnTo>
                      <a:pt x="232" y="187"/>
                    </a:lnTo>
                    <a:close/>
                    <a:moveTo>
                      <a:pt x="94" y="182"/>
                    </a:moveTo>
                    <a:lnTo>
                      <a:pt x="92" y="177"/>
                    </a:lnTo>
                    <a:lnTo>
                      <a:pt x="90" y="179"/>
                    </a:lnTo>
                    <a:lnTo>
                      <a:pt x="90" y="179"/>
                    </a:lnTo>
                    <a:lnTo>
                      <a:pt x="90" y="179"/>
                    </a:lnTo>
                    <a:lnTo>
                      <a:pt x="92" y="182"/>
                    </a:lnTo>
                    <a:lnTo>
                      <a:pt x="90" y="184"/>
                    </a:lnTo>
                    <a:lnTo>
                      <a:pt x="92" y="184"/>
                    </a:lnTo>
                    <a:lnTo>
                      <a:pt x="94" y="184"/>
                    </a:lnTo>
                    <a:lnTo>
                      <a:pt x="94" y="184"/>
                    </a:lnTo>
                    <a:lnTo>
                      <a:pt x="94" y="182"/>
                    </a:lnTo>
                    <a:close/>
                    <a:moveTo>
                      <a:pt x="733" y="170"/>
                    </a:moveTo>
                    <a:lnTo>
                      <a:pt x="733" y="168"/>
                    </a:lnTo>
                    <a:lnTo>
                      <a:pt x="733" y="168"/>
                    </a:lnTo>
                    <a:lnTo>
                      <a:pt x="733" y="168"/>
                    </a:lnTo>
                    <a:lnTo>
                      <a:pt x="733" y="168"/>
                    </a:lnTo>
                    <a:lnTo>
                      <a:pt x="731" y="170"/>
                    </a:lnTo>
                    <a:lnTo>
                      <a:pt x="731" y="170"/>
                    </a:lnTo>
                    <a:lnTo>
                      <a:pt x="733" y="170"/>
                    </a:lnTo>
                    <a:close/>
                    <a:moveTo>
                      <a:pt x="87" y="172"/>
                    </a:moveTo>
                    <a:lnTo>
                      <a:pt x="87" y="170"/>
                    </a:lnTo>
                    <a:lnTo>
                      <a:pt x="85" y="168"/>
                    </a:lnTo>
                    <a:lnTo>
                      <a:pt x="85" y="168"/>
                    </a:lnTo>
                    <a:lnTo>
                      <a:pt x="83" y="168"/>
                    </a:lnTo>
                    <a:lnTo>
                      <a:pt x="83" y="168"/>
                    </a:lnTo>
                    <a:lnTo>
                      <a:pt x="83" y="170"/>
                    </a:lnTo>
                    <a:lnTo>
                      <a:pt x="83" y="170"/>
                    </a:lnTo>
                    <a:lnTo>
                      <a:pt x="85" y="172"/>
                    </a:lnTo>
                    <a:lnTo>
                      <a:pt x="85" y="172"/>
                    </a:lnTo>
                    <a:lnTo>
                      <a:pt x="87" y="175"/>
                    </a:lnTo>
                    <a:lnTo>
                      <a:pt x="87" y="175"/>
                    </a:lnTo>
                    <a:lnTo>
                      <a:pt x="87" y="172"/>
                    </a:lnTo>
                    <a:close/>
                    <a:moveTo>
                      <a:pt x="575" y="168"/>
                    </a:moveTo>
                    <a:lnTo>
                      <a:pt x="575" y="168"/>
                    </a:lnTo>
                    <a:lnTo>
                      <a:pt x="575" y="168"/>
                    </a:lnTo>
                    <a:lnTo>
                      <a:pt x="575" y="170"/>
                    </a:lnTo>
                    <a:lnTo>
                      <a:pt x="575" y="172"/>
                    </a:lnTo>
                    <a:lnTo>
                      <a:pt x="575" y="172"/>
                    </a:lnTo>
                    <a:lnTo>
                      <a:pt x="575" y="177"/>
                    </a:lnTo>
                    <a:lnTo>
                      <a:pt x="577" y="177"/>
                    </a:lnTo>
                    <a:lnTo>
                      <a:pt x="577" y="177"/>
                    </a:lnTo>
                    <a:lnTo>
                      <a:pt x="577" y="175"/>
                    </a:lnTo>
                    <a:lnTo>
                      <a:pt x="575" y="170"/>
                    </a:lnTo>
                    <a:lnTo>
                      <a:pt x="577" y="168"/>
                    </a:lnTo>
                    <a:lnTo>
                      <a:pt x="575" y="168"/>
                    </a:lnTo>
                    <a:close/>
                    <a:moveTo>
                      <a:pt x="534" y="165"/>
                    </a:moveTo>
                    <a:lnTo>
                      <a:pt x="534" y="165"/>
                    </a:lnTo>
                    <a:lnTo>
                      <a:pt x="534" y="168"/>
                    </a:lnTo>
                    <a:lnTo>
                      <a:pt x="537" y="168"/>
                    </a:lnTo>
                    <a:lnTo>
                      <a:pt x="537" y="165"/>
                    </a:lnTo>
                    <a:lnTo>
                      <a:pt x="534" y="165"/>
                    </a:lnTo>
                    <a:close/>
                    <a:moveTo>
                      <a:pt x="572" y="165"/>
                    </a:moveTo>
                    <a:lnTo>
                      <a:pt x="575" y="165"/>
                    </a:lnTo>
                    <a:lnTo>
                      <a:pt x="582" y="165"/>
                    </a:lnTo>
                    <a:lnTo>
                      <a:pt x="582" y="163"/>
                    </a:lnTo>
                    <a:lnTo>
                      <a:pt x="577" y="163"/>
                    </a:lnTo>
                    <a:lnTo>
                      <a:pt x="572" y="163"/>
                    </a:lnTo>
                    <a:lnTo>
                      <a:pt x="568" y="163"/>
                    </a:lnTo>
                    <a:lnTo>
                      <a:pt x="565" y="163"/>
                    </a:lnTo>
                    <a:lnTo>
                      <a:pt x="565" y="163"/>
                    </a:lnTo>
                    <a:lnTo>
                      <a:pt x="565" y="165"/>
                    </a:lnTo>
                    <a:lnTo>
                      <a:pt x="565" y="165"/>
                    </a:lnTo>
                    <a:lnTo>
                      <a:pt x="568" y="165"/>
                    </a:lnTo>
                    <a:lnTo>
                      <a:pt x="572" y="165"/>
                    </a:lnTo>
                    <a:close/>
                    <a:moveTo>
                      <a:pt x="523" y="163"/>
                    </a:moveTo>
                    <a:lnTo>
                      <a:pt x="523" y="163"/>
                    </a:lnTo>
                    <a:lnTo>
                      <a:pt x="523" y="163"/>
                    </a:lnTo>
                    <a:lnTo>
                      <a:pt x="523" y="165"/>
                    </a:lnTo>
                    <a:lnTo>
                      <a:pt x="523" y="165"/>
                    </a:lnTo>
                    <a:lnTo>
                      <a:pt x="523" y="163"/>
                    </a:lnTo>
                    <a:lnTo>
                      <a:pt x="523" y="163"/>
                    </a:lnTo>
                    <a:close/>
                    <a:moveTo>
                      <a:pt x="648" y="168"/>
                    </a:moveTo>
                    <a:lnTo>
                      <a:pt x="653" y="168"/>
                    </a:lnTo>
                    <a:lnTo>
                      <a:pt x="653" y="168"/>
                    </a:lnTo>
                    <a:lnTo>
                      <a:pt x="655" y="168"/>
                    </a:lnTo>
                    <a:lnTo>
                      <a:pt x="655" y="168"/>
                    </a:lnTo>
                    <a:lnTo>
                      <a:pt x="657" y="168"/>
                    </a:lnTo>
                    <a:lnTo>
                      <a:pt x="657" y="168"/>
                    </a:lnTo>
                    <a:lnTo>
                      <a:pt x="660" y="168"/>
                    </a:lnTo>
                    <a:lnTo>
                      <a:pt x="657" y="165"/>
                    </a:lnTo>
                    <a:lnTo>
                      <a:pt x="657" y="165"/>
                    </a:lnTo>
                    <a:lnTo>
                      <a:pt x="657" y="165"/>
                    </a:lnTo>
                    <a:lnTo>
                      <a:pt x="660" y="163"/>
                    </a:lnTo>
                    <a:lnTo>
                      <a:pt x="657" y="163"/>
                    </a:lnTo>
                    <a:lnTo>
                      <a:pt x="657" y="161"/>
                    </a:lnTo>
                    <a:lnTo>
                      <a:pt x="657" y="161"/>
                    </a:lnTo>
                    <a:lnTo>
                      <a:pt x="655" y="161"/>
                    </a:lnTo>
                    <a:lnTo>
                      <a:pt x="653" y="161"/>
                    </a:lnTo>
                    <a:lnTo>
                      <a:pt x="650" y="163"/>
                    </a:lnTo>
                    <a:lnTo>
                      <a:pt x="646" y="165"/>
                    </a:lnTo>
                    <a:lnTo>
                      <a:pt x="646" y="165"/>
                    </a:lnTo>
                    <a:lnTo>
                      <a:pt x="648" y="168"/>
                    </a:lnTo>
                    <a:close/>
                    <a:moveTo>
                      <a:pt x="563" y="163"/>
                    </a:moveTo>
                    <a:lnTo>
                      <a:pt x="560" y="163"/>
                    </a:lnTo>
                    <a:lnTo>
                      <a:pt x="560" y="161"/>
                    </a:lnTo>
                    <a:lnTo>
                      <a:pt x="560" y="161"/>
                    </a:lnTo>
                    <a:lnTo>
                      <a:pt x="560" y="161"/>
                    </a:lnTo>
                    <a:lnTo>
                      <a:pt x="560" y="163"/>
                    </a:lnTo>
                    <a:lnTo>
                      <a:pt x="558" y="163"/>
                    </a:lnTo>
                    <a:lnTo>
                      <a:pt x="558" y="161"/>
                    </a:lnTo>
                    <a:lnTo>
                      <a:pt x="551" y="161"/>
                    </a:lnTo>
                    <a:lnTo>
                      <a:pt x="549" y="161"/>
                    </a:lnTo>
                    <a:lnTo>
                      <a:pt x="546" y="161"/>
                    </a:lnTo>
                    <a:lnTo>
                      <a:pt x="546" y="161"/>
                    </a:lnTo>
                    <a:lnTo>
                      <a:pt x="546" y="165"/>
                    </a:lnTo>
                    <a:lnTo>
                      <a:pt x="546" y="168"/>
                    </a:lnTo>
                    <a:lnTo>
                      <a:pt x="549" y="168"/>
                    </a:lnTo>
                    <a:lnTo>
                      <a:pt x="551" y="168"/>
                    </a:lnTo>
                    <a:lnTo>
                      <a:pt x="556" y="165"/>
                    </a:lnTo>
                    <a:lnTo>
                      <a:pt x="558" y="165"/>
                    </a:lnTo>
                    <a:lnTo>
                      <a:pt x="560" y="165"/>
                    </a:lnTo>
                    <a:lnTo>
                      <a:pt x="563" y="165"/>
                    </a:lnTo>
                    <a:lnTo>
                      <a:pt x="563" y="163"/>
                    </a:lnTo>
                    <a:lnTo>
                      <a:pt x="563" y="163"/>
                    </a:lnTo>
                    <a:lnTo>
                      <a:pt x="563" y="163"/>
                    </a:lnTo>
                    <a:close/>
                    <a:moveTo>
                      <a:pt x="766" y="161"/>
                    </a:moveTo>
                    <a:lnTo>
                      <a:pt x="761" y="161"/>
                    </a:lnTo>
                    <a:lnTo>
                      <a:pt x="761" y="161"/>
                    </a:lnTo>
                    <a:lnTo>
                      <a:pt x="754" y="158"/>
                    </a:lnTo>
                    <a:lnTo>
                      <a:pt x="752" y="158"/>
                    </a:lnTo>
                    <a:lnTo>
                      <a:pt x="754" y="161"/>
                    </a:lnTo>
                    <a:lnTo>
                      <a:pt x="761" y="163"/>
                    </a:lnTo>
                    <a:lnTo>
                      <a:pt x="764" y="163"/>
                    </a:lnTo>
                    <a:lnTo>
                      <a:pt x="766" y="165"/>
                    </a:lnTo>
                    <a:lnTo>
                      <a:pt x="766" y="165"/>
                    </a:lnTo>
                    <a:lnTo>
                      <a:pt x="769" y="165"/>
                    </a:lnTo>
                    <a:lnTo>
                      <a:pt x="771" y="165"/>
                    </a:lnTo>
                    <a:lnTo>
                      <a:pt x="776" y="165"/>
                    </a:lnTo>
                    <a:lnTo>
                      <a:pt x="776" y="163"/>
                    </a:lnTo>
                    <a:lnTo>
                      <a:pt x="780" y="163"/>
                    </a:lnTo>
                    <a:lnTo>
                      <a:pt x="778" y="163"/>
                    </a:lnTo>
                    <a:lnTo>
                      <a:pt x="776" y="163"/>
                    </a:lnTo>
                    <a:lnTo>
                      <a:pt x="771" y="161"/>
                    </a:lnTo>
                    <a:lnTo>
                      <a:pt x="766" y="161"/>
                    </a:lnTo>
                    <a:close/>
                    <a:moveTo>
                      <a:pt x="255" y="161"/>
                    </a:moveTo>
                    <a:lnTo>
                      <a:pt x="258" y="158"/>
                    </a:lnTo>
                    <a:lnTo>
                      <a:pt x="258" y="158"/>
                    </a:lnTo>
                    <a:lnTo>
                      <a:pt x="258" y="158"/>
                    </a:lnTo>
                    <a:lnTo>
                      <a:pt x="255" y="158"/>
                    </a:lnTo>
                    <a:lnTo>
                      <a:pt x="255" y="161"/>
                    </a:lnTo>
                    <a:close/>
                    <a:moveTo>
                      <a:pt x="189" y="170"/>
                    </a:moveTo>
                    <a:lnTo>
                      <a:pt x="191" y="170"/>
                    </a:lnTo>
                    <a:lnTo>
                      <a:pt x="194" y="170"/>
                    </a:lnTo>
                    <a:lnTo>
                      <a:pt x="196" y="170"/>
                    </a:lnTo>
                    <a:lnTo>
                      <a:pt x="198" y="170"/>
                    </a:lnTo>
                    <a:lnTo>
                      <a:pt x="198" y="172"/>
                    </a:lnTo>
                    <a:lnTo>
                      <a:pt x="198" y="175"/>
                    </a:lnTo>
                    <a:lnTo>
                      <a:pt x="201" y="177"/>
                    </a:lnTo>
                    <a:lnTo>
                      <a:pt x="201" y="177"/>
                    </a:lnTo>
                    <a:lnTo>
                      <a:pt x="201" y="177"/>
                    </a:lnTo>
                    <a:lnTo>
                      <a:pt x="201" y="182"/>
                    </a:lnTo>
                    <a:lnTo>
                      <a:pt x="201" y="184"/>
                    </a:lnTo>
                    <a:lnTo>
                      <a:pt x="203" y="184"/>
                    </a:lnTo>
                    <a:lnTo>
                      <a:pt x="206" y="187"/>
                    </a:lnTo>
                    <a:lnTo>
                      <a:pt x="208" y="187"/>
                    </a:lnTo>
                    <a:lnTo>
                      <a:pt x="208" y="187"/>
                    </a:lnTo>
                    <a:lnTo>
                      <a:pt x="210" y="189"/>
                    </a:lnTo>
                    <a:lnTo>
                      <a:pt x="210" y="189"/>
                    </a:lnTo>
                    <a:lnTo>
                      <a:pt x="213" y="189"/>
                    </a:lnTo>
                    <a:lnTo>
                      <a:pt x="213" y="189"/>
                    </a:lnTo>
                    <a:lnTo>
                      <a:pt x="215" y="189"/>
                    </a:lnTo>
                    <a:lnTo>
                      <a:pt x="215" y="189"/>
                    </a:lnTo>
                    <a:lnTo>
                      <a:pt x="215" y="189"/>
                    </a:lnTo>
                    <a:lnTo>
                      <a:pt x="215" y="187"/>
                    </a:lnTo>
                    <a:lnTo>
                      <a:pt x="215" y="187"/>
                    </a:lnTo>
                    <a:lnTo>
                      <a:pt x="215" y="182"/>
                    </a:lnTo>
                    <a:lnTo>
                      <a:pt x="215" y="182"/>
                    </a:lnTo>
                    <a:lnTo>
                      <a:pt x="217" y="179"/>
                    </a:lnTo>
                    <a:lnTo>
                      <a:pt x="217" y="179"/>
                    </a:lnTo>
                    <a:lnTo>
                      <a:pt x="210" y="177"/>
                    </a:lnTo>
                    <a:lnTo>
                      <a:pt x="208" y="172"/>
                    </a:lnTo>
                    <a:lnTo>
                      <a:pt x="206" y="165"/>
                    </a:lnTo>
                    <a:lnTo>
                      <a:pt x="206" y="163"/>
                    </a:lnTo>
                    <a:lnTo>
                      <a:pt x="206" y="163"/>
                    </a:lnTo>
                    <a:lnTo>
                      <a:pt x="203" y="161"/>
                    </a:lnTo>
                    <a:lnTo>
                      <a:pt x="203" y="158"/>
                    </a:lnTo>
                    <a:lnTo>
                      <a:pt x="203" y="158"/>
                    </a:lnTo>
                    <a:lnTo>
                      <a:pt x="201" y="156"/>
                    </a:lnTo>
                    <a:lnTo>
                      <a:pt x="201" y="156"/>
                    </a:lnTo>
                    <a:lnTo>
                      <a:pt x="198" y="158"/>
                    </a:lnTo>
                    <a:lnTo>
                      <a:pt x="198" y="161"/>
                    </a:lnTo>
                    <a:lnTo>
                      <a:pt x="198" y="161"/>
                    </a:lnTo>
                    <a:lnTo>
                      <a:pt x="196" y="161"/>
                    </a:lnTo>
                    <a:lnTo>
                      <a:pt x="196" y="158"/>
                    </a:lnTo>
                    <a:lnTo>
                      <a:pt x="196" y="158"/>
                    </a:lnTo>
                    <a:lnTo>
                      <a:pt x="194" y="158"/>
                    </a:lnTo>
                    <a:lnTo>
                      <a:pt x="191" y="158"/>
                    </a:lnTo>
                    <a:lnTo>
                      <a:pt x="191" y="161"/>
                    </a:lnTo>
                    <a:lnTo>
                      <a:pt x="191" y="161"/>
                    </a:lnTo>
                    <a:lnTo>
                      <a:pt x="191" y="163"/>
                    </a:lnTo>
                    <a:lnTo>
                      <a:pt x="191" y="163"/>
                    </a:lnTo>
                    <a:lnTo>
                      <a:pt x="191" y="165"/>
                    </a:lnTo>
                    <a:lnTo>
                      <a:pt x="189" y="165"/>
                    </a:lnTo>
                    <a:lnTo>
                      <a:pt x="187" y="168"/>
                    </a:lnTo>
                    <a:lnTo>
                      <a:pt x="187" y="168"/>
                    </a:lnTo>
                    <a:lnTo>
                      <a:pt x="189" y="170"/>
                    </a:lnTo>
                    <a:lnTo>
                      <a:pt x="189" y="170"/>
                    </a:lnTo>
                    <a:close/>
                    <a:moveTo>
                      <a:pt x="532" y="161"/>
                    </a:moveTo>
                    <a:lnTo>
                      <a:pt x="532" y="161"/>
                    </a:lnTo>
                    <a:lnTo>
                      <a:pt x="532" y="158"/>
                    </a:lnTo>
                    <a:lnTo>
                      <a:pt x="532" y="158"/>
                    </a:lnTo>
                    <a:lnTo>
                      <a:pt x="530" y="156"/>
                    </a:lnTo>
                    <a:lnTo>
                      <a:pt x="530" y="156"/>
                    </a:lnTo>
                    <a:lnTo>
                      <a:pt x="530" y="158"/>
                    </a:lnTo>
                    <a:lnTo>
                      <a:pt x="530" y="161"/>
                    </a:lnTo>
                    <a:lnTo>
                      <a:pt x="530" y="161"/>
                    </a:lnTo>
                    <a:lnTo>
                      <a:pt x="532" y="161"/>
                    </a:lnTo>
                    <a:close/>
                    <a:moveTo>
                      <a:pt x="605" y="161"/>
                    </a:moveTo>
                    <a:lnTo>
                      <a:pt x="610" y="161"/>
                    </a:lnTo>
                    <a:lnTo>
                      <a:pt x="612" y="161"/>
                    </a:lnTo>
                    <a:lnTo>
                      <a:pt x="615" y="161"/>
                    </a:lnTo>
                    <a:lnTo>
                      <a:pt x="615" y="161"/>
                    </a:lnTo>
                    <a:lnTo>
                      <a:pt x="617" y="161"/>
                    </a:lnTo>
                    <a:lnTo>
                      <a:pt x="617" y="158"/>
                    </a:lnTo>
                    <a:lnTo>
                      <a:pt x="615" y="158"/>
                    </a:lnTo>
                    <a:lnTo>
                      <a:pt x="612" y="156"/>
                    </a:lnTo>
                    <a:lnTo>
                      <a:pt x="610" y="153"/>
                    </a:lnTo>
                    <a:lnTo>
                      <a:pt x="608" y="153"/>
                    </a:lnTo>
                    <a:lnTo>
                      <a:pt x="605" y="153"/>
                    </a:lnTo>
                    <a:lnTo>
                      <a:pt x="603" y="156"/>
                    </a:lnTo>
                    <a:lnTo>
                      <a:pt x="603" y="158"/>
                    </a:lnTo>
                    <a:lnTo>
                      <a:pt x="603" y="161"/>
                    </a:lnTo>
                    <a:lnTo>
                      <a:pt x="603" y="161"/>
                    </a:lnTo>
                    <a:lnTo>
                      <a:pt x="605" y="161"/>
                    </a:lnTo>
                    <a:close/>
                    <a:moveTo>
                      <a:pt x="530" y="153"/>
                    </a:moveTo>
                    <a:lnTo>
                      <a:pt x="530" y="153"/>
                    </a:lnTo>
                    <a:lnTo>
                      <a:pt x="530" y="151"/>
                    </a:lnTo>
                    <a:lnTo>
                      <a:pt x="530" y="151"/>
                    </a:lnTo>
                    <a:lnTo>
                      <a:pt x="527" y="151"/>
                    </a:lnTo>
                    <a:lnTo>
                      <a:pt x="525" y="153"/>
                    </a:lnTo>
                    <a:lnTo>
                      <a:pt x="525" y="153"/>
                    </a:lnTo>
                    <a:lnTo>
                      <a:pt x="525" y="151"/>
                    </a:lnTo>
                    <a:lnTo>
                      <a:pt x="525" y="149"/>
                    </a:lnTo>
                    <a:lnTo>
                      <a:pt x="523" y="149"/>
                    </a:lnTo>
                    <a:lnTo>
                      <a:pt x="520" y="151"/>
                    </a:lnTo>
                    <a:lnTo>
                      <a:pt x="518" y="151"/>
                    </a:lnTo>
                    <a:lnTo>
                      <a:pt x="518" y="151"/>
                    </a:lnTo>
                    <a:lnTo>
                      <a:pt x="518" y="156"/>
                    </a:lnTo>
                    <a:lnTo>
                      <a:pt x="518" y="158"/>
                    </a:lnTo>
                    <a:lnTo>
                      <a:pt x="518" y="158"/>
                    </a:lnTo>
                    <a:lnTo>
                      <a:pt x="520" y="158"/>
                    </a:lnTo>
                    <a:lnTo>
                      <a:pt x="523" y="153"/>
                    </a:lnTo>
                    <a:lnTo>
                      <a:pt x="523" y="153"/>
                    </a:lnTo>
                    <a:lnTo>
                      <a:pt x="525" y="156"/>
                    </a:lnTo>
                    <a:lnTo>
                      <a:pt x="523" y="158"/>
                    </a:lnTo>
                    <a:lnTo>
                      <a:pt x="523" y="158"/>
                    </a:lnTo>
                    <a:lnTo>
                      <a:pt x="523" y="158"/>
                    </a:lnTo>
                    <a:lnTo>
                      <a:pt x="525" y="158"/>
                    </a:lnTo>
                    <a:lnTo>
                      <a:pt x="525" y="158"/>
                    </a:lnTo>
                    <a:lnTo>
                      <a:pt x="525" y="156"/>
                    </a:lnTo>
                    <a:lnTo>
                      <a:pt x="527" y="156"/>
                    </a:lnTo>
                    <a:lnTo>
                      <a:pt x="527" y="156"/>
                    </a:lnTo>
                    <a:lnTo>
                      <a:pt x="530" y="156"/>
                    </a:lnTo>
                    <a:lnTo>
                      <a:pt x="530" y="156"/>
                    </a:lnTo>
                    <a:lnTo>
                      <a:pt x="530" y="153"/>
                    </a:lnTo>
                    <a:close/>
                    <a:moveTo>
                      <a:pt x="272" y="146"/>
                    </a:moveTo>
                    <a:lnTo>
                      <a:pt x="269" y="146"/>
                    </a:lnTo>
                    <a:lnTo>
                      <a:pt x="267" y="146"/>
                    </a:lnTo>
                    <a:lnTo>
                      <a:pt x="267" y="151"/>
                    </a:lnTo>
                    <a:lnTo>
                      <a:pt x="267" y="151"/>
                    </a:lnTo>
                    <a:lnTo>
                      <a:pt x="269" y="151"/>
                    </a:lnTo>
                    <a:lnTo>
                      <a:pt x="272" y="151"/>
                    </a:lnTo>
                    <a:lnTo>
                      <a:pt x="274" y="149"/>
                    </a:lnTo>
                    <a:lnTo>
                      <a:pt x="274" y="149"/>
                    </a:lnTo>
                    <a:lnTo>
                      <a:pt x="274" y="146"/>
                    </a:lnTo>
                    <a:lnTo>
                      <a:pt x="272" y="146"/>
                    </a:lnTo>
                    <a:lnTo>
                      <a:pt x="272" y="146"/>
                    </a:lnTo>
                    <a:close/>
                    <a:moveTo>
                      <a:pt x="743" y="149"/>
                    </a:moveTo>
                    <a:lnTo>
                      <a:pt x="745" y="149"/>
                    </a:lnTo>
                    <a:lnTo>
                      <a:pt x="745" y="146"/>
                    </a:lnTo>
                    <a:lnTo>
                      <a:pt x="745" y="146"/>
                    </a:lnTo>
                    <a:lnTo>
                      <a:pt x="743" y="146"/>
                    </a:lnTo>
                    <a:lnTo>
                      <a:pt x="743" y="144"/>
                    </a:lnTo>
                    <a:lnTo>
                      <a:pt x="743" y="146"/>
                    </a:lnTo>
                    <a:lnTo>
                      <a:pt x="740" y="146"/>
                    </a:lnTo>
                    <a:lnTo>
                      <a:pt x="743" y="149"/>
                    </a:lnTo>
                    <a:lnTo>
                      <a:pt x="743" y="149"/>
                    </a:lnTo>
                    <a:close/>
                    <a:moveTo>
                      <a:pt x="75" y="158"/>
                    </a:moveTo>
                    <a:lnTo>
                      <a:pt x="75" y="156"/>
                    </a:lnTo>
                    <a:lnTo>
                      <a:pt x="75" y="156"/>
                    </a:lnTo>
                    <a:lnTo>
                      <a:pt x="75" y="153"/>
                    </a:lnTo>
                    <a:lnTo>
                      <a:pt x="75" y="153"/>
                    </a:lnTo>
                    <a:lnTo>
                      <a:pt x="73" y="151"/>
                    </a:lnTo>
                    <a:lnTo>
                      <a:pt x="73" y="146"/>
                    </a:lnTo>
                    <a:lnTo>
                      <a:pt x="71" y="146"/>
                    </a:lnTo>
                    <a:lnTo>
                      <a:pt x="71" y="144"/>
                    </a:lnTo>
                    <a:lnTo>
                      <a:pt x="66" y="146"/>
                    </a:lnTo>
                    <a:lnTo>
                      <a:pt x="66" y="151"/>
                    </a:lnTo>
                    <a:lnTo>
                      <a:pt x="66" y="151"/>
                    </a:lnTo>
                    <a:lnTo>
                      <a:pt x="68" y="158"/>
                    </a:lnTo>
                    <a:lnTo>
                      <a:pt x="68" y="158"/>
                    </a:lnTo>
                    <a:lnTo>
                      <a:pt x="71" y="161"/>
                    </a:lnTo>
                    <a:lnTo>
                      <a:pt x="73" y="163"/>
                    </a:lnTo>
                    <a:lnTo>
                      <a:pt x="75" y="163"/>
                    </a:lnTo>
                    <a:lnTo>
                      <a:pt x="78" y="163"/>
                    </a:lnTo>
                    <a:lnTo>
                      <a:pt x="78" y="161"/>
                    </a:lnTo>
                    <a:lnTo>
                      <a:pt x="75" y="158"/>
                    </a:lnTo>
                    <a:close/>
                    <a:moveTo>
                      <a:pt x="664" y="149"/>
                    </a:moveTo>
                    <a:lnTo>
                      <a:pt x="664" y="149"/>
                    </a:lnTo>
                    <a:lnTo>
                      <a:pt x="667" y="151"/>
                    </a:lnTo>
                    <a:lnTo>
                      <a:pt x="667" y="153"/>
                    </a:lnTo>
                    <a:lnTo>
                      <a:pt x="669" y="153"/>
                    </a:lnTo>
                    <a:lnTo>
                      <a:pt x="669" y="153"/>
                    </a:lnTo>
                    <a:lnTo>
                      <a:pt x="672" y="151"/>
                    </a:lnTo>
                    <a:lnTo>
                      <a:pt x="672" y="146"/>
                    </a:lnTo>
                    <a:lnTo>
                      <a:pt x="672" y="144"/>
                    </a:lnTo>
                    <a:lnTo>
                      <a:pt x="669" y="144"/>
                    </a:lnTo>
                    <a:lnTo>
                      <a:pt x="669" y="144"/>
                    </a:lnTo>
                    <a:lnTo>
                      <a:pt x="664" y="146"/>
                    </a:lnTo>
                    <a:lnTo>
                      <a:pt x="664" y="146"/>
                    </a:lnTo>
                    <a:lnTo>
                      <a:pt x="664" y="146"/>
                    </a:lnTo>
                    <a:lnTo>
                      <a:pt x="664" y="149"/>
                    </a:lnTo>
                    <a:close/>
                    <a:moveTo>
                      <a:pt x="660" y="144"/>
                    </a:moveTo>
                    <a:lnTo>
                      <a:pt x="660" y="144"/>
                    </a:lnTo>
                    <a:lnTo>
                      <a:pt x="667" y="144"/>
                    </a:lnTo>
                    <a:lnTo>
                      <a:pt x="667" y="142"/>
                    </a:lnTo>
                    <a:lnTo>
                      <a:pt x="669" y="142"/>
                    </a:lnTo>
                    <a:lnTo>
                      <a:pt x="667" y="142"/>
                    </a:lnTo>
                    <a:lnTo>
                      <a:pt x="667" y="142"/>
                    </a:lnTo>
                    <a:lnTo>
                      <a:pt x="664" y="142"/>
                    </a:lnTo>
                    <a:lnTo>
                      <a:pt x="662" y="142"/>
                    </a:lnTo>
                    <a:lnTo>
                      <a:pt x="662" y="142"/>
                    </a:lnTo>
                    <a:lnTo>
                      <a:pt x="662" y="142"/>
                    </a:lnTo>
                    <a:lnTo>
                      <a:pt x="662" y="142"/>
                    </a:lnTo>
                    <a:lnTo>
                      <a:pt x="662" y="144"/>
                    </a:lnTo>
                    <a:lnTo>
                      <a:pt x="660" y="142"/>
                    </a:lnTo>
                    <a:lnTo>
                      <a:pt x="660" y="144"/>
                    </a:lnTo>
                    <a:lnTo>
                      <a:pt x="660" y="144"/>
                    </a:lnTo>
                    <a:close/>
                    <a:moveTo>
                      <a:pt x="752" y="142"/>
                    </a:moveTo>
                    <a:lnTo>
                      <a:pt x="754" y="142"/>
                    </a:lnTo>
                    <a:lnTo>
                      <a:pt x="754" y="142"/>
                    </a:lnTo>
                    <a:lnTo>
                      <a:pt x="754" y="142"/>
                    </a:lnTo>
                    <a:lnTo>
                      <a:pt x="757" y="144"/>
                    </a:lnTo>
                    <a:lnTo>
                      <a:pt x="759" y="142"/>
                    </a:lnTo>
                    <a:lnTo>
                      <a:pt x="759" y="146"/>
                    </a:lnTo>
                    <a:lnTo>
                      <a:pt x="759" y="149"/>
                    </a:lnTo>
                    <a:lnTo>
                      <a:pt x="761" y="151"/>
                    </a:lnTo>
                    <a:lnTo>
                      <a:pt x="764" y="149"/>
                    </a:lnTo>
                    <a:lnTo>
                      <a:pt x="766" y="151"/>
                    </a:lnTo>
                    <a:lnTo>
                      <a:pt x="766" y="151"/>
                    </a:lnTo>
                    <a:lnTo>
                      <a:pt x="769" y="151"/>
                    </a:lnTo>
                    <a:lnTo>
                      <a:pt x="771" y="149"/>
                    </a:lnTo>
                    <a:lnTo>
                      <a:pt x="769" y="149"/>
                    </a:lnTo>
                    <a:lnTo>
                      <a:pt x="766" y="146"/>
                    </a:lnTo>
                    <a:lnTo>
                      <a:pt x="764" y="144"/>
                    </a:lnTo>
                    <a:lnTo>
                      <a:pt x="761" y="142"/>
                    </a:lnTo>
                    <a:lnTo>
                      <a:pt x="761" y="139"/>
                    </a:lnTo>
                    <a:lnTo>
                      <a:pt x="759" y="142"/>
                    </a:lnTo>
                    <a:lnTo>
                      <a:pt x="757" y="139"/>
                    </a:lnTo>
                    <a:lnTo>
                      <a:pt x="757" y="139"/>
                    </a:lnTo>
                    <a:lnTo>
                      <a:pt x="752" y="139"/>
                    </a:lnTo>
                    <a:lnTo>
                      <a:pt x="752" y="139"/>
                    </a:lnTo>
                    <a:lnTo>
                      <a:pt x="752" y="142"/>
                    </a:lnTo>
                    <a:close/>
                    <a:moveTo>
                      <a:pt x="598" y="139"/>
                    </a:moveTo>
                    <a:lnTo>
                      <a:pt x="598" y="142"/>
                    </a:lnTo>
                    <a:lnTo>
                      <a:pt x="598" y="142"/>
                    </a:lnTo>
                    <a:lnTo>
                      <a:pt x="601" y="142"/>
                    </a:lnTo>
                    <a:lnTo>
                      <a:pt x="601" y="142"/>
                    </a:lnTo>
                    <a:lnTo>
                      <a:pt x="601" y="142"/>
                    </a:lnTo>
                    <a:lnTo>
                      <a:pt x="601" y="139"/>
                    </a:lnTo>
                    <a:lnTo>
                      <a:pt x="598" y="139"/>
                    </a:lnTo>
                    <a:close/>
                    <a:moveTo>
                      <a:pt x="662" y="137"/>
                    </a:moveTo>
                    <a:lnTo>
                      <a:pt x="664" y="134"/>
                    </a:lnTo>
                    <a:lnTo>
                      <a:pt x="664" y="134"/>
                    </a:lnTo>
                    <a:lnTo>
                      <a:pt x="662" y="134"/>
                    </a:lnTo>
                    <a:lnTo>
                      <a:pt x="662" y="134"/>
                    </a:lnTo>
                    <a:lnTo>
                      <a:pt x="662" y="134"/>
                    </a:lnTo>
                    <a:lnTo>
                      <a:pt x="662" y="134"/>
                    </a:lnTo>
                    <a:lnTo>
                      <a:pt x="660" y="134"/>
                    </a:lnTo>
                    <a:lnTo>
                      <a:pt x="662" y="137"/>
                    </a:lnTo>
                    <a:lnTo>
                      <a:pt x="662" y="137"/>
                    </a:lnTo>
                    <a:close/>
                    <a:moveTo>
                      <a:pt x="497" y="134"/>
                    </a:moveTo>
                    <a:lnTo>
                      <a:pt x="497" y="134"/>
                    </a:lnTo>
                    <a:lnTo>
                      <a:pt x="497" y="137"/>
                    </a:lnTo>
                    <a:lnTo>
                      <a:pt x="497" y="137"/>
                    </a:lnTo>
                    <a:lnTo>
                      <a:pt x="497" y="134"/>
                    </a:lnTo>
                    <a:lnTo>
                      <a:pt x="497" y="134"/>
                    </a:lnTo>
                    <a:lnTo>
                      <a:pt x="499" y="134"/>
                    </a:lnTo>
                    <a:lnTo>
                      <a:pt x="499" y="137"/>
                    </a:lnTo>
                    <a:lnTo>
                      <a:pt x="501" y="134"/>
                    </a:lnTo>
                    <a:lnTo>
                      <a:pt x="499" y="134"/>
                    </a:lnTo>
                    <a:lnTo>
                      <a:pt x="499" y="134"/>
                    </a:lnTo>
                    <a:lnTo>
                      <a:pt x="497" y="134"/>
                    </a:lnTo>
                    <a:close/>
                    <a:moveTo>
                      <a:pt x="851" y="179"/>
                    </a:moveTo>
                    <a:lnTo>
                      <a:pt x="851" y="177"/>
                    </a:lnTo>
                    <a:lnTo>
                      <a:pt x="849" y="177"/>
                    </a:lnTo>
                    <a:lnTo>
                      <a:pt x="849" y="177"/>
                    </a:lnTo>
                    <a:lnTo>
                      <a:pt x="842" y="177"/>
                    </a:lnTo>
                    <a:lnTo>
                      <a:pt x="842" y="177"/>
                    </a:lnTo>
                    <a:lnTo>
                      <a:pt x="842" y="175"/>
                    </a:lnTo>
                    <a:lnTo>
                      <a:pt x="840" y="175"/>
                    </a:lnTo>
                    <a:lnTo>
                      <a:pt x="835" y="175"/>
                    </a:lnTo>
                    <a:lnTo>
                      <a:pt x="832" y="175"/>
                    </a:lnTo>
                    <a:lnTo>
                      <a:pt x="828" y="172"/>
                    </a:lnTo>
                    <a:lnTo>
                      <a:pt x="823" y="170"/>
                    </a:lnTo>
                    <a:lnTo>
                      <a:pt x="821" y="168"/>
                    </a:lnTo>
                    <a:lnTo>
                      <a:pt x="821" y="168"/>
                    </a:lnTo>
                    <a:lnTo>
                      <a:pt x="818" y="168"/>
                    </a:lnTo>
                    <a:lnTo>
                      <a:pt x="816" y="165"/>
                    </a:lnTo>
                    <a:lnTo>
                      <a:pt x="814" y="165"/>
                    </a:lnTo>
                    <a:lnTo>
                      <a:pt x="814" y="163"/>
                    </a:lnTo>
                    <a:lnTo>
                      <a:pt x="802" y="158"/>
                    </a:lnTo>
                    <a:lnTo>
                      <a:pt x="802" y="158"/>
                    </a:lnTo>
                    <a:lnTo>
                      <a:pt x="799" y="156"/>
                    </a:lnTo>
                    <a:lnTo>
                      <a:pt x="797" y="156"/>
                    </a:lnTo>
                    <a:lnTo>
                      <a:pt x="792" y="158"/>
                    </a:lnTo>
                    <a:lnTo>
                      <a:pt x="790" y="161"/>
                    </a:lnTo>
                    <a:lnTo>
                      <a:pt x="785" y="163"/>
                    </a:lnTo>
                    <a:lnTo>
                      <a:pt x="783" y="163"/>
                    </a:lnTo>
                    <a:lnTo>
                      <a:pt x="783" y="165"/>
                    </a:lnTo>
                    <a:lnTo>
                      <a:pt x="785" y="168"/>
                    </a:lnTo>
                    <a:lnTo>
                      <a:pt x="785" y="168"/>
                    </a:lnTo>
                    <a:lnTo>
                      <a:pt x="783" y="170"/>
                    </a:lnTo>
                    <a:lnTo>
                      <a:pt x="778" y="172"/>
                    </a:lnTo>
                    <a:lnTo>
                      <a:pt x="773" y="172"/>
                    </a:lnTo>
                    <a:lnTo>
                      <a:pt x="771" y="172"/>
                    </a:lnTo>
                    <a:lnTo>
                      <a:pt x="769" y="175"/>
                    </a:lnTo>
                    <a:lnTo>
                      <a:pt x="769" y="177"/>
                    </a:lnTo>
                    <a:lnTo>
                      <a:pt x="769" y="179"/>
                    </a:lnTo>
                    <a:lnTo>
                      <a:pt x="766" y="179"/>
                    </a:lnTo>
                    <a:lnTo>
                      <a:pt x="761" y="182"/>
                    </a:lnTo>
                    <a:lnTo>
                      <a:pt x="761" y="184"/>
                    </a:lnTo>
                    <a:lnTo>
                      <a:pt x="761" y="187"/>
                    </a:lnTo>
                    <a:lnTo>
                      <a:pt x="759" y="189"/>
                    </a:lnTo>
                    <a:lnTo>
                      <a:pt x="754" y="191"/>
                    </a:lnTo>
                    <a:lnTo>
                      <a:pt x="754" y="194"/>
                    </a:lnTo>
                    <a:lnTo>
                      <a:pt x="752" y="196"/>
                    </a:lnTo>
                    <a:lnTo>
                      <a:pt x="750" y="196"/>
                    </a:lnTo>
                    <a:lnTo>
                      <a:pt x="747" y="196"/>
                    </a:lnTo>
                    <a:lnTo>
                      <a:pt x="745" y="196"/>
                    </a:lnTo>
                    <a:lnTo>
                      <a:pt x="745" y="196"/>
                    </a:lnTo>
                    <a:lnTo>
                      <a:pt x="743" y="194"/>
                    </a:lnTo>
                    <a:lnTo>
                      <a:pt x="740" y="194"/>
                    </a:lnTo>
                    <a:lnTo>
                      <a:pt x="740" y="191"/>
                    </a:lnTo>
                    <a:lnTo>
                      <a:pt x="740" y="189"/>
                    </a:lnTo>
                    <a:lnTo>
                      <a:pt x="740" y="187"/>
                    </a:lnTo>
                    <a:lnTo>
                      <a:pt x="740" y="187"/>
                    </a:lnTo>
                    <a:lnTo>
                      <a:pt x="738" y="187"/>
                    </a:lnTo>
                    <a:lnTo>
                      <a:pt x="738" y="182"/>
                    </a:lnTo>
                    <a:lnTo>
                      <a:pt x="738" y="179"/>
                    </a:lnTo>
                    <a:lnTo>
                      <a:pt x="738" y="179"/>
                    </a:lnTo>
                    <a:lnTo>
                      <a:pt x="735" y="177"/>
                    </a:lnTo>
                    <a:lnTo>
                      <a:pt x="735" y="179"/>
                    </a:lnTo>
                    <a:lnTo>
                      <a:pt x="733" y="179"/>
                    </a:lnTo>
                    <a:lnTo>
                      <a:pt x="733" y="182"/>
                    </a:lnTo>
                    <a:lnTo>
                      <a:pt x="733" y="184"/>
                    </a:lnTo>
                    <a:lnTo>
                      <a:pt x="731" y="179"/>
                    </a:lnTo>
                    <a:lnTo>
                      <a:pt x="728" y="175"/>
                    </a:lnTo>
                    <a:lnTo>
                      <a:pt x="728" y="172"/>
                    </a:lnTo>
                    <a:lnTo>
                      <a:pt x="728" y="170"/>
                    </a:lnTo>
                    <a:lnTo>
                      <a:pt x="728" y="168"/>
                    </a:lnTo>
                    <a:lnTo>
                      <a:pt x="728" y="163"/>
                    </a:lnTo>
                    <a:lnTo>
                      <a:pt x="728" y="161"/>
                    </a:lnTo>
                    <a:lnTo>
                      <a:pt x="728" y="158"/>
                    </a:lnTo>
                    <a:lnTo>
                      <a:pt x="731" y="158"/>
                    </a:lnTo>
                    <a:lnTo>
                      <a:pt x="731" y="156"/>
                    </a:lnTo>
                    <a:lnTo>
                      <a:pt x="731" y="153"/>
                    </a:lnTo>
                    <a:lnTo>
                      <a:pt x="731" y="153"/>
                    </a:lnTo>
                    <a:lnTo>
                      <a:pt x="728" y="151"/>
                    </a:lnTo>
                    <a:lnTo>
                      <a:pt x="728" y="149"/>
                    </a:lnTo>
                    <a:lnTo>
                      <a:pt x="728" y="146"/>
                    </a:lnTo>
                    <a:lnTo>
                      <a:pt x="728" y="144"/>
                    </a:lnTo>
                    <a:lnTo>
                      <a:pt x="728" y="144"/>
                    </a:lnTo>
                    <a:lnTo>
                      <a:pt x="726" y="142"/>
                    </a:lnTo>
                    <a:lnTo>
                      <a:pt x="726" y="142"/>
                    </a:lnTo>
                    <a:lnTo>
                      <a:pt x="724" y="142"/>
                    </a:lnTo>
                    <a:lnTo>
                      <a:pt x="721" y="142"/>
                    </a:lnTo>
                    <a:lnTo>
                      <a:pt x="717" y="142"/>
                    </a:lnTo>
                    <a:lnTo>
                      <a:pt x="712" y="139"/>
                    </a:lnTo>
                    <a:lnTo>
                      <a:pt x="709" y="137"/>
                    </a:lnTo>
                    <a:lnTo>
                      <a:pt x="705" y="134"/>
                    </a:lnTo>
                    <a:lnTo>
                      <a:pt x="700" y="132"/>
                    </a:lnTo>
                    <a:lnTo>
                      <a:pt x="698" y="132"/>
                    </a:lnTo>
                    <a:lnTo>
                      <a:pt x="695" y="132"/>
                    </a:lnTo>
                    <a:lnTo>
                      <a:pt x="691" y="134"/>
                    </a:lnTo>
                    <a:lnTo>
                      <a:pt x="691" y="134"/>
                    </a:lnTo>
                    <a:lnTo>
                      <a:pt x="691" y="137"/>
                    </a:lnTo>
                    <a:lnTo>
                      <a:pt x="688" y="137"/>
                    </a:lnTo>
                    <a:lnTo>
                      <a:pt x="686" y="139"/>
                    </a:lnTo>
                    <a:lnTo>
                      <a:pt x="686" y="139"/>
                    </a:lnTo>
                    <a:lnTo>
                      <a:pt x="679" y="142"/>
                    </a:lnTo>
                    <a:lnTo>
                      <a:pt x="676" y="142"/>
                    </a:lnTo>
                    <a:lnTo>
                      <a:pt x="674" y="144"/>
                    </a:lnTo>
                    <a:lnTo>
                      <a:pt x="674" y="144"/>
                    </a:lnTo>
                    <a:lnTo>
                      <a:pt x="674" y="146"/>
                    </a:lnTo>
                    <a:lnTo>
                      <a:pt x="674" y="146"/>
                    </a:lnTo>
                    <a:lnTo>
                      <a:pt x="674" y="149"/>
                    </a:lnTo>
                    <a:lnTo>
                      <a:pt x="672" y="151"/>
                    </a:lnTo>
                    <a:lnTo>
                      <a:pt x="672" y="151"/>
                    </a:lnTo>
                    <a:lnTo>
                      <a:pt x="672" y="151"/>
                    </a:lnTo>
                    <a:lnTo>
                      <a:pt x="669" y="153"/>
                    </a:lnTo>
                    <a:lnTo>
                      <a:pt x="669" y="156"/>
                    </a:lnTo>
                    <a:lnTo>
                      <a:pt x="672" y="156"/>
                    </a:lnTo>
                    <a:lnTo>
                      <a:pt x="672" y="156"/>
                    </a:lnTo>
                    <a:lnTo>
                      <a:pt x="674" y="156"/>
                    </a:lnTo>
                    <a:lnTo>
                      <a:pt x="674" y="156"/>
                    </a:lnTo>
                    <a:lnTo>
                      <a:pt x="676" y="153"/>
                    </a:lnTo>
                    <a:lnTo>
                      <a:pt x="683" y="158"/>
                    </a:lnTo>
                    <a:lnTo>
                      <a:pt x="686" y="158"/>
                    </a:lnTo>
                    <a:lnTo>
                      <a:pt x="688" y="158"/>
                    </a:lnTo>
                    <a:lnTo>
                      <a:pt x="688" y="161"/>
                    </a:lnTo>
                    <a:lnTo>
                      <a:pt x="688" y="165"/>
                    </a:lnTo>
                    <a:lnTo>
                      <a:pt x="688" y="168"/>
                    </a:lnTo>
                    <a:lnTo>
                      <a:pt x="691" y="168"/>
                    </a:lnTo>
                    <a:lnTo>
                      <a:pt x="691" y="170"/>
                    </a:lnTo>
                    <a:lnTo>
                      <a:pt x="693" y="170"/>
                    </a:lnTo>
                    <a:lnTo>
                      <a:pt x="693" y="172"/>
                    </a:lnTo>
                    <a:lnTo>
                      <a:pt x="695" y="172"/>
                    </a:lnTo>
                    <a:lnTo>
                      <a:pt x="698" y="172"/>
                    </a:lnTo>
                    <a:lnTo>
                      <a:pt x="700" y="172"/>
                    </a:lnTo>
                    <a:lnTo>
                      <a:pt x="705" y="172"/>
                    </a:lnTo>
                    <a:lnTo>
                      <a:pt x="707" y="172"/>
                    </a:lnTo>
                    <a:lnTo>
                      <a:pt x="712" y="172"/>
                    </a:lnTo>
                    <a:lnTo>
                      <a:pt x="714" y="172"/>
                    </a:lnTo>
                    <a:lnTo>
                      <a:pt x="717" y="172"/>
                    </a:lnTo>
                    <a:lnTo>
                      <a:pt x="719" y="172"/>
                    </a:lnTo>
                    <a:lnTo>
                      <a:pt x="724" y="170"/>
                    </a:lnTo>
                    <a:lnTo>
                      <a:pt x="724" y="170"/>
                    </a:lnTo>
                    <a:lnTo>
                      <a:pt x="724" y="172"/>
                    </a:lnTo>
                    <a:lnTo>
                      <a:pt x="724" y="172"/>
                    </a:lnTo>
                    <a:lnTo>
                      <a:pt x="721" y="175"/>
                    </a:lnTo>
                    <a:lnTo>
                      <a:pt x="724" y="175"/>
                    </a:lnTo>
                    <a:lnTo>
                      <a:pt x="724" y="175"/>
                    </a:lnTo>
                    <a:lnTo>
                      <a:pt x="724" y="177"/>
                    </a:lnTo>
                    <a:lnTo>
                      <a:pt x="721" y="177"/>
                    </a:lnTo>
                    <a:lnTo>
                      <a:pt x="721" y="177"/>
                    </a:lnTo>
                    <a:lnTo>
                      <a:pt x="719" y="179"/>
                    </a:lnTo>
                    <a:lnTo>
                      <a:pt x="719" y="179"/>
                    </a:lnTo>
                    <a:lnTo>
                      <a:pt x="719" y="179"/>
                    </a:lnTo>
                    <a:lnTo>
                      <a:pt x="719" y="179"/>
                    </a:lnTo>
                    <a:lnTo>
                      <a:pt x="717" y="179"/>
                    </a:lnTo>
                    <a:lnTo>
                      <a:pt x="714" y="177"/>
                    </a:lnTo>
                    <a:lnTo>
                      <a:pt x="712" y="177"/>
                    </a:lnTo>
                    <a:lnTo>
                      <a:pt x="709" y="177"/>
                    </a:lnTo>
                    <a:lnTo>
                      <a:pt x="709" y="177"/>
                    </a:lnTo>
                    <a:lnTo>
                      <a:pt x="707" y="177"/>
                    </a:lnTo>
                    <a:lnTo>
                      <a:pt x="705" y="182"/>
                    </a:lnTo>
                    <a:lnTo>
                      <a:pt x="702" y="184"/>
                    </a:lnTo>
                    <a:lnTo>
                      <a:pt x="700" y="184"/>
                    </a:lnTo>
                    <a:lnTo>
                      <a:pt x="698" y="182"/>
                    </a:lnTo>
                    <a:lnTo>
                      <a:pt x="693" y="182"/>
                    </a:lnTo>
                    <a:lnTo>
                      <a:pt x="693" y="182"/>
                    </a:lnTo>
                    <a:lnTo>
                      <a:pt x="688" y="184"/>
                    </a:lnTo>
                    <a:lnTo>
                      <a:pt x="688" y="184"/>
                    </a:lnTo>
                    <a:lnTo>
                      <a:pt x="688" y="187"/>
                    </a:lnTo>
                    <a:lnTo>
                      <a:pt x="688" y="187"/>
                    </a:lnTo>
                    <a:lnTo>
                      <a:pt x="691" y="187"/>
                    </a:lnTo>
                    <a:lnTo>
                      <a:pt x="693" y="187"/>
                    </a:lnTo>
                    <a:lnTo>
                      <a:pt x="695" y="189"/>
                    </a:lnTo>
                    <a:lnTo>
                      <a:pt x="698" y="191"/>
                    </a:lnTo>
                    <a:lnTo>
                      <a:pt x="702" y="194"/>
                    </a:lnTo>
                    <a:lnTo>
                      <a:pt x="702" y="198"/>
                    </a:lnTo>
                    <a:lnTo>
                      <a:pt x="702" y="201"/>
                    </a:lnTo>
                    <a:lnTo>
                      <a:pt x="700" y="203"/>
                    </a:lnTo>
                    <a:lnTo>
                      <a:pt x="702" y="206"/>
                    </a:lnTo>
                    <a:lnTo>
                      <a:pt x="702" y="208"/>
                    </a:lnTo>
                    <a:lnTo>
                      <a:pt x="702" y="210"/>
                    </a:lnTo>
                    <a:lnTo>
                      <a:pt x="705" y="210"/>
                    </a:lnTo>
                    <a:lnTo>
                      <a:pt x="705" y="213"/>
                    </a:lnTo>
                    <a:lnTo>
                      <a:pt x="707" y="210"/>
                    </a:lnTo>
                    <a:lnTo>
                      <a:pt x="709" y="210"/>
                    </a:lnTo>
                    <a:lnTo>
                      <a:pt x="709" y="210"/>
                    </a:lnTo>
                    <a:lnTo>
                      <a:pt x="712" y="208"/>
                    </a:lnTo>
                    <a:lnTo>
                      <a:pt x="714" y="206"/>
                    </a:lnTo>
                    <a:lnTo>
                      <a:pt x="714" y="206"/>
                    </a:lnTo>
                    <a:lnTo>
                      <a:pt x="714" y="203"/>
                    </a:lnTo>
                    <a:lnTo>
                      <a:pt x="714" y="201"/>
                    </a:lnTo>
                    <a:lnTo>
                      <a:pt x="717" y="198"/>
                    </a:lnTo>
                    <a:lnTo>
                      <a:pt x="717" y="196"/>
                    </a:lnTo>
                    <a:lnTo>
                      <a:pt x="717" y="198"/>
                    </a:lnTo>
                    <a:lnTo>
                      <a:pt x="719" y="196"/>
                    </a:lnTo>
                    <a:lnTo>
                      <a:pt x="719" y="191"/>
                    </a:lnTo>
                    <a:lnTo>
                      <a:pt x="719" y="191"/>
                    </a:lnTo>
                    <a:lnTo>
                      <a:pt x="719" y="191"/>
                    </a:lnTo>
                    <a:lnTo>
                      <a:pt x="721" y="189"/>
                    </a:lnTo>
                    <a:lnTo>
                      <a:pt x="721" y="189"/>
                    </a:lnTo>
                    <a:lnTo>
                      <a:pt x="721" y="191"/>
                    </a:lnTo>
                    <a:lnTo>
                      <a:pt x="719" y="194"/>
                    </a:lnTo>
                    <a:lnTo>
                      <a:pt x="719" y="196"/>
                    </a:lnTo>
                    <a:lnTo>
                      <a:pt x="719" y="198"/>
                    </a:lnTo>
                    <a:lnTo>
                      <a:pt x="719" y="201"/>
                    </a:lnTo>
                    <a:lnTo>
                      <a:pt x="721" y="203"/>
                    </a:lnTo>
                    <a:lnTo>
                      <a:pt x="721" y="203"/>
                    </a:lnTo>
                    <a:lnTo>
                      <a:pt x="721" y="203"/>
                    </a:lnTo>
                    <a:lnTo>
                      <a:pt x="724" y="206"/>
                    </a:lnTo>
                    <a:lnTo>
                      <a:pt x="724" y="206"/>
                    </a:lnTo>
                    <a:lnTo>
                      <a:pt x="726" y="206"/>
                    </a:lnTo>
                    <a:lnTo>
                      <a:pt x="726" y="206"/>
                    </a:lnTo>
                    <a:lnTo>
                      <a:pt x="726" y="206"/>
                    </a:lnTo>
                    <a:lnTo>
                      <a:pt x="728" y="206"/>
                    </a:lnTo>
                    <a:lnTo>
                      <a:pt x="728" y="208"/>
                    </a:lnTo>
                    <a:lnTo>
                      <a:pt x="728" y="208"/>
                    </a:lnTo>
                    <a:lnTo>
                      <a:pt x="731" y="208"/>
                    </a:lnTo>
                    <a:lnTo>
                      <a:pt x="733" y="208"/>
                    </a:lnTo>
                    <a:lnTo>
                      <a:pt x="733" y="210"/>
                    </a:lnTo>
                    <a:lnTo>
                      <a:pt x="735" y="210"/>
                    </a:lnTo>
                    <a:lnTo>
                      <a:pt x="738" y="208"/>
                    </a:lnTo>
                    <a:lnTo>
                      <a:pt x="738" y="208"/>
                    </a:lnTo>
                    <a:lnTo>
                      <a:pt x="740" y="208"/>
                    </a:lnTo>
                    <a:lnTo>
                      <a:pt x="738" y="208"/>
                    </a:lnTo>
                    <a:lnTo>
                      <a:pt x="738" y="210"/>
                    </a:lnTo>
                    <a:lnTo>
                      <a:pt x="735" y="210"/>
                    </a:lnTo>
                    <a:lnTo>
                      <a:pt x="738" y="213"/>
                    </a:lnTo>
                    <a:lnTo>
                      <a:pt x="745" y="220"/>
                    </a:lnTo>
                    <a:lnTo>
                      <a:pt x="747" y="220"/>
                    </a:lnTo>
                    <a:lnTo>
                      <a:pt x="750" y="220"/>
                    </a:lnTo>
                    <a:lnTo>
                      <a:pt x="750" y="220"/>
                    </a:lnTo>
                    <a:lnTo>
                      <a:pt x="754" y="220"/>
                    </a:lnTo>
                    <a:lnTo>
                      <a:pt x="761" y="220"/>
                    </a:lnTo>
                    <a:lnTo>
                      <a:pt x="761" y="222"/>
                    </a:lnTo>
                    <a:lnTo>
                      <a:pt x="764" y="224"/>
                    </a:lnTo>
                    <a:lnTo>
                      <a:pt x="769" y="224"/>
                    </a:lnTo>
                    <a:lnTo>
                      <a:pt x="771" y="227"/>
                    </a:lnTo>
                    <a:lnTo>
                      <a:pt x="776" y="229"/>
                    </a:lnTo>
                    <a:lnTo>
                      <a:pt x="778" y="229"/>
                    </a:lnTo>
                    <a:lnTo>
                      <a:pt x="778" y="229"/>
                    </a:lnTo>
                    <a:lnTo>
                      <a:pt x="780" y="229"/>
                    </a:lnTo>
                    <a:lnTo>
                      <a:pt x="780" y="229"/>
                    </a:lnTo>
                    <a:lnTo>
                      <a:pt x="780" y="229"/>
                    </a:lnTo>
                    <a:lnTo>
                      <a:pt x="783" y="232"/>
                    </a:lnTo>
                    <a:lnTo>
                      <a:pt x="783" y="229"/>
                    </a:lnTo>
                    <a:lnTo>
                      <a:pt x="785" y="229"/>
                    </a:lnTo>
                    <a:lnTo>
                      <a:pt x="785" y="232"/>
                    </a:lnTo>
                    <a:lnTo>
                      <a:pt x="792" y="236"/>
                    </a:lnTo>
                    <a:lnTo>
                      <a:pt x="792" y="236"/>
                    </a:lnTo>
                    <a:lnTo>
                      <a:pt x="795" y="239"/>
                    </a:lnTo>
                    <a:lnTo>
                      <a:pt x="795" y="239"/>
                    </a:lnTo>
                    <a:lnTo>
                      <a:pt x="795" y="239"/>
                    </a:lnTo>
                    <a:lnTo>
                      <a:pt x="797" y="239"/>
                    </a:lnTo>
                    <a:lnTo>
                      <a:pt x="797" y="241"/>
                    </a:lnTo>
                    <a:lnTo>
                      <a:pt x="799" y="243"/>
                    </a:lnTo>
                    <a:lnTo>
                      <a:pt x="797" y="243"/>
                    </a:lnTo>
                    <a:lnTo>
                      <a:pt x="797" y="246"/>
                    </a:lnTo>
                    <a:lnTo>
                      <a:pt x="799" y="246"/>
                    </a:lnTo>
                    <a:lnTo>
                      <a:pt x="799" y="246"/>
                    </a:lnTo>
                    <a:lnTo>
                      <a:pt x="799" y="246"/>
                    </a:lnTo>
                    <a:lnTo>
                      <a:pt x="802" y="246"/>
                    </a:lnTo>
                    <a:lnTo>
                      <a:pt x="804" y="246"/>
                    </a:lnTo>
                    <a:lnTo>
                      <a:pt x="802" y="246"/>
                    </a:lnTo>
                    <a:lnTo>
                      <a:pt x="799" y="248"/>
                    </a:lnTo>
                    <a:lnTo>
                      <a:pt x="802" y="248"/>
                    </a:lnTo>
                    <a:lnTo>
                      <a:pt x="804" y="248"/>
                    </a:lnTo>
                    <a:lnTo>
                      <a:pt x="802" y="251"/>
                    </a:lnTo>
                    <a:lnTo>
                      <a:pt x="802" y="251"/>
                    </a:lnTo>
                    <a:lnTo>
                      <a:pt x="804" y="255"/>
                    </a:lnTo>
                    <a:lnTo>
                      <a:pt x="804" y="260"/>
                    </a:lnTo>
                    <a:lnTo>
                      <a:pt x="806" y="262"/>
                    </a:lnTo>
                    <a:lnTo>
                      <a:pt x="806" y="265"/>
                    </a:lnTo>
                    <a:lnTo>
                      <a:pt x="809" y="265"/>
                    </a:lnTo>
                    <a:lnTo>
                      <a:pt x="809" y="267"/>
                    </a:lnTo>
                    <a:lnTo>
                      <a:pt x="811" y="269"/>
                    </a:lnTo>
                    <a:lnTo>
                      <a:pt x="811" y="269"/>
                    </a:lnTo>
                    <a:lnTo>
                      <a:pt x="809" y="272"/>
                    </a:lnTo>
                    <a:lnTo>
                      <a:pt x="806" y="272"/>
                    </a:lnTo>
                    <a:lnTo>
                      <a:pt x="806" y="272"/>
                    </a:lnTo>
                    <a:lnTo>
                      <a:pt x="809" y="274"/>
                    </a:lnTo>
                    <a:lnTo>
                      <a:pt x="811" y="277"/>
                    </a:lnTo>
                    <a:lnTo>
                      <a:pt x="814" y="277"/>
                    </a:lnTo>
                    <a:lnTo>
                      <a:pt x="816" y="277"/>
                    </a:lnTo>
                    <a:lnTo>
                      <a:pt x="816" y="277"/>
                    </a:lnTo>
                    <a:lnTo>
                      <a:pt x="814" y="279"/>
                    </a:lnTo>
                    <a:lnTo>
                      <a:pt x="814" y="279"/>
                    </a:lnTo>
                    <a:lnTo>
                      <a:pt x="811" y="277"/>
                    </a:lnTo>
                    <a:lnTo>
                      <a:pt x="811" y="277"/>
                    </a:lnTo>
                    <a:lnTo>
                      <a:pt x="809" y="277"/>
                    </a:lnTo>
                    <a:lnTo>
                      <a:pt x="809" y="279"/>
                    </a:lnTo>
                    <a:lnTo>
                      <a:pt x="809" y="279"/>
                    </a:lnTo>
                    <a:lnTo>
                      <a:pt x="811" y="281"/>
                    </a:lnTo>
                    <a:lnTo>
                      <a:pt x="811" y="281"/>
                    </a:lnTo>
                    <a:lnTo>
                      <a:pt x="811" y="284"/>
                    </a:lnTo>
                    <a:lnTo>
                      <a:pt x="814" y="284"/>
                    </a:lnTo>
                    <a:lnTo>
                      <a:pt x="814" y="284"/>
                    </a:lnTo>
                    <a:lnTo>
                      <a:pt x="814" y="286"/>
                    </a:lnTo>
                    <a:lnTo>
                      <a:pt x="814" y="286"/>
                    </a:lnTo>
                    <a:lnTo>
                      <a:pt x="814" y="288"/>
                    </a:lnTo>
                    <a:lnTo>
                      <a:pt x="814" y="291"/>
                    </a:lnTo>
                    <a:lnTo>
                      <a:pt x="811" y="293"/>
                    </a:lnTo>
                    <a:lnTo>
                      <a:pt x="811" y="295"/>
                    </a:lnTo>
                    <a:lnTo>
                      <a:pt x="809" y="295"/>
                    </a:lnTo>
                    <a:lnTo>
                      <a:pt x="809" y="298"/>
                    </a:lnTo>
                    <a:lnTo>
                      <a:pt x="809" y="298"/>
                    </a:lnTo>
                    <a:lnTo>
                      <a:pt x="809" y="300"/>
                    </a:lnTo>
                    <a:lnTo>
                      <a:pt x="811" y="300"/>
                    </a:lnTo>
                    <a:lnTo>
                      <a:pt x="814" y="298"/>
                    </a:lnTo>
                    <a:lnTo>
                      <a:pt x="816" y="295"/>
                    </a:lnTo>
                    <a:lnTo>
                      <a:pt x="816" y="293"/>
                    </a:lnTo>
                    <a:lnTo>
                      <a:pt x="816" y="295"/>
                    </a:lnTo>
                    <a:lnTo>
                      <a:pt x="816" y="295"/>
                    </a:lnTo>
                    <a:lnTo>
                      <a:pt x="818" y="298"/>
                    </a:lnTo>
                    <a:lnTo>
                      <a:pt x="818" y="298"/>
                    </a:lnTo>
                    <a:lnTo>
                      <a:pt x="821" y="298"/>
                    </a:lnTo>
                    <a:lnTo>
                      <a:pt x="823" y="298"/>
                    </a:lnTo>
                    <a:lnTo>
                      <a:pt x="828" y="295"/>
                    </a:lnTo>
                    <a:lnTo>
                      <a:pt x="830" y="295"/>
                    </a:lnTo>
                    <a:lnTo>
                      <a:pt x="830" y="295"/>
                    </a:lnTo>
                    <a:lnTo>
                      <a:pt x="832" y="293"/>
                    </a:lnTo>
                    <a:lnTo>
                      <a:pt x="830" y="295"/>
                    </a:lnTo>
                    <a:lnTo>
                      <a:pt x="830" y="298"/>
                    </a:lnTo>
                    <a:lnTo>
                      <a:pt x="830" y="298"/>
                    </a:lnTo>
                    <a:lnTo>
                      <a:pt x="830" y="298"/>
                    </a:lnTo>
                    <a:lnTo>
                      <a:pt x="832" y="300"/>
                    </a:lnTo>
                    <a:lnTo>
                      <a:pt x="840" y="307"/>
                    </a:lnTo>
                    <a:lnTo>
                      <a:pt x="840" y="310"/>
                    </a:lnTo>
                    <a:lnTo>
                      <a:pt x="842" y="312"/>
                    </a:lnTo>
                    <a:lnTo>
                      <a:pt x="844" y="314"/>
                    </a:lnTo>
                    <a:lnTo>
                      <a:pt x="847" y="317"/>
                    </a:lnTo>
                    <a:lnTo>
                      <a:pt x="847" y="317"/>
                    </a:lnTo>
                    <a:lnTo>
                      <a:pt x="847" y="317"/>
                    </a:lnTo>
                    <a:lnTo>
                      <a:pt x="847" y="314"/>
                    </a:lnTo>
                    <a:lnTo>
                      <a:pt x="847" y="310"/>
                    </a:lnTo>
                    <a:lnTo>
                      <a:pt x="849" y="305"/>
                    </a:lnTo>
                    <a:lnTo>
                      <a:pt x="849" y="300"/>
                    </a:lnTo>
                    <a:lnTo>
                      <a:pt x="849" y="295"/>
                    </a:lnTo>
                    <a:lnTo>
                      <a:pt x="849" y="291"/>
                    </a:lnTo>
                    <a:lnTo>
                      <a:pt x="849" y="288"/>
                    </a:lnTo>
                    <a:lnTo>
                      <a:pt x="849" y="284"/>
                    </a:lnTo>
                    <a:lnTo>
                      <a:pt x="849" y="279"/>
                    </a:lnTo>
                    <a:lnTo>
                      <a:pt x="851" y="274"/>
                    </a:lnTo>
                    <a:lnTo>
                      <a:pt x="851" y="272"/>
                    </a:lnTo>
                    <a:lnTo>
                      <a:pt x="849" y="269"/>
                    </a:lnTo>
                    <a:lnTo>
                      <a:pt x="849" y="267"/>
                    </a:lnTo>
                    <a:lnTo>
                      <a:pt x="849" y="265"/>
                    </a:lnTo>
                    <a:lnTo>
                      <a:pt x="851" y="262"/>
                    </a:lnTo>
                    <a:lnTo>
                      <a:pt x="851" y="260"/>
                    </a:lnTo>
                    <a:lnTo>
                      <a:pt x="851" y="258"/>
                    </a:lnTo>
                    <a:lnTo>
                      <a:pt x="851" y="253"/>
                    </a:lnTo>
                    <a:lnTo>
                      <a:pt x="851" y="248"/>
                    </a:lnTo>
                    <a:lnTo>
                      <a:pt x="851" y="243"/>
                    </a:lnTo>
                    <a:lnTo>
                      <a:pt x="851" y="241"/>
                    </a:lnTo>
                    <a:lnTo>
                      <a:pt x="854" y="236"/>
                    </a:lnTo>
                    <a:lnTo>
                      <a:pt x="854" y="232"/>
                    </a:lnTo>
                    <a:lnTo>
                      <a:pt x="854" y="227"/>
                    </a:lnTo>
                    <a:lnTo>
                      <a:pt x="854" y="222"/>
                    </a:lnTo>
                    <a:lnTo>
                      <a:pt x="854" y="220"/>
                    </a:lnTo>
                    <a:lnTo>
                      <a:pt x="854" y="215"/>
                    </a:lnTo>
                    <a:lnTo>
                      <a:pt x="854" y="210"/>
                    </a:lnTo>
                    <a:lnTo>
                      <a:pt x="854" y="206"/>
                    </a:lnTo>
                    <a:lnTo>
                      <a:pt x="854" y="201"/>
                    </a:lnTo>
                    <a:lnTo>
                      <a:pt x="854" y="198"/>
                    </a:lnTo>
                    <a:lnTo>
                      <a:pt x="854" y="194"/>
                    </a:lnTo>
                    <a:lnTo>
                      <a:pt x="856" y="189"/>
                    </a:lnTo>
                    <a:lnTo>
                      <a:pt x="856" y="184"/>
                    </a:lnTo>
                    <a:lnTo>
                      <a:pt x="856" y="179"/>
                    </a:lnTo>
                    <a:lnTo>
                      <a:pt x="851" y="179"/>
                    </a:lnTo>
                    <a:close/>
                    <a:moveTo>
                      <a:pt x="172" y="134"/>
                    </a:moveTo>
                    <a:lnTo>
                      <a:pt x="172" y="132"/>
                    </a:lnTo>
                    <a:lnTo>
                      <a:pt x="172" y="132"/>
                    </a:lnTo>
                    <a:lnTo>
                      <a:pt x="172" y="132"/>
                    </a:lnTo>
                    <a:lnTo>
                      <a:pt x="170" y="134"/>
                    </a:lnTo>
                    <a:lnTo>
                      <a:pt x="172" y="137"/>
                    </a:lnTo>
                    <a:lnTo>
                      <a:pt x="172" y="139"/>
                    </a:lnTo>
                    <a:lnTo>
                      <a:pt x="175" y="137"/>
                    </a:lnTo>
                    <a:lnTo>
                      <a:pt x="175" y="139"/>
                    </a:lnTo>
                    <a:lnTo>
                      <a:pt x="175" y="137"/>
                    </a:lnTo>
                    <a:lnTo>
                      <a:pt x="177" y="137"/>
                    </a:lnTo>
                    <a:lnTo>
                      <a:pt x="177" y="134"/>
                    </a:lnTo>
                    <a:lnTo>
                      <a:pt x="177" y="134"/>
                    </a:lnTo>
                    <a:lnTo>
                      <a:pt x="175" y="132"/>
                    </a:lnTo>
                    <a:lnTo>
                      <a:pt x="172" y="134"/>
                    </a:lnTo>
                    <a:close/>
                    <a:moveTo>
                      <a:pt x="605" y="139"/>
                    </a:moveTo>
                    <a:lnTo>
                      <a:pt x="603" y="142"/>
                    </a:lnTo>
                    <a:lnTo>
                      <a:pt x="603" y="142"/>
                    </a:lnTo>
                    <a:lnTo>
                      <a:pt x="605" y="142"/>
                    </a:lnTo>
                    <a:lnTo>
                      <a:pt x="608" y="142"/>
                    </a:lnTo>
                    <a:lnTo>
                      <a:pt x="608" y="142"/>
                    </a:lnTo>
                    <a:lnTo>
                      <a:pt x="608" y="142"/>
                    </a:lnTo>
                    <a:lnTo>
                      <a:pt x="610" y="144"/>
                    </a:lnTo>
                    <a:lnTo>
                      <a:pt x="610" y="144"/>
                    </a:lnTo>
                    <a:lnTo>
                      <a:pt x="612" y="142"/>
                    </a:lnTo>
                    <a:lnTo>
                      <a:pt x="612" y="142"/>
                    </a:lnTo>
                    <a:lnTo>
                      <a:pt x="610" y="139"/>
                    </a:lnTo>
                    <a:lnTo>
                      <a:pt x="610" y="139"/>
                    </a:lnTo>
                    <a:lnTo>
                      <a:pt x="608" y="139"/>
                    </a:lnTo>
                    <a:lnTo>
                      <a:pt x="608" y="137"/>
                    </a:lnTo>
                    <a:lnTo>
                      <a:pt x="608" y="134"/>
                    </a:lnTo>
                    <a:lnTo>
                      <a:pt x="605" y="132"/>
                    </a:lnTo>
                    <a:lnTo>
                      <a:pt x="605" y="132"/>
                    </a:lnTo>
                    <a:lnTo>
                      <a:pt x="605" y="132"/>
                    </a:lnTo>
                    <a:lnTo>
                      <a:pt x="603" y="134"/>
                    </a:lnTo>
                    <a:lnTo>
                      <a:pt x="603" y="132"/>
                    </a:lnTo>
                    <a:lnTo>
                      <a:pt x="601" y="132"/>
                    </a:lnTo>
                    <a:lnTo>
                      <a:pt x="601" y="134"/>
                    </a:lnTo>
                    <a:lnTo>
                      <a:pt x="601" y="134"/>
                    </a:lnTo>
                    <a:lnTo>
                      <a:pt x="601" y="134"/>
                    </a:lnTo>
                    <a:lnTo>
                      <a:pt x="603" y="137"/>
                    </a:lnTo>
                    <a:lnTo>
                      <a:pt x="605" y="139"/>
                    </a:lnTo>
                    <a:close/>
                    <a:moveTo>
                      <a:pt x="598" y="137"/>
                    </a:moveTo>
                    <a:lnTo>
                      <a:pt x="601" y="134"/>
                    </a:lnTo>
                    <a:lnTo>
                      <a:pt x="601" y="134"/>
                    </a:lnTo>
                    <a:lnTo>
                      <a:pt x="601" y="132"/>
                    </a:lnTo>
                    <a:lnTo>
                      <a:pt x="601" y="132"/>
                    </a:lnTo>
                    <a:lnTo>
                      <a:pt x="598" y="130"/>
                    </a:lnTo>
                    <a:lnTo>
                      <a:pt x="598" y="132"/>
                    </a:lnTo>
                    <a:lnTo>
                      <a:pt x="598" y="134"/>
                    </a:lnTo>
                    <a:lnTo>
                      <a:pt x="598" y="137"/>
                    </a:lnTo>
                    <a:lnTo>
                      <a:pt x="598" y="137"/>
                    </a:lnTo>
                    <a:close/>
                    <a:moveTo>
                      <a:pt x="158" y="130"/>
                    </a:moveTo>
                    <a:lnTo>
                      <a:pt x="156" y="132"/>
                    </a:lnTo>
                    <a:lnTo>
                      <a:pt x="156" y="132"/>
                    </a:lnTo>
                    <a:lnTo>
                      <a:pt x="158" y="132"/>
                    </a:lnTo>
                    <a:lnTo>
                      <a:pt x="161" y="132"/>
                    </a:lnTo>
                    <a:lnTo>
                      <a:pt x="163" y="132"/>
                    </a:lnTo>
                    <a:lnTo>
                      <a:pt x="161" y="130"/>
                    </a:lnTo>
                    <a:lnTo>
                      <a:pt x="158" y="130"/>
                    </a:lnTo>
                    <a:lnTo>
                      <a:pt x="158" y="130"/>
                    </a:lnTo>
                    <a:close/>
                    <a:moveTo>
                      <a:pt x="660" y="130"/>
                    </a:moveTo>
                    <a:lnTo>
                      <a:pt x="662" y="132"/>
                    </a:lnTo>
                    <a:lnTo>
                      <a:pt x="662" y="132"/>
                    </a:lnTo>
                    <a:lnTo>
                      <a:pt x="662" y="132"/>
                    </a:lnTo>
                    <a:lnTo>
                      <a:pt x="664" y="132"/>
                    </a:lnTo>
                    <a:lnTo>
                      <a:pt x="664" y="134"/>
                    </a:lnTo>
                    <a:lnTo>
                      <a:pt x="664" y="134"/>
                    </a:lnTo>
                    <a:lnTo>
                      <a:pt x="669" y="134"/>
                    </a:lnTo>
                    <a:lnTo>
                      <a:pt x="669" y="132"/>
                    </a:lnTo>
                    <a:lnTo>
                      <a:pt x="667" y="132"/>
                    </a:lnTo>
                    <a:lnTo>
                      <a:pt x="667" y="132"/>
                    </a:lnTo>
                    <a:lnTo>
                      <a:pt x="667" y="132"/>
                    </a:lnTo>
                    <a:lnTo>
                      <a:pt x="664" y="130"/>
                    </a:lnTo>
                    <a:lnTo>
                      <a:pt x="664" y="127"/>
                    </a:lnTo>
                    <a:lnTo>
                      <a:pt x="662" y="127"/>
                    </a:lnTo>
                    <a:lnTo>
                      <a:pt x="664" y="127"/>
                    </a:lnTo>
                    <a:lnTo>
                      <a:pt x="667" y="130"/>
                    </a:lnTo>
                    <a:lnTo>
                      <a:pt x="669" y="130"/>
                    </a:lnTo>
                    <a:lnTo>
                      <a:pt x="669" y="132"/>
                    </a:lnTo>
                    <a:lnTo>
                      <a:pt x="669" y="132"/>
                    </a:lnTo>
                    <a:lnTo>
                      <a:pt x="672" y="132"/>
                    </a:lnTo>
                    <a:lnTo>
                      <a:pt x="674" y="132"/>
                    </a:lnTo>
                    <a:lnTo>
                      <a:pt x="674" y="132"/>
                    </a:lnTo>
                    <a:lnTo>
                      <a:pt x="674" y="132"/>
                    </a:lnTo>
                    <a:lnTo>
                      <a:pt x="676" y="132"/>
                    </a:lnTo>
                    <a:lnTo>
                      <a:pt x="676" y="130"/>
                    </a:lnTo>
                    <a:lnTo>
                      <a:pt x="676" y="130"/>
                    </a:lnTo>
                    <a:lnTo>
                      <a:pt x="676" y="127"/>
                    </a:lnTo>
                    <a:lnTo>
                      <a:pt x="672" y="125"/>
                    </a:lnTo>
                    <a:lnTo>
                      <a:pt x="669" y="125"/>
                    </a:lnTo>
                    <a:lnTo>
                      <a:pt x="667" y="125"/>
                    </a:lnTo>
                    <a:lnTo>
                      <a:pt x="664" y="125"/>
                    </a:lnTo>
                    <a:lnTo>
                      <a:pt x="662" y="125"/>
                    </a:lnTo>
                    <a:lnTo>
                      <a:pt x="662" y="127"/>
                    </a:lnTo>
                    <a:lnTo>
                      <a:pt x="660" y="127"/>
                    </a:lnTo>
                    <a:lnTo>
                      <a:pt x="660" y="127"/>
                    </a:lnTo>
                    <a:lnTo>
                      <a:pt x="657" y="127"/>
                    </a:lnTo>
                    <a:lnTo>
                      <a:pt x="657" y="127"/>
                    </a:lnTo>
                    <a:lnTo>
                      <a:pt x="657" y="127"/>
                    </a:lnTo>
                    <a:lnTo>
                      <a:pt x="655" y="130"/>
                    </a:lnTo>
                    <a:lnTo>
                      <a:pt x="657" y="130"/>
                    </a:lnTo>
                    <a:lnTo>
                      <a:pt x="660" y="130"/>
                    </a:lnTo>
                    <a:close/>
                    <a:moveTo>
                      <a:pt x="61" y="125"/>
                    </a:moveTo>
                    <a:lnTo>
                      <a:pt x="61" y="125"/>
                    </a:lnTo>
                    <a:lnTo>
                      <a:pt x="61" y="125"/>
                    </a:lnTo>
                    <a:lnTo>
                      <a:pt x="61" y="130"/>
                    </a:lnTo>
                    <a:lnTo>
                      <a:pt x="61" y="132"/>
                    </a:lnTo>
                    <a:lnTo>
                      <a:pt x="61" y="132"/>
                    </a:lnTo>
                    <a:lnTo>
                      <a:pt x="61" y="134"/>
                    </a:lnTo>
                    <a:lnTo>
                      <a:pt x="59" y="137"/>
                    </a:lnTo>
                    <a:lnTo>
                      <a:pt x="61" y="137"/>
                    </a:lnTo>
                    <a:lnTo>
                      <a:pt x="64" y="137"/>
                    </a:lnTo>
                    <a:lnTo>
                      <a:pt x="64" y="132"/>
                    </a:lnTo>
                    <a:lnTo>
                      <a:pt x="64" y="130"/>
                    </a:lnTo>
                    <a:lnTo>
                      <a:pt x="64" y="130"/>
                    </a:lnTo>
                    <a:lnTo>
                      <a:pt x="61" y="125"/>
                    </a:lnTo>
                    <a:close/>
                    <a:moveTo>
                      <a:pt x="180" y="127"/>
                    </a:moveTo>
                    <a:lnTo>
                      <a:pt x="177" y="125"/>
                    </a:lnTo>
                    <a:lnTo>
                      <a:pt x="177" y="125"/>
                    </a:lnTo>
                    <a:lnTo>
                      <a:pt x="175" y="127"/>
                    </a:lnTo>
                    <a:lnTo>
                      <a:pt x="175" y="130"/>
                    </a:lnTo>
                    <a:lnTo>
                      <a:pt x="175" y="130"/>
                    </a:lnTo>
                    <a:lnTo>
                      <a:pt x="177" y="130"/>
                    </a:lnTo>
                    <a:lnTo>
                      <a:pt x="180" y="130"/>
                    </a:lnTo>
                    <a:lnTo>
                      <a:pt x="184" y="132"/>
                    </a:lnTo>
                    <a:lnTo>
                      <a:pt x="184" y="132"/>
                    </a:lnTo>
                    <a:lnTo>
                      <a:pt x="184" y="132"/>
                    </a:lnTo>
                    <a:lnTo>
                      <a:pt x="184" y="132"/>
                    </a:lnTo>
                    <a:lnTo>
                      <a:pt x="184" y="130"/>
                    </a:lnTo>
                    <a:lnTo>
                      <a:pt x="184" y="130"/>
                    </a:lnTo>
                    <a:lnTo>
                      <a:pt x="182" y="127"/>
                    </a:lnTo>
                    <a:lnTo>
                      <a:pt x="182" y="130"/>
                    </a:lnTo>
                    <a:lnTo>
                      <a:pt x="182" y="130"/>
                    </a:lnTo>
                    <a:lnTo>
                      <a:pt x="180" y="127"/>
                    </a:lnTo>
                    <a:lnTo>
                      <a:pt x="180" y="127"/>
                    </a:lnTo>
                    <a:lnTo>
                      <a:pt x="180" y="127"/>
                    </a:lnTo>
                    <a:close/>
                    <a:moveTo>
                      <a:pt x="641" y="127"/>
                    </a:moveTo>
                    <a:lnTo>
                      <a:pt x="643" y="130"/>
                    </a:lnTo>
                    <a:lnTo>
                      <a:pt x="643" y="130"/>
                    </a:lnTo>
                    <a:lnTo>
                      <a:pt x="643" y="127"/>
                    </a:lnTo>
                    <a:lnTo>
                      <a:pt x="638" y="125"/>
                    </a:lnTo>
                    <a:lnTo>
                      <a:pt x="641" y="127"/>
                    </a:lnTo>
                    <a:lnTo>
                      <a:pt x="641" y="127"/>
                    </a:lnTo>
                    <a:close/>
                    <a:moveTo>
                      <a:pt x="603" y="123"/>
                    </a:moveTo>
                    <a:lnTo>
                      <a:pt x="603" y="125"/>
                    </a:lnTo>
                    <a:lnTo>
                      <a:pt x="603" y="125"/>
                    </a:lnTo>
                    <a:lnTo>
                      <a:pt x="603" y="125"/>
                    </a:lnTo>
                    <a:lnTo>
                      <a:pt x="603" y="125"/>
                    </a:lnTo>
                    <a:lnTo>
                      <a:pt x="603" y="123"/>
                    </a:lnTo>
                    <a:lnTo>
                      <a:pt x="603" y="123"/>
                    </a:lnTo>
                    <a:lnTo>
                      <a:pt x="603" y="123"/>
                    </a:lnTo>
                    <a:close/>
                    <a:moveTo>
                      <a:pt x="175" y="120"/>
                    </a:moveTo>
                    <a:lnTo>
                      <a:pt x="177" y="123"/>
                    </a:lnTo>
                    <a:lnTo>
                      <a:pt x="177" y="123"/>
                    </a:lnTo>
                    <a:lnTo>
                      <a:pt x="180" y="123"/>
                    </a:lnTo>
                    <a:lnTo>
                      <a:pt x="180" y="125"/>
                    </a:lnTo>
                    <a:lnTo>
                      <a:pt x="180" y="123"/>
                    </a:lnTo>
                    <a:lnTo>
                      <a:pt x="180" y="123"/>
                    </a:lnTo>
                    <a:lnTo>
                      <a:pt x="177" y="120"/>
                    </a:lnTo>
                    <a:lnTo>
                      <a:pt x="175" y="120"/>
                    </a:lnTo>
                    <a:close/>
                    <a:moveTo>
                      <a:pt x="151" y="113"/>
                    </a:moveTo>
                    <a:lnTo>
                      <a:pt x="151" y="113"/>
                    </a:lnTo>
                    <a:lnTo>
                      <a:pt x="154" y="113"/>
                    </a:lnTo>
                    <a:lnTo>
                      <a:pt x="154" y="113"/>
                    </a:lnTo>
                    <a:lnTo>
                      <a:pt x="151" y="111"/>
                    </a:lnTo>
                    <a:lnTo>
                      <a:pt x="151" y="111"/>
                    </a:lnTo>
                    <a:lnTo>
                      <a:pt x="151" y="111"/>
                    </a:lnTo>
                    <a:lnTo>
                      <a:pt x="151" y="113"/>
                    </a:lnTo>
                    <a:close/>
                    <a:moveTo>
                      <a:pt x="603" y="111"/>
                    </a:moveTo>
                    <a:lnTo>
                      <a:pt x="603" y="111"/>
                    </a:lnTo>
                    <a:lnTo>
                      <a:pt x="603" y="111"/>
                    </a:lnTo>
                    <a:lnTo>
                      <a:pt x="603" y="111"/>
                    </a:lnTo>
                    <a:lnTo>
                      <a:pt x="603" y="108"/>
                    </a:lnTo>
                    <a:lnTo>
                      <a:pt x="603" y="108"/>
                    </a:lnTo>
                    <a:lnTo>
                      <a:pt x="603" y="108"/>
                    </a:lnTo>
                    <a:lnTo>
                      <a:pt x="603" y="111"/>
                    </a:lnTo>
                    <a:lnTo>
                      <a:pt x="603" y="111"/>
                    </a:lnTo>
                    <a:close/>
                    <a:moveTo>
                      <a:pt x="601" y="108"/>
                    </a:moveTo>
                    <a:lnTo>
                      <a:pt x="603" y="108"/>
                    </a:lnTo>
                    <a:lnTo>
                      <a:pt x="603" y="106"/>
                    </a:lnTo>
                    <a:lnTo>
                      <a:pt x="601" y="106"/>
                    </a:lnTo>
                    <a:lnTo>
                      <a:pt x="601" y="108"/>
                    </a:lnTo>
                    <a:lnTo>
                      <a:pt x="601" y="108"/>
                    </a:lnTo>
                    <a:lnTo>
                      <a:pt x="601" y="108"/>
                    </a:lnTo>
                    <a:lnTo>
                      <a:pt x="601" y="108"/>
                    </a:lnTo>
                    <a:close/>
                    <a:moveTo>
                      <a:pt x="154" y="106"/>
                    </a:moveTo>
                    <a:lnTo>
                      <a:pt x="154" y="108"/>
                    </a:lnTo>
                    <a:lnTo>
                      <a:pt x="156" y="111"/>
                    </a:lnTo>
                    <a:lnTo>
                      <a:pt x="156" y="111"/>
                    </a:lnTo>
                    <a:lnTo>
                      <a:pt x="156" y="111"/>
                    </a:lnTo>
                    <a:lnTo>
                      <a:pt x="156" y="108"/>
                    </a:lnTo>
                    <a:lnTo>
                      <a:pt x="156" y="108"/>
                    </a:lnTo>
                    <a:lnTo>
                      <a:pt x="156" y="106"/>
                    </a:lnTo>
                    <a:lnTo>
                      <a:pt x="154" y="106"/>
                    </a:lnTo>
                    <a:close/>
                    <a:moveTo>
                      <a:pt x="163" y="108"/>
                    </a:moveTo>
                    <a:lnTo>
                      <a:pt x="163" y="108"/>
                    </a:lnTo>
                    <a:lnTo>
                      <a:pt x="163" y="106"/>
                    </a:lnTo>
                    <a:lnTo>
                      <a:pt x="161" y="106"/>
                    </a:lnTo>
                    <a:lnTo>
                      <a:pt x="161" y="106"/>
                    </a:lnTo>
                    <a:lnTo>
                      <a:pt x="161" y="108"/>
                    </a:lnTo>
                    <a:lnTo>
                      <a:pt x="163" y="108"/>
                    </a:lnTo>
                    <a:close/>
                    <a:moveTo>
                      <a:pt x="168" y="106"/>
                    </a:moveTo>
                    <a:lnTo>
                      <a:pt x="168" y="106"/>
                    </a:lnTo>
                    <a:lnTo>
                      <a:pt x="168" y="106"/>
                    </a:lnTo>
                    <a:lnTo>
                      <a:pt x="170" y="108"/>
                    </a:lnTo>
                    <a:lnTo>
                      <a:pt x="170" y="108"/>
                    </a:lnTo>
                    <a:lnTo>
                      <a:pt x="170" y="106"/>
                    </a:lnTo>
                    <a:lnTo>
                      <a:pt x="170" y="106"/>
                    </a:lnTo>
                    <a:lnTo>
                      <a:pt x="168" y="106"/>
                    </a:lnTo>
                    <a:lnTo>
                      <a:pt x="168" y="106"/>
                    </a:lnTo>
                    <a:close/>
                    <a:moveTo>
                      <a:pt x="137" y="106"/>
                    </a:moveTo>
                    <a:lnTo>
                      <a:pt x="137" y="106"/>
                    </a:lnTo>
                    <a:lnTo>
                      <a:pt x="137" y="106"/>
                    </a:lnTo>
                    <a:lnTo>
                      <a:pt x="139" y="108"/>
                    </a:lnTo>
                    <a:lnTo>
                      <a:pt x="142" y="108"/>
                    </a:lnTo>
                    <a:lnTo>
                      <a:pt x="144" y="108"/>
                    </a:lnTo>
                    <a:lnTo>
                      <a:pt x="146" y="108"/>
                    </a:lnTo>
                    <a:lnTo>
                      <a:pt x="149" y="111"/>
                    </a:lnTo>
                    <a:lnTo>
                      <a:pt x="149" y="108"/>
                    </a:lnTo>
                    <a:lnTo>
                      <a:pt x="146" y="106"/>
                    </a:lnTo>
                    <a:lnTo>
                      <a:pt x="146" y="106"/>
                    </a:lnTo>
                    <a:lnTo>
                      <a:pt x="144" y="104"/>
                    </a:lnTo>
                    <a:lnTo>
                      <a:pt x="142" y="104"/>
                    </a:lnTo>
                    <a:lnTo>
                      <a:pt x="142" y="104"/>
                    </a:lnTo>
                    <a:lnTo>
                      <a:pt x="139" y="101"/>
                    </a:lnTo>
                    <a:lnTo>
                      <a:pt x="139" y="101"/>
                    </a:lnTo>
                    <a:lnTo>
                      <a:pt x="137" y="104"/>
                    </a:lnTo>
                    <a:lnTo>
                      <a:pt x="137" y="106"/>
                    </a:lnTo>
                    <a:close/>
                    <a:moveTo>
                      <a:pt x="156" y="104"/>
                    </a:moveTo>
                    <a:lnTo>
                      <a:pt x="156" y="104"/>
                    </a:lnTo>
                    <a:lnTo>
                      <a:pt x="156" y="101"/>
                    </a:lnTo>
                    <a:lnTo>
                      <a:pt x="154" y="101"/>
                    </a:lnTo>
                    <a:lnTo>
                      <a:pt x="154" y="101"/>
                    </a:lnTo>
                    <a:lnTo>
                      <a:pt x="154" y="101"/>
                    </a:lnTo>
                    <a:lnTo>
                      <a:pt x="154" y="104"/>
                    </a:lnTo>
                    <a:lnTo>
                      <a:pt x="156" y="104"/>
                    </a:lnTo>
                    <a:close/>
                    <a:moveTo>
                      <a:pt x="144" y="104"/>
                    </a:moveTo>
                    <a:lnTo>
                      <a:pt x="146" y="104"/>
                    </a:lnTo>
                    <a:lnTo>
                      <a:pt x="146" y="106"/>
                    </a:lnTo>
                    <a:lnTo>
                      <a:pt x="149" y="106"/>
                    </a:lnTo>
                    <a:lnTo>
                      <a:pt x="149" y="106"/>
                    </a:lnTo>
                    <a:lnTo>
                      <a:pt x="151" y="108"/>
                    </a:lnTo>
                    <a:lnTo>
                      <a:pt x="151" y="106"/>
                    </a:lnTo>
                    <a:lnTo>
                      <a:pt x="149" y="104"/>
                    </a:lnTo>
                    <a:lnTo>
                      <a:pt x="146" y="101"/>
                    </a:lnTo>
                    <a:lnTo>
                      <a:pt x="144" y="101"/>
                    </a:lnTo>
                    <a:lnTo>
                      <a:pt x="142" y="101"/>
                    </a:lnTo>
                    <a:lnTo>
                      <a:pt x="142" y="104"/>
                    </a:lnTo>
                    <a:lnTo>
                      <a:pt x="142" y="104"/>
                    </a:lnTo>
                    <a:lnTo>
                      <a:pt x="144" y="104"/>
                    </a:lnTo>
                    <a:close/>
                    <a:moveTo>
                      <a:pt x="165" y="104"/>
                    </a:moveTo>
                    <a:lnTo>
                      <a:pt x="168" y="104"/>
                    </a:lnTo>
                    <a:lnTo>
                      <a:pt x="168" y="101"/>
                    </a:lnTo>
                    <a:lnTo>
                      <a:pt x="168" y="101"/>
                    </a:lnTo>
                    <a:lnTo>
                      <a:pt x="168" y="101"/>
                    </a:lnTo>
                    <a:lnTo>
                      <a:pt x="168" y="101"/>
                    </a:lnTo>
                    <a:lnTo>
                      <a:pt x="168" y="99"/>
                    </a:lnTo>
                    <a:lnTo>
                      <a:pt x="165" y="101"/>
                    </a:lnTo>
                    <a:lnTo>
                      <a:pt x="165" y="101"/>
                    </a:lnTo>
                    <a:lnTo>
                      <a:pt x="165" y="101"/>
                    </a:lnTo>
                    <a:lnTo>
                      <a:pt x="165" y="101"/>
                    </a:lnTo>
                    <a:lnTo>
                      <a:pt x="165" y="104"/>
                    </a:lnTo>
                    <a:lnTo>
                      <a:pt x="165" y="104"/>
                    </a:lnTo>
                    <a:close/>
                    <a:moveTo>
                      <a:pt x="172" y="104"/>
                    </a:moveTo>
                    <a:lnTo>
                      <a:pt x="175" y="104"/>
                    </a:lnTo>
                    <a:lnTo>
                      <a:pt x="175" y="104"/>
                    </a:lnTo>
                    <a:lnTo>
                      <a:pt x="175" y="104"/>
                    </a:lnTo>
                    <a:lnTo>
                      <a:pt x="175" y="106"/>
                    </a:lnTo>
                    <a:lnTo>
                      <a:pt x="175" y="106"/>
                    </a:lnTo>
                    <a:lnTo>
                      <a:pt x="175" y="106"/>
                    </a:lnTo>
                    <a:lnTo>
                      <a:pt x="175" y="106"/>
                    </a:lnTo>
                    <a:lnTo>
                      <a:pt x="177" y="108"/>
                    </a:lnTo>
                    <a:lnTo>
                      <a:pt x="177" y="106"/>
                    </a:lnTo>
                    <a:lnTo>
                      <a:pt x="177" y="104"/>
                    </a:lnTo>
                    <a:lnTo>
                      <a:pt x="180" y="104"/>
                    </a:lnTo>
                    <a:lnTo>
                      <a:pt x="177" y="101"/>
                    </a:lnTo>
                    <a:lnTo>
                      <a:pt x="177" y="101"/>
                    </a:lnTo>
                    <a:lnTo>
                      <a:pt x="177" y="99"/>
                    </a:lnTo>
                    <a:lnTo>
                      <a:pt x="175" y="99"/>
                    </a:lnTo>
                    <a:lnTo>
                      <a:pt x="175" y="99"/>
                    </a:lnTo>
                    <a:lnTo>
                      <a:pt x="172" y="99"/>
                    </a:lnTo>
                    <a:lnTo>
                      <a:pt x="170" y="101"/>
                    </a:lnTo>
                    <a:lnTo>
                      <a:pt x="170" y="101"/>
                    </a:lnTo>
                    <a:lnTo>
                      <a:pt x="170" y="104"/>
                    </a:lnTo>
                    <a:lnTo>
                      <a:pt x="172" y="104"/>
                    </a:lnTo>
                    <a:close/>
                    <a:moveTo>
                      <a:pt x="135" y="97"/>
                    </a:moveTo>
                    <a:lnTo>
                      <a:pt x="135" y="97"/>
                    </a:lnTo>
                    <a:lnTo>
                      <a:pt x="135" y="97"/>
                    </a:lnTo>
                    <a:lnTo>
                      <a:pt x="132" y="97"/>
                    </a:lnTo>
                    <a:lnTo>
                      <a:pt x="132" y="99"/>
                    </a:lnTo>
                    <a:lnTo>
                      <a:pt x="135" y="101"/>
                    </a:lnTo>
                    <a:lnTo>
                      <a:pt x="135" y="101"/>
                    </a:lnTo>
                    <a:lnTo>
                      <a:pt x="135" y="104"/>
                    </a:lnTo>
                    <a:lnTo>
                      <a:pt x="137" y="104"/>
                    </a:lnTo>
                    <a:lnTo>
                      <a:pt x="137" y="104"/>
                    </a:lnTo>
                    <a:lnTo>
                      <a:pt x="137" y="104"/>
                    </a:lnTo>
                    <a:lnTo>
                      <a:pt x="137" y="101"/>
                    </a:lnTo>
                    <a:lnTo>
                      <a:pt x="137" y="99"/>
                    </a:lnTo>
                    <a:lnTo>
                      <a:pt x="137" y="99"/>
                    </a:lnTo>
                    <a:lnTo>
                      <a:pt x="135" y="97"/>
                    </a:lnTo>
                    <a:close/>
                    <a:moveTo>
                      <a:pt x="49" y="101"/>
                    </a:moveTo>
                    <a:lnTo>
                      <a:pt x="49" y="99"/>
                    </a:lnTo>
                    <a:lnTo>
                      <a:pt x="45" y="94"/>
                    </a:lnTo>
                    <a:lnTo>
                      <a:pt x="42" y="92"/>
                    </a:lnTo>
                    <a:lnTo>
                      <a:pt x="42" y="92"/>
                    </a:lnTo>
                    <a:lnTo>
                      <a:pt x="42" y="94"/>
                    </a:lnTo>
                    <a:lnTo>
                      <a:pt x="40" y="94"/>
                    </a:lnTo>
                    <a:lnTo>
                      <a:pt x="38" y="94"/>
                    </a:lnTo>
                    <a:lnTo>
                      <a:pt x="40" y="99"/>
                    </a:lnTo>
                    <a:lnTo>
                      <a:pt x="42" y="104"/>
                    </a:lnTo>
                    <a:lnTo>
                      <a:pt x="42" y="106"/>
                    </a:lnTo>
                    <a:lnTo>
                      <a:pt x="45" y="106"/>
                    </a:lnTo>
                    <a:lnTo>
                      <a:pt x="47" y="108"/>
                    </a:lnTo>
                    <a:lnTo>
                      <a:pt x="49" y="111"/>
                    </a:lnTo>
                    <a:lnTo>
                      <a:pt x="49" y="113"/>
                    </a:lnTo>
                    <a:lnTo>
                      <a:pt x="52" y="113"/>
                    </a:lnTo>
                    <a:lnTo>
                      <a:pt x="52" y="111"/>
                    </a:lnTo>
                    <a:lnTo>
                      <a:pt x="52" y="106"/>
                    </a:lnTo>
                    <a:lnTo>
                      <a:pt x="52" y="104"/>
                    </a:lnTo>
                    <a:lnTo>
                      <a:pt x="52" y="104"/>
                    </a:lnTo>
                    <a:lnTo>
                      <a:pt x="49" y="101"/>
                    </a:lnTo>
                    <a:close/>
                    <a:moveTo>
                      <a:pt x="130" y="94"/>
                    </a:moveTo>
                    <a:lnTo>
                      <a:pt x="132" y="94"/>
                    </a:lnTo>
                    <a:lnTo>
                      <a:pt x="135" y="94"/>
                    </a:lnTo>
                    <a:lnTo>
                      <a:pt x="135" y="94"/>
                    </a:lnTo>
                    <a:lnTo>
                      <a:pt x="137" y="97"/>
                    </a:lnTo>
                    <a:lnTo>
                      <a:pt x="137" y="97"/>
                    </a:lnTo>
                    <a:lnTo>
                      <a:pt x="137" y="94"/>
                    </a:lnTo>
                    <a:lnTo>
                      <a:pt x="137" y="94"/>
                    </a:lnTo>
                    <a:lnTo>
                      <a:pt x="130" y="92"/>
                    </a:lnTo>
                    <a:lnTo>
                      <a:pt x="130" y="92"/>
                    </a:lnTo>
                    <a:lnTo>
                      <a:pt x="130" y="92"/>
                    </a:lnTo>
                    <a:lnTo>
                      <a:pt x="130" y="92"/>
                    </a:lnTo>
                    <a:lnTo>
                      <a:pt x="130" y="94"/>
                    </a:lnTo>
                    <a:close/>
                    <a:moveTo>
                      <a:pt x="444" y="182"/>
                    </a:moveTo>
                    <a:lnTo>
                      <a:pt x="442" y="182"/>
                    </a:lnTo>
                    <a:lnTo>
                      <a:pt x="442" y="182"/>
                    </a:lnTo>
                    <a:lnTo>
                      <a:pt x="442" y="182"/>
                    </a:lnTo>
                    <a:lnTo>
                      <a:pt x="442" y="184"/>
                    </a:lnTo>
                    <a:lnTo>
                      <a:pt x="442" y="184"/>
                    </a:lnTo>
                    <a:lnTo>
                      <a:pt x="442" y="187"/>
                    </a:lnTo>
                    <a:lnTo>
                      <a:pt x="442" y="189"/>
                    </a:lnTo>
                    <a:lnTo>
                      <a:pt x="442" y="191"/>
                    </a:lnTo>
                    <a:lnTo>
                      <a:pt x="442" y="194"/>
                    </a:lnTo>
                    <a:lnTo>
                      <a:pt x="442" y="196"/>
                    </a:lnTo>
                    <a:lnTo>
                      <a:pt x="442" y="198"/>
                    </a:lnTo>
                    <a:lnTo>
                      <a:pt x="444" y="201"/>
                    </a:lnTo>
                    <a:lnTo>
                      <a:pt x="449" y="198"/>
                    </a:lnTo>
                    <a:lnTo>
                      <a:pt x="452" y="198"/>
                    </a:lnTo>
                    <a:lnTo>
                      <a:pt x="452" y="198"/>
                    </a:lnTo>
                    <a:lnTo>
                      <a:pt x="454" y="198"/>
                    </a:lnTo>
                    <a:lnTo>
                      <a:pt x="454" y="201"/>
                    </a:lnTo>
                    <a:lnTo>
                      <a:pt x="454" y="201"/>
                    </a:lnTo>
                    <a:lnTo>
                      <a:pt x="454" y="203"/>
                    </a:lnTo>
                    <a:lnTo>
                      <a:pt x="454" y="203"/>
                    </a:lnTo>
                    <a:lnTo>
                      <a:pt x="454" y="206"/>
                    </a:lnTo>
                    <a:lnTo>
                      <a:pt x="456" y="210"/>
                    </a:lnTo>
                    <a:lnTo>
                      <a:pt x="456" y="210"/>
                    </a:lnTo>
                    <a:lnTo>
                      <a:pt x="456" y="220"/>
                    </a:lnTo>
                    <a:lnTo>
                      <a:pt x="454" y="220"/>
                    </a:lnTo>
                    <a:lnTo>
                      <a:pt x="454" y="222"/>
                    </a:lnTo>
                    <a:lnTo>
                      <a:pt x="454" y="224"/>
                    </a:lnTo>
                    <a:lnTo>
                      <a:pt x="454" y="229"/>
                    </a:lnTo>
                    <a:lnTo>
                      <a:pt x="452" y="232"/>
                    </a:lnTo>
                    <a:lnTo>
                      <a:pt x="452" y="234"/>
                    </a:lnTo>
                    <a:lnTo>
                      <a:pt x="449" y="236"/>
                    </a:lnTo>
                    <a:lnTo>
                      <a:pt x="449" y="239"/>
                    </a:lnTo>
                    <a:lnTo>
                      <a:pt x="452" y="241"/>
                    </a:lnTo>
                    <a:lnTo>
                      <a:pt x="454" y="243"/>
                    </a:lnTo>
                    <a:lnTo>
                      <a:pt x="456" y="246"/>
                    </a:lnTo>
                    <a:lnTo>
                      <a:pt x="456" y="246"/>
                    </a:lnTo>
                    <a:lnTo>
                      <a:pt x="459" y="246"/>
                    </a:lnTo>
                    <a:lnTo>
                      <a:pt x="459" y="243"/>
                    </a:lnTo>
                    <a:lnTo>
                      <a:pt x="461" y="243"/>
                    </a:lnTo>
                    <a:lnTo>
                      <a:pt x="463" y="243"/>
                    </a:lnTo>
                    <a:lnTo>
                      <a:pt x="466" y="243"/>
                    </a:lnTo>
                    <a:lnTo>
                      <a:pt x="466" y="243"/>
                    </a:lnTo>
                    <a:lnTo>
                      <a:pt x="468" y="243"/>
                    </a:lnTo>
                    <a:lnTo>
                      <a:pt x="471" y="243"/>
                    </a:lnTo>
                    <a:lnTo>
                      <a:pt x="468" y="241"/>
                    </a:lnTo>
                    <a:lnTo>
                      <a:pt x="468" y="239"/>
                    </a:lnTo>
                    <a:lnTo>
                      <a:pt x="468" y="234"/>
                    </a:lnTo>
                    <a:lnTo>
                      <a:pt x="468" y="232"/>
                    </a:lnTo>
                    <a:lnTo>
                      <a:pt x="468" y="229"/>
                    </a:lnTo>
                    <a:lnTo>
                      <a:pt x="471" y="224"/>
                    </a:lnTo>
                    <a:lnTo>
                      <a:pt x="471" y="222"/>
                    </a:lnTo>
                    <a:lnTo>
                      <a:pt x="471" y="217"/>
                    </a:lnTo>
                    <a:lnTo>
                      <a:pt x="471" y="213"/>
                    </a:lnTo>
                    <a:lnTo>
                      <a:pt x="471" y="206"/>
                    </a:lnTo>
                    <a:lnTo>
                      <a:pt x="471" y="203"/>
                    </a:lnTo>
                    <a:lnTo>
                      <a:pt x="471" y="203"/>
                    </a:lnTo>
                    <a:lnTo>
                      <a:pt x="471" y="196"/>
                    </a:lnTo>
                    <a:lnTo>
                      <a:pt x="471" y="194"/>
                    </a:lnTo>
                    <a:lnTo>
                      <a:pt x="468" y="191"/>
                    </a:lnTo>
                    <a:lnTo>
                      <a:pt x="468" y="189"/>
                    </a:lnTo>
                    <a:lnTo>
                      <a:pt x="468" y="187"/>
                    </a:lnTo>
                    <a:lnTo>
                      <a:pt x="471" y="187"/>
                    </a:lnTo>
                    <a:lnTo>
                      <a:pt x="475" y="182"/>
                    </a:lnTo>
                    <a:lnTo>
                      <a:pt x="475" y="182"/>
                    </a:lnTo>
                    <a:lnTo>
                      <a:pt x="478" y="182"/>
                    </a:lnTo>
                    <a:lnTo>
                      <a:pt x="480" y="182"/>
                    </a:lnTo>
                    <a:lnTo>
                      <a:pt x="482" y="182"/>
                    </a:lnTo>
                    <a:lnTo>
                      <a:pt x="485" y="184"/>
                    </a:lnTo>
                    <a:lnTo>
                      <a:pt x="485" y="187"/>
                    </a:lnTo>
                    <a:lnTo>
                      <a:pt x="485" y="189"/>
                    </a:lnTo>
                    <a:lnTo>
                      <a:pt x="482" y="191"/>
                    </a:lnTo>
                    <a:lnTo>
                      <a:pt x="482" y="194"/>
                    </a:lnTo>
                    <a:lnTo>
                      <a:pt x="480" y="196"/>
                    </a:lnTo>
                    <a:lnTo>
                      <a:pt x="480" y="198"/>
                    </a:lnTo>
                    <a:lnTo>
                      <a:pt x="480" y="198"/>
                    </a:lnTo>
                    <a:lnTo>
                      <a:pt x="480" y="201"/>
                    </a:lnTo>
                    <a:lnTo>
                      <a:pt x="487" y="208"/>
                    </a:lnTo>
                    <a:lnTo>
                      <a:pt x="489" y="210"/>
                    </a:lnTo>
                    <a:lnTo>
                      <a:pt x="492" y="210"/>
                    </a:lnTo>
                    <a:lnTo>
                      <a:pt x="494" y="213"/>
                    </a:lnTo>
                    <a:lnTo>
                      <a:pt x="492" y="213"/>
                    </a:lnTo>
                    <a:lnTo>
                      <a:pt x="492" y="215"/>
                    </a:lnTo>
                    <a:lnTo>
                      <a:pt x="492" y="215"/>
                    </a:lnTo>
                    <a:lnTo>
                      <a:pt x="492" y="215"/>
                    </a:lnTo>
                    <a:lnTo>
                      <a:pt x="489" y="222"/>
                    </a:lnTo>
                    <a:lnTo>
                      <a:pt x="489" y="224"/>
                    </a:lnTo>
                    <a:lnTo>
                      <a:pt x="492" y="227"/>
                    </a:lnTo>
                    <a:lnTo>
                      <a:pt x="492" y="227"/>
                    </a:lnTo>
                    <a:lnTo>
                      <a:pt x="494" y="227"/>
                    </a:lnTo>
                    <a:lnTo>
                      <a:pt x="499" y="227"/>
                    </a:lnTo>
                    <a:lnTo>
                      <a:pt x="501" y="227"/>
                    </a:lnTo>
                    <a:lnTo>
                      <a:pt x="501" y="227"/>
                    </a:lnTo>
                    <a:lnTo>
                      <a:pt x="501" y="224"/>
                    </a:lnTo>
                    <a:lnTo>
                      <a:pt x="501" y="222"/>
                    </a:lnTo>
                    <a:lnTo>
                      <a:pt x="501" y="222"/>
                    </a:lnTo>
                    <a:lnTo>
                      <a:pt x="504" y="220"/>
                    </a:lnTo>
                    <a:lnTo>
                      <a:pt x="508" y="220"/>
                    </a:lnTo>
                    <a:lnTo>
                      <a:pt x="511" y="217"/>
                    </a:lnTo>
                    <a:lnTo>
                      <a:pt x="513" y="220"/>
                    </a:lnTo>
                    <a:lnTo>
                      <a:pt x="513" y="217"/>
                    </a:lnTo>
                    <a:lnTo>
                      <a:pt x="513" y="217"/>
                    </a:lnTo>
                    <a:lnTo>
                      <a:pt x="513" y="217"/>
                    </a:lnTo>
                    <a:lnTo>
                      <a:pt x="515" y="217"/>
                    </a:lnTo>
                    <a:lnTo>
                      <a:pt x="515" y="217"/>
                    </a:lnTo>
                    <a:lnTo>
                      <a:pt x="518" y="217"/>
                    </a:lnTo>
                    <a:lnTo>
                      <a:pt x="518" y="215"/>
                    </a:lnTo>
                    <a:lnTo>
                      <a:pt x="518" y="213"/>
                    </a:lnTo>
                    <a:lnTo>
                      <a:pt x="515" y="213"/>
                    </a:lnTo>
                    <a:lnTo>
                      <a:pt x="515" y="210"/>
                    </a:lnTo>
                    <a:lnTo>
                      <a:pt x="515" y="210"/>
                    </a:lnTo>
                    <a:lnTo>
                      <a:pt x="515" y="210"/>
                    </a:lnTo>
                    <a:lnTo>
                      <a:pt x="513" y="213"/>
                    </a:lnTo>
                    <a:lnTo>
                      <a:pt x="513" y="210"/>
                    </a:lnTo>
                    <a:lnTo>
                      <a:pt x="513" y="210"/>
                    </a:lnTo>
                    <a:lnTo>
                      <a:pt x="511" y="210"/>
                    </a:lnTo>
                    <a:lnTo>
                      <a:pt x="511" y="208"/>
                    </a:lnTo>
                    <a:lnTo>
                      <a:pt x="511" y="208"/>
                    </a:lnTo>
                    <a:lnTo>
                      <a:pt x="511" y="206"/>
                    </a:lnTo>
                    <a:lnTo>
                      <a:pt x="508" y="203"/>
                    </a:lnTo>
                    <a:lnTo>
                      <a:pt x="508" y="203"/>
                    </a:lnTo>
                    <a:lnTo>
                      <a:pt x="506" y="203"/>
                    </a:lnTo>
                    <a:lnTo>
                      <a:pt x="506" y="203"/>
                    </a:lnTo>
                    <a:lnTo>
                      <a:pt x="506" y="201"/>
                    </a:lnTo>
                    <a:lnTo>
                      <a:pt x="506" y="201"/>
                    </a:lnTo>
                    <a:lnTo>
                      <a:pt x="506" y="201"/>
                    </a:lnTo>
                    <a:lnTo>
                      <a:pt x="506" y="196"/>
                    </a:lnTo>
                    <a:lnTo>
                      <a:pt x="506" y="194"/>
                    </a:lnTo>
                    <a:lnTo>
                      <a:pt x="508" y="194"/>
                    </a:lnTo>
                    <a:lnTo>
                      <a:pt x="508" y="191"/>
                    </a:lnTo>
                    <a:lnTo>
                      <a:pt x="506" y="189"/>
                    </a:lnTo>
                    <a:lnTo>
                      <a:pt x="506" y="189"/>
                    </a:lnTo>
                    <a:lnTo>
                      <a:pt x="506" y="187"/>
                    </a:lnTo>
                    <a:lnTo>
                      <a:pt x="506" y="187"/>
                    </a:lnTo>
                    <a:lnTo>
                      <a:pt x="504" y="184"/>
                    </a:lnTo>
                    <a:lnTo>
                      <a:pt x="501" y="182"/>
                    </a:lnTo>
                    <a:lnTo>
                      <a:pt x="501" y="179"/>
                    </a:lnTo>
                    <a:lnTo>
                      <a:pt x="499" y="175"/>
                    </a:lnTo>
                    <a:lnTo>
                      <a:pt x="497" y="172"/>
                    </a:lnTo>
                    <a:lnTo>
                      <a:pt x="497" y="172"/>
                    </a:lnTo>
                    <a:lnTo>
                      <a:pt x="494" y="170"/>
                    </a:lnTo>
                    <a:lnTo>
                      <a:pt x="494" y="170"/>
                    </a:lnTo>
                    <a:lnTo>
                      <a:pt x="492" y="168"/>
                    </a:lnTo>
                    <a:lnTo>
                      <a:pt x="489" y="168"/>
                    </a:lnTo>
                    <a:lnTo>
                      <a:pt x="489" y="165"/>
                    </a:lnTo>
                    <a:lnTo>
                      <a:pt x="489" y="165"/>
                    </a:lnTo>
                    <a:lnTo>
                      <a:pt x="489" y="163"/>
                    </a:lnTo>
                    <a:lnTo>
                      <a:pt x="492" y="165"/>
                    </a:lnTo>
                    <a:lnTo>
                      <a:pt x="494" y="165"/>
                    </a:lnTo>
                    <a:lnTo>
                      <a:pt x="494" y="165"/>
                    </a:lnTo>
                    <a:lnTo>
                      <a:pt x="497" y="165"/>
                    </a:lnTo>
                    <a:lnTo>
                      <a:pt x="497" y="163"/>
                    </a:lnTo>
                    <a:lnTo>
                      <a:pt x="499" y="161"/>
                    </a:lnTo>
                    <a:lnTo>
                      <a:pt x="504" y="158"/>
                    </a:lnTo>
                    <a:lnTo>
                      <a:pt x="506" y="158"/>
                    </a:lnTo>
                    <a:lnTo>
                      <a:pt x="508" y="156"/>
                    </a:lnTo>
                    <a:lnTo>
                      <a:pt x="511" y="153"/>
                    </a:lnTo>
                    <a:lnTo>
                      <a:pt x="513" y="151"/>
                    </a:lnTo>
                    <a:lnTo>
                      <a:pt x="515" y="149"/>
                    </a:lnTo>
                    <a:lnTo>
                      <a:pt x="518" y="146"/>
                    </a:lnTo>
                    <a:lnTo>
                      <a:pt x="518" y="144"/>
                    </a:lnTo>
                    <a:lnTo>
                      <a:pt x="518" y="144"/>
                    </a:lnTo>
                    <a:lnTo>
                      <a:pt x="523" y="144"/>
                    </a:lnTo>
                    <a:lnTo>
                      <a:pt x="523" y="144"/>
                    </a:lnTo>
                    <a:lnTo>
                      <a:pt x="525" y="146"/>
                    </a:lnTo>
                    <a:lnTo>
                      <a:pt x="527" y="146"/>
                    </a:lnTo>
                    <a:lnTo>
                      <a:pt x="527" y="146"/>
                    </a:lnTo>
                    <a:lnTo>
                      <a:pt x="527" y="146"/>
                    </a:lnTo>
                    <a:lnTo>
                      <a:pt x="530" y="142"/>
                    </a:lnTo>
                    <a:lnTo>
                      <a:pt x="530" y="139"/>
                    </a:lnTo>
                    <a:lnTo>
                      <a:pt x="527" y="139"/>
                    </a:lnTo>
                    <a:lnTo>
                      <a:pt x="525" y="137"/>
                    </a:lnTo>
                    <a:lnTo>
                      <a:pt x="525" y="137"/>
                    </a:lnTo>
                    <a:lnTo>
                      <a:pt x="520" y="137"/>
                    </a:lnTo>
                    <a:lnTo>
                      <a:pt x="518" y="139"/>
                    </a:lnTo>
                    <a:lnTo>
                      <a:pt x="518" y="139"/>
                    </a:lnTo>
                    <a:lnTo>
                      <a:pt x="518" y="139"/>
                    </a:lnTo>
                    <a:lnTo>
                      <a:pt x="518" y="139"/>
                    </a:lnTo>
                    <a:lnTo>
                      <a:pt x="518" y="142"/>
                    </a:lnTo>
                    <a:lnTo>
                      <a:pt x="515" y="142"/>
                    </a:lnTo>
                    <a:lnTo>
                      <a:pt x="513" y="142"/>
                    </a:lnTo>
                    <a:lnTo>
                      <a:pt x="508" y="142"/>
                    </a:lnTo>
                    <a:lnTo>
                      <a:pt x="506" y="142"/>
                    </a:lnTo>
                    <a:lnTo>
                      <a:pt x="504" y="144"/>
                    </a:lnTo>
                    <a:lnTo>
                      <a:pt x="504" y="144"/>
                    </a:lnTo>
                    <a:lnTo>
                      <a:pt x="501" y="144"/>
                    </a:lnTo>
                    <a:lnTo>
                      <a:pt x="499" y="144"/>
                    </a:lnTo>
                    <a:lnTo>
                      <a:pt x="497" y="144"/>
                    </a:lnTo>
                    <a:lnTo>
                      <a:pt x="497" y="144"/>
                    </a:lnTo>
                    <a:lnTo>
                      <a:pt x="494" y="144"/>
                    </a:lnTo>
                    <a:lnTo>
                      <a:pt x="494" y="142"/>
                    </a:lnTo>
                    <a:lnTo>
                      <a:pt x="494" y="144"/>
                    </a:lnTo>
                    <a:lnTo>
                      <a:pt x="492" y="144"/>
                    </a:lnTo>
                    <a:lnTo>
                      <a:pt x="489" y="149"/>
                    </a:lnTo>
                    <a:lnTo>
                      <a:pt x="487" y="151"/>
                    </a:lnTo>
                    <a:lnTo>
                      <a:pt x="487" y="153"/>
                    </a:lnTo>
                    <a:lnTo>
                      <a:pt x="485" y="156"/>
                    </a:lnTo>
                    <a:lnTo>
                      <a:pt x="482" y="153"/>
                    </a:lnTo>
                    <a:lnTo>
                      <a:pt x="480" y="153"/>
                    </a:lnTo>
                    <a:lnTo>
                      <a:pt x="478" y="153"/>
                    </a:lnTo>
                    <a:lnTo>
                      <a:pt x="478" y="153"/>
                    </a:lnTo>
                    <a:lnTo>
                      <a:pt x="475" y="151"/>
                    </a:lnTo>
                    <a:lnTo>
                      <a:pt x="475" y="146"/>
                    </a:lnTo>
                    <a:lnTo>
                      <a:pt x="473" y="146"/>
                    </a:lnTo>
                    <a:lnTo>
                      <a:pt x="471" y="144"/>
                    </a:lnTo>
                    <a:lnTo>
                      <a:pt x="468" y="144"/>
                    </a:lnTo>
                    <a:lnTo>
                      <a:pt x="466" y="139"/>
                    </a:lnTo>
                    <a:lnTo>
                      <a:pt x="466" y="137"/>
                    </a:lnTo>
                    <a:lnTo>
                      <a:pt x="466" y="134"/>
                    </a:lnTo>
                    <a:lnTo>
                      <a:pt x="466" y="132"/>
                    </a:lnTo>
                    <a:lnTo>
                      <a:pt x="466" y="130"/>
                    </a:lnTo>
                    <a:lnTo>
                      <a:pt x="466" y="127"/>
                    </a:lnTo>
                    <a:lnTo>
                      <a:pt x="466" y="125"/>
                    </a:lnTo>
                    <a:lnTo>
                      <a:pt x="468" y="123"/>
                    </a:lnTo>
                    <a:lnTo>
                      <a:pt x="468" y="120"/>
                    </a:lnTo>
                    <a:lnTo>
                      <a:pt x="471" y="116"/>
                    </a:lnTo>
                    <a:lnTo>
                      <a:pt x="471" y="116"/>
                    </a:lnTo>
                    <a:lnTo>
                      <a:pt x="473" y="113"/>
                    </a:lnTo>
                    <a:lnTo>
                      <a:pt x="475" y="113"/>
                    </a:lnTo>
                    <a:lnTo>
                      <a:pt x="478" y="113"/>
                    </a:lnTo>
                    <a:lnTo>
                      <a:pt x="482" y="116"/>
                    </a:lnTo>
                    <a:lnTo>
                      <a:pt x="485" y="116"/>
                    </a:lnTo>
                    <a:lnTo>
                      <a:pt x="492" y="116"/>
                    </a:lnTo>
                    <a:lnTo>
                      <a:pt x="494" y="116"/>
                    </a:lnTo>
                    <a:lnTo>
                      <a:pt x="494" y="116"/>
                    </a:lnTo>
                    <a:lnTo>
                      <a:pt x="497" y="116"/>
                    </a:lnTo>
                    <a:lnTo>
                      <a:pt x="499" y="116"/>
                    </a:lnTo>
                    <a:lnTo>
                      <a:pt x="504" y="116"/>
                    </a:lnTo>
                    <a:lnTo>
                      <a:pt x="508" y="116"/>
                    </a:lnTo>
                    <a:lnTo>
                      <a:pt x="520" y="116"/>
                    </a:lnTo>
                    <a:lnTo>
                      <a:pt x="520" y="116"/>
                    </a:lnTo>
                    <a:lnTo>
                      <a:pt x="523" y="116"/>
                    </a:lnTo>
                    <a:lnTo>
                      <a:pt x="525" y="116"/>
                    </a:lnTo>
                    <a:lnTo>
                      <a:pt x="525" y="118"/>
                    </a:lnTo>
                    <a:lnTo>
                      <a:pt x="527" y="118"/>
                    </a:lnTo>
                    <a:lnTo>
                      <a:pt x="530" y="118"/>
                    </a:lnTo>
                    <a:lnTo>
                      <a:pt x="532" y="118"/>
                    </a:lnTo>
                    <a:lnTo>
                      <a:pt x="534" y="118"/>
                    </a:lnTo>
                    <a:lnTo>
                      <a:pt x="541" y="118"/>
                    </a:lnTo>
                    <a:lnTo>
                      <a:pt x="544" y="118"/>
                    </a:lnTo>
                    <a:lnTo>
                      <a:pt x="544" y="116"/>
                    </a:lnTo>
                    <a:lnTo>
                      <a:pt x="546" y="116"/>
                    </a:lnTo>
                    <a:lnTo>
                      <a:pt x="549" y="116"/>
                    </a:lnTo>
                    <a:lnTo>
                      <a:pt x="549" y="113"/>
                    </a:lnTo>
                    <a:lnTo>
                      <a:pt x="551" y="111"/>
                    </a:lnTo>
                    <a:lnTo>
                      <a:pt x="551" y="108"/>
                    </a:lnTo>
                    <a:lnTo>
                      <a:pt x="553" y="108"/>
                    </a:lnTo>
                    <a:lnTo>
                      <a:pt x="556" y="104"/>
                    </a:lnTo>
                    <a:lnTo>
                      <a:pt x="558" y="101"/>
                    </a:lnTo>
                    <a:lnTo>
                      <a:pt x="558" y="99"/>
                    </a:lnTo>
                    <a:lnTo>
                      <a:pt x="560" y="97"/>
                    </a:lnTo>
                    <a:lnTo>
                      <a:pt x="560" y="94"/>
                    </a:lnTo>
                    <a:lnTo>
                      <a:pt x="563" y="94"/>
                    </a:lnTo>
                    <a:lnTo>
                      <a:pt x="563" y="94"/>
                    </a:lnTo>
                    <a:lnTo>
                      <a:pt x="560" y="90"/>
                    </a:lnTo>
                    <a:lnTo>
                      <a:pt x="560" y="90"/>
                    </a:lnTo>
                    <a:lnTo>
                      <a:pt x="558" y="90"/>
                    </a:lnTo>
                    <a:lnTo>
                      <a:pt x="556" y="90"/>
                    </a:lnTo>
                    <a:lnTo>
                      <a:pt x="556" y="92"/>
                    </a:lnTo>
                    <a:lnTo>
                      <a:pt x="553" y="94"/>
                    </a:lnTo>
                    <a:lnTo>
                      <a:pt x="553" y="94"/>
                    </a:lnTo>
                    <a:lnTo>
                      <a:pt x="551" y="94"/>
                    </a:lnTo>
                    <a:lnTo>
                      <a:pt x="551" y="97"/>
                    </a:lnTo>
                    <a:lnTo>
                      <a:pt x="551" y="97"/>
                    </a:lnTo>
                    <a:lnTo>
                      <a:pt x="549" y="99"/>
                    </a:lnTo>
                    <a:lnTo>
                      <a:pt x="546" y="99"/>
                    </a:lnTo>
                    <a:lnTo>
                      <a:pt x="544" y="104"/>
                    </a:lnTo>
                    <a:lnTo>
                      <a:pt x="539" y="106"/>
                    </a:lnTo>
                    <a:lnTo>
                      <a:pt x="537" y="108"/>
                    </a:lnTo>
                    <a:lnTo>
                      <a:pt x="525" y="106"/>
                    </a:lnTo>
                    <a:lnTo>
                      <a:pt x="523" y="106"/>
                    </a:lnTo>
                    <a:lnTo>
                      <a:pt x="520" y="106"/>
                    </a:lnTo>
                    <a:lnTo>
                      <a:pt x="520" y="106"/>
                    </a:lnTo>
                    <a:lnTo>
                      <a:pt x="518" y="106"/>
                    </a:lnTo>
                    <a:lnTo>
                      <a:pt x="518" y="106"/>
                    </a:lnTo>
                    <a:lnTo>
                      <a:pt x="518" y="106"/>
                    </a:lnTo>
                    <a:lnTo>
                      <a:pt x="515" y="106"/>
                    </a:lnTo>
                    <a:lnTo>
                      <a:pt x="513" y="104"/>
                    </a:lnTo>
                    <a:lnTo>
                      <a:pt x="511" y="104"/>
                    </a:lnTo>
                    <a:lnTo>
                      <a:pt x="504" y="104"/>
                    </a:lnTo>
                    <a:lnTo>
                      <a:pt x="499" y="101"/>
                    </a:lnTo>
                    <a:lnTo>
                      <a:pt x="494" y="101"/>
                    </a:lnTo>
                    <a:lnTo>
                      <a:pt x="494" y="101"/>
                    </a:lnTo>
                    <a:lnTo>
                      <a:pt x="492" y="101"/>
                    </a:lnTo>
                    <a:lnTo>
                      <a:pt x="492" y="101"/>
                    </a:lnTo>
                    <a:lnTo>
                      <a:pt x="492" y="99"/>
                    </a:lnTo>
                    <a:lnTo>
                      <a:pt x="492" y="99"/>
                    </a:lnTo>
                    <a:lnTo>
                      <a:pt x="489" y="99"/>
                    </a:lnTo>
                    <a:lnTo>
                      <a:pt x="489" y="99"/>
                    </a:lnTo>
                    <a:lnTo>
                      <a:pt x="487" y="99"/>
                    </a:lnTo>
                    <a:lnTo>
                      <a:pt x="485" y="97"/>
                    </a:lnTo>
                    <a:lnTo>
                      <a:pt x="485" y="97"/>
                    </a:lnTo>
                    <a:lnTo>
                      <a:pt x="482" y="97"/>
                    </a:lnTo>
                    <a:lnTo>
                      <a:pt x="482" y="99"/>
                    </a:lnTo>
                    <a:lnTo>
                      <a:pt x="480" y="99"/>
                    </a:lnTo>
                    <a:lnTo>
                      <a:pt x="480" y="101"/>
                    </a:lnTo>
                    <a:lnTo>
                      <a:pt x="480" y="104"/>
                    </a:lnTo>
                    <a:lnTo>
                      <a:pt x="478" y="104"/>
                    </a:lnTo>
                    <a:lnTo>
                      <a:pt x="478" y="106"/>
                    </a:lnTo>
                    <a:lnTo>
                      <a:pt x="478" y="106"/>
                    </a:lnTo>
                    <a:lnTo>
                      <a:pt x="475" y="106"/>
                    </a:lnTo>
                    <a:lnTo>
                      <a:pt x="475" y="108"/>
                    </a:lnTo>
                    <a:lnTo>
                      <a:pt x="473" y="106"/>
                    </a:lnTo>
                    <a:lnTo>
                      <a:pt x="471" y="106"/>
                    </a:lnTo>
                    <a:lnTo>
                      <a:pt x="471" y="104"/>
                    </a:lnTo>
                    <a:lnTo>
                      <a:pt x="471" y="104"/>
                    </a:lnTo>
                    <a:lnTo>
                      <a:pt x="471" y="104"/>
                    </a:lnTo>
                    <a:lnTo>
                      <a:pt x="468" y="106"/>
                    </a:lnTo>
                    <a:lnTo>
                      <a:pt x="468" y="108"/>
                    </a:lnTo>
                    <a:lnTo>
                      <a:pt x="466" y="108"/>
                    </a:lnTo>
                    <a:lnTo>
                      <a:pt x="466" y="111"/>
                    </a:lnTo>
                    <a:lnTo>
                      <a:pt x="466" y="113"/>
                    </a:lnTo>
                    <a:lnTo>
                      <a:pt x="466" y="113"/>
                    </a:lnTo>
                    <a:lnTo>
                      <a:pt x="463" y="116"/>
                    </a:lnTo>
                    <a:lnTo>
                      <a:pt x="461" y="120"/>
                    </a:lnTo>
                    <a:lnTo>
                      <a:pt x="461" y="120"/>
                    </a:lnTo>
                    <a:lnTo>
                      <a:pt x="463" y="125"/>
                    </a:lnTo>
                    <a:lnTo>
                      <a:pt x="461" y="125"/>
                    </a:lnTo>
                    <a:lnTo>
                      <a:pt x="461" y="127"/>
                    </a:lnTo>
                    <a:lnTo>
                      <a:pt x="461" y="125"/>
                    </a:lnTo>
                    <a:lnTo>
                      <a:pt x="459" y="127"/>
                    </a:lnTo>
                    <a:lnTo>
                      <a:pt x="461" y="134"/>
                    </a:lnTo>
                    <a:lnTo>
                      <a:pt x="461" y="139"/>
                    </a:lnTo>
                    <a:lnTo>
                      <a:pt x="461" y="142"/>
                    </a:lnTo>
                    <a:lnTo>
                      <a:pt x="461" y="144"/>
                    </a:lnTo>
                    <a:lnTo>
                      <a:pt x="461" y="142"/>
                    </a:lnTo>
                    <a:lnTo>
                      <a:pt x="459" y="139"/>
                    </a:lnTo>
                    <a:lnTo>
                      <a:pt x="459" y="142"/>
                    </a:lnTo>
                    <a:lnTo>
                      <a:pt x="456" y="144"/>
                    </a:lnTo>
                    <a:lnTo>
                      <a:pt x="452" y="151"/>
                    </a:lnTo>
                    <a:lnTo>
                      <a:pt x="452" y="156"/>
                    </a:lnTo>
                    <a:lnTo>
                      <a:pt x="452" y="156"/>
                    </a:lnTo>
                    <a:lnTo>
                      <a:pt x="452" y="158"/>
                    </a:lnTo>
                    <a:lnTo>
                      <a:pt x="452" y="161"/>
                    </a:lnTo>
                    <a:lnTo>
                      <a:pt x="452" y="163"/>
                    </a:lnTo>
                    <a:lnTo>
                      <a:pt x="452" y="165"/>
                    </a:lnTo>
                    <a:lnTo>
                      <a:pt x="449" y="168"/>
                    </a:lnTo>
                    <a:lnTo>
                      <a:pt x="449" y="170"/>
                    </a:lnTo>
                    <a:lnTo>
                      <a:pt x="449" y="172"/>
                    </a:lnTo>
                    <a:lnTo>
                      <a:pt x="447" y="175"/>
                    </a:lnTo>
                    <a:lnTo>
                      <a:pt x="447" y="177"/>
                    </a:lnTo>
                    <a:lnTo>
                      <a:pt x="444" y="179"/>
                    </a:lnTo>
                    <a:lnTo>
                      <a:pt x="444" y="182"/>
                    </a:lnTo>
                    <a:close/>
                    <a:moveTo>
                      <a:pt x="120" y="90"/>
                    </a:moveTo>
                    <a:lnTo>
                      <a:pt x="120" y="90"/>
                    </a:lnTo>
                    <a:lnTo>
                      <a:pt x="123" y="87"/>
                    </a:lnTo>
                    <a:lnTo>
                      <a:pt x="123" y="85"/>
                    </a:lnTo>
                    <a:lnTo>
                      <a:pt x="125" y="85"/>
                    </a:lnTo>
                    <a:lnTo>
                      <a:pt x="125" y="82"/>
                    </a:lnTo>
                    <a:lnTo>
                      <a:pt x="123" y="80"/>
                    </a:lnTo>
                    <a:lnTo>
                      <a:pt x="123" y="80"/>
                    </a:lnTo>
                    <a:lnTo>
                      <a:pt x="120" y="82"/>
                    </a:lnTo>
                    <a:lnTo>
                      <a:pt x="118" y="82"/>
                    </a:lnTo>
                    <a:lnTo>
                      <a:pt x="118" y="82"/>
                    </a:lnTo>
                    <a:lnTo>
                      <a:pt x="118" y="85"/>
                    </a:lnTo>
                    <a:lnTo>
                      <a:pt x="118" y="87"/>
                    </a:lnTo>
                    <a:lnTo>
                      <a:pt x="120" y="90"/>
                    </a:lnTo>
                    <a:close/>
                    <a:moveTo>
                      <a:pt x="603" y="101"/>
                    </a:moveTo>
                    <a:lnTo>
                      <a:pt x="605" y="106"/>
                    </a:lnTo>
                    <a:lnTo>
                      <a:pt x="608" y="106"/>
                    </a:lnTo>
                    <a:lnTo>
                      <a:pt x="608" y="108"/>
                    </a:lnTo>
                    <a:lnTo>
                      <a:pt x="605" y="108"/>
                    </a:lnTo>
                    <a:lnTo>
                      <a:pt x="605" y="111"/>
                    </a:lnTo>
                    <a:lnTo>
                      <a:pt x="605" y="113"/>
                    </a:lnTo>
                    <a:lnTo>
                      <a:pt x="605" y="116"/>
                    </a:lnTo>
                    <a:lnTo>
                      <a:pt x="608" y="118"/>
                    </a:lnTo>
                    <a:lnTo>
                      <a:pt x="608" y="118"/>
                    </a:lnTo>
                    <a:lnTo>
                      <a:pt x="608" y="118"/>
                    </a:lnTo>
                    <a:lnTo>
                      <a:pt x="608" y="123"/>
                    </a:lnTo>
                    <a:lnTo>
                      <a:pt x="608" y="125"/>
                    </a:lnTo>
                    <a:lnTo>
                      <a:pt x="608" y="127"/>
                    </a:lnTo>
                    <a:lnTo>
                      <a:pt x="608" y="127"/>
                    </a:lnTo>
                    <a:lnTo>
                      <a:pt x="608" y="130"/>
                    </a:lnTo>
                    <a:lnTo>
                      <a:pt x="610" y="132"/>
                    </a:lnTo>
                    <a:lnTo>
                      <a:pt x="612" y="132"/>
                    </a:lnTo>
                    <a:lnTo>
                      <a:pt x="612" y="134"/>
                    </a:lnTo>
                    <a:lnTo>
                      <a:pt x="615" y="139"/>
                    </a:lnTo>
                    <a:lnTo>
                      <a:pt x="615" y="139"/>
                    </a:lnTo>
                    <a:lnTo>
                      <a:pt x="620" y="142"/>
                    </a:lnTo>
                    <a:lnTo>
                      <a:pt x="620" y="144"/>
                    </a:lnTo>
                    <a:lnTo>
                      <a:pt x="622" y="144"/>
                    </a:lnTo>
                    <a:lnTo>
                      <a:pt x="620" y="142"/>
                    </a:lnTo>
                    <a:lnTo>
                      <a:pt x="620" y="142"/>
                    </a:lnTo>
                    <a:lnTo>
                      <a:pt x="615" y="134"/>
                    </a:lnTo>
                    <a:lnTo>
                      <a:pt x="615" y="130"/>
                    </a:lnTo>
                    <a:lnTo>
                      <a:pt x="612" y="125"/>
                    </a:lnTo>
                    <a:lnTo>
                      <a:pt x="612" y="123"/>
                    </a:lnTo>
                    <a:lnTo>
                      <a:pt x="612" y="120"/>
                    </a:lnTo>
                    <a:lnTo>
                      <a:pt x="612" y="118"/>
                    </a:lnTo>
                    <a:lnTo>
                      <a:pt x="612" y="118"/>
                    </a:lnTo>
                    <a:lnTo>
                      <a:pt x="612" y="116"/>
                    </a:lnTo>
                    <a:lnTo>
                      <a:pt x="615" y="116"/>
                    </a:lnTo>
                    <a:lnTo>
                      <a:pt x="617" y="116"/>
                    </a:lnTo>
                    <a:lnTo>
                      <a:pt x="617" y="116"/>
                    </a:lnTo>
                    <a:lnTo>
                      <a:pt x="620" y="116"/>
                    </a:lnTo>
                    <a:lnTo>
                      <a:pt x="622" y="118"/>
                    </a:lnTo>
                    <a:lnTo>
                      <a:pt x="624" y="118"/>
                    </a:lnTo>
                    <a:lnTo>
                      <a:pt x="631" y="120"/>
                    </a:lnTo>
                    <a:lnTo>
                      <a:pt x="631" y="120"/>
                    </a:lnTo>
                    <a:lnTo>
                      <a:pt x="629" y="118"/>
                    </a:lnTo>
                    <a:lnTo>
                      <a:pt x="629" y="118"/>
                    </a:lnTo>
                    <a:lnTo>
                      <a:pt x="627" y="118"/>
                    </a:lnTo>
                    <a:lnTo>
                      <a:pt x="627" y="116"/>
                    </a:lnTo>
                    <a:lnTo>
                      <a:pt x="627" y="113"/>
                    </a:lnTo>
                    <a:lnTo>
                      <a:pt x="627" y="113"/>
                    </a:lnTo>
                    <a:lnTo>
                      <a:pt x="622" y="111"/>
                    </a:lnTo>
                    <a:lnTo>
                      <a:pt x="620" y="108"/>
                    </a:lnTo>
                    <a:lnTo>
                      <a:pt x="620" y="108"/>
                    </a:lnTo>
                    <a:lnTo>
                      <a:pt x="620" y="106"/>
                    </a:lnTo>
                    <a:lnTo>
                      <a:pt x="620" y="106"/>
                    </a:lnTo>
                    <a:lnTo>
                      <a:pt x="624" y="104"/>
                    </a:lnTo>
                    <a:lnTo>
                      <a:pt x="627" y="101"/>
                    </a:lnTo>
                    <a:lnTo>
                      <a:pt x="627" y="101"/>
                    </a:lnTo>
                    <a:lnTo>
                      <a:pt x="627" y="97"/>
                    </a:lnTo>
                    <a:lnTo>
                      <a:pt x="627" y="94"/>
                    </a:lnTo>
                    <a:lnTo>
                      <a:pt x="627" y="92"/>
                    </a:lnTo>
                    <a:lnTo>
                      <a:pt x="627" y="92"/>
                    </a:lnTo>
                    <a:lnTo>
                      <a:pt x="624" y="92"/>
                    </a:lnTo>
                    <a:lnTo>
                      <a:pt x="622" y="92"/>
                    </a:lnTo>
                    <a:lnTo>
                      <a:pt x="617" y="97"/>
                    </a:lnTo>
                    <a:lnTo>
                      <a:pt x="617" y="97"/>
                    </a:lnTo>
                    <a:lnTo>
                      <a:pt x="617" y="99"/>
                    </a:lnTo>
                    <a:lnTo>
                      <a:pt x="617" y="101"/>
                    </a:lnTo>
                    <a:lnTo>
                      <a:pt x="617" y="101"/>
                    </a:lnTo>
                    <a:lnTo>
                      <a:pt x="615" y="101"/>
                    </a:lnTo>
                    <a:lnTo>
                      <a:pt x="612" y="104"/>
                    </a:lnTo>
                    <a:lnTo>
                      <a:pt x="612" y="106"/>
                    </a:lnTo>
                    <a:lnTo>
                      <a:pt x="612" y="106"/>
                    </a:lnTo>
                    <a:lnTo>
                      <a:pt x="612" y="108"/>
                    </a:lnTo>
                    <a:lnTo>
                      <a:pt x="610" y="108"/>
                    </a:lnTo>
                    <a:lnTo>
                      <a:pt x="610" y="106"/>
                    </a:lnTo>
                    <a:lnTo>
                      <a:pt x="608" y="106"/>
                    </a:lnTo>
                    <a:lnTo>
                      <a:pt x="608" y="106"/>
                    </a:lnTo>
                    <a:lnTo>
                      <a:pt x="608" y="104"/>
                    </a:lnTo>
                    <a:lnTo>
                      <a:pt x="608" y="104"/>
                    </a:lnTo>
                    <a:lnTo>
                      <a:pt x="612" y="101"/>
                    </a:lnTo>
                    <a:lnTo>
                      <a:pt x="615" y="99"/>
                    </a:lnTo>
                    <a:lnTo>
                      <a:pt x="615" y="97"/>
                    </a:lnTo>
                    <a:lnTo>
                      <a:pt x="615" y="94"/>
                    </a:lnTo>
                    <a:lnTo>
                      <a:pt x="615" y="92"/>
                    </a:lnTo>
                    <a:lnTo>
                      <a:pt x="615" y="90"/>
                    </a:lnTo>
                    <a:lnTo>
                      <a:pt x="612" y="87"/>
                    </a:lnTo>
                    <a:lnTo>
                      <a:pt x="612" y="87"/>
                    </a:lnTo>
                    <a:lnTo>
                      <a:pt x="612" y="85"/>
                    </a:lnTo>
                    <a:lnTo>
                      <a:pt x="612" y="85"/>
                    </a:lnTo>
                    <a:lnTo>
                      <a:pt x="615" y="80"/>
                    </a:lnTo>
                    <a:lnTo>
                      <a:pt x="615" y="80"/>
                    </a:lnTo>
                    <a:lnTo>
                      <a:pt x="615" y="78"/>
                    </a:lnTo>
                    <a:lnTo>
                      <a:pt x="612" y="80"/>
                    </a:lnTo>
                    <a:lnTo>
                      <a:pt x="612" y="80"/>
                    </a:lnTo>
                    <a:lnTo>
                      <a:pt x="608" y="82"/>
                    </a:lnTo>
                    <a:lnTo>
                      <a:pt x="608" y="87"/>
                    </a:lnTo>
                    <a:lnTo>
                      <a:pt x="605" y="90"/>
                    </a:lnTo>
                    <a:lnTo>
                      <a:pt x="605" y="90"/>
                    </a:lnTo>
                    <a:lnTo>
                      <a:pt x="605" y="92"/>
                    </a:lnTo>
                    <a:lnTo>
                      <a:pt x="605" y="94"/>
                    </a:lnTo>
                    <a:lnTo>
                      <a:pt x="603" y="99"/>
                    </a:lnTo>
                    <a:lnTo>
                      <a:pt x="603" y="101"/>
                    </a:lnTo>
                    <a:close/>
                    <a:moveTo>
                      <a:pt x="42" y="80"/>
                    </a:moveTo>
                    <a:lnTo>
                      <a:pt x="42" y="80"/>
                    </a:lnTo>
                    <a:lnTo>
                      <a:pt x="40" y="78"/>
                    </a:lnTo>
                    <a:lnTo>
                      <a:pt x="40" y="78"/>
                    </a:lnTo>
                    <a:lnTo>
                      <a:pt x="38" y="78"/>
                    </a:lnTo>
                    <a:lnTo>
                      <a:pt x="38" y="78"/>
                    </a:lnTo>
                    <a:lnTo>
                      <a:pt x="40" y="80"/>
                    </a:lnTo>
                    <a:lnTo>
                      <a:pt x="42" y="82"/>
                    </a:lnTo>
                    <a:lnTo>
                      <a:pt x="42" y="80"/>
                    </a:lnTo>
                    <a:close/>
                    <a:moveTo>
                      <a:pt x="620" y="82"/>
                    </a:moveTo>
                    <a:lnTo>
                      <a:pt x="622" y="82"/>
                    </a:lnTo>
                    <a:lnTo>
                      <a:pt x="624" y="80"/>
                    </a:lnTo>
                    <a:lnTo>
                      <a:pt x="624" y="78"/>
                    </a:lnTo>
                    <a:lnTo>
                      <a:pt x="627" y="73"/>
                    </a:lnTo>
                    <a:lnTo>
                      <a:pt x="624" y="71"/>
                    </a:lnTo>
                    <a:lnTo>
                      <a:pt x="624" y="71"/>
                    </a:lnTo>
                    <a:lnTo>
                      <a:pt x="622" y="71"/>
                    </a:lnTo>
                    <a:lnTo>
                      <a:pt x="620" y="73"/>
                    </a:lnTo>
                    <a:lnTo>
                      <a:pt x="617" y="78"/>
                    </a:lnTo>
                    <a:lnTo>
                      <a:pt x="620" y="80"/>
                    </a:lnTo>
                    <a:lnTo>
                      <a:pt x="620" y="82"/>
                    </a:lnTo>
                    <a:close/>
                    <a:moveTo>
                      <a:pt x="565" y="66"/>
                    </a:moveTo>
                    <a:lnTo>
                      <a:pt x="565" y="66"/>
                    </a:lnTo>
                    <a:lnTo>
                      <a:pt x="565" y="66"/>
                    </a:lnTo>
                    <a:lnTo>
                      <a:pt x="563" y="68"/>
                    </a:lnTo>
                    <a:lnTo>
                      <a:pt x="565" y="71"/>
                    </a:lnTo>
                    <a:lnTo>
                      <a:pt x="565" y="68"/>
                    </a:lnTo>
                    <a:lnTo>
                      <a:pt x="565" y="68"/>
                    </a:lnTo>
                    <a:lnTo>
                      <a:pt x="565" y="66"/>
                    </a:lnTo>
                    <a:close/>
                    <a:moveTo>
                      <a:pt x="26" y="73"/>
                    </a:moveTo>
                    <a:lnTo>
                      <a:pt x="23" y="73"/>
                    </a:lnTo>
                    <a:lnTo>
                      <a:pt x="19" y="68"/>
                    </a:lnTo>
                    <a:lnTo>
                      <a:pt x="19" y="68"/>
                    </a:lnTo>
                    <a:lnTo>
                      <a:pt x="19" y="68"/>
                    </a:lnTo>
                    <a:lnTo>
                      <a:pt x="16" y="66"/>
                    </a:lnTo>
                    <a:lnTo>
                      <a:pt x="14" y="63"/>
                    </a:lnTo>
                    <a:lnTo>
                      <a:pt x="12" y="63"/>
                    </a:lnTo>
                    <a:lnTo>
                      <a:pt x="12" y="66"/>
                    </a:lnTo>
                    <a:lnTo>
                      <a:pt x="12" y="66"/>
                    </a:lnTo>
                    <a:lnTo>
                      <a:pt x="12" y="66"/>
                    </a:lnTo>
                    <a:lnTo>
                      <a:pt x="12" y="68"/>
                    </a:lnTo>
                    <a:lnTo>
                      <a:pt x="14" y="68"/>
                    </a:lnTo>
                    <a:lnTo>
                      <a:pt x="16" y="71"/>
                    </a:lnTo>
                    <a:lnTo>
                      <a:pt x="16" y="71"/>
                    </a:lnTo>
                    <a:lnTo>
                      <a:pt x="21" y="73"/>
                    </a:lnTo>
                    <a:lnTo>
                      <a:pt x="23" y="75"/>
                    </a:lnTo>
                    <a:lnTo>
                      <a:pt x="23" y="75"/>
                    </a:lnTo>
                    <a:lnTo>
                      <a:pt x="26" y="75"/>
                    </a:lnTo>
                    <a:lnTo>
                      <a:pt x="26" y="73"/>
                    </a:lnTo>
                    <a:lnTo>
                      <a:pt x="26" y="73"/>
                    </a:lnTo>
                    <a:close/>
                    <a:moveTo>
                      <a:pt x="258" y="63"/>
                    </a:moveTo>
                    <a:lnTo>
                      <a:pt x="258" y="61"/>
                    </a:lnTo>
                    <a:lnTo>
                      <a:pt x="255" y="61"/>
                    </a:lnTo>
                    <a:lnTo>
                      <a:pt x="255" y="63"/>
                    </a:lnTo>
                    <a:lnTo>
                      <a:pt x="255" y="66"/>
                    </a:lnTo>
                    <a:lnTo>
                      <a:pt x="258" y="63"/>
                    </a:lnTo>
                    <a:close/>
                    <a:moveTo>
                      <a:pt x="196" y="61"/>
                    </a:moveTo>
                    <a:lnTo>
                      <a:pt x="196" y="63"/>
                    </a:lnTo>
                    <a:lnTo>
                      <a:pt x="196" y="63"/>
                    </a:lnTo>
                    <a:lnTo>
                      <a:pt x="198" y="66"/>
                    </a:lnTo>
                    <a:lnTo>
                      <a:pt x="198" y="63"/>
                    </a:lnTo>
                    <a:lnTo>
                      <a:pt x="198" y="63"/>
                    </a:lnTo>
                    <a:lnTo>
                      <a:pt x="198" y="61"/>
                    </a:lnTo>
                    <a:lnTo>
                      <a:pt x="198" y="61"/>
                    </a:lnTo>
                    <a:lnTo>
                      <a:pt x="198" y="61"/>
                    </a:lnTo>
                    <a:lnTo>
                      <a:pt x="198" y="61"/>
                    </a:lnTo>
                    <a:lnTo>
                      <a:pt x="198" y="61"/>
                    </a:lnTo>
                    <a:lnTo>
                      <a:pt x="196" y="61"/>
                    </a:lnTo>
                    <a:lnTo>
                      <a:pt x="196" y="61"/>
                    </a:lnTo>
                    <a:lnTo>
                      <a:pt x="196" y="61"/>
                    </a:lnTo>
                    <a:close/>
                    <a:moveTo>
                      <a:pt x="208" y="59"/>
                    </a:moveTo>
                    <a:lnTo>
                      <a:pt x="208" y="59"/>
                    </a:lnTo>
                    <a:lnTo>
                      <a:pt x="208" y="56"/>
                    </a:lnTo>
                    <a:lnTo>
                      <a:pt x="206" y="56"/>
                    </a:lnTo>
                    <a:lnTo>
                      <a:pt x="206" y="56"/>
                    </a:lnTo>
                    <a:lnTo>
                      <a:pt x="206" y="59"/>
                    </a:lnTo>
                    <a:lnTo>
                      <a:pt x="208" y="59"/>
                    </a:lnTo>
                    <a:close/>
                    <a:moveTo>
                      <a:pt x="418" y="54"/>
                    </a:moveTo>
                    <a:lnTo>
                      <a:pt x="418" y="54"/>
                    </a:lnTo>
                    <a:lnTo>
                      <a:pt x="418" y="56"/>
                    </a:lnTo>
                    <a:lnTo>
                      <a:pt x="421" y="56"/>
                    </a:lnTo>
                    <a:lnTo>
                      <a:pt x="421" y="54"/>
                    </a:lnTo>
                    <a:lnTo>
                      <a:pt x="418" y="52"/>
                    </a:lnTo>
                    <a:lnTo>
                      <a:pt x="418" y="52"/>
                    </a:lnTo>
                    <a:lnTo>
                      <a:pt x="418" y="54"/>
                    </a:lnTo>
                    <a:close/>
                    <a:moveTo>
                      <a:pt x="565" y="49"/>
                    </a:moveTo>
                    <a:lnTo>
                      <a:pt x="565" y="49"/>
                    </a:lnTo>
                    <a:lnTo>
                      <a:pt x="565" y="52"/>
                    </a:lnTo>
                    <a:lnTo>
                      <a:pt x="568" y="54"/>
                    </a:lnTo>
                    <a:lnTo>
                      <a:pt x="570" y="52"/>
                    </a:lnTo>
                    <a:lnTo>
                      <a:pt x="568" y="52"/>
                    </a:lnTo>
                    <a:lnTo>
                      <a:pt x="568" y="49"/>
                    </a:lnTo>
                    <a:lnTo>
                      <a:pt x="568" y="47"/>
                    </a:lnTo>
                    <a:lnTo>
                      <a:pt x="565" y="47"/>
                    </a:lnTo>
                    <a:lnTo>
                      <a:pt x="565" y="47"/>
                    </a:lnTo>
                    <a:lnTo>
                      <a:pt x="565" y="49"/>
                    </a:lnTo>
                    <a:lnTo>
                      <a:pt x="565" y="49"/>
                    </a:lnTo>
                    <a:close/>
                    <a:moveTo>
                      <a:pt x="589" y="45"/>
                    </a:moveTo>
                    <a:lnTo>
                      <a:pt x="589" y="45"/>
                    </a:lnTo>
                    <a:lnTo>
                      <a:pt x="589" y="45"/>
                    </a:lnTo>
                    <a:lnTo>
                      <a:pt x="591" y="45"/>
                    </a:lnTo>
                    <a:lnTo>
                      <a:pt x="591" y="45"/>
                    </a:lnTo>
                    <a:lnTo>
                      <a:pt x="591" y="45"/>
                    </a:lnTo>
                    <a:lnTo>
                      <a:pt x="591" y="45"/>
                    </a:lnTo>
                    <a:lnTo>
                      <a:pt x="589" y="45"/>
                    </a:lnTo>
                    <a:lnTo>
                      <a:pt x="589" y="45"/>
                    </a:lnTo>
                    <a:close/>
                    <a:moveTo>
                      <a:pt x="589" y="45"/>
                    </a:moveTo>
                    <a:lnTo>
                      <a:pt x="589" y="42"/>
                    </a:lnTo>
                    <a:lnTo>
                      <a:pt x="589" y="42"/>
                    </a:lnTo>
                    <a:lnTo>
                      <a:pt x="586" y="40"/>
                    </a:lnTo>
                    <a:lnTo>
                      <a:pt x="586" y="40"/>
                    </a:lnTo>
                    <a:lnTo>
                      <a:pt x="586" y="42"/>
                    </a:lnTo>
                    <a:lnTo>
                      <a:pt x="589" y="45"/>
                    </a:lnTo>
                    <a:close/>
                    <a:moveTo>
                      <a:pt x="423" y="40"/>
                    </a:moveTo>
                    <a:lnTo>
                      <a:pt x="423" y="40"/>
                    </a:lnTo>
                    <a:lnTo>
                      <a:pt x="423" y="37"/>
                    </a:lnTo>
                    <a:lnTo>
                      <a:pt x="421" y="37"/>
                    </a:lnTo>
                    <a:lnTo>
                      <a:pt x="418" y="37"/>
                    </a:lnTo>
                    <a:lnTo>
                      <a:pt x="418" y="37"/>
                    </a:lnTo>
                    <a:lnTo>
                      <a:pt x="421" y="40"/>
                    </a:lnTo>
                    <a:lnTo>
                      <a:pt x="423" y="40"/>
                    </a:lnTo>
                    <a:close/>
                    <a:moveTo>
                      <a:pt x="241" y="42"/>
                    </a:moveTo>
                    <a:lnTo>
                      <a:pt x="241" y="45"/>
                    </a:lnTo>
                    <a:lnTo>
                      <a:pt x="243" y="45"/>
                    </a:lnTo>
                    <a:lnTo>
                      <a:pt x="243" y="45"/>
                    </a:lnTo>
                    <a:lnTo>
                      <a:pt x="243" y="45"/>
                    </a:lnTo>
                    <a:lnTo>
                      <a:pt x="243" y="45"/>
                    </a:lnTo>
                    <a:lnTo>
                      <a:pt x="241" y="47"/>
                    </a:lnTo>
                    <a:lnTo>
                      <a:pt x="243" y="47"/>
                    </a:lnTo>
                    <a:lnTo>
                      <a:pt x="246" y="47"/>
                    </a:lnTo>
                    <a:lnTo>
                      <a:pt x="246" y="45"/>
                    </a:lnTo>
                    <a:lnTo>
                      <a:pt x="246" y="42"/>
                    </a:lnTo>
                    <a:lnTo>
                      <a:pt x="246" y="40"/>
                    </a:lnTo>
                    <a:lnTo>
                      <a:pt x="243" y="37"/>
                    </a:lnTo>
                    <a:lnTo>
                      <a:pt x="243" y="35"/>
                    </a:lnTo>
                    <a:lnTo>
                      <a:pt x="243" y="37"/>
                    </a:lnTo>
                    <a:lnTo>
                      <a:pt x="239" y="40"/>
                    </a:lnTo>
                    <a:lnTo>
                      <a:pt x="239" y="40"/>
                    </a:lnTo>
                    <a:lnTo>
                      <a:pt x="241" y="42"/>
                    </a:lnTo>
                    <a:close/>
                    <a:moveTo>
                      <a:pt x="258" y="118"/>
                    </a:moveTo>
                    <a:lnTo>
                      <a:pt x="260" y="120"/>
                    </a:lnTo>
                    <a:lnTo>
                      <a:pt x="262" y="123"/>
                    </a:lnTo>
                    <a:lnTo>
                      <a:pt x="262" y="123"/>
                    </a:lnTo>
                    <a:lnTo>
                      <a:pt x="265" y="123"/>
                    </a:lnTo>
                    <a:lnTo>
                      <a:pt x="265" y="125"/>
                    </a:lnTo>
                    <a:lnTo>
                      <a:pt x="265" y="125"/>
                    </a:lnTo>
                    <a:lnTo>
                      <a:pt x="262" y="125"/>
                    </a:lnTo>
                    <a:lnTo>
                      <a:pt x="262" y="127"/>
                    </a:lnTo>
                    <a:lnTo>
                      <a:pt x="262" y="130"/>
                    </a:lnTo>
                    <a:lnTo>
                      <a:pt x="262" y="130"/>
                    </a:lnTo>
                    <a:lnTo>
                      <a:pt x="262" y="134"/>
                    </a:lnTo>
                    <a:lnTo>
                      <a:pt x="262" y="134"/>
                    </a:lnTo>
                    <a:lnTo>
                      <a:pt x="262" y="134"/>
                    </a:lnTo>
                    <a:lnTo>
                      <a:pt x="265" y="137"/>
                    </a:lnTo>
                    <a:lnTo>
                      <a:pt x="267" y="139"/>
                    </a:lnTo>
                    <a:lnTo>
                      <a:pt x="267" y="139"/>
                    </a:lnTo>
                    <a:lnTo>
                      <a:pt x="265" y="139"/>
                    </a:lnTo>
                    <a:lnTo>
                      <a:pt x="265" y="142"/>
                    </a:lnTo>
                    <a:lnTo>
                      <a:pt x="265" y="142"/>
                    </a:lnTo>
                    <a:lnTo>
                      <a:pt x="265" y="144"/>
                    </a:lnTo>
                    <a:lnTo>
                      <a:pt x="265" y="144"/>
                    </a:lnTo>
                    <a:lnTo>
                      <a:pt x="267" y="144"/>
                    </a:lnTo>
                    <a:lnTo>
                      <a:pt x="272" y="144"/>
                    </a:lnTo>
                    <a:lnTo>
                      <a:pt x="274" y="146"/>
                    </a:lnTo>
                    <a:lnTo>
                      <a:pt x="277" y="149"/>
                    </a:lnTo>
                    <a:lnTo>
                      <a:pt x="277" y="151"/>
                    </a:lnTo>
                    <a:lnTo>
                      <a:pt x="279" y="151"/>
                    </a:lnTo>
                    <a:lnTo>
                      <a:pt x="279" y="156"/>
                    </a:lnTo>
                    <a:lnTo>
                      <a:pt x="279" y="158"/>
                    </a:lnTo>
                    <a:lnTo>
                      <a:pt x="279" y="161"/>
                    </a:lnTo>
                    <a:lnTo>
                      <a:pt x="277" y="163"/>
                    </a:lnTo>
                    <a:lnTo>
                      <a:pt x="277" y="165"/>
                    </a:lnTo>
                    <a:lnTo>
                      <a:pt x="279" y="165"/>
                    </a:lnTo>
                    <a:lnTo>
                      <a:pt x="279" y="168"/>
                    </a:lnTo>
                    <a:lnTo>
                      <a:pt x="279" y="172"/>
                    </a:lnTo>
                    <a:lnTo>
                      <a:pt x="281" y="182"/>
                    </a:lnTo>
                    <a:lnTo>
                      <a:pt x="281" y="187"/>
                    </a:lnTo>
                    <a:lnTo>
                      <a:pt x="281" y="189"/>
                    </a:lnTo>
                    <a:lnTo>
                      <a:pt x="284" y="189"/>
                    </a:lnTo>
                    <a:lnTo>
                      <a:pt x="284" y="187"/>
                    </a:lnTo>
                    <a:lnTo>
                      <a:pt x="284" y="187"/>
                    </a:lnTo>
                    <a:lnTo>
                      <a:pt x="288" y="187"/>
                    </a:lnTo>
                    <a:lnTo>
                      <a:pt x="291" y="189"/>
                    </a:lnTo>
                    <a:lnTo>
                      <a:pt x="291" y="189"/>
                    </a:lnTo>
                    <a:lnTo>
                      <a:pt x="291" y="189"/>
                    </a:lnTo>
                    <a:lnTo>
                      <a:pt x="293" y="187"/>
                    </a:lnTo>
                    <a:lnTo>
                      <a:pt x="293" y="187"/>
                    </a:lnTo>
                    <a:lnTo>
                      <a:pt x="293" y="187"/>
                    </a:lnTo>
                    <a:lnTo>
                      <a:pt x="293" y="189"/>
                    </a:lnTo>
                    <a:lnTo>
                      <a:pt x="293" y="189"/>
                    </a:lnTo>
                    <a:lnTo>
                      <a:pt x="295" y="189"/>
                    </a:lnTo>
                    <a:lnTo>
                      <a:pt x="298" y="189"/>
                    </a:lnTo>
                    <a:lnTo>
                      <a:pt x="300" y="187"/>
                    </a:lnTo>
                    <a:lnTo>
                      <a:pt x="303" y="187"/>
                    </a:lnTo>
                    <a:lnTo>
                      <a:pt x="305" y="189"/>
                    </a:lnTo>
                    <a:lnTo>
                      <a:pt x="307" y="189"/>
                    </a:lnTo>
                    <a:lnTo>
                      <a:pt x="307" y="187"/>
                    </a:lnTo>
                    <a:lnTo>
                      <a:pt x="310" y="187"/>
                    </a:lnTo>
                    <a:lnTo>
                      <a:pt x="310" y="187"/>
                    </a:lnTo>
                    <a:lnTo>
                      <a:pt x="312" y="189"/>
                    </a:lnTo>
                    <a:lnTo>
                      <a:pt x="312" y="189"/>
                    </a:lnTo>
                    <a:lnTo>
                      <a:pt x="312" y="196"/>
                    </a:lnTo>
                    <a:lnTo>
                      <a:pt x="312" y="198"/>
                    </a:lnTo>
                    <a:lnTo>
                      <a:pt x="310" y="201"/>
                    </a:lnTo>
                    <a:lnTo>
                      <a:pt x="312" y="201"/>
                    </a:lnTo>
                    <a:lnTo>
                      <a:pt x="312" y="201"/>
                    </a:lnTo>
                    <a:lnTo>
                      <a:pt x="314" y="201"/>
                    </a:lnTo>
                    <a:lnTo>
                      <a:pt x="317" y="196"/>
                    </a:lnTo>
                    <a:lnTo>
                      <a:pt x="319" y="196"/>
                    </a:lnTo>
                    <a:lnTo>
                      <a:pt x="321" y="196"/>
                    </a:lnTo>
                    <a:lnTo>
                      <a:pt x="326" y="196"/>
                    </a:lnTo>
                    <a:lnTo>
                      <a:pt x="329" y="196"/>
                    </a:lnTo>
                    <a:lnTo>
                      <a:pt x="333" y="191"/>
                    </a:lnTo>
                    <a:lnTo>
                      <a:pt x="333" y="187"/>
                    </a:lnTo>
                    <a:lnTo>
                      <a:pt x="340" y="194"/>
                    </a:lnTo>
                    <a:lnTo>
                      <a:pt x="340" y="194"/>
                    </a:lnTo>
                    <a:lnTo>
                      <a:pt x="340" y="194"/>
                    </a:lnTo>
                    <a:lnTo>
                      <a:pt x="343" y="191"/>
                    </a:lnTo>
                    <a:lnTo>
                      <a:pt x="343" y="191"/>
                    </a:lnTo>
                    <a:lnTo>
                      <a:pt x="345" y="194"/>
                    </a:lnTo>
                    <a:lnTo>
                      <a:pt x="345" y="194"/>
                    </a:lnTo>
                    <a:lnTo>
                      <a:pt x="345" y="196"/>
                    </a:lnTo>
                    <a:lnTo>
                      <a:pt x="345" y="198"/>
                    </a:lnTo>
                    <a:lnTo>
                      <a:pt x="345" y="198"/>
                    </a:lnTo>
                    <a:lnTo>
                      <a:pt x="348" y="198"/>
                    </a:lnTo>
                    <a:lnTo>
                      <a:pt x="350" y="196"/>
                    </a:lnTo>
                    <a:lnTo>
                      <a:pt x="352" y="194"/>
                    </a:lnTo>
                    <a:lnTo>
                      <a:pt x="355" y="194"/>
                    </a:lnTo>
                    <a:lnTo>
                      <a:pt x="355" y="196"/>
                    </a:lnTo>
                    <a:lnTo>
                      <a:pt x="355" y="196"/>
                    </a:lnTo>
                    <a:lnTo>
                      <a:pt x="357" y="196"/>
                    </a:lnTo>
                    <a:lnTo>
                      <a:pt x="357" y="196"/>
                    </a:lnTo>
                    <a:lnTo>
                      <a:pt x="357" y="194"/>
                    </a:lnTo>
                    <a:lnTo>
                      <a:pt x="357" y="196"/>
                    </a:lnTo>
                    <a:lnTo>
                      <a:pt x="357" y="196"/>
                    </a:lnTo>
                    <a:lnTo>
                      <a:pt x="357" y="198"/>
                    </a:lnTo>
                    <a:lnTo>
                      <a:pt x="359" y="198"/>
                    </a:lnTo>
                    <a:lnTo>
                      <a:pt x="359" y="198"/>
                    </a:lnTo>
                    <a:lnTo>
                      <a:pt x="362" y="196"/>
                    </a:lnTo>
                    <a:lnTo>
                      <a:pt x="362" y="198"/>
                    </a:lnTo>
                    <a:lnTo>
                      <a:pt x="362" y="203"/>
                    </a:lnTo>
                    <a:lnTo>
                      <a:pt x="362" y="213"/>
                    </a:lnTo>
                    <a:lnTo>
                      <a:pt x="364" y="213"/>
                    </a:lnTo>
                    <a:lnTo>
                      <a:pt x="364" y="213"/>
                    </a:lnTo>
                    <a:lnTo>
                      <a:pt x="374" y="208"/>
                    </a:lnTo>
                    <a:lnTo>
                      <a:pt x="388" y="201"/>
                    </a:lnTo>
                    <a:lnTo>
                      <a:pt x="388" y="198"/>
                    </a:lnTo>
                    <a:lnTo>
                      <a:pt x="390" y="198"/>
                    </a:lnTo>
                    <a:lnTo>
                      <a:pt x="390" y="196"/>
                    </a:lnTo>
                    <a:lnTo>
                      <a:pt x="392" y="194"/>
                    </a:lnTo>
                    <a:lnTo>
                      <a:pt x="392" y="191"/>
                    </a:lnTo>
                    <a:lnTo>
                      <a:pt x="392" y="191"/>
                    </a:lnTo>
                    <a:lnTo>
                      <a:pt x="395" y="191"/>
                    </a:lnTo>
                    <a:lnTo>
                      <a:pt x="392" y="189"/>
                    </a:lnTo>
                    <a:lnTo>
                      <a:pt x="392" y="189"/>
                    </a:lnTo>
                    <a:lnTo>
                      <a:pt x="392" y="187"/>
                    </a:lnTo>
                    <a:lnTo>
                      <a:pt x="392" y="189"/>
                    </a:lnTo>
                    <a:lnTo>
                      <a:pt x="395" y="187"/>
                    </a:lnTo>
                    <a:lnTo>
                      <a:pt x="395" y="187"/>
                    </a:lnTo>
                    <a:lnTo>
                      <a:pt x="395" y="184"/>
                    </a:lnTo>
                    <a:lnTo>
                      <a:pt x="397" y="182"/>
                    </a:lnTo>
                    <a:lnTo>
                      <a:pt x="397" y="179"/>
                    </a:lnTo>
                    <a:lnTo>
                      <a:pt x="395" y="179"/>
                    </a:lnTo>
                    <a:lnTo>
                      <a:pt x="395" y="179"/>
                    </a:lnTo>
                    <a:lnTo>
                      <a:pt x="397" y="179"/>
                    </a:lnTo>
                    <a:lnTo>
                      <a:pt x="397" y="179"/>
                    </a:lnTo>
                    <a:lnTo>
                      <a:pt x="397" y="179"/>
                    </a:lnTo>
                    <a:lnTo>
                      <a:pt x="400" y="177"/>
                    </a:lnTo>
                    <a:lnTo>
                      <a:pt x="400" y="177"/>
                    </a:lnTo>
                    <a:lnTo>
                      <a:pt x="400" y="175"/>
                    </a:lnTo>
                    <a:lnTo>
                      <a:pt x="400" y="172"/>
                    </a:lnTo>
                    <a:lnTo>
                      <a:pt x="397" y="172"/>
                    </a:lnTo>
                    <a:lnTo>
                      <a:pt x="397" y="170"/>
                    </a:lnTo>
                    <a:lnTo>
                      <a:pt x="395" y="170"/>
                    </a:lnTo>
                    <a:lnTo>
                      <a:pt x="397" y="168"/>
                    </a:lnTo>
                    <a:lnTo>
                      <a:pt x="397" y="165"/>
                    </a:lnTo>
                    <a:lnTo>
                      <a:pt x="397" y="165"/>
                    </a:lnTo>
                    <a:lnTo>
                      <a:pt x="397" y="163"/>
                    </a:lnTo>
                    <a:lnTo>
                      <a:pt x="397" y="163"/>
                    </a:lnTo>
                    <a:lnTo>
                      <a:pt x="395" y="163"/>
                    </a:lnTo>
                    <a:lnTo>
                      <a:pt x="395" y="163"/>
                    </a:lnTo>
                    <a:lnTo>
                      <a:pt x="397" y="161"/>
                    </a:lnTo>
                    <a:lnTo>
                      <a:pt x="400" y="161"/>
                    </a:lnTo>
                    <a:lnTo>
                      <a:pt x="400" y="158"/>
                    </a:lnTo>
                    <a:lnTo>
                      <a:pt x="400" y="158"/>
                    </a:lnTo>
                    <a:lnTo>
                      <a:pt x="400" y="156"/>
                    </a:lnTo>
                    <a:lnTo>
                      <a:pt x="402" y="156"/>
                    </a:lnTo>
                    <a:lnTo>
                      <a:pt x="404" y="153"/>
                    </a:lnTo>
                    <a:lnTo>
                      <a:pt x="404" y="153"/>
                    </a:lnTo>
                    <a:lnTo>
                      <a:pt x="404" y="151"/>
                    </a:lnTo>
                    <a:lnTo>
                      <a:pt x="404" y="151"/>
                    </a:lnTo>
                    <a:lnTo>
                      <a:pt x="404" y="149"/>
                    </a:lnTo>
                    <a:lnTo>
                      <a:pt x="404" y="149"/>
                    </a:lnTo>
                    <a:lnTo>
                      <a:pt x="404" y="146"/>
                    </a:lnTo>
                    <a:lnTo>
                      <a:pt x="404" y="149"/>
                    </a:lnTo>
                    <a:lnTo>
                      <a:pt x="404" y="151"/>
                    </a:lnTo>
                    <a:lnTo>
                      <a:pt x="407" y="151"/>
                    </a:lnTo>
                    <a:lnTo>
                      <a:pt x="407" y="151"/>
                    </a:lnTo>
                    <a:lnTo>
                      <a:pt x="409" y="151"/>
                    </a:lnTo>
                    <a:lnTo>
                      <a:pt x="409" y="149"/>
                    </a:lnTo>
                    <a:lnTo>
                      <a:pt x="411" y="146"/>
                    </a:lnTo>
                    <a:lnTo>
                      <a:pt x="414" y="144"/>
                    </a:lnTo>
                    <a:lnTo>
                      <a:pt x="416" y="144"/>
                    </a:lnTo>
                    <a:lnTo>
                      <a:pt x="418" y="142"/>
                    </a:lnTo>
                    <a:lnTo>
                      <a:pt x="418" y="142"/>
                    </a:lnTo>
                    <a:lnTo>
                      <a:pt x="418" y="142"/>
                    </a:lnTo>
                    <a:lnTo>
                      <a:pt x="418" y="139"/>
                    </a:lnTo>
                    <a:lnTo>
                      <a:pt x="418" y="137"/>
                    </a:lnTo>
                    <a:lnTo>
                      <a:pt x="418" y="132"/>
                    </a:lnTo>
                    <a:lnTo>
                      <a:pt x="418" y="130"/>
                    </a:lnTo>
                    <a:lnTo>
                      <a:pt x="418" y="120"/>
                    </a:lnTo>
                    <a:lnTo>
                      <a:pt x="418" y="118"/>
                    </a:lnTo>
                    <a:lnTo>
                      <a:pt x="423" y="111"/>
                    </a:lnTo>
                    <a:lnTo>
                      <a:pt x="423" y="108"/>
                    </a:lnTo>
                    <a:lnTo>
                      <a:pt x="426" y="108"/>
                    </a:lnTo>
                    <a:lnTo>
                      <a:pt x="426" y="108"/>
                    </a:lnTo>
                    <a:lnTo>
                      <a:pt x="428" y="106"/>
                    </a:lnTo>
                    <a:lnTo>
                      <a:pt x="428" y="104"/>
                    </a:lnTo>
                    <a:lnTo>
                      <a:pt x="426" y="104"/>
                    </a:lnTo>
                    <a:lnTo>
                      <a:pt x="426" y="101"/>
                    </a:lnTo>
                    <a:lnTo>
                      <a:pt x="428" y="104"/>
                    </a:lnTo>
                    <a:lnTo>
                      <a:pt x="430" y="106"/>
                    </a:lnTo>
                    <a:lnTo>
                      <a:pt x="430" y="106"/>
                    </a:lnTo>
                    <a:lnTo>
                      <a:pt x="433" y="106"/>
                    </a:lnTo>
                    <a:lnTo>
                      <a:pt x="437" y="108"/>
                    </a:lnTo>
                    <a:lnTo>
                      <a:pt x="442" y="108"/>
                    </a:lnTo>
                    <a:lnTo>
                      <a:pt x="444" y="106"/>
                    </a:lnTo>
                    <a:lnTo>
                      <a:pt x="447" y="104"/>
                    </a:lnTo>
                    <a:lnTo>
                      <a:pt x="444" y="104"/>
                    </a:lnTo>
                    <a:lnTo>
                      <a:pt x="442" y="101"/>
                    </a:lnTo>
                    <a:lnTo>
                      <a:pt x="440" y="97"/>
                    </a:lnTo>
                    <a:lnTo>
                      <a:pt x="435" y="94"/>
                    </a:lnTo>
                    <a:lnTo>
                      <a:pt x="430" y="90"/>
                    </a:lnTo>
                    <a:lnTo>
                      <a:pt x="428" y="90"/>
                    </a:lnTo>
                    <a:lnTo>
                      <a:pt x="426" y="85"/>
                    </a:lnTo>
                    <a:lnTo>
                      <a:pt x="426" y="82"/>
                    </a:lnTo>
                    <a:lnTo>
                      <a:pt x="423" y="82"/>
                    </a:lnTo>
                    <a:lnTo>
                      <a:pt x="423" y="82"/>
                    </a:lnTo>
                    <a:lnTo>
                      <a:pt x="426" y="82"/>
                    </a:lnTo>
                    <a:lnTo>
                      <a:pt x="426" y="80"/>
                    </a:lnTo>
                    <a:lnTo>
                      <a:pt x="426" y="80"/>
                    </a:lnTo>
                    <a:lnTo>
                      <a:pt x="428" y="78"/>
                    </a:lnTo>
                    <a:lnTo>
                      <a:pt x="428" y="78"/>
                    </a:lnTo>
                    <a:lnTo>
                      <a:pt x="428" y="75"/>
                    </a:lnTo>
                    <a:lnTo>
                      <a:pt x="428" y="75"/>
                    </a:lnTo>
                    <a:lnTo>
                      <a:pt x="426" y="71"/>
                    </a:lnTo>
                    <a:lnTo>
                      <a:pt x="423" y="68"/>
                    </a:lnTo>
                    <a:lnTo>
                      <a:pt x="423" y="68"/>
                    </a:lnTo>
                    <a:lnTo>
                      <a:pt x="421" y="66"/>
                    </a:lnTo>
                    <a:lnTo>
                      <a:pt x="421" y="66"/>
                    </a:lnTo>
                    <a:lnTo>
                      <a:pt x="421" y="66"/>
                    </a:lnTo>
                    <a:lnTo>
                      <a:pt x="421" y="66"/>
                    </a:lnTo>
                    <a:lnTo>
                      <a:pt x="421" y="63"/>
                    </a:lnTo>
                    <a:lnTo>
                      <a:pt x="421" y="63"/>
                    </a:lnTo>
                    <a:lnTo>
                      <a:pt x="418" y="63"/>
                    </a:lnTo>
                    <a:lnTo>
                      <a:pt x="421" y="63"/>
                    </a:lnTo>
                    <a:lnTo>
                      <a:pt x="418" y="61"/>
                    </a:lnTo>
                    <a:lnTo>
                      <a:pt x="418" y="61"/>
                    </a:lnTo>
                    <a:lnTo>
                      <a:pt x="418" y="59"/>
                    </a:lnTo>
                    <a:lnTo>
                      <a:pt x="416" y="59"/>
                    </a:lnTo>
                    <a:lnTo>
                      <a:pt x="416" y="59"/>
                    </a:lnTo>
                    <a:lnTo>
                      <a:pt x="414" y="59"/>
                    </a:lnTo>
                    <a:lnTo>
                      <a:pt x="414" y="56"/>
                    </a:lnTo>
                    <a:lnTo>
                      <a:pt x="414" y="54"/>
                    </a:lnTo>
                    <a:lnTo>
                      <a:pt x="414" y="52"/>
                    </a:lnTo>
                    <a:lnTo>
                      <a:pt x="411" y="49"/>
                    </a:lnTo>
                    <a:lnTo>
                      <a:pt x="409" y="49"/>
                    </a:lnTo>
                    <a:lnTo>
                      <a:pt x="409" y="49"/>
                    </a:lnTo>
                    <a:lnTo>
                      <a:pt x="411" y="49"/>
                    </a:lnTo>
                    <a:lnTo>
                      <a:pt x="414" y="49"/>
                    </a:lnTo>
                    <a:lnTo>
                      <a:pt x="416" y="49"/>
                    </a:lnTo>
                    <a:lnTo>
                      <a:pt x="416" y="47"/>
                    </a:lnTo>
                    <a:lnTo>
                      <a:pt x="416" y="47"/>
                    </a:lnTo>
                    <a:lnTo>
                      <a:pt x="418" y="47"/>
                    </a:lnTo>
                    <a:lnTo>
                      <a:pt x="418" y="49"/>
                    </a:lnTo>
                    <a:lnTo>
                      <a:pt x="421" y="47"/>
                    </a:lnTo>
                    <a:lnTo>
                      <a:pt x="421" y="47"/>
                    </a:lnTo>
                    <a:lnTo>
                      <a:pt x="421" y="47"/>
                    </a:lnTo>
                    <a:lnTo>
                      <a:pt x="421" y="45"/>
                    </a:lnTo>
                    <a:lnTo>
                      <a:pt x="421" y="45"/>
                    </a:lnTo>
                    <a:lnTo>
                      <a:pt x="418" y="42"/>
                    </a:lnTo>
                    <a:lnTo>
                      <a:pt x="418" y="42"/>
                    </a:lnTo>
                    <a:lnTo>
                      <a:pt x="418" y="40"/>
                    </a:lnTo>
                    <a:lnTo>
                      <a:pt x="416" y="40"/>
                    </a:lnTo>
                    <a:lnTo>
                      <a:pt x="416" y="37"/>
                    </a:lnTo>
                    <a:lnTo>
                      <a:pt x="418" y="37"/>
                    </a:lnTo>
                    <a:lnTo>
                      <a:pt x="418" y="37"/>
                    </a:lnTo>
                    <a:lnTo>
                      <a:pt x="416" y="37"/>
                    </a:lnTo>
                    <a:lnTo>
                      <a:pt x="416" y="37"/>
                    </a:lnTo>
                    <a:lnTo>
                      <a:pt x="411" y="35"/>
                    </a:lnTo>
                    <a:lnTo>
                      <a:pt x="409" y="33"/>
                    </a:lnTo>
                    <a:lnTo>
                      <a:pt x="404" y="33"/>
                    </a:lnTo>
                    <a:lnTo>
                      <a:pt x="402" y="33"/>
                    </a:lnTo>
                    <a:lnTo>
                      <a:pt x="400" y="33"/>
                    </a:lnTo>
                    <a:lnTo>
                      <a:pt x="400" y="33"/>
                    </a:lnTo>
                    <a:lnTo>
                      <a:pt x="400" y="33"/>
                    </a:lnTo>
                    <a:lnTo>
                      <a:pt x="397" y="33"/>
                    </a:lnTo>
                    <a:lnTo>
                      <a:pt x="395" y="35"/>
                    </a:lnTo>
                    <a:lnTo>
                      <a:pt x="395" y="33"/>
                    </a:lnTo>
                    <a:lnTo>
                      <a:pt x="395" y="33"/>
                    </a:lnTo>
                    <a:lnTo>
                      <a:pt x="392" y="33"/>
                    </a:lnTo>
                    <a:lnTo>
                      <a:pt x="390" y="33"/>
                    </a:lnTo>
                    <a:lnTo>
                      <a:pt x="388" y="35"/>
                    </a:lnTo>
                    <a:lnTo>
                      <a:pt x="385" y="33"/>
                    </a:lnTo>
                    <a:lnTo>
                      <a:pt x="385" y="33"/>
                    </a:lnTo>
                    <a:lnTo>
                      <a:pt x="385" y="33"/>
                    </a:lnTo>
                    <a:lnTo>
                      <a:pt x="383" y="35"/>
                    </a:lnTo>
                    <a:lnTo>
                      <a:pt x="383" y="37"/>
                    </a:lnTo>
                    <a:lnTo>
                      <a:pt x="381" y="40"/>
                    </a:lnTo>
                    <a:lnTo>
                      <a:pt x="381" y="42"/>
                    </a:lnTo>
                    <a:lnTo>
                      <a:pt x="381" y="42"/>
                    </a:lnTo>
                    <a:lnTo>
                      <a:pt x="381" y="47"/>
                    </a:lnTo>
                    <a:lnTo>
                      <a:pt x="381" y="49"/>
                    </a:lnTo>
                    <a:lnTo>
                      <a:pt x="381" y="52"/>
                    </a:lnTo>
                    <a:lnTo>
                      <a:pt x="381" y="52"/>
                    </a:lnTo>
                    <a:lnTo>
                      <a:pt x="381" y="54"/>
                    </a:lnTo>
                    <a:lnTo>
                      <a:pt x="381" y="54"/>
                    </a:lnTo>
                    <a:lnTo>
                      <a:pt x="381" y="56"/>
                    </a:lnTo>
                    <a:lnTo>
                      <a:pt x="381" y="59"/>
                    </a:lnTo>
                    <a:lnTo>
                      <a:pt x="381" y="59"/>
                    </a:lnTo>
                    <a:lnTo>
                      <a:pt x="378" y="61"/>
                    </a:lnTo>
                    <a:lnTo>
                      <a:pt x="378" y="61"/>
                    </a:lnTo>
                    <a:lnTo>
                      <a:pt x="376" y="61"/>
                    </a:lnTo>
                    <a:lnTo>
                      <a:pt x="376" y="61"/>
                    </a:lnTo>
                    <a:lnTo>
                      <a:pt x="374" y="61"/>
                    </a:lnTo>
                    <a:lnTo>
                      <a:pt x="374" y="63"/>
                    </a:lnTo>
                    <a:lnTo>
                      <a:pt x="371" y="66"/>
                    </a:lnTo>
                    <a:lnTo>
                      <a:pt x="371" y="66"/>
                    </a:lnTo>
                    <a:lnTo>
                      <a:pt x="374" y="66"/>
                    </a:lnTo>
                    <a:lnTo>
                      <a:pt x="371" y="68"/>
                    </a:lnTo>
                    <a:lnTo>
                      <a:pt x="371" y="68"/>
                    </a:lnTo>
                    <a:lnTo>
                      <a:pt x="371" y="71"/>
                    </a:lnTo>
                    <a:lnTo>
                      <a:pt x="374" y="71"/>
                    </a:lnTo>
                    <a:lnTo>
                      <a:pt x="374" y="71"/>
                    </a:lnTo>
                    <a:lnTo>
                      <a:pt x="374" y="73"/>
                    </a:lnTo>
                    <a:lnTo>
                      <a:pt x="374" y="73"/>
                    </a:lnTo>
                    <a:lnTo>
                      <a:pt x="374" y="73"/>
                    </a:lnTo>
                    <a:lnTo>
                      <a:pt x="371" y="75"/>
                    </a:lnTo>
                    <a:lnTo>
                      <a:pt x="369" y="78"/>
                    </a:lnTo>
                    <a:lnTo>
                      <a:pt x="366" y="78"/>
                    </a:lnTo>
                    <a:lnTo>
                      <a:pt x="366" y="78"/>
                    </a:lnTo>
                    <a:lnTo>
                      <a:pt x="366" y="80"/>
                    </a:lnTo>
                    <a:lnTo>
                      <a:pt x="366" y="82"/>
                    </a:lnTo>
                    <a:lnTo>
                      <a:pt x="369" y="82"/>
                    </a:lnTo>
                    <a:lnTo>
                      <a:pt x="369" y="82"/>
                    </a:lnTo>
                    <a:lnTo>
                      <a:pt x="366" y="85"/>
                    </a:lnTo>
                    <a:lnTo>
                      <a:pt x="366" y="85"/>
                    </a:lnTo>
                    <a:lnTo>
                      <a:pt x="366" y="85"/>
                    </a:lnTo>
                    <a:lnTo>
                      <a:pt x="366" y="87"/>
                    </a:lnTo>
                    <a:lnTo>
                      <a:pt x="366" y="87"/>
                    </a:lnTo>
                    <a:lnTo>
                      <a:pt x="364" y="90"/>
                    </a:lnTo>
                    <a:lnTo>
                      <a:pt x="364" y="92"/>
                    </a:lnTo>
                    <a:lnTo>
                      <a:pt x="364" y="94"/>
                    </a:lnTo>
                    <a:lnTo>
                      <a:pt x="362" y="94"/>
                    </a:lnTo>
                    <a:lnTo>
                      <a:pt x="362" y="94"/>
                    </a:lnTo>
                    <a:lnTo>
                      <a:pt x="359" y="94"/>
                    </a:lnTo>
                    <a:lnTo>
                      <a:pt x="357" y="94"/>
                    </a:lnTo>
                    <a:lnTo>
                      <a:pt x="355" y="94"/>
                    </a:lnTo>
                    <a:lnTo>
                      <a:pt x="352" y="94"/>
                    </a:lnTo>
                    <a:lnTo>
                      <a:pt x="350" y="94"/>
                    </a:lnTo>
                    <a:lnTo>
                      <a:pt x="350" y="97"/>
                    </a:lnTo>
                    <a:lnTo>
                      <a:pt x="348" y="97"/>
                    </a:lnTo>
                    <a:lnTo>
                      <a:pt x="348" y="99"/>
                    </a:lnTo>
                    <a:lnTo>
                      <a:pt x="345" y="99"/>
                    </a:lnTo>
                    <a:lnTo>
                      <a:pt x="343" y="97"/>
                    </a:lnTo>
                    <a:lnTo>
                      <a:pt x="343" y="97"/>
                    </a:lnTo>
                    <a:lnTo>
                      <a:pt x="340" y="97"/>
                    </a:lnTo>
                    <a:lnTo>
                      <a:pt x="336" y="94"/>
                    </a:lnTo>
                    <a:lnTo>
                      <a:pt x="336" y="94"/>
                    </a:lnTo>
                    <a:lnTo>
                      <a:pt x="333" y="94"/>
                    </a:lnTo>
                    <a:lnTo>
                      <a:pt x="333" y="94"/>
                    </a:lnTo>
                    <a:lnTo>
                      <a:pt x="333" y="94"/>
                    </a:lnTo>
                    <a:lnTo>
                      <a:pt x="333" y="92"/>
                    </a:lnTo>
                    <a:lnTo>
                      <a:pt x="333" y="92"/>
                    </a:lnTo>
                    <a:lnTo>
                      <a:pt x="324" y="92"/>
                    </a:lnTo>
                    <a:lnTo>
                      <a:pt x="321" y="94"/>
                    </a:lnTo>
                    <a:lnTo>
                      <a:pt x="319" y="94"/>
                    </a:lnTo>
                    <a:lnTo>
                      <a:pt x="319" y="94"/>
                    </a:lnTo>
                    <a:lnTo>
                      <a:pt x="319" y="97"/>
                    </a:lnTo>
                    <a:lnTo>
                      <a:pt x="317" y="99"/>
                    </a:lnTo>
                    <a:lnTo>
                      <a:pt x="317" y="101"/>
                    </a:lnTo>
                    <a:lnTo>
                      <a:pt x="314" y="101"/>
                    </a:lnTo>
                    <a:lnTo>
                      <a:pt x="312" y="104"/>
                    </a:lnTo>
                    <a:lnTo>
                      <a:pt x="312" y="104"/>
                    </a:lnTo>
                    <a:lnTo>
                      <a:pt x="310" y="104"/>
                    </a:lnTo>
                    <a:lnTo>
                      <a:pt x="307" y="104"/>
                    </a:lnTo>
                    <a:lnTo>
                      <a:pt x="307" y="104"/>
                    </a:lnTo>
                    <a:lnTo>
                      <a:pt x="305" y="104"/>
                    </a:lnTo>
                    <a:lnTo>
                      <a:pt x="303" y="104"/>
                    </a:lnTo>
                    <a:lnTo>
                      <a:pt x="298" y="104"/>
                    </a:lnTo>
                    <a:lnTo>
                      <a:pt x="298" y="104"/>
                    </a:lnTo>
                    <a:lnTo>
                      <a:pt x="295" y="104"/>
                    </a:lnTo>
                    <a:lnTo>
                      <a:pt x="291" y="106"/>
                    </a:lnTo>
                    <a:lnTo>
                      <a:pt x="288" y="106"/>
                    </a:lnTo>
                    <a:lnTo>
                      <a:pt x="286" y="106"/>
                    </a:lnTo>
                    <a:lnTo>
                      <a:pt x="286" y="106"/>
                    </a:lnTo>
                    <a:lnTo>
                      <a:pt x="284" y="104"/>
                    </a:lnTo>
                    <a:lnTo>
                      <a:pt x="281" y="99"/>
                    </a:lnTo>
                    <a:lnTo>
                      <a:pt x="279" y="99"/>
                    </a:lnTo>
                    <a:lnTo>
                      <a:pt x="279" y="99"/>
                    </a:lnTo>
                    <a:lnTo>
                      <a:pt x="277" y="97"/>
                    </a:lnTo>
                    <a:lnTo>
                      <a:pt x="277" y="97"/>
                    </a:lnTo>
                    <a:lnTo>
                      <a:pt x="274" y="94"/>
                    </a:lnTo>
                    <a:lnTo>
                      <a:pt x="274" y="92"/>
                    </a:lnTo>
                    <a:lnTo>
                      <a:pt x="272" y="92"/>
                    </a:lnTo>
                    <a:lnTo>
                      <a:pt x="272" y="87"/>
                    </a:lnTo>
                    <a:lnTo>
                      <a:pt x="269" y="87"/>
                    </a:lnTo>
                    <a:lnTo>
                      <a:pt x="269" y="87"/>
                    </a:lnTo>
                    <a:lnTo>
                      <a:pt x="269" y="85"/>
                    </a:lnTo>
                    <a:lnTo>
                      <a:pt x="272" y="82"/>
                    </a:lnTo>
                    <a:lnTo>
                      <a:pt x="267" y="85"/>
                    </a:lnTo>
                    <a:lnTo>
                      <a:pt x="265" y="87"/>
                    </a:lnTo>
                    <a:lnTo>
                      <a:pt x="265" y="90"/>
                    </a:lnTo>
                    <a:lnTo>
                      <a:pt x="262" y="92"/>
                    </a:lnTo>
                    <a:lnTo>
                      <a:pt x="260" y="94"/>
                    </a:lnTo>
                    <a:lnTo>
                      <a:pt x="260" y="94"/>
                    </a:lnTo>
                    <a:lnTo>
                      <a:pt x="260" y="99"/>
                    </a:lnTo>
                    <a:lnTo>
                      <a:pt x="260" y="99"/>
                    </a:lnTo>
                    <a:lnTo>
                      <a:pt x="262" y="99"/>
                    </a:lnTo>
                    <a:lnTo>
                      <a:pt x="262" y="99"/>
                    </a:lnTo>
                    <a:lnTo>
                      <a:pt x="260" y="99"/>
                    </a:lnTo>
                    <a:lnTo>
                      <a:pt x="260" y="99"/>
                    </a:lnTo>
                    <a:lnTo>
                      <a:pt x="258" y="101"/>
                    </a:lnTo>
                    <a:lnTo>
                      <a:pt x="258" y="106"/>
                    </a:lnTo>
                    <a:lnTo>
                      <a:pt x="258" y="108"/>
                    </a:lnTo>
                    <a:lnTo>
                      <a:pt x="258" y="113"/>
                    </a:lnTo>
                    <a:lnTo>
                      <a:pt x="258" y="118"/>
                    </a:lnTo>
                    <a:close/>
                    <a:moveTo>
                      <a:pt x="589" y="35"/>
                    </a:moveTo>
                    <a:lnTo>
                      <a:pt x="589" y="35"/>
                    </a:lnTo>
                    <a:lnTo>
                      <a:pt x="589" y="37"/>
                    </a:lnTo>
                    <a:lnTo>
                      <a:pt x="589" y="40"/>
                    </a:lnTo>
                    <a:lnTo>
                      <a:pt x="589" y="40"/>
                    </a:lnTo>
                    <a:lnTo>
                      <a:pt x="589" y="40"/>
                    </a:lnTo>
                    <a:lnTo>
                      <a:pt x="591" y="40"/>
                    </a:lnTo>
                    <a:lnTo>
                      <a:pt x="591" y="37"/>
                    </a:lnTo>
                    <a:lnTo>
                      <a:pt x="591" y="35"/>
                    </a:lnTo>
                    <a:lnTo>
                      <a:pt x="591" y="33"/>
                    </a:lnTo>
                    <a:lnTo>
                      <a:pt x="591" y="30"/>
                    </a:lnTo>
                    <a:lnTo>
                      <a:pt x="589" y="30"/>
                    </a:lnTo>
                    <a:lnTo>
                      <a:pt x="589" y="28"/>
                    </a:lnTo>
                    <a:lnTo>
                      <a:pt x="589" y="33"/>
                    </a:lnTo>
                    <a:lnTo>
                      <a:pt x="589" y="33"/>
                    </a:lnTo>
                    <a:lnTo>
                      <a:pt x="589" y="35"/>
                    </a:lnTo>
                    <a:close/>
                    <a:moveTo>
                      <a:pt x="184" y="246"/>
                    </a:moveTo>
                    <a:lnTo>
                      <a:pt x="187" y="243"/>
                    </a:lnTo>
                    <a:lnTo>
                      <a:pt x="189" y="243"/>
                    </a:lnTo>
                    <a:lnTo>
                      <a:pt x="191" y="246"/>
                    </a:lnTo>
                    <a:lnTo>
                      <a:pt x="191" y="246"/>
                    </a:lnTo>
                    <a:lnTo>
                      <a:pt x="194" y="246"/>
                    </a:lnTo>
                    <a:lnTo>
                      <a:pt x="194" y="248"/>
                    </a:lnTo>
                    <a:lnTo>
                      <a:pt x="194" y="248"/>
                    </a:lnTo>
                    <a:lnTo>
                      <a:pt x="196" y="248"/>
                    </a:lnTo>
                    <a:lnTo>
                      <a:pt x="196" y="246"/>
                    </a:lnTo>
                    <a:lnTo>
                      <a:pt x="196" y="246"/>
                    </a:lnTo>
                    <a:lnTo>
                      <a:pt x="198" y="232"/>
                    </a:lnTo>
                    <a:lnTo>
                      <a:pt x="198" y="227"/>
                    </a:lnTo>
                    <a:lnTo>
                      <a:pt x="198" y="224"/>
                    </a:lnTo>
                    <a:lnTo>
                      <a:pt x="198" y="222"/>
                    </a:lnTo>
                    <a:lnTo>
                      <a:pt x="198" y="213"/>
                    </a:lnTo>
                    <a:lnTo>
                      <a:pt x="198" y="213"/>
                    </a:lnTo>
                    <a:lnTo>
                      <a:pt x="201" y="208"/>
                    </a:lnTo>
                    <a:lnTo>
                      <a:pt x="201" y="206"/>
                    </a:lnTo>
                    <a:lnTo>
                      <a:pt x="201" y="206"/>
                    </a:lnTo>
                    <a:lnTo>
                      <a:pt x="198" y="203"/>
                    </a:lnTo>
                    <a:lnTo>
                      <a:pt x="198" y="201"/>
                    </a:lnTo>
                    <a:lnTo>
                      <a:pt x="201" y="198"/>
                    </a:lnTo>
                    <a:lnTo>
                      <a:pt x="201" y="196"/>
                    </a:lnTo>
                    <a:lnTo>
                      <a:pt x="203" y="194"/>
                    </a:lnTo>
                    <a:lnTo>
                      <a:pt x="203" y="194"/>
                    </a:lnTo>
                    <a:lnTo>
                      <a:pt x="203" y="191"/>
                    </a:lnTo>
                    <a:lnTo>
                      <a:pt x="203" y="191"/>
                    </a:lnTo>
                    <a:lnTo>
                      <a:pt x="201" y="187"/>
                    </a:lnTo>
                    <a:lnTo>
                      <a:pt x="196" y="177"/>
                    </a:lnTo>
                    <a:lnTo>
                      <a:pt x="194" y="177"/>
                    </a:lnTo>
                    <a:lnTo>
                      <a:pt x="191" y="175"/>
                    </a:lnTo>
                    <a:lnTo>
                      <a:pt x="189" y="175"/>
                    </a:lnTo>
                    <a:lnTo>
                      <a:pt x="184" y="175"/>
                    </a:lnTo>
                    <a:lnTo>
                      <a:pt x="184" y="175"/>
                    </a:lnTo>
                    <a:lnTo>
                      <a:pt x="182" y="175"/>
                    </a:lnTo>
                    <a:lnTo>
                      <a:pt x="182" y="177"/>
                    </a:lnTo>
                    <a:lnTo>
                      <a:pt x="180" y="179"/>
                    </a:lnTo>
                    <a:lnTo>
                      <a:pt x="180" y="179"/>
                    </a:lnTo>
                    <a:lnTo>
                      <a:pt x="177" y="179"/>
                    </a:lnTo>
                    <a:lnTo>
                      <a:pt x="177" y="179"/>
                    </a:lnTo>
                    <a:lnTo>
                      <a:pt x="177" y="177"/>
                    </a:lnTo>
                    <a:lnTo>
                      <a:pt x="177" y="175"/>
                    </a:lnTo>
                    <a:lnTo>
                      <a:pt x="180" y="172"/>
                    </a:lnTo>
                    <a:lnTo>
                      <a:pt x="182" y="172"/>
                    </a:lnTo>
                    <a:lnTo>
                      <a:pt x="182" y="170"/>
                    </a:lnTo>
                    <a:lnTo>
                      <a:pt x="182" y="170"/>
                    </a:lnTo>
                    <a:lnTo>
                      <a:pt x="180" y="168"/>
                    </a:lnTo>
                    <a:lnTo>
                      <a:pt x="180" y="168"/>
                    </a:lnTo>
                    <a:lnTo>
                      <a:pt x="177" y="165"/>
                    </a:lnTo>
                    <a:lnTo>
                      <a:pt x="175" y="163"/>
                    </a:lnTo>
                    <a:lnTo>
                      <a:pt x="175" y="161"/>
                    </a:lnTo>
                    <a:lnTo>
                      <a:pt x="175" y="158"/>
                    </a:lnTo>
                    <a:lnTo>
                      <a:pt x="175" y="153"/>
                    </a:lnTo>
                    <a:lnTo>
                      <a:pt x="175" y="151"/>
                    </a:lnTo>
                    <a:lnTo>
                      <a:pt x="172" y="149"/>
                    </a:lnTo>
                    <a:lnTo>
                      <a:pt x="172" y="146"/>
                    </a:lnTo>
                    <a:lnTo>
                      <a:pt x="170" y="146"/>
                    </a:lnTo>
                    <a:lnTo>
                      <a:pt x="170" y="146"/>
                    </a:lnTo>
                    <a:lnTo>
                      <a:pt x="168" y="146"/>
                    </a:lnTo>
                    <a:lnTo>
                      <a:pt x="165" y="146"/>
                    </a:lnTo>
                    <a:lnTo>
                      <a:pt x="161" y="144"/>
                    </a:lnTo>
                    <a:lnTo>
                      <a:pt x="158" y="142"/>
                    </a:lnTo>
                    <a:lnTo>
                      <a:pt x="158" y="142"/>
                    </a:lnTo>
                    <a:lnTo>
                      <a:pt x="156" y="137"/>
                    </a:lnTo>
                    <a:lnTo>
                      <a:pt x="156" y="137"/>
                    </a:lnTo>
                    <a:lnTo>
                      <a:pt x="158" y="134"/>
                    </a:lnTo>
                    <a:lnTo>
                      <a:pt x="156" y="134"/>
                    </a:lnTo>
                    <a:lnTo>
                      <a:pt x="156" y="132"/>
                    </a:lnTo>
                    <a:lnTo>
                      <a:pt x="156" y="130"/>
                    </a:lnTo>
                    <a:lnTo>
                      <a:pt x="156" y="130"/>
                    </a:lnTo>
                    <a:lnTo>
                      <a:pt x="156" y="130"/>
                    </a:lnTo>
                    <a:lnTo>
                      <a:pt x="158" y="127"/>
                    </a:lnTo>
                    <a:lnTo>
                      <a:pt x="161" y="125"/>
                    </a:lnTo>
                    <a:lnTo>
                      <a:pt x="163" y="125"/>
                    </a:lnTo>
                    <a:lnTo>
                      <a:pt x="161" y="120"/>
                    </a:lnTo>
                    <a:lnTo>
                      <a:pt x="161" y="118"/>
                    </a:lnTo>
                    <a:lnTo>
                      <a:pt x="158" y="118"/>
                    </a:lnTo>
                    <a:lnTo>
                      <a:pt x="156" y="116"/>
                    </a:lnTo>
                    <a:lnTo>
                      <a:pt x="156" y="116"/>
                    </a:lnTo>
                    <a:lnTo>
                      <a:pt x="154" y="113"/>
                    </a:lnTo>
                    <a:lnTo>
                      <a:pt x="154" y="116"/>
                    </a:lnTo>
                    <a:lnTo>
                      <a:pt x="149" y="116"/>
                    </a:lnTo>
                    <a:lnTo>
                      <a:pt x="149" y="118"/>
                    </a:lnTo>
                    <a:lnTo>
                      <a:pt x="146" y="120"/>
                    </a:lnTo>
                    <a:lnTo>
                      <a:pt x="144" y="120"/>
                    </a:lnTo>
                    <a:lnTo>
                      <a:pt x="139" y="120"/>
                    </a:lnTo>
                    <a:lnTo>
                      <a:pt x="144" y="118"/>
                    </a:lnTo>
                    <a:lnTo>
                      <a:pt x="149" y="116"/>
                    </a:lnTo>
                    <a:lnTo>
                      <a:pt x="149" y="116"/>
                    </a:lnTo>
                    <a:lnTo>
                      <a:pt x="149" y="113"/>
                    </a:lnTo>
                    <a:lnTo>
                      <a:pt x="146" y="111"/>
                    </a:lnTo>
                    <a:lnTo>
                      <a:pt x="144" y="111"/>
                    </a:lnTo>
                    <a:lnTo>
                      <a:pt x="139" y="108"/>
                    </a:lnTo>
                    <a:lnTo>
                      <a:pt x="137" y="108"/>
                    </a:lnTo>
                    <a:lnTo>
                      <a:pt x="137" y="108"/>
                    </a:lnTo>
                    <a:lnTo>
                      <a:pt x="132" y="104"/>
                    </a:lnTo>
                    <a:lnTo>
                      <a:pt x="132" y="104"/>
                    </a:lnTo>
                    <a:lnTo>
                      <a:pt x="132" y="101"/>
                    </a:lnTo>
                    <a:lnTo>
                      <a:pt x="132" y="99"/>
                    </a:lnTo>
                    <a:lnTo>
                      <a:pt x="130" y="97"/>
                    </a:lnTo>
                    <a:lnTo>
                      <a:pt x="130" y="94"/>
                    </a:lnTo>
                    <a:lnTo>
                      <a:pt x="125" y="92"/>
                    </a:lnTo>
                    <a:lnTo>
                      <a:pt x="123" y="90"/>
                    </a:lnTo>
                    <a:lnTo>
                      <a:pt x="120" y="90"/>
                    </a:lnTo>
                    <a:lnTo>
                      <a:pt x="118" y="90"/>
                    </a:lnTo>
                    <a:lnTo>
                      <a:pt x="118" y="87"/>
                    </a:lnTo>
                    <a:lnTo>
                      <a:pt x="116" y="85"/>
                    </a:lnTo>
                    <a:lnTo>
                      <a:pt x="116" y="82"/>
                    </a:lnTo>
                    <a:lnTo>
                      <a:pt x="113" y="80"/>
                    </a:lnTo>
                    <a:lnTo>
                      <a:pt x="111" y="78"/>
                    </a:lnTo>
                    <a:lnTo>
                      <a:pt x="109" y="78"/>
                    </a:lnTo>
                    <a:lnTo>
                      <a:pt x="109" y="78"/>
                    </a:lnTo>
                    <a:lnTo>
                      <a:pt x="106" y="78"/>
                    </a:lnTo>
                    <a:lnTo>
                      <a:pt x="106" y="78"/>
                    </a:lnTo>
                    <a:lnTo>
                      <a:pt x="106" y="80"/>
                    </a:lnTo>
                    <a:lnTo>
                      <a:pt x="109" y="82"/>
                    </a:lnTo>
                    <a:lnTo>
                      <a:pt x="109" y="85"/>
                    </a:lnTo>
                    <a:lnTo>
                      <a:pt x="106" y="82"/>
                    </a:lnTo>
                    <a:lnTo>
                      <a:pt x="104" y="80"/>
                    </a:lnTo>
                    <a:lnTo>
                      <a:pt x="101" y="80"/>
                    </a:lnTo>
                    <a:lnTo>
                      <a:pt x="101" y="78"/>
                    </a:lnTo>
                    <a:lnTo>
                      <a:pt x="99" y="78"/>
                    </a:lnTo>
                    <a:lnTo>
                      <a:pt x="99" y="75"/>
                    </a:lnTo>
                    <a:lnTo>
                      <a:pt x="97" y="73"/>
                    </a:lnTo>
                    <a:lnTo>
                      <a:pt x="97" y="73"/>
                    </a:lnTo>
                    <a:lnTo>
                      <a:pt x="94" y="68"/>
                    </a:lnTo>
                    <a:lnTo>
                      <a:pt x="92" y="66"/>
                    </a:lnTo>
                    <a:lnTo>
                      <a:pt x="90" y="63"/>
                    </a:lnTo>
                    <a:lnTo>
                      <a:pt x="90" y="61"/>
                    </a:lnTo>
                    <a:lnTo>
                      <a:pt x="85" y="59"/>
                    </a:lnTo>
                    <a:lnTo>
                      <a:pt x="83" y="54"/>
                    </a:lnTo>
                    <a:lnTo>
                      <a:pt x="75" y="49"/>
                    </a:lnTo>
                    <a:lnTo>
                      <a:pt x="68" y="47"/>
                    </a:lnTo>
                    <a:lnTo>
                      <a:pt x="68" y="45"/>
                    </a:lnTo>
                    <a:lnTo>
                      <a:pt x="66" y="45"/>
                    </a:lnTo>
                    <a:lnTo>
                      <a:pt x="66" y="42"/>
                    </a:lnTo>
                    <a:lnTo>
                      <a:pt x="66" y="42"/>
                    </a:lnTo>
                    <a:lnTo>
                      <a:pt x="64" y="40"/>
                    </a:lnTo>
                    <a:lnTo>
                      <a:pt x="59" y="37"/>
                    </a:lnTo>
                    <a:lnTo>
                      <a:pt x="57" y="37"/>
                    </a:lnTo>
                    <a:lnTo>
                      <a:pt x="57" y="33"/>
                    </a:lnTo>
                    <a:lnTo>
                      <a:pt x="57" y="33"/>
                    </a:lnTo>
                    <a:lnTo>
                      <a:pt x="52" y="28"/>
                    </a:lnTo>
                    <a:lnTo>
                      <a:pt x="52" y="26"/>
                    </a:lnTo>
                    <a:lnTo>
                      <a:pt x="52" y="23"/>
                    </a:lnTo>
                    <a:lnTo>
                      <a:pt x="49" y="21"/>
                    </a:lnTo>
                    <a:lnTo>
                      <a:pt x="47" y="18"/>
                    </a:lnTo>
                    <a:lnTo>
                      <a:pt x="45" y="16"/>
                    </a:lnTo>
                    <a:lnTo>
                      <a:pt x="42" y="16"/>
                    </a:lnTo>
                    <a:lnTo>
                      <a:pt x="42" y="14"/>
                    </a:lnTo>
                    <a:lnTo>
                      <a:pt x="42" y="14"/>
                    </a:lnTo>
                    <a:lnTo>
                      <a:pt x="38" y="16"/>
                    </a:lnTo>
                    <a:lnTo>
                      <a:pt x="35" y="14"/>
                    </a:lnTo>
                    <a:lnTo>
                      <a:pt x="33" y="14"/>
                    </a:lnTo>
                    <a:lnTo>
                      <a:pt x="31" y="14"/>
                    </a:lnTo>
                    <a:lnTo>
                      <a:pt x="26" y="14"/>
                    </a:lnTo>
                    <a:lnTo>
                      <a:pt x="23" y="14"/>
                    </a:lnTo>
                    <a:lnTo>
                      <a:pt x="19" y="14"/>
                    </a:lnTo>
                    <a:lnTo>
                      <a:pt x="16" y="14"/>
                    </a:lnTo>
                    <a:lnTo>
                      <a:pt x="14" y="11"/>
                    </a:lnTo>
                    <a:lnTo>
                      <a:pt x="12" y="9"/>
                    </a:lnTo>
                    <a:lnTo>
                      <a:pt x="9" y="7"/>
                    </a:lnTo>
                    <a:lnTo>
                      <a:pt x="7" y="7"/>
                    </a:lnTo>
                    <a:lnTo>
                      <a:pt x="5" y="7"/>
                    </a:lnTo>
                    <a:lnTo>
                      <a:pt x="2" y="7"/>
                    </a:lnTo>
                    <a:lnTo>
                      <a:pt x="0" y="7"/>
                    </a:lnTo>
                    <a:lnTo>
                      <a:pt x="0" y="7"/>
                    </a:lnTo>
                    <a:lnTo>
                      <a:pt x="0" y="9"/>
                    </a:lnTo>
                    <a:lnTo>
                      <a:pt x="0" y="9"/>
                    </a:lnTo>
                    <a:lnTo>
                      <a:pt x="0" y="11"/>
                    </a:lnTo>
                    <a:lnTo>
                      <a:pt x="0" y="11"/>
                    </a:lnTo>
                    <a:lnTo>
                      <a:pt x="0" y="14"/>
                    </a:lnTo>
                    <a:lnTo>
                      <a:pt x="2" y="21"/>
                    </a:lnTo>
                    <a:lnTo>
                      <a:pt x="5" y="23"/>
                    </a:lnTo>
                    <a:lnTo>
                      <a:pt x="5" y="26"/>
                    </a:lnTo>
                    <a:lnTo>
                      <a:pt x="7" y="26"/>
                    </a:lnTo>
                    <a:lnTo>
                      <a:pt x="14" y="35"/>
                    </a:lnTo>
                    <a:lnTo>
                      <a:pt x="19" y="40"/>
                    </a:lnTo>
                    <a:lnTo>
                      <a:pt x="21" y="40"/>
                    </a:lnTo>
                    <a:lnTo>
                      <a:pt x="23" y="45"/>
                    </a:lnTo>
                    <a:lnTo>
                      <a:pt x="26" y="45"/>
                    </a:lnTo>
                    <a:lnTo>
                      <a:pt x="31" y="47"/>
                    </a:lnTo>
                    <a:lnTo>
                      <a:pt x="33" y="47"/>
                    </a:lnTo>
                    <a:lnTo>
                      <a:pt x="33" y="49"/>
                    </a:lnTo>
                    <a:lnTo>
                      <a:pt x="38" y="56"/>
                    </a:lnTo>
                    <a:lnTo>
                      <a:pt x="40" y="59"/>
                    </a:lnTo>
                    <a:lnTo>
                      <a:pt x="40" y="61"/>
                    </a:lnTo>
                    <a:lnTo>
                      <a:pt x="42" y="61"/>
                    </a:lnTo>
                    <a:lnTo>
                      <a:pt x="45" y="66"/>
                    </a:lnTo>
                    <a:lnTo>
                      <a:pt x="47" y="66"/>
                    </a:lnTo>
                    <a:lnTo>
                      <a:pt x="47" y="68"/>
                    </a:lnTo>
                    <a:lnTo>
                      <a:pt x="47" y="73"/>
                    </a:lnTo>
                    <a:lnTo>
                      <a:pt x="47" y="75"/>
                    </a:lnTo>
                    <a:lnTo>
                      <a:pt x="49" y="78"/>
                    </a:lnTo>
                    <a:lnTo>
                      <a:pt x="52" y="78"/>
                    </a:lnTo>
                    <a:lnTo>
                      <a:pt x="54" y="78"/>
                    </a:lnTo>
                    <a:lnTo>
                      <a:pt x="57" y="78"/>
                    </a:lnTo>
                    <a:lnTo>
                      <a:pt x="64" y="85"/>
                    </a:lnTo>
                    <a:lnTo>
                      <a:pt x="66" y="85"/>
                    </a:lnTo>
                    <a:lnTo>
                      <a:pt x="66" y="90"/>
                    </a:lnTo>
                    <a:lnTo>
                      <a:pt x="68" y="94"/>
                    </a:lnTo>
                    <a:lnTo>
                      <a:pt x="71" y="104"/>
                    </a:lnTo>
                    <a:lnTo>
                      <a:pt x="73" y="111"/>
                    </a:lnTo>
                    <a:lnTo>
                      <a:pt x="75" y="116"/>
                    </a:lnTo>
                    <a:lnTo>
                      <a:pt x="75" y="118"/>
                    </a:lnTo>
                    <a:lnTo>
                      <a:pt x="78" y="120"/>
                    </a:lnTo>
                    <a:lnTo>
                      <a:pt x="80" y="120"/>
                    </a:lnTo>
                    <a:lnTo>
                      <a:pt x="85" y="123"/>
                    </a:lnTo>
                    <a:lnTo>
                      <a:pt x="85" y="125"/>
                    </a:lnTo>
                    <a:lnTo>
                      <a:pt x="87" y="125"/>
                    </a:lnTo>
                    <a:lnTo>
                      <a:pt x="90" y="132"/>
                    </a:lnTo>
                    <a:lnTo>
                      <a:pt x="90" y="134"/>
                    </a:lnTo>
                    <a:lnTo>
                      <a:pt x="92" y="134"/>
                    </a:lnTo>
                    <a:lnTo>
                      <a:pt x="94" y="137"/>
                    </a:lnTo>
                    <a:lnTo>
                      <a:pt x="97" y="142"/>
                    </a:lnTo>
                    <a:lnTo>
                      <a:pt x="97" y="142"/>
                    </a:lnTo>
                    <a:lnTo>
                      <a:pt x="99" y="149"/>
                    </a:lnTo>
                    <a:lnTo>
                      <a:pt x="101" y="153"/>
                    </a:lnTo>
                    <a:lnTo>
                      <a:pt x="106" y="165"/>
                    </a:lnTo>
                    <a:lnTo>
                      <a:pt x="106" y="170"/>
                    </a:lnTo>
                    <a:lnTo>
                      <a:pt x="109" y="172"/>
                    </a:lnTo>
                    <a:lnTo>
                      <a:pt x="109" y="175"/>
                    </a:lnTo>
                    <a:lnTo>
                      <a:pt x="111" y="179"/>
                    </a:lnTo>
                    <a:lnTo>
                      <a:pt x="113" y="182"/>
                    </a:lnTo>
                    <a:lnTo>
                      <a:pt x="116" y="182"/>
                    </a:lnTo>
                    <a:lnTo>
                      <a:pt x="116" y="184"/>
                    </a:lnTo>
                    <a:lnTo>
                      <a:pt x="118" y="187"/>
                    </a:lnTo>
                    <a:lnTo>
                      <a:pt x="120" y="191"/>
                    </a:lnTo>
                    <a:lnTo>
                      <a:pt x="120" y="194"/>
                    </a:lnTo>
                    <a:lnTo>
                      <a:pt x="125" y="196"/>
                    </a:lnTo>
                    <a:lnTo>
                      <a:pt x="130" y="201"/>
                    </a:lnTo>
                    <a:lnTo>
                      <a:pt x="132" y="203"/>
                    </a:lnTo>
                    <a:lnTo>
                      <a:pt x="135" y="208"/>
                    </a:lnTo>
                    <a:lnTo>
                      <a:pt x="137" y="213"/>
                    </a:lnTo>
                    <a:lnTo>
                      <a:pt x="144" y="220"/>
                    </a:lnTo>
                    <a:lnTo>
                      <a:pt x="149" y="222"/>
                    </a:lnTo>
                    <a:lnTo>
                      <a:pt x="149" y="224"/>
                    </a:lnTo>
                    <a:lnTo>
                      <a:pt x="151" y="227"/>
                    </a:lnTo>
                    <a:lnTo>
                      <a:pt x="154" y="227"/>
                    </a:lnTo>
                    <a:lnTo>
                      <a:pt x="161" y="232"/>
                    </a:lnTo>
                    <a:lnTo>
                      <a:pt x="161" y="232"/>
                    </a:lnTo>
                    <a:lnTo>
                      <a:pt x="165" y="239"/>
                    </a:lnTo>
                    <a:lnTo>
                      <a:pt x="165" y="241"/>
                    </a:lnTo>
                    <a:lnTo>
                      <a:pt x="168" y="241"/>
                    </a:lnTo>
                    <a:lnTo>
                      <a:pt x="170" y="246"/>
                    </a:lnTo>
                    <a:lnTo>
                      <a:pt x="172" y="248"/>
                    </a:lnTo>
                    <a:lnTo>
                      <a:pt x="175" y="251"/>
                    </a:lnTo>
                    <a:lnTo>
                      <a:pt x="175" y="251"/>
                    </a:lnTo>
                    <a:lnTo>
                      <a:pt x="175" y="251"/>
                    </a:lnTo>
                    <a:lnTo>
                      <a:pt x="175" y="248"/>
                    </a:lnTo>
                    <a:lnTo>
                      <a:pt x="175" y="243"/>
                    </a:lnTo>
                    <a:lnTo>
                      <a:pt x="175" y="243"/>
                    </a:lnTo>
                    <a:lnTo>
                      <a:pt x="175" y="241"/>
                    </a:lnTo>
                    <a:lnTo>
                      <a:pt x="180" y="246"/>
                    </a:lnTo>
                    <a:lnTo>
                      <a:pt x="182" y="246"/>
                    </a:lnTo>
                    <a:lnTo>
                      <a:pt x="184" y="246"/>
                    </a:lnTo>
                    <a:lnTo>
                      <a:pt x="184" y="246"/>
                    </a:lnTo>
                    <a:close/>
                    <a:moveTo>
                      <a:pt x="2" y="2"/>
                    </a:moveTo>
                    <a:lnTo>
                      <a:pt x="2" y="2"/>
                    </a:lnTo>
                    <a:lnTo>
                      <a:pt x="2" y="2"/>
                    </a:lnTo>
                    <a:lnTo>
                      <a:pt x="2" y="2"/>
                    </a:lnTo>
                    <a:lnTo>
                      <a:pt x="0" y="0"/>
                    </a:lnTo>
                    <a:lnTo>
                      <a:pt x="0" y="0"/>
                    </a:lnTo>
                    <a:lnTo>
                      <a:pt x="0" y="0"/>
                    </a:lnTo>
                    <a:lnTo>
                      <a:pt x="0" y="2"/>
                    </a:lnTo>
                    <a:lnTo>
                      <a:pt x="2" y="2"/>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Freeform 134"/>
              <p:cNvSpPr>
                <a:spLocks noEditPoints="1"/>
              </p:cNvSpPr>
              <p:nvPr/>
            </p:nvSpPr>
            <p:spPr bwMode="auto">
              <a:xfrm>
                <a:off x="3995" y="2047"/>
                <a:ext cx="516" cy="611"/>
              </a:xfrm>
              <a:custGeom>
                <a:avLst/>
                <a:gdLst>
                  <a:gd name="T0" fmla="*/ 478 w 516"/>
                  <a:gd name="T1" fmla="*/ 474 h 611"/>
                  <a:gd name="T2" fmla="*/ 473 w 516"/>
                  <a:gd name="T3" fmla="*/ 497 h 611"/>
                  <a:gd name="T4" fmla="*/ 471 w 516"/>
                  <a:gd name="T5" fmla="*/ 523 h 611"/>
                  <a:gd name="T6" fmla="*/ 111 w 516"/>
                  <a:gd name="T7" fmla="*/ 578 h 611"/>
                  <a:gd name="T8" fmla="*/ 478 w 516"/>
                  <a:gd name="T9" fmla="*/ 500 h 611"/>
                  <a:gd name="T10" fmla="*/ 499 w 516"/>
                  <a:gd name="T11" fmla="*/ 152 h 611"/>
                  <a:gd name="T12" fmla="*/ 492 w 516"/>
                  <a:gd name="T13" fmla="*/ 135 h 611"/>
                  <a:gd name="T14" fmla="*/ 459 w 516"/>
                  <a:gd name="T15" fmla="*/ 133 h 611"/>
                  <a:gd name="T16" fmla="*/ 431 w 516"/>
                  <a:gd name="T17" fmla="*/ 161 h 611"/>
                  <a:gd name="T18" fmla="*/ 421 w 516"/>
                  <a:gd name="T19" fmla="*/ 175 h 611"/>
                  <a:gd name="T20" fmla="*/ 398 w 516"/>
                  <a:gd name="T21" fmla="*/ 187 h 611"/>
                  <a:gd name="T22" fmla="*/ 362 w 516"/>
                  <a:gd name="T23" fmla="*/ 178 h 611"/>
                  <a:gd name="T24" fmla="*/ 350 w 516"/>
                  <a:gd name="T25" fmla="*/ 166 h 611"/>
                  <a:gd name="T26" fmla="*/ 329 w 516"/>
                  <a:gd name="T27" fmla="*/ 194 h 611"/>
                  <a:gd name="T28" fmla="*/ 291 w 516"/>
                  <a:gd name="T29" fmla="*/ 182 h 611"/>
                  <a:gd name="T30" fmla="*/ 249 w 516"/>
                  <a:gd name="T31" fmla="*/ 168 h 611"/>
                  <a:gd name="T32" fmla="*/ 208 w 516"/>
                  <a:gd name="T33" fmla="*/ 149 h 611"/>
                  <a:gd name="T34" fmla="*/ 206 w 516"/>
                  <a:gd name="T35" fmla="*/ 111 h 611"/>
                  <a:gd name="T36" fmla="*/ 178 w 516"/>
                  <a:gd name="T37" fmla="*/ 95 h 611"/>
                  <a:gd name="T38" fmla="*/ 163 w 516"/>
                  <a:gd name="T39" fmla="*/ 78 h 611"/>
                  <a:gd name="T40" fmla="*/ 171 w 516"/>
                  <a:gd name="T41" fmla="*/ 62 h 611"/>
                  <a:gd name="T42" fmla="*/ 159 w 516"/>
                  <a:gd name="T43" fmla="*/ 28 h 611"/>
                  <a:gd name="T44" fmla="*/ 128 w 516"/>
                  <a:gd name="T45" fmla="*/ 2 h 611"/>
                  <a:gd name="T46" fmla="*/ 104 w 516"/>
                  <a:gd name="T47" fmla="*/ 21 h 611"/>
                  <a:gd name="T48" fmla="*/ 71 w 516"/>
                  <a:gd name="T49" fmla="*/ 31 h 611"/>
                  <a:gd name="T50" fmla="*/ 76 w 516"/>
                  <a:gd name="T51" fmla="*/ 52 h 611"/>
                  <a:gd name="T52" fmla="*/ 102 w 516"/>
                  <a:gd name="T53" fmla="*/ 73 h 611"/>
                  <a:gd name="T54" fmla="*/ 85 w 516"/>
                  <a:gd name="T55" fmla="*/ 114 h 611"/>
                  <a:gd name="T56" fmla="*/ 45 w 516"/>
                  <a:gd name="T57" fmla="*/ 163 h 611"/>
                  <a:gd name="T58" fmla="*/ 17 w 516"/>
                  <a:gd name="T59" fmla="*/ 187 h 611"/>
                  <a:gd name="T60" fmla="*/ 45 w 516"/>
                  <a:gd name="T61" fmla="*/ 220 h 611"/>
                  <a:gd name="T62" fmla="*/ 40 w 516"/>
                  <a:gd name="T63" fmla="*/ 237 h 611"/>
                  <a:gd name="T64" fmla="*/ 7 w 516"/>
                  <a:gd name="T65" fmla="*/ 246 h 611"/>
                  <a:gd name="T66" fmla="*/ 38 w 516"/>
                  <a:gd name="T67" fmla="*/ 268 h 611"/>
                  <a:gd name="T68" fmla="*/ 17 w 516"/>
                  <a:gd name="T69" fmla="*/ 282 h 611"/>
                  <a:gd name="T70" fmla="*/ 76 w 516"/>
                  <a:gd name="T71" fmla="*/ 289 h 611"/>
                  <a:gd name="T72" fmla="*/ 88 w 516"/>
                  <a:gd name="T73" fmla="*/ 296 h 611"/>
                  <a:gd name="T74" fmla="*/ 97 w 516"/>
                  <a:gd name="T75" fmla="*/ 346 h 611"/>
                  <a:gd name="T76" fmla="*/ 114 w 516"/>
                  <a:gd name="T77" fmla="*/ 417 h 611"/>
                  <a:gd name="T78" fmla="*/ 137 w 516"/>
                  <a:gd name="T79" fmla="*/ 467 h 611"/>
                  <a:gd name="T80" fmla="*/ 173 w 516"/>
                  <a:gd name="T81" fmla="*/ 552 h 611"/>
                  <a:gd name="T82" fmla="*/ 208 w 516"/>
                  <a:gd name="T83" fmla="*/ 564 h 611"/>
                  <a:gd name="T84" fmla="*/ 237 w 516"/>
                  <a:gd name="T85" fmla="*/ 514 h 611"/>
                  <a:gd name="T86" fmla="*/ 237 w 516"/>
                  <a:gd name="T87" fmla="*/ 452 h 611"/>
                  <a:gd name="T88" fmla="*/ 263 w 516"/>
                  <a:gd name="T89" fmla="*/ 407 h 611"/>
                  <a:gd name="T90" fmla="*/ 320 w 516"/>
                  <a:gd name="T91" fmla="*/ 341 h 611"/>
                  <a:gd name="T92" fmla="*/ 343 w 516"/>
                  <a:gd name="T93" fmla="*/ 327 h 611"/>
                  <a:gd name="T94" fmla="*/ 365 w 516"/>
                  <a:gd name="T95" fmla="*/ 282 h 611"/>
                  <a:gd name="T96" fmla="*/ 381 w 516"/>
                  <a:gd name="T97" fmla="*/ 296 h 611"/>
                  <a:gd name="T98" fmla="*/ 374 w 516"/>
                  <a:gd name="T99" fmla="*/ 258 h 611"/>
                  <a:gd name="T100" fmla="*/ 360 w 516"/>
                  <a:gd name="T101" fmla="*/ 227 h 611"/>
                  <a:gd name="T102" fmla="*/ 355 w 516"/>
                  <a:gd name="T103" fmla="*/ 206 h 611"/>
                  <a:gd name="T104" fmla="*/ 369 w 516"/>
                  <a:gd name="T105" fmla="*/ 199 h 611"/>
                  <a:gd name="T106" fmla="*/ 388 w 516"/>
                  <a:gd name="T107" fmla="*/ 216 h 611"/>
                  <a:gd name="T108" fmla="*/ 438 w 516"/>
                  <a:gd name="T109" fmla="*/ 227 h 611"/>
                  <a:gd name="T110" fmla="*/ 421 w 516"/>
                  <a:gd name="T111" fmla="*/ 244 h 611"/>
                  <a:gd name="T112" fmla="*/ 431 w 516"/>
                  <a:gd name="T113" fmla="*/ 258 h 611"/>
                  <a:gd name="T114" fmla="*/ 450 w 516"/>
                  <a:gd name="T115" fmla="*/ 289 h 611"/>
                  <a:gd name="T116" fmla="*/ 459 w 516"/>
                  <a:gd name="T117" fmla="*/ 268 h 611"/>
                  <a:gd name="T118" fmla="*/ 473 w 516"/>
                  <a:gd name="T119" fmla="*/ 237 h 611"/>
                  <a:gd name="T120" fmla="*/ 483 w 516"/>
                  <a:gd name="T121" fmla="*/ 201 h 611"/>
                  <a:gd name="T122" fmla="*/ 509 w 516"/>
                  <a:gd name="T123" fmla="*/ 173 h 611"/>
                  <a:gd name="T124" fmla="*/ 495 w 516"/>
                  <a:gd name="T125" fmla="*/ 580 h 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6" h="611">
                    <a:moveTo>
                      <a:pt x="473" y="512"/>
                    </a:moveTo>
                    <a:lnTo>
                      <a:pt x="473" y="509"/>
                    </a:lnTo>
                    <a:lnTo>
                      <a:pt x="473" y="512"/>
                    </a:lnTo>
                    <a:lnTo>
                      <a:pt x="473" y="512"/>
                    </a:lnTo>
                    <a:lnTo>
                      <a:pt x="473" y="514"/>
                    </a:lnTo>
                    <a:lnTo>
                      <a:pt x="473" y="512"/>
                    </a:lnTo>
                    <a:lnTo>
                      <a:pt x="473" y="512"/>
                    </a:lnTo>
                    <a:lnTo>
                      <a:pt x="473" y="512"/>
                    </a:lnTo>
                    <a:close/>
                    <a:moveTo>
                      <a:pt x="473" y="481"/>
                    </a:moveTo>
                    <a:lnTo>
                      <a:pt x="473" y="478"/>
                    </a:lnTo>
                    <a:lnTo>
                      <a:pt x="473" y="478"/>
                    </a:lnTo>
                    <a:lnTo>
                      <a:pt x="471" y="478"/>
                    </a:lnTo>
                    <a:lnTo>
                      <a:pt x="471" y="481"/>
                    </a:lnTo>
                    <a:lnTo>
                      <a:pt x="471" y="483"/>
                    </a:lnTo>
                    <a:lnTo>
                      <a:pt x="473" y="481"/>
                    </a:lnTo>
                    <a:close/>
                    <a:moveTo>
                      <a:pt x="478" y="488"/>
                    </a:moveTo>
                    <a:lnTo>
                      <a:pt x="478" y="481"/>
                    </a:lnTo>
                    <a:lnTo>
                      <a:pt x="476" y="478"/>
                    </a:lnTo>
                    <a:lnTo>
                      <a:pt x="476" y="478"/>
                    </a:lnTo>
                    <a:lnTo>
                      <a:pt x="476" y="476"/>
                    </a:lnTo>
                    <a:lnTo>
                      <a:pt x="478" y="476"/>
                    </a:lnTo>
                    <a:lnTo>
                      <a:pt x="478" y="476"/>
                    </a:lnTo>
                    <a:lnTo>
                      <a:pt x="478" y="474"/>
                    </a:lnTo>
                    <a:lnTo>
                      <a:pt x="478" y="474"/>
                    </a:lnTo>
                    <a:lnTo>
                      <a:pt x="478" y="471"/>
                    </a:lnTo>
                    <a:lnTo>
                      <a:pt x="478" y="469"/>
                    </a:lnTo>
                    <a:lnTo>
                      <a:pt x="478" y="469"/>
                    </a:lnTo>
                    <a:lnTo>
                      <a:pt x="478" y="467"/>
                    </a:lnTo>
                    <a:lnTo>
                      <a:pt x="478" y="467"/>
                    </a:lnTo>
                    <a:lnTo>
                      <a:pt x="476" y="469"/>
                    </a:lnTo>
                    <a:lnTo>
                      <a:pt x="473" y="471"/>
                    </a:lnTo>
                    <a:lnTo>
                      <a:pt x="473" y="474"/>
                    </a:lnTo>
                    <a:lnTo>
                      <a:pt x="473" y="478"/>
                    </a:lnTo>
                    <a:lnTo>
                      <a:pt x="473" y="478"/>
                    </a:lnTo>
                    <a:lnTo>
                      <a:pt x="473" y="481"/>
                    </a:lnTo>
                    <a:lnTo>
                      <a:pt x="473" y="483"/>
                    </a:lnTo>
                    <a:lnTo>
                      <a:pt x="473" y="483"/>
                    </a:lnTo>
                    <a:lnTo>
                      <a:pt x="473" y="485"/>
                    </a:lnTo>
                    <a:lnTo>
                      <a:pt x="473" y="485"/>
                    </a:lnTo>
                    <a:lnTo>
                      <a:pt x="473" y="488"/>
                    </a:lnTo>
                    <a:lnTo>
                      <a:pt x="473" y="493"/>
                    </a:lnTo>
                    <a:lnTo>
                      <a:pt x="473" y="493"/>
                    </a:lnTo>
                    <a:lnTo>
                      <a:pt x="473" y="493"/>
                    </a:lnTo>
                    <a:lnTo>
                      <a:pt x="476" y="495"/>
                    </a:lnTo>
                    <a:lnTo>
                      <a:pt x="473" y="495"/>
                    </a:lnTo>
                    <a:lnTo>
                      <a:pt x="473" y="495"/>
                    </a:lnTo>
                    <a:lnTo>
                      <a:pt x="473" y="495"/>
                    </a:lnTo>
                    <a:lnTo>
                      <a:pt x="473" y="497"/>
                    </a:lnTo>
                    <a:lnTo>
                      <a:pt x="473" y="500"/>
                    </a:lnTo>
                    <a:lnTo>
                      <a:pt x="471" y="500"/>
                    </a:lnTo>
                    <a:lnTo>
                      <a:pt x="471" y="502"/>
                    </a:lnTo>
                    <a:lnTo>
                      <a:pt x="471" y="502"/>
                    </a:lnTo>
                    <a:lnTo>
                      <a:pt x="471" y="502"/>
                    </a:lnTo>
                    <a:lnTo>
                      <a:pt x="471" y="504"/>
                    </a:lnTo>
                    <a:lnTo>
                      <a:pt x="473" y="509"/>
                    </a:lnTo>
                    <a:lnTo>
                      <a:pt x="473" y="509"/>
                    </a:lnTo>
                    <a:lnTo>
                      <a:pt x="476" y="509"/>
                    </a:lnTo>
                    <a:lnTo>
                      <a:pt x="476" y="507"/>
                    </a:lnTo>
                    <a:lnTo>
                      <a:pt x="476" y="504"/>
                    </a:lnTo>
                    <a:lnTo>
                      <a:pt x="476" y="502"/>
                    </a:lnTo>
                    <a:lnTo>
                      <a:pt x="476" y="502"/>
                    </a:lnTo>
                    <a:lnTo>
                      <a:pt x="476" y="500"/>
                    </a:lnTo>
                    <a:lnTo>
                      <a:pt x="473" y="500"/>
                    </a:lnTo>
                    <a:lnTo>
                      <a:pt x="476" y="500"/>
                    </a:lnTo>
                    <a:lnTo>
                      <a:pt x="476" y="497"/>
                    </a:lnTo>
                    <a:lnTo>
                      <a:pt x="476" y="495"/>
                    </a:lnTo>
                    <a:lnTo>
                      <a:pt x="476" y="495"/>
                    </a:lnTo>
                    <a:lnTo>
                      <a:pt x="476" y="490"/>
                    </a:lnTo>
                    <a:lnTo>
                      <a:pt x="478" y="490"/>
                    </a:lnTo>
                    <a:lnTo>
                      <a:pt x="478" y="488"/>
                    </a:lnTo>
                    <a:close/>
                    <a:moveTo>
                      <a:pt x="471" y="523"/>
                    </a:moveTo>
                    <a:lnTo>
                      <a:pt x="471" y="523"/>
                    </a:lnTo>
                    <a:lnTo>
                      <a:pt x="469" y="526"/>
                    </a:lnTo>
                    <a:lnTo>
                      <a:pt x="469" y="526"/>
                    </a:lnTo>
                    <a:lnTo>
                      <a:pt x="469" y="528"/>
                    </a:lnTo>
                    <a:lnTo>
                      <a:pt x="469" y="530"/>
                    </a:lnTo>
                    <a:lnTo>
                      <a:pt x="471" y="530"/>
                    </a:lnTo>
                    <a:lnTo>
                      <a:pt x="471" y="530"/>
                    </a:lnTo>
                    <a:lnTo>
                      <a:pt x="473" y="526"/>
                    </a:lnTo>
                    <a:lnTo>
                      <a:pt x="473" y="526"/>
                    </a:lnTo>
                    <a:lnTo>
                      <a:pt x="471" y="523"/>
                    </a:lnTo>
                    <a:close/>
                    <a:moveTo>
                      <a:pt x="478" y="556"/>
                    </a:moveTo>
                    <a:lnTo>
                      <a:pt x="478" y="559"/>
                    </a:lnTo>
                    <a:lnTo>
                      <a:pt x="478" y="559"/>
                    </a:lnTo>
                    <a:lnTo>
                      <a:pt x="478" y="559"/>
                    </a:lnTo>
                    <a:lnTo>
                      <a:pt x="478" y="561"/>
                    </a:lnTo>
                    <a:lnTo>
                      <a:pt x="478" y="559"/>
                    </a:lnTo>
                    <a:lnTo>
                      <a:pt x="480" y="559"/>
                    </a:lnTo>
                    <a:lnTo>
                      <a:pt x="478" y="559"/>
                    </a:lnTo>
                    <a:lnTo>
                      <a:pt x="478" y="556"/>
                    </a:lnTo>
                    <a:close/>
                    <a:moveTo>
                      <a:pt x="114" y="578"/>
                    </a:moveTo>
                    <a:lnTo>
                      <a:pt x="114" y="578"/>
                    </a:lnTo>
                    <a:lnTo>
                      <a:pt x="114" y="578"/>
                    </a:lnTo>
                    <a:lnTo>
                      <a:pt x="111" y="578"/>
                    </a:lnTo>
                    <a:lnTo>
                      <a:pt x="111" y="578"/>
                    </a:lnTo>
                    <a:lnTo>
                      <a:pt x="111" y="578"/>
                    </a:lnTo>
                    <a:lnTo>
                      <a:pt x="114" y="578"/>
                    </a:lnTo>
                    <a:lnTo>
                      <a:pt x="114" y="578"/>
                    </a:lnTo>
                    <a:lnTo>
                      <a:pt x="114" y="578"/>
                    </a:lnTo>
                    <a:lnTo>
                      <a:pt x="114" y="578"/>
                    </a:lnTo>
                    <a:lnTo>
                      <a:pt x="114" y="578"/>
                    </a:lnTo>
                    <a:lnTo>
                      <a:pt x="114" y="578"/>
                    </a:lnTo>
                    <a:lnTo>
                      <a:pt x="114" y="578"/>
                    </a:lnTo>
                    <a:close/>
                    <a:moveTo>
                      <a:pt x="104" y="516"/>
                    </a:moveTo>
                    <a:lnTo>
                      <a:pt x="104" y="516"/>
                    </a:lnTo>
                    <a:lnTo>
                      <a:pt x="104" y="516"/>
                    </a:lnTo>
                    <a:lnTo>
                      <a:pt x="104" y="516"/>
                    </a:lnTo>
                    <a:lnTo>
                      <a:pt x="104" y="516"/>
                    </a:lnTo>
                    <a:lnTo>
                      <a:pt x="104" y="516"/>
                    </a:lnTo>
                    <a:lnTo>
                      <a:pt x="104" y="514"/>
                    </a:lnTo>
                    <a:lnTo>
                      <a:pt x="104" y="514"/>
                    </a:lnTo>
                    <a:lnTo>
                      <a:pt x="104" y="516"/>
                    </a:lnTo>
                    <a:close/>
                    <a:moveTo>
                      <a:pt x="497" y="597"/>
                    </a:moveTo>
                    <a:lnTo>
                      <a:pt x="497" y="597"/>
                    </a:lnTo>
                    <a:lnTo>
                      <a:pt x="497" y="597"/>
                    </a:lnTo>
                    <a:lnTo>
                      <a:pt x="497" y="599"/>
                    </a:lnTo>
                    <a:lnTo>
                      <a:pt x="497" y="599"/>
                    </a:lnTo>
                    <a:lnTo>
                      <a:pt x="499" y="597"/>
                    </a:lnTo>
                    <a:lnTo>
                      <a:pt x="497" y="597"/>
                    </a:lnTo>
                    <a:close/>
                    <a:moveTo>
                      <a:pt x="478" y="500"/>
                    </a:moveTo>
                    <a:lnTo>
                      <a:pt x="478" y="500"/>
                    </a:lnTo>
                    <a:lnTo>
                      <a:pt x="478" y="500"/>
                    </a:lnTo>
                    <a:lnTo>
                      <a:pt x="480" y="502"/>
                    </a:lnTo>
                    <a:lnTo>
                      <a:pt x="480" y="500"/>
                    </a:lnTo>
                    <a:lnTo>
                      <a:pt x="478" y="500"/>
                    </a:lnTo>
                    <a:close/>
                    <a:moveTo>
                      <a:pt x="509" y="168"/>
                    </a:moveTo>
                    <a:lnTo>
                      <a:pt x="511" y="166"/>
                    </a:lnTo>
                    <a:lnTo>
                      <a:pt x="511" y="163"/>
                    </a:lnTo>
                    <a:lnTo>
                      <a:pt x="514" y="163"/>
                    </a:lnTo>
                    <a:lnTo>
                      <a:pt x="514" y="163"/>
                    </a:lnTo>
                    <a:lnTo>
                      <a:pt x="516" y="163"/>
                    </a:lnTo>
                    <a:lnTo>
                      <a:pt x="516" y="161"/>
                    </a:lnTo>
                    <a:lnTo>
                      <a:pt x="514" y="161"/>
                    </a:lnTo>
                    <a:lnTo>
                      <a:pt x="514" y="159"/>
                    </a:lnTo>
                    <a:lnTo>
                      <a:pt x="514" y="159"/>
                    </a:lnTo>
                    <a:lnTo>
                      <a:pt x="514" y="156"/>
                    </a:lnTo>
                    <a:lnTo>
                      <a:pt x="514" y="156"/>
                    </a:lnTo>
                    <a:lnTo>
                      <a:pt x="509" y="154"/>
                    </a:lnTo>
                    <a:lnTo>
                      <a:pt x="509" y="154"/>
                    </a:lnTo>
                    <a:lnTo>
                      <a:pt x="506" y="154"/>
                    </a:lnTo>
                    <a:lnTo>
                      <a:pt x="504" y="154"/>
                    </a:lnTo>
                    <a:lnTo>
                      <a:pt x="504" y="154"/>
                    </a:lnTo>
                    <a:lnTo>
                      <a:pt x="499" y="152"/>
                    </a:lnTo>
                    <a:lnTo>
                      <a:pt x="499" y="152"/>
                    </a:lnTo>
                    <a:lnTo>
                      <a:pt x="497" y="152"/>
                    </a:lnTo>
                    <a:lnTo>
                      <a:pt x="497" y="154"/>
                    </a:lnTo>
                    <a:lnTo>
                      <a:pt x="495" y="154"/>
                    </a:lnTo>
                    <a:lnTo>
                      <a:pt x="495" y="154"/>
                    </a:lnTo>
                    <a:lnTo>
                      <a:pt x="495" y="152"/>
                    </a:lnTo>
                    <a:lnTo>
                      <a:pt x="495" y="152"/>
                    </a:lnTo>
                    <a:lnTo>
                      <a:pt x="495" y="152"/>
                    </a:lnTo>
                    <a:lnTo>
                      <a:pt x="495" y="152"/>
                    </a:lnTo>
                    <a:lnTo>
                      <a:pt x="495" y="149"/>
                    </a:lnTo>
                    <a:lnTo>
                      <a:pt x="495" y="149"/>
                    </a:lnTo>
                    <a:lnTo>
                      <a:pt x="497" y="144"/>
                    </a:lnTo>
                    <a:lnTo>
                      <a:pt x="497" y="144"/>
                    </a:lnTo>
                    <a:lnTo>
                      <a:pt x="495" y="140"/>
                    </a:lnTo>
                    <a:lnTo>
                      <a:pt x="495" y="140"/>
                    </a:lnTo>
                    <a:lnTo>
                      <a:pt x="495" y="140"/>
                    </a:lnTo>
                    <a:lnTo>
                      <a:pt x="492" y="140"/>
                    </a:lnTo>
                    <a:lnTo>
                      <a:pt x="490" y="142"/>
                    </a:lnTo>
                    <a:lnTo>
                      <a:pt x="490" y="142"/>
                    </a:lnTo>
                    <a:lnTo>
                      <a:pt x="490" y="140"/>
                    </a:lnTo>
                    <a:lnTo>
                      <a:pt x="488" y="137"/>
                    </a:lnTo>
                    <a:lnTo>
                      <a:pt x="490" y="137"/>
                    </a:lnTo>
                    <a:lnTo>
                      <a:pt x="490" y="137"/>
                    </a:lnTo>
                    <a:lnTo>
                      <a:pt x="492" y="135"/>
                    </a:lnTo>
                    <a:lnTo>
                      <a:pt x="492" y="135"/>
                    </a:lnTo>
                    <a:lnTo>
                      <a:pt x="490" y="135"/>
                    </a:lnTo>
                    <a:lnTo>
                      <a:pt x="490" y="135"/>
                    </a:lnTo>
                    <a:lnTo>
                      <a:pt x="488" y="135"/>
                    </a:lnTo>
                    <a:lnTo>
                      <a:pt x="488" y="133"/>
                    </a:lnTo>
                    <a:lnTo>
                      <a:pt x="485" y="130"/>
                    </a:lnTo>
                    <a:lnTo>
                      <a:pt x="485" y="130"/>
                    </a:lnTo>
                    <a:lnTo>
                      <a:pt x="483" y="133"/>
                    </a:lnTo>
                    <a:lnTo>
                      <a:pt x="480" y="133"/>
                    </a:lnTo>
                    <a:lnTo>
                      <a:pt x="476" y="135"/>
                    </a:lnTo>
                    <a:lnTo>
                      <a:pt x="476" y="137"/>
                    </a:lnTo>
                    <a:lnTo>
                      <a:pt x="476" y="137"/>
                    </a:lnTo>
                    <a:lnTo>
                      <a:pt x="476" y="137"/>
                    </a:lnTo>
                    <a:lnTo>
                      <a:pt x="476" y="140"/>
                    </a:lnTo>
                    <a:lnTo>
                      <a:pt x="476" y="140"/>
                    </a:lnTo>
                    <a:lnTo>
                      <a:pt x="473" y="140"/>
                    </a:lnTo>
                    <a:lnTo>
                      <a:pt x="473" y="140"/>
                    </a:lnTo>
                    <a:lnTo>
                      <a:pt x="471" y="137"/>
                    </a:lnTo>
                    <a:lnTo>
                      <a:pt x="469" y="137"/>
                    </a:lnTo>
                    <a:lnTo>
                      <a:pt x="466" y="137"/>
                    </a:lnTo>
                    <a:lnTo>
                      <a:pt x="464" y="137"/>
                    </a:lnTo>
                    <a:lnTo>
                      <a:pt x="464" y="135"/>
                    </a:lnTo>
                    <a:lnTo>
                      <a:pt x="462" y="135"/>
                    </a:lnTo>
                    <a:lnTo>
                      <a:pt x="462" y="133"/>
                    </a:lnTo>
                    <a:lnTo>
                      <a:pt x="459" y="133"/>
                    </a:lnTo>
                    <a:lnTo>
                      <a:pt x="457" y="135"/>
                    </a:lnTo>
                    <a:lnTo>
                      <a:pt x="454" y="137"/>
                    </a:lnTo>
                    <a:lnTo>
                      <a:pt x="454" y="140"/>
                    </a:lnTo>
                    <a:lnTo>
                      <a:pt x="452" y="140"/>
                    </a:lnTo>
                    <a:lnTo>
                      <a:pt x="450" y="140"/>
                    </a:lnTo>
                    <a:lnTo>
                      <a:pt x="452" y="142"/>
                    </a:lnTo>
                    <a:lnTo>
                      <a:pt x="450" y="142"/>
                    </a:lnTo>
                    <a:lnTo>
                      <a:pt x="450" y="144"/>
                    </a:lnTo>
                    <a:lnTo>
                      <a:pt x="447" y="144"/>
                    </a:lnTo>
                    <a:lnTo>
                      <a:pt x="445" y="147"/>
                    </a:lnTo>
                    <a:lnTo>
                      <a:pt x="440" y="147"/>
                    </a:lnTo>
                    <a:lnTo>
                      <a:pt x="438" y="147"/>
                    </a:lnTo>
                    <a:lnTo>
                      <a:pt x="438" y="149"/>
                    </a:lnTo>
                    <a:lnTo>
                      <a:pt x="438" y="152"/>
                    </a:lnTo>
                    <a:lnTo>
                      <a:pt x="438" y="152"/>
                    </a:lnTo>
                    <a:lnTo>
                      <a:pt x="436" y="154"/>
                    </a:lnTo>
                    <a:lnTo>
                      <a:pt x="433" y="156"/>
                    </a:lnTo>
                    <a:lnTo>
                      <a:pt x="431" y="159"/>
                    </a:lnTo>
                    <a:lnTo>
                      <a:pt x="431" y="159"/>
                    </a:lnTo>
                    <a:lnTo>
                      <a:pt x="431" y="159"/>
                    </a:lnTo>
                    <a:lnTo>
                      <a:pt x="431" y="161"/>
                    </a:lnTo>
                    <a:lnTo>
                      <a:pt x="431" y="161"/>
                    </a:lnTo>
                    <a:lnTo>
                      <a:pt x="431" y="161"/>
                    </a:lnTo>
                    <a:lnTo>
                      <a:pt x="431" y="161"/>
                    </a:lnTo>
                    <a:lnTo>
                      <a:pt x="428" y="163"/>
                    </a:lnTo>
                    <a:lnTo>
                      <a:pt x="428" y="163"/>
                    </a:lnTo>
                    <a:lnTo>
                      <a:pt x="426" y="166"/>
                    </a:lnTo>
                    <a:lnTo>
                      <a:pt x="426" y="166"/>
                    </a:lnTo>
                    <a:lnTo>
                      <a:pt x="424" y="166"/>
                    </a:lnTo>
                    <a:lnTo>
                      <a:pt x="424" y="163"/>
                    </a:lnTo>
                    <a:lnTo>
                      <a:pt x="424" y="166"/>
                    </a:lnTo>
                    <a:lnTo>
                      <a:pt x="421" y="166"/>
                    </a:lnTo>
                    <a:lnTo>
                      <a:pt x="421" y="166"/>
                    </a:lnTo>
                    <a:lnTo>
                      <a:pt x="419" y="166"/>
                    </a:lnTo>
                    <a:lnTo>
                      <a:pt x="419" y="166"/>
                    </a:lnTo>
                    <a:lnTo>
                      <a:pt x="417" y="166"/>
                    </a:lnTo>
                    <a:lnTo>
                      <a:pt x="414" y="166"/>
                    </a:lnTo>
                    <a:lnTo>
                      <a:pt x="412" y="166"/>
                    </a:lnTo>
                    <a:lnTo>
                      <a:pt x="412" y="166"/>
                    </a:lnTo>
                    <a:lnTo>
                      <a:pt x="412" y="168"/>
                    </a:lnTo>
                    <a:lnTo>
                      <a:pt x="412" y="168"/>
                    </a:lnTo>
                    <a:lnTo>
                      <a:pt x="412" y="171"/>
                    </a:lnTo>
                    <a:lnTo>
                      <a:pt x="414" y="173"/>
                    </a:lnTo>
                    <a:lnTo>
                      <a:pt x="417" y="173"/>
                    </a:lnTo>
                    <a:lnTo>
                      <a:pt x="419" y="173"/>
                    </a:lnTo>
                    <a:lnTo>
                      <a:pt x="419" y="173"/>
                    </a:lnTo>
                    <a:lnTo>
                      <a:pt x="421" y="173"/>
                    </a:lnTo>
                    <a:lnTo>
                      <a:pt x="421" y="175"/>
                    </a:lnTo>
                    <a:lnTo>
                      <a:pt x="424" y="175"/>
                    </a:lnTo>
                    <a:lnTo>
                      <a:pt x="421" y="178"/>
                    </a:lnTo>
                    <a:lnTo>
                      <a:pt x="421" y="180"/>
                    </a:lnTo>
                    <a:lnTo>
                      <a:pt x="421" y="180"/>
                    </a:lnTo>
                    <a:lnTo>
                      <a:pt x="421" y="180"/>
                    </a:lnTo>
                    <a:lnTo>
                      <a:pt x="424" y="182"/>
                    </a:lnTo>
                    <a:lnTo>
                      <a:pt x="424" y="182"/>
                    </a:lnTo>
                    <a:lnTo>
                      <a:pt x="424" y="185"/>
                    </a:lnTo>
                    <a:lnTo>
                      <a:pt x="424" y="185"/>
                    </a:lnTo>
                    <a:lnTo>
                      <a:pt x="424" y="185"/>
                    </a:lnTo>
                    <a:lnTo>
                      <a:pt x="421" y="185"/>
                    </a:lnTo>
                    <a:lnTo>
                      <a:pt x="421" y="185"/>
                    </a:lnTo>
                    <a:lnTo>
                      <a:pt x="421" y="185"/>
                    </a:lnTo>
                    <a:lnTo>
                      <a:pt x="419" y="185"/>
                    </a:lnTo>
                    <a:lnTo>
                      <a:pt x="417" y="187"/>
                    </a:lnTo>
                    <a:lnTo>
                      <a:pt x="414" y="187"/>
                    </a:lnTo>
                    <a:lnTo>
                      <a:pt x="414" y="185"/>
                    </a:lnTo>
                    <a:lnTo>
                      <a:pt x="412" y="185"/>
                    </a:lnTo>
                    <a:lnTo>
                      <a:pt x="409" y="187"/>
                    </a:lnTo>
                    <a:lnTo>
                      <a:pt x="407" y="187"/>
                    </a:lnTo>
                    <a:lnTo>
                      <a:pt x="402" y="187"/>
                    </a:lnTo>
                    <a:lnTo>
                      <a:pt x="400" y="187"/>
                    </a:lnTo>
                    <a:lnTo>
                      <a:pt x="398" y="187"/>
                    </a:lnTo>
                    <a:lnTo>
                      <a:pt x="398" y="187"/>
                    </a:lnTo>
                    <a:lnTo>
                      <a:pt x="395" y="185"/>
                    </a:lnTo>
                    <a:lnTo>
                      <a:pt x="393" y="185"/>
                    </a:lnTo>
                    <a:lnTo>
                      <a:pt x="391" y="185"/>
                    </a:lnTo>
                    <a:lnTo>
                      <a:pt x="391" y="185"/>
                    </a:lnTo>
                    <a:lnTo>
                      <a:pt x="391" y="187"/>
                    </a:lnTo>
                    <a:lnTo>
                      <a:pt x="386" y="187"/>
                    </a:lnTo>
                    <a:lnTo>
                      <a:pt x="383" y="189"/>
                    </a:lnTo>
                    <a:lnTo>
                      <a:pt x="381" y="189"/>
                    </a:lnTo>
                    <a:lnTo>
                      <a:pt x="381" y="187"/>
                    </a:lnTo>
                    <a:lnTo>
                      <a:pt x="381" y="187"/>
                    </a:lnTo>
                    <a:lnTo>
                      <a:pt x="381" y="187"/>
                    </a:lnTo>
                    <a:lnTo>
                      <a:pt x="379" y="187"/>
                    </a:lnTo>
                    <a:lnTo>
                      <a:pt x="379" y="187"/>
                    </a:lnTo>
                    <a:lnTo>
                      <a:pt x="379" y="187"/>
                    </a:lnTo>
                    <a:lnTo>
                      <a:pt x="376" y="185"/>
                    </a:lnTo>
                    <a:lnTo>
                      <a:pt x="374" y="185"/>
                    </a:lnTo>
                    <a:lnTo>
                      <a:pt x="372" y="187"/>
                    </a:lnTo>
                    <a:lnTo>
                      <a:pt x="369" y="185"/>
                    </a:lnTo>
                    <a:lnTo>
                      <a:pt x="367" y="185"/>
                    </a:lnTo>
                    <a:lnTo>
                      <a:pt x="367" y="182"/>
                    </a:lnTo>
                    <a:lnTo>
                      <a:pt x="365" y="180"/>
                    </a:lnTo>
                    <a:lnTo>
                      <a:pt x="365" y="180"/>
                    </a:lnTo>
                    <a:lnTo>
                      <a:pt x="365" y="180"/>
                    </a:lnTo>
                    <a:lnTo>
                      <a:pt x="362" y="178"/>
                    </a:lnTo>
                    <a:lnTo>
                      <a:pt x="362" y="178"/>
                    </a:lnTo>
                    <a:lnTo>
                      <a:pt x="365" y="175"/>
                    </a:lnTo>
                    <a:lnTo>
                      <a:pt x="365" y="175"/>
                    </a:lnTo>
                    <a:lnTo>
                      <a:pt x="365" y="175"/>
                    </a:lnTo>
                    <a:lnTo>
                      <a:pt x="362" y="173"/>
                    </a:lnTo>
                    <a:lnTo>
                      <a:pt x="362" y="171"/>
                    </a:lnTo>
                    <a:lnTo>
                      <a:pt x="362" y="166"/>
                    </a:lnTo>
                    <a:lnTo>
                      <a:pt x="362" y="163"/>
                    </a:lnTo>
                    <a:lnTo>
                      <a:pt x="362" y="163"/>
                    </a:lnTo>
                    <a:lnTo>
                      <a:pt x="360" y="161"/>
                    </a:lnTo>
                    <a:lnTo>
                      <a:pt x="360" y="161"/>
                    </a:lnTo>
                    <a:lnTo>
                      <a:pt x="357" y="159"/>
                    </a:lnTo>
                    <a:lnTo>
                      <a:pt x="357" y="159"/>
                    </a:lnTo>
                    <a:lnTo>
                      <a:pt x="355" y="159"/>
                    </a:lnTo>
                    <a:lnTo>
                      <a:pt x="355" y="161"/>
                    </a:lnTo>
                    <a:lnTo>
                      <a:pt x="355" y="161"/>
                    </a:lnTo>
                    <a:lnTo>
                      <a:pt x="353" y="161"/>
                    </a:lnTo>
                    <a:lnTo>
                      <a:pt x="350" y="161"/>
                    </a:lnTo>
                    <a:lnTo>
                      <a:pt x="348" y="163"/>
                    </a:lnTo>
                    <a:lnTo>
                      <a:pt x="348" y="163"/>
                    </a:lnTo>
                    <a:lnTo>
                      <a:pt x="348" y="163"/>
                    </a:lnTo>
                    <a:lnTo>
                      <a:pt x="350" y="163"/>
                    </a:lnTo>
                    <a:lnTo>
                      <a:pt x="350" y="166"/>
                    </a:lnTo>
                    <a:lnTo>
                      <a:pt x="350" y="166"/>
                    </a:lnTo>
                    <a:lnTo>
                      <a:pt x="350" y="168"/>
                    </a:lnTo>
                    <a:lnTo>
                      <a:pt x="350" y="171"/>
                    </a:lnTo>
                    <a:lnTo>
                      <a:pt x="348" y="173"/>
                    </a:lnTo>
                    <a:lnTo>
                      <a:pt x="350" y="180"/>
                    </a:lnTo>
                    <a:lnTo>
                      <a:pt x="350" y="180"/>
                    </a:lnTo>
                    <a:lnTo>
                      <a:pt x="353" y="185"/>
                    </a:lnTo>
                    <a:lnTo>
                      <a:pt x="353" y="187"/>
                    </a:lnTo>
                    <a:lnTo>
                      <a:pt x="355" y="187"/>
                    </a:lnTo>
                    <a:lnTo>
                      <a:pt x="353" y="192"/>
                    </a:lnTo>
                    <a:lnTo>
                      <a:pt x="353" y="194"/>
                    </a:lnTo>
                    <a:lnTo>
                      <a:pt x="353" y="194"/>
                    </a:lnTo>
                    <a:lnTo>
                      <a:pt x="353" y="194"/>
                    </a:lnTo>
                    <a:lnTo>
                      <a:pt x="350" y="194"/>
                    </a:lnTo>
                    <a:lnTo>
                      <a:pt x="348" y="194"/>
                    </a:lnTo>
                    <a:lnTo>
                      <a:pt x="346" y="194"/>
                    </a:lnTo>
                    <a:lnTo>
                      <a:pt x="343" y="194"/>
                    </a:lnTo>
                    <a:lnTo>
                      <a:pt x="341" y="194"/>
                    </a:lnTo>
                    <a:lnTo>
                      <a:pt x="339" y="197"/>
                    </a:lnTo>
                    <a:lnTo>
                      <a:pt x="336" y="194"/>
                    </a:lnTo>
                    <a:lnTo>
                      <a:pt x="336" y="194"/>
                    </a:lnTo>
                    <a:lnTo>
                      <a:pt x="334" y="192"/>
                    </a:lnTo>
                    <a:lnTo>
                      <a:pt x="334" y="192"/>
                    </a:lnTo>
                    <a:lnTo>
                      <a:pt x="329" y="194"/>
                    </a:lnTo>
                    <a:lnTo>
                      <a:pt x="329" y="194"/>
                    </a:lnTo>
                    <a:lnTo>
                      <a:pt x="327" y="192"/>
                    </a:lnTo>
                    <a:lnTo>
                      <a:pt x="322" y="192"/>
                    </a:lnTo>
                    <a:lnTo>
                      <a:pt x="322" y="192"/>
                    </a:lnTo>
                    <a:lnTo>
                      <a:pt x="320" y="192"/>
                    </a:lnTo>
                    <a:lnTo>
                      <a:pt x="317" y="189"/>
                    </a:lnTo>
                    <a:lnTo>
                      <a:pt x="315" y="189"/>
                    </a:lnTo>
                    <a:lnTo>
                      <a:pt x="313" y="192"/>
                    </a:lnTo>
                    <a:lnTo>
                      <a:pt x="313" y="189"/>
                    </a:lnTo>
                    <a:lnTo>
                      <a:pt x="310" y="189"/>
                    </a:lnTo>
                    <a:lnTo>
                      <a:pt x="310" y="189"/>
                    </a:lnTo>
                    <a:lnTo>
                      <a:pt x="310" y="187"/>
                    </a:lnTo>
                    <a:lnTo>
                      <a:pt x="308" y="185"/>
                    </a:lnTo>
                    <a:lnTo>
                      <a:pt x="308" y="185"/>
                    </a:lnTo>
                    <a:lnTo>
                      <a:pt x="305" y="187"/>
                    </a:lnTo>
                    <a:lnTo>
                      <a:pt x="303" y="187"/>
                    </a:lnTo>
                    <a:lnTo>
                      <a:pt x="301" y="187"/>
                    </a:lnTo>
                    <a:lnTo>
                      <a:pt x="301" y="187"/>
                    </a:lnTo>
                    <a:lnTo>
                      <a:pt x="301" y="187"/>
                    </a:lnTo>
                    <a:lnTo>
                      <a:pt x="298" y="185"/>
                    </a:lnTo>
                    <a:lnTo>
                      <a:pt x="298" y="185"/>
                    </a:lnTo>
                    <a:lnTo>
                      <a:pt x="298" y="185"/>
                    </a:lnTo>
                    <a:lnTo>
                      <a:pt x="296" y="185"/>
                    </a:lnTo>
                    <a:lnTo>
                      <a:pt x="296" y="185"/>
                    </a:lnTo>
                    <a:lnTo>
                      <a:pt x="291" y="182"/>
                    </a:lnTo>
                    <a:lnTo>
                      <a:pt x="289" y="180"/>
                    </a:lnTo>
                    <a:lnTo>
                      <a:pt x="289" y="178"/>
                    </a:lnTo>
                    <a:lnTo>
                      <a:pt x="289" y="178"/>
                    </a:lnTo>
                    <a:lnTo>
                      <a:pt x="289" y="175"/>
                    </a:lnTo>
                    <a:lnTo>
                      <a:pt x="286" y="175"/>
                    </a:lnTo>
                    <a:lnTo>
                      <a:pt x="282" y="173"/>
                    </a:lnTo>
                    <a:lnTo>
                      <a:pt x="277" y="173"/>
                    </a:lnTo>
                    <a:lnTo>
                      <a:pt x="277" y="173"/>
                    </a:lnTo>
                    <a:lnTo>
                      <a:pt x="275" y="173"/>
                    </a:lnTo>
                    <a:lnTo>
                      <a:pt x="275" y="175"/>
                    </a:lnTo>
                    <a:lnTo>
                      <a:pt x="272" y="173"/>
                    </a:lnTo>
                    <a:lnTo>
                      <a:pt x="268" y="173"/>
                    </a:lnTo>
                    <a:lnTo>
                      <a:pt x="265" y="173"/>
                    </a:lnTo>
                    <a:lnTo>
                      <a:pt x="265" y="173"/>
                    </a:lnTo>
                    <a:lnTo>
                      <a:pt x="265" y="173"/>
                    </a:lnTo>
                    <a:lnTo>
                      <a:pt x="263" y="175"/>
                    </a:lnTo>
                    <a:lnTo>
                      <a:pt x="263" y="173"/>
                    </a:lnTo>
                    <a:lnTo>
                      <a:pt x="260" y="173"/>
                    </a:lnTo>
                    <a:lnTo>
                      <a:pt x="258" y="173"/>
                    </a:lnTo>
                    <a:lnTo>
                      <a:pt x="253" y="171"/>
                    </a:lnTo>
                    <a:lnTo>
                      <a:pt x="253" y="171"/>
                    </a:lnTo>
                    <a:lnTo>
                      <a:pt x="251" y="168"/>
                    </a:lnTo>
                    <a:lnTo>
                      <a:pt x="251" y="168"/>
                    </a:lnTo>
                    <a:lnTo>
                      <a:pt x="249" y="168"/>
                    </a:lnTo>
                    <a:lnTo>
                      <a:pt x="244" y="166"/>
                    </a:lnTo>
                    <a:lnTo>
                      <a:pt x="242" y="163"/>
                    </a:lnTo>
                    <a:lnTo>
                      <a:pt x="239" y="163"/>
                    </a:lnTo>
                    <a:lnTo>
                      <a:pt x="239" y="163"/>
                    </a:lnTo>
                    <a:lnTo>
                      <a:pt x="237" y="163"/>
                    </a:lnTo>
                    <a:lnTo>
                      <a:pt x="237" y="163"/>
                    </a:lnTo>
                    <a:lnTo>
                      <a:pt x="237" y="163"/>
                    </a:lnTo>
                    <a:lnTo>
                      <a:pt x="234" y="163"/>
                    </a:lnTo>
                    <a:lnTo>
                      <a:pt x="232" y="161"/>
                    </a:lnTo>
                    <a:lnTo>
                      <a:pt x="230" y="159"/>
                    </a:lnTo>
                    <a:lnTo>
                      <a:pt x="225" y="156"/>
                    </a:lnTo>
                    <a:lnTo>
                      <a:pt x="223" y="156"/>
                    </a:lnTo>
                    <a:lnTo>
                      <a:pt x="223" y="154"/>
                    </a:lnTo>
                    <a:lnTo>
                      <a:pt x="223" y="154"/>
                    </a:lnTo>
                    <a:lnTo>
                      <a:pt x="220" y="152"/>
                    </a:lnTo>
                    <a:lnTo>
                      <a:pt x="218" y="152"/>
                    </a:lnTo>
                    <a:lnTo>
                      <a:pt x="213" y="149"/>
                    </a:lnTo>
                    <a:lnTo>
                      <a:pt x="213" y="149"/>
                    </a:lnTo>
                    <a:lnTo>
                      <a:pt x="213" y="149"/>
                    </a:lnTo>
                    <a:lnTo>
                      <a:pt x="211" y="147"/>
                    </a:lnTo>
                    <a:lnTo>
                      <a:pt x="208" y="147"/>
                    </a:lnTo>
                    <a:lnTo>
                      <a:pt x="208" y="147"/>
                    </a:lnTo>
                    <a:lnTo>
                      <a:pt x="208" y="149"/>
                    </a:lnTo>
                    <a:lnTo>
                      <a:pt x="208" y="149"/>
                    </a:lnTo>
                    <a:lnTo>
                      <a:pt x="206" y="147"/>
                    </a:lnTo>
                    <a:lnTo>
                      <a:pt x="204" y="147"/>
                    </a:lnTo>
                    <a:lnTo>
                      <a:pt x="201" y="144"/>
                    </a:lnTo>
                    <a:lnTo>
                      <a:pt x="201" y="144"/>
                    </a:lnTo>
                    <a:lnTo>
                      <a:pt x="199" y="142"/>
                    </a:lnTo>
                    <a:lnTo>
                      <a:pt x="201" y="140"/>
                    </a:lnTo>
                    <a:lnTo>
                      <a:pt x="201" y="137"/>
                    </a:lnTo>
                    <a:lnTo>
                      <a:pt x="201" y="137"/>
                    </a:lnTo>
                    <a:lnTo>
                      <a:pt x="201" y="135"/>
                    </a:lnTo>
                    <a:lnTo>
                      <a:pt x="201" y="133"/>
                    </a:lnTo>
                    <a:lnTo>
                      <a:pt x="201" y="130"/>
                    </a:lnTo>
                    <a:lnTo>
                      <a:pt x="201" y="128"/>
                    </a:lnTo>
                    <a:lnTo>
                      <a:pt x="204" y="126"/>
                    </a:lnTo>
                    <a:lnTo>
                      <a:pt x="206" y="121"/>
                    </a:lnTo>
                    <a:lnTo>
                      <a:pt x="206" y="121"/>
                    </a:lnTo>
                    <a:lnTo>
                      <a:pt x="206" y="118"/>
                    </a:lnTo>
                    <a:lnTo>
                      <a:pt x="208" y="116"/>
                    </a:lnTo>
                    <a:lnTo>
                      <a:pt x="208" y="116"/>
                    </a:lnTo>
                    <a:lnTo>
                      <a:pt x="211" y="116"/>
                    </a:lnTo>
                    <a:lnTo>
                      <a:pt x="211" y="116"/>
                    </a:lnTo>
                    <a:lnTo>
                      <a:pt x="213" y="116"/>
                    </a:lnTo>
                    <a:lnTo>
                      <a:pt x="211" y="114"/>
                    </a:lnTo>
                    <a:lnTo>
                      <a:pt x="208" y="114"/>
                    </a:lnTo>
                    <a:lnTo>
                      <a:pt x="206" y="111"/>
                    </a:lnTo>
                    <a:lnTo>
                      <a:pt x="206" y="109"/>
                    </a:lnTo>
                    <a:lnTo>
                      <a:pt x="204" y="109"/>
                    </a:lnTo>
                    <a:lnTo>
                      <a:pt x="204" y="109"/>
                    </a:lnTo>
                    <a:lnTo>
                      <a:pt x="201" y="109"/>
                    </a:lnTo>
                    <a:lnTo>
                      <a:pt x="197" y="107"/>
                    </a:lnTo>
                    <a:lnTo>
                      <a:pt x="197" y="107"/>
                    </a:lnTo>
                    <a:lnTo>
                      <a:pt x="197" y="107"/>
                    </a:lnTo>
                    <a:lnTo>
                      <a:pt x="197" y="104"/>
                    </a:lnTo>
                    <a:lnTo>
                      <a:pt x="194" y="102"/>
                    </a:lnTo>
                    <a:lnTo>
                      <a:pt x="194" y="102"/>
                    </a:lnTo>
                    <a:lnTo>
                      <a:pt x="194" y="102"/>
                    </a:lnTo>
                    <a:lnTo>
                      <a:pt x="190" y="100"/>
                    </a:lnTo>
                    <a:lnTo>
                      <a:pt x="190" y="100"/>
                    </a:lnTo>
                    <a:lnTo>
                      <a:pt x="190" y="100"/>
                    </a:lnTo>
                    <a:lnTo>
                      <a:pt x="190" y="100"/>
                    </a:lnTo>
                    <a:lnTo>
                      <a:pt x="190" y="100"/>
                    </a:lnTo>
                    <a:lnTo>
                      <a:pt x="187" y="100"/>
                    </a:lnTo>
                    <a:lnTo>
                      <a:pt x="185" y="100"/>
                    </a:lnTo>
                    <a:lnTo>
                      <a:pt x="182" y="100"/>
                    </a:lnTo>
                    <a:lnTo>
                      <a:pt x="182" y="97"/>
                    </a:lnTo>
                    <a:lnTo>
                      <a:pt x="180" y="97"/>
                    </a:lnTo>
                    <a:lnTo>
                      <a:pt x="180" y="97"/>
                    </a:lnTo>
                    <a:lnTo>
                      <a:pt x="180" y="97"/>
                    </a:lnTo>
                    <a:lnTo>
                      <a:pt x="178" y="95"/>
                    </a:lnTo>
                    <a:lnTo>
                      <a:pt x="175" y="92"/>
                    </a:lnTo>
                    <a:lnTo>
                      <a:pt x="173" y="90"/>
                    </a:lnTo>
                    <a:lnTo>
                      <a:pt x="173" y="88"/>
                    </a:lnTo>
                    <a:lnTo>
                      <a:pt x="171" y="90"/>
                    </a:lnTo>
                    <a:lnTo>
                      <a:pt x="171" y="90"/>
                    </a:lnTo>
                    <a:lnTo>
                      <a:pt x="171" y="90"/>
                    </a:lnTo>
                    <a:lnTo>
                      <a:pt x="171" y="90"/>
                    </a:lnTo>
                    <a:lnTo>
                      <a:pt x="168" y="92"/>
                    </a:lnTo>
                    <a:lnTo>
                      <a:pt x="168" y="92"/>
                    </a:lnTo>
                    <a:lnTo>
                      <a:pt x="168" y="92"/>
                    </a:lnTo>
                    <a:lnTo>
                      <a:pt x="168" y="90"/>
                    </a:lnTo>
                    <a:lnTo>
                      <a:pt x="166" y="88"/>
                    </a:lnTo>
                    <a:lnTo>
                      <a:pt x="166" y="88"/>
                    </a:lnTo>
                    <a:lnTo>
                      <a:pt x="166" y="85"/>
                    </a:lnTo>
                    <a:lnTo>
                      <a:pt x="166" y="85"/>
                    </a:lnTo>
                    <a:lnTo>
                      <a:pt x="166" y="83"/>
                    </a:lnTo>
                    <a:lnTo>
                      <a:pt x="163" y="83"/>
                    </a:lnTo>
                    <a:lnTo>
                      <a:pt x="163" y="81"/>
                    </a:lnTo>
                    <a:lnTo>
                      <a:pt x="163" y="78"/>
                    </a:lnTo>
                    <a:lnTo>
                      <a:pt x="163" y="78"/>
                    </a:lnTo>
                    <a:lnTo>
                      <a:pt x="163" y="78"/>
                    </a:lnTo>
                    <a:lnTo>
                      <a:pt x="163" y="78"/>
                    </a:lnTo>
                    <a:lnTo>
                      <a:pt x="163" y="78"/>
                    </a:lnTo>
                    <a:lnTo>
                      <a:pt x="163" y="78"/>
                    </a:lnTo>
                    <a:lnTo>
                      <a:pt x="163" y="76"/>
                    </a:lnTo>
                    <a:lnTo>
                      <a:pt x="159" y="71"/>
                    </a:lnTo>
                    <a:lnTo>
                      <a:pt x="159" y="71"/>
                    </a:lnTo>
                    <a:lnTo>
                      <a:pt x="159" y="71"/>
                    </a:lnTo>
                    <a:lnTo>
                      <a:pt x="156" y="69"/>
                    </a:lnTo>
                    <a:lnTo>
                      <a:pt x="156" y="66"/>
                    </a:lnTo>
                    <a:lnTo>
                      <a:pt x="156" y="66"/>
                    </a:lnTo>
                    <a:lnTo>
                      <a:pt x="156" y="66"/>
                    </a:lnTo>
                    <a:lnTo>
                      <a:pt x="156" y="64"/>
                    </a:lnTo>
                    <a:lnTo>
                      <a:pt x="159" y="64"/>
                    </a:lnTo>
                    <a:lnTo>
                      <a:pt x="159" y="64"/>
                    </a:lnTo>
                    <a:lnTo>
                      <a:pt x="161" y="64"/>
                    </a:lnTo>
                    <a:lnTo>
                      <a:pt x="161" y="64"/>
                    </a:lnTo>
                    <a:lnTo>
                      <a:pt x="161" y="66"/>
                    </a:lnTo>
                    <a:lnTo>
                      <a:pt x="163" y="66"/>
                    </a:lnTo>
                    <a:lnTo>
                      <a:pt x="163" y="69"/>
                    </a:lnTo>
                    <a:lnTo>
                      <a:pt x="166" y="69"/>
                    </a:lnTo>
                    <a:lnTo>
                      <a:pt x="168" y="69"/>
                    </a:lnTo>
                    <a:lnTo>
                      <a:pt x="168" y="69"/>
                    </a:lnTo>
                    <a:lnTo>
                      <a:pt x="168" y="66"/>
                    </a:lnTo>
                    <a:lnTo>
                      <a:pt x="171" y="66"/>
                    </a:lnTo>
                    <a:lnTo>
                      <a:pt x="171" y="66"/>
                    </a:lnTo>
                    <a:lnTo>
                      <a:pt x="171" y="64"/>
                    </a:lnTo>
                    <a:lnTo>
                      <a:pt x="171" y="62"/>
                    </a:lnTo>
                    <a:lnTo>
                      <a:pt x="171" y="62"/>
                    </a:lnTo>
                    <a:lnTo>
                      <a:pt x="168" y="59"/>
                    </a:lnTo>
                    <a:lnTo>
                      <a:pt x="168" y="59"/>
                    </a:lnTo>
                    <a:lnTo>
                      <a:pt x="168" y="57"/>
                    </a:lnTo>
                    <a:lnTo>
                      <a:pt x="166" y="55"/>
                    </a:lnTo>
                    <a:lnTo>
                      <a:pt x="166" y="55"/>
                    </a:lnTo>
                    <a:lnTo>
                      <a:pt x="166" y="55"/>
                    </a:lnTo>
                    <a:lnTo>
                      <a:pt x="166" y="55"/>
                    </a:lnTo>
                    <a:lnTo>
                      <a:pt x="166" y="52"/>
                    </a:lnTo>
                    <a:lnTo>
                      <a:pt x="166" y="50"/>
                    </a:lnTo>
                    <a:lnTo>
                      <a:pt x="163" y="50"/>
                    </a:lnTo>
                    <a:lnTo>
                      <a:pt x="163" y="50"/>
                    </a:lnTo>
                    <a:lnTo>
                      <a:pt x="161" y="47"/>
                    </a:lnTo>
                    <a:lnTo>
                      <a:pt x="161" y="47"/>
                    </a:lnTo>
                    <a:lnTo>
                      <a:pt x="161" y="47"/>
                    </a:lnTo>
                    <a:lnTo>
                      <a:pt x="159" y="45"/>
                    </a:lnTo>
                    <a:lnTo>
                      <a:pt x="159" y="43"/>
                    </a:lnTo>
                    <a:lnTo>
                      <a:pt x="156" y="38"/>
                    </a:lnTo>
                    <a:lnTo>
                      <a:pt x="156" y="38"/>
                    </a:lnTo>
                    <a:lnTo>
                      <a:pt x="154" y="33"/>
                    </a:lnTo>
                    <a:lnTo>
                      <a:pt x="154" y="33"/>
                    </a:lnTo>
                    <a:lnTo>
                      <a:pt x="154" y="33"/>
                    </a:lnTo>
                    <a:lnTo>
                      <a:pt x="159" y="31"/>
                    </a:lnTo>
                    <a:lnTo>
                      <a:pt x="159" y="28"/>
                    </a:lnTo>
                    <a:lnTo>
                      <a:pt x="159" y="28"/>
                    </a:lnTo>
                    <a:lnTo>
                      <a:pt x="159" y="28"/>
                    </a:lnTo>
                    <a:lnTo>
                      <a:pt x="156" y="26"/>
                    </a:lnTo>
                    <a:lnTo>
                      <a:pt x="156" y="26"/>
                    </a:lnTo>
                    <a:lnTo>
                      <a:pt x="154" y="24"/>
                    </a:lnTo>
                    <a:lnTo>
                      <a:pt x="152" y="24"/>
                    </a:lnTo>
                    <a:lnTo>
                      <a:pt x="149" y="24"/>
                    </a:lnTo>
                    <a:lnTo>
                      <a:pt x="145" y="21"/>
                    </a:lnTo>
                    <a:lnTo>
                      <a:pt x="145" y="21"/>
                    </a:lnTo>
                    <a:lnTo>
                      <a:pt x="142" y="19"/>
                    </a:lnTo>
                    <a:lnTo>
                      <a:pt x="140" y="14"/>
                    </a:lnTo>
                    <a:lnTo>
                      <a:pt x="137" y="10"/>
                    </a:lnTo>
                    <a:lnTo>
                      <a:pt x="137" y="7"/>
                    </a:lnTo>
                    <a:lnTo>
                      <a:pt x="135" y="7"/>
                    </a:lnTo>
                    <a:lnTo>
                      <a:pt x="135" y="2"/>
                    </a:lnTo>
                    <a:lnTo>
                      <a:pt x="135" y="2"/>
                    </a:lnTo>
                    <a:lnTo>
                      <a:pt x="135" y="2"/>
                    </a:lnTo>
                    <a:lnTo>
                      <a:pt x="135" y="2"/>
                    </a:lnTo>
                    <a:lnTo>
                      <a:pt x="133" y="2"/>
                    </a:lnTo>
                    <a:lnTo>
                      <a:pt x="133" y="2"/>
                    </a:lnTo>
                    <a:lnTo>
                      <a:pt x="133" y="2"/>
                    </a:lnTo>
                    <a:lnTo>
                      <a:pt x="130" y="2"/>
                    </a:lnTo>
                    <a:lnTo>
                      <a:pt x="130" y="2"/>
                    </a:lnTo>
                    <a:lnTo>
                      <a:pt x="128" y="2"/>
                    </a:lnTo>
                    <a:lnTo>
                      <a:pt x="126" y="2"/>
                    </a:lnTo>
                    <a:lnTo>
                      <a:pt x="126" y="2"/>
                    </a:lnTo>
                    <a:lnTo>
                      <a:pt x="123" y="2"/>
                    </a:lnTo>
                    <a:lnTo>
                      <a:pt x="119" y="2"/>
                    </a:lnTo>
                    <a:lnTo>
                      <a:pt x="114" y="0"/>
                    </a:lnTo>
                    <a:lnTo>
                      <a:pt x="111" y="0"/>
                    </a:lnTo>
                    <a:lnTo>
                      <a:pt x="114" y="0"/>
                    </a:lnTo>
                    <a:lnTo>
                      <a:pt x="116" y="5"/>
                    </a:lnTo>
                    <a:lnTo>
                      <a:pt x="116" y="5"/>
                    </a:lnTo>
                    <a:lnTo>
                      <a:pt x="119" y="7"/>
                    </a:lnTo>
                    <a:lnTo>
                      <a:pt x="119" y="10"/>
                    </a:lnTo>
                    <a:lnTo>
                      <a:pt x="121" y="12"/>
                    </a:lnTo>
                    <a:lnTo>
                      <a:pt x="121" y="12"/>
                    </a:lnTo>
                    <a:lnTo>
                      <a:pt x="121" y="14"/>
                    </a:lnTo>
                    <a:lnTo>
                      <a:pt x="119" y="14"/>
                    </a:lnTo>
                    <a:lnTo>
                      <a:pt x="116" y="14"/>
                    </a:lnTo>
                    <a:lnTo>
                      <a:pt x="116" y="17"/>
                    </a:lnTo>
                    <a:lnTo>
                      <a:pt x="116" y="17"/>
                    </a:lnTo>
                    <a:lnTo>
                      <a:pt x="116" y="17"/>
                    </a:lnTo>
                    <a:lnTo>
                      <a:pt x="114" y="19"/>
                    </a:lnTo>
                    <a:lnTo>
                      <a:pt x="111" y="19"/>
                    </a:lnTo>
                    <a:lnTo>
                      <a:pt x="111" y="19"/>
                    </a:lnTo>
                    <a:lnTo>
                      <a:pt x="107" y="21"/>
                    </a:lnTo>
                    <a:lnTo>
                      <a:pt x="104" y="21"/>
                    </a:lnTo>
                    <a:lnTo>
                      <a:pt x="102" y="21"/>
                    </a:lnTo>
                    <a:lnTo>
                      <a:pt x="102" y="24"/>
                    </a:lnTo>
                    <a:lnTo>
                      <a:pt x="100" y="24"/>
                    </a:lnTo>
                    <a:lnTo>
                      <a:pt x="97" y="24"/>
                    </a:lnTo>
                    <a:lnTo>
                      <a:pt x="95" y="24"/>
                    </a:lnTo>
                    <a:lnTo>
                      <a:pt x="90" y="21"/>
                    </a:lnTo>
                    <a:lnTo>
                      <a:pt x="90" y="21"/>
                    </a:lnTo>
                    <a:lnTo>
                      <a:pt x="88" y="21"/>
                    </a:lnTo>
                    <a:lnTo>
                      <a:pt x="85" y="21"/>
                    </a:lnTo>
                    <a:lnTo>
                      <a:pt x="83" y="19"/>
                    </a:lnTo>
                    <a:lnTo>
                      <a:pt x="78" y="19"/>
                    </a:lnTo>
                    <a:lnTo>
                      <a:pt x="76" y="19"/>
                    </a:lnTo>
                    <a:lnTo>
                      <a:pt x="74" y="19"/>
                    </a:lnTo>
                    <a:lnTo>
                      <a:pt x="71" y="19"/>
                    </a:lnTo>
                    <a:lnTo>
                      <a:pt x="69" y="19"/>
                    </a:lnTo>
                    <a:lnTo>
                      <a:pt x="69" y="21"/>
                    </a:lnTo>
                    <a:lnTo>
                      <a:pt x="66" y="24"/>
                    </a:lnTo>
                    <a:lnTo>
                      <a:pt x="66" y="24"/>
                    </a:lnTo>
                    <a:lnTo>
                      <a:pt x="66" y="26"/>
                    </a:lnTo>
                    <a:lnTo>
                      <a:pt x="66" y="26"/>
                    </a:lnTo>
                    <a:lnTo>
                      <a:pt x="66" y="28"/>
                    </a:lnTo>
                    <a:lnTo>
                      <a:pt x="69" y="28"/>
                    </a:lnTo>
                    <a:lnTo>
                      <a:pt x="69" y="28"/>
                    </a:lnTo>
                    <a:lnTo>
                      <a:pt x="71" y="31"/>
                    </a:lnTo>
                    <a:lnTo>
                      <a:pt x="69" y="31"/>
                    </a:lnTo>
                    <a:lnTo>
                      <a:pt x="69" y="33"/>
                    </a:lnTo>
                    <a:lnTo>
                      <a:pt x="69" y="33"/>
                    </a:lnTo>
                    <a:lnTo>
                      <a:pt x="69" y="33"/>
                    </a:lnTo>
                    <a:lnTo>
                      <a:pt x="71" y="33"/>
                    </a:lnTo>
                    <a:lnTo>
                      <a:pt x="74" y="36"/>
                    </a:lnTo>
                    <a:lnTo>
                      <a:pt x="76" y="36"/>
                    </a:lnTo>
                    <a:lnTo>
                      <a:pt x="76" y="36"/>
                    </a:lnTo>
                    <a:lnTo>
                      <a:pt x="76" y="36"/>
                    </a:lnTo>
                    <a:lnTo>
                      <a:pt x="76" y="38"/>
                    </a:lnTo>
                    <a:lnTo>
                      <a:pt x="74" y="38"/>
                    </a:lnTo>
                    <a:lnTo>
                      <a:pt x="74" y="38"/>
                    </a:lnTo>
                    <a:lnTo>
                      <a:pt x="71" y="40"/>
                    </a:lnTo>
                    <a:lnTo>
                      <a:pt x="74" y="43"/>
                    </a:lnTo>
                    <a:lnTo>
                      <a:pt x="74" y="43"/>
                    </a:lnTo>
                    <a:lnTo>
                      <a:pt x="74" y="43"/>
                    </a:lnTo>
                    <a:lnTo>
                      <a:pt x="76" y="45"/>
                    </a:lnTo>
                    <a:lnTo>
                      <a:pt x="76" y="45"/>
                    </a:lnTo>
                    <a:lnTo>
                      <a:pt x="76" y="45"/>
                    </a:lnTo>
                    <a:lnTo>
                      <a:pt x="76" y="47"/>
                    </a:lnTo>
                    <a:lnTo>
                      <a:pt x="76" y="50"/>
                    </a:lnTo>
                    <a:lnTo>
                      <a:pt x="74" y="50"/>
                    </a:lnTo>
                    <a:lnTo>
                      <a:pt x="74" y="52"/>
                    </a:lnTo>
                    <a:lnTo>
                      <a:pt x="76" y="52"/>
                    </a:lnTo>
                    <a:lnTo>
                      <a:pt x="76" y="52"/>
                    </a:lnTo>
                    <a:lnTo>
                      <a:pt x="78" y="55"/>
                    </a:lnTo>
                    <a:lnTo>
                      <a:pt x="81" y="55"/>
                    </a:lnTo>
                    <a:lnTo>
                      <a:pt x="81" y="55"/>
                    </a:lnTo>
                    <a:lnTo>
                      <a:pt x="81" y="57"/>
                    </a:lnTo>
                    <a:lnTo>
                      <a:pt x="81" y="57"/>
                    </a:lnTo>
                    <a:lnTo>
                      <a:pt x="83" y="59"/>
                    </a:lnTo>
                    <a:lnTo>
                      <a:pt x="83" y="59"/>
                    </a:lnTo>
                    <a:lnTo>
                      <a:pt x="83" y="62"/>
                    </a:lnTo>
                    <a:lnTo>
                      <a:pt x="85" y="62"/>
                    </a:lnTo>
                    <a:lnTo>
                      <a:pt x="88" y="62"/>
                    </a:lnTo>
                    <a:lnTo>
                      <a:pt x="88" y="62"/>
                    </a:lnTo>
                    <a:lnTo>
                      <a:pt x="88" y="62"/>
                    </a:lnTo>
                    <a:lnTo>
                      <a:pt x="88" y="64"/>
                    </a:lnTo>
                    <a:lnTo>
                      <a:pt x="90" y="66"/>
                    </a:lnTo>
                    <a:lnTo>
                      <a:pt x="90" y="66"/>
                    </a:lnTo>
                    <a:lnTo>
                      <a:pt x="93" y="66"/>
                    </a:lnTo>
                    <a:lnTo>
                      <a:pt x="95" y="66"/>
                    </a:lnTo>
                    <a:lnTo>
                      <a:pt x="97" y="69"/>
                    </a:lnTo>
                    <a:lnTo>
                      <a:pt x="100" y="69"/>
                    </a:lnTo>
                    <a:lnTo>
                      <a:pt x="102" y="71"/>
                    </a:lnTo>
                    <a:lnTo>
                      <a:pt x="102" y="71"/>
                    </a:lnTo>
                    <a:lnTo>
                      <a:pt x="102" y="71"/>
                    </a:lnTo>
                    <a:lnTo>
                      <a:pt x="102" y="73"/>
                    </a:lnTo>
                    <a:lnTo>
                      <a:pt x="100" y="73"/>
                    </a:lnTo>
                    <a:lnTo>
                      <a:pt x="100" y="76"/>
                    </a:lnTo>
                    <a:lnTo>
                      <a:pt x="93" y="78"/>
                    </a:lnTo>
                    <a:lnTo>
                      <a:pt x="93" y="78"/>
                    </a:lnTo>
                    <a:lnTo>
                      <a:pt x="90" y="81"/>
                    </a:lnTo>
                    <a:lnTo>
                      <a:pt x="90" y="81"/>
                    </a:lnTo>
                    <a:lnTo>
                      <a:pt x="90" y="83"/>
                    </a:lnTo>
                    <a:lnTo>
                      <a:pt x="93" y="88"/>
                    </a:lnTo>
                    <a:lnTo>
                      <a:pt x="93" y="88"/>
                    </a:lnTo>
                    <a:lnTo>
                      <a:pt x="93" y="92"/>
                    </a:lnTo>
                    <a:lnTo>
                      <a:pt x="93" y="95"/>
                    </a:lnTo>
                    <a:lnTo>
                      <a:pt x="93" y="95"/>
                    </a:lnTo>
                    <a:lnTo>
                      <a:pt x="95" y="95"/>
                    </a:lnTo>
                    <a:lnTo>
                      <a:pt x="95" y="97"/>
                    </a:lnTo>
                    <a:lnTo>
                      <a:pt x="95" y="97"/>
                    </a:lnTo>
                    <a:lnTo>
                      <a:pt x="93" y="100"/>
                    </a:lnTo>
                    <a:lnTo>
                      <a:pt x="90" y="100"/>
                    </a:lnTo>
                    <a:lnTo>
                      <a:pt x="90" y="100"/>
                    </a:lnTo>
                    <a:lnTo>
                      <a:pt x="88" y="102"/>
                    </a:lnTo>
                    <a:lnTo>
                      <a:pt x="85" y="109"/>
                    </a:lnTo>
                    <a:lnTo>
                      <a:pt x="83" y="109"/>
                    </a:lnTo>
                    <a:lnTo>
                      <a:pt x="83" y="111"/>
                    </a:lnTo>
                    <a:lnTo>
                      <a:pt x="83" y="111"/>
                    </a:lnTo>
                    <a:lnTo>
                      <a:pt x="85" y="114"/>
                    </a:lnTo>
                    <a:lnTo>
                      <a:pt x="85" y="114"/>
                    </a:lnTo>
                    <a:lnTo>
                      <a:pt x="85" y="116"/>
                    </a:lnTo>
                    <a:lnTo>
                      <a:pt x="83" y="116"/>
                    </a:lnTo>
                    <a:lnTo>
                      <a:pt x="81" y="118"/>
                    </a:lnTo>
                    <a:lnTo>
                      <a:pt x="78" y="118"/>
                    </a:lnTo>
                    <a:lnTo>
                      <a:pt x="76" y="121"/>
                    </a:lnTo>
                    <a:lnTo>
                      <a:pt x="76" y="123"/>
                    </a:lnTo>
                    <a:lnTo>
                      <a:pt x="76" y="128"/>
                    </a:lnTo>
                    <a:lnTo>
                      <a:pt x="76" y="128"/>
                    </a:lnTo>
                    <a:lnTo>
                      <a:pt x="74" y="133"/>
                    </a:lnTo>
                    <a:lnTo>
                      <a:pt x="71" y="137"/>
                    </a:lnTo>
                    <a:lnTo>
                      <a:pt x="71" y="140"/>
                    </a:lnTo>
                    <a:lnTo>
                      <a:pt x="66" y="142"/>
                    </a:lnTo>
                    <a:lnTo>
                      <a:pt x="62" y="144"/>
                    </a:lnTo>
                    <a:lnTo>
                      <a:pt x="62" y="147"/>
                    </a:lnTo>
                    <a:lnTo>
                      <a:pt x="59" y="149"/>
                    </a:lnTo>
                    <a:lnTo>
                      <a:pt x="59" y="152"/>
                    </a:lnTo>
                    <a:lnTo>
                      <a:pt x="59" y="154"/>
                    </a:lnTo>
                    <a:lnTo>
                      <a:pt x="57" y="156"/>
                    </a:lnTo>
                    <a:lnTo>
                      <a:pt x="57" y="161"/>
                    </a:lnTo>
                    <a:lnTo>
                      <a:pt x="57" y="161"/>
                    </a:lnTo>
                    <a:lnTo>
                      <a:pt x="52" y="163"/>
                    </a:lnTo>
                    <a:lnTo>
                      <a:pt x="50" y="163"/>
                    </a:lnTo>
                    <a:lnTo>
                      <a:pt x="45" y="163"/>
                    </a:lnTo>
                    <a:lnTo>
                      <a:pt x="43" y="166"/>
                    </a:lnTo>
                    <a:lnTo>
                      <a:pt x="38" y="168"/>
                    </a:lnTo>
                    <a:lnTo>
                      <a:pt x="38" y="168"/>
                    </a:lnTo>
                    <a:lnTo>
                      <a:pt x="36" y="166"/>
                    </a:lnTo>
                    <a:lnTo>
                      <a:pt x="36" y="166"/>
                    </a:lnTo>
                    <a:lnTo>
                      <a:pt x="33" y="163"/>
                    </a:lnTo>
                    <a:lnTo>
                      <a:pt x="33" y="163"/>
                    </a:lnTo>
                    <a:lnTo>
                      <a:pt x="33" y="161"/>
                    </a:lnTo>
                    <a:lnTo>
                      <a:pt x="31" y="161"/>
                    </a:lnTo>
                    <a:lnTo>
                      <a:pt x="29" y="161"/>
                    </a:lnTo>
                    <a:lnTo>
                      <a:pt x="29" y="161"/>
                    </a:lnTo>
                    <a:lnTo>
                      <a:pt x="26" y="163"/>
                    </a:lnTo>
                    <a:lnTo>
                      <a:pt x="26" y="163"/>
                    </a:lnTo>
                    <a:lnTo>
                      <a:pt x="26" y="163"/>
                    </a:lnTo>
                    <a:lnTo>
                      <a:pt x="24" y="168"/>
                    </a:lnTo>
                    <a:lnTo>
                      <a:pt x="22" y="173"/>
                    </a:lnTo>
                    <a:lnTo>
                      <a:pt x="19" y="175"/>
                    </a:lnTo>
                    <a:lnTo>
                      <a:pt x="19" y="178"/>
                    </a:lnTo>
                    <a:lnTo>
                      <a:pt x="17" y="178"/>
                    </a:lnTo>
                    <a:lnTo>
                      <a:pt x="17" y="178"/>
                    </a:lnTo>
                    <a:lnTo>
                      <a:pt x="17" y="180"/>
                    </a:lnTo>
                    <a:lnTo>
                      <a:pt x="17" y="182"/>
                    </a:lnTo>
                    <a:lnTo>
                      <a:pt x="17" y="187"/>
                    </a:lnTo>
                    <a:lnTo>
                      <a:pt x="17" y="187"/>
                    </a:lnTo>
                    <a:lnTo>
                      <a:pt x="17" y="187"/>
                    </a:lnTo>
                    <a:lnTo>
                      <a:pt x="19" y="189"/>
                    </a:lnTo>
                    <a:lnTo>
                      <a:pt x="22" y="189"/>
                    </a:lnTo>
                    <a:lnTo>
                      <a:pt x="24" y="192"/>
                    </a:lnTo>
                    <a:lnTo>
                      <a:pt x="26" y="192"/>
                    </a:lnTo>
                    <a:lnTo>
                      <a:pt x="29" y="192"/>
                    </a:lnTo>
                    <a:lnTo>
                      <a:pt x="29" y="192"/>
                    </a:lnTo>
                    <a:lnTo>
                      <a:pt x="29" y="194"/>
                    </a:lnTo>
                    <a:lnTo>
                      <a:pt x="29" y="197"/>
                    </a:lnTo>
                    <a:lnTo>
                      <a:pt x="29" y="199"/>
                    </a:lnTo>
                    <a:lnTo>
                      <a:pt x="29" y="201"/>
                    </a:lnTo>
                    <a:lnTo>
                      <a:pt x="29" y="204"/>
                    </a:lnTo>
                    <a:lnTo>
                      <a:pt x="29" y="206"/>
                    </a:lnTo>
                    <a:lnTo>
                      <a:pt x="33" y="211"/>
                    </a:lnTo>
                    <a:lnTo>
                      <a:pt x="33" y="211"/>
                    </a:lnTo>
                    <a:lnTo>
                      <a:pt x="36" y="211"/>
                    </a:lnTo>
                    <a:lnTo>
                      <a:pt x="38" y="211"/>
                    </a:lnTo>
                    <a:lnTo>
                      <a:pt x="38" y="211"/>
                    </a:lnTo>
                    <a:lnTo>
                      <a:pt x="40" y="211"/>
                    </a:lnTo>
                    <a:lnTo>
                      <a:pt x="40" y="211"/>
                    </a:lnTo>
                    <a:lnTo>
                      <a:pt x="40" y="211"/>
                    </a:lnTo>
                    <a:lnTo>
                      <a:pt x="40" y="216"/>
                    </a:lnTo>
                    <a:lnTo>
                      <a:pt x="43" y="218"/>
                    </a:lnTo>
                    <a:lnTo>
                      <a:pt x="45" y="220"/>
                    </a:lnTo>
                    <a:lnTo>
                      <a:pt x="45" y="223"/>
                    </a:lnTo>
                    <a:lnTo>
                      <a:pt x="48" y="227"/>
                    </a:lnTo>
                    <a:lnTo>
                      <a:pt x="50" y="230"/>
                    </a:lnTo>
                    <a:lnTo>
                      <a:pt x="50" y="232"/>
                    </a:lnTo>
                    <a:lnTo>
                      <a:pt x="50" y="232"/>
                    </a:lnTo>
                    <a:lnTo>
                      <a:pt x="48" y="232"/>
                    </a:lnTo>
                    <a:lnTo>
                      <a:pt x="48" y="234"/>
                    </a:lnTo>
                    <a:lnTo>
                      <a:pt x="50" y="234"/>
                    </a:lnTo>
                    <a:lnTo>
                      <a:pt x="50" y="234"/>
                    </a:lnTo>
                    <a:lnTo>
                      <a:pt x="50" y="237"/>
                    </a:lnTo>
                    <a:lnTo>
                      <a:pt x="50" y="237"/>
                    </a:lnTo>
                    <a:lnTo>
                      <a:pt x="50" y="237"/>
                    </a:lnTo>
                    <a:lnTo>
                      <a:pt x="50" y="239"/>
                    </a:lnTo>
                    <a:lnTo>
                      <a:pt x="48" y="239"/>
                    </a:lnTo>
                    <a:lnTo>
                      <a:pt x="48" y="239"/>
                    </a:lnTo>
                    <a:lnTo>
                      <a:pt x="48" y="239"/>
                    </a:lnTo>
                    <a:lnTo>
                      <a:pt x="45" y="242"/>
                    </a:lnTo>
                    <a:lnTo>
                      <a:pt x="45" y="242"/>
                    </a:lnTo>
                    <a:lnTo>
                      <a:pt x="43" y="242"/>
                    </a:lnTo>
                    <a:lnTo>
                      <a:pt x="43" y="239"/>
                    </a:lnTo>
                    <a:lnTo>
                      <a:pt x="43" y="239"/>
                    </a:lnTo>
                    <a:lnTo>
                      <a:pt x="43" y="237"/>
                    </a:lnTo>
                    <a:lnTo>
                      <a:pt x="40" y="237"/>
                    </a:lnTo>
                    <a:lnTo>
                      <a:pt x="40" y="237"/>
                    </a:lnTo>
                    <a:lnTo>
                      <a:pt x="36" y="239"/>
                    </a:lnTo>
                    <a:lnTo>
                      <a:pt x="33" y="239"/>
                    </a:lnTo>
                    <a:lnTo>
                      <a:pt x="33" y="242"/>
                    </a:lnTo>
                    <a:lnTo>
                      <a:pt x="33" y="242"/>
                    </a:lnTo>
                    <a:lnTo>
                      <a:pt x="31" y="242"/>
                    </a:lnTo>
                    <a:lnTo>
                      <a:pt x="29" y="242"/>
                    </a:lnTo>
                    <a:lnTo>
                      <a:pt x="26" y="242"/>
                    </a:lnTo>
                    <a:lnTo>
                      <a:pt x="26" y="242"/>
                    </a:lnTo>
                    <a:lnTo>
                      <a:pt x="24" y="239"/>
                    </a:lnTo>
                    <a:lnTo>
                      <a:pt x="22" y="239"/>
                    </a:lnTo>
                    <a:lnTo>
                      <a:pt x="17" y="239"/>
                    </a:lnTo>
                    <a:lnTo>
                      <a:pt x="17" y="239"/>
                    </a:lnTo>
                    <a:lnTo>
                      <a:pt x="14" y="239"/>
                    </a:lnTo>
                    <a:lnTo>
                      <a:pt x="14" y="239"/>
                    </a:lnTo>
                    <a:lnTo>
                      <a:pt x="12" y="239"/>
                    </a:lnTo>
                    <a:lnTo>
                      <a:pt x="12" y="239"/>
                    </a:lnTo>
                    <a:lnTo>
                      <a:pt x="10" y="239"/>
                    </a:lnTo>
                    <a:lnTo>
                      <a:pt x="10" y="239"/>
                    </a:lnTo>
                    <a:lnTo>
                      <a:pt x="10" y="239"/>
                    </a:lnTo>
                    <a:lnTo>
                      <a:pt x="10" y="239"/>
                    </a:lnTo>
                    <a:lnTo>
                      <a:pt x="10" y="239"/>
                    </a:lnTo>
                    <a:lnTo>
                      <a:pt x="10" y="239"/>
                    </a:lnTo>
                    <a:lnTo>
                      <a:pt x="10" y="246"/>
                    </a:lnTo>
                    <a:lnTo>
                      <a:pt x="7" y="246"/>
                    </a:lnTo>
                    <a:lnTo>
                      <a:pt x="5" y="246"/>
                    </a:lnTo>
                    <a:lnTo>
                      <a:pt x="3" y="246"/>
                    </a:lnTo>
                    <a:lnTo>
                      <a:pt x="0" y="246"/>
                    </a:lnTo>
                    <a:lnTo>
                      <a:pt x="0" y="249"/>
                    </a:lnTo>
                    <a:lnTo>
                      <a:pt x="0" y="249"/>
                    </a:lnTo>
                    <a:lnTo>
                      <a:pt x="0" y="251"/>
                    </a:lnTo>
                    <a:lnTo>
                      <a:pt x="0" y="253"/>
                    </a:lnTo>
                    <a:lnTo>
                      <a:pt x="3" y="253"/>
                    </a:lnTo>
                    <a:lnTo>
                      <a:pt x="5" y="251"/>
                    </a:lnTo>
                    <a:lnTo>
                      <a:pt x="5" y="251"/>
                    </a:lnTo>
                    <a:lnTo>
                      <a:pt x="7" y="249"/>
                    </a:lnTo>
                    <a:lnTo>
                      <a:pt x="10" y="249"/>
                    </a:lnTo>
                    <a:lnTo>
                      <a:pt x="7" y="251"/>
                    </a:lnTo>
                    <a:lnTo>
                      <a:pt x="5" y="253"/>
                    </a:lnTo>
                    <a:lnTo>
                      <a:pt x="5" y="256"/>
                    </a:lnTo>
                    <a:lnTo>
                      <a:pt x="7" y="258"/>
                    </a:lnTo>
                    <a:lnTo>
                      <a:pt x="10" y="263"/>
                    </a:lnTo>
                    <a:lnTo>
                      <a:pt x="12" y="265"/>
                    </a:lnTo>
                    <a:lnTo>
                      <a:pt x="22" y="270"/>
                    </a:lnTo>
                    <a:lnTo>
                      <a:pt x="29" y="272"/>
                    </a:lnTo>
                    <a:lnTo>
                      <a:pt x="31" y="272"/>
                    </a:lnTo>
                    <a:lnTo>
                      <a:pt x="31" y="270"/>
                    </a:lnTo>
                    <a:lnTo>
                      <a:pt x="36" y="268"/>
                    </a:lnTo>
                    <a:lnTo>
                      <a:pt x="38" y="268"/>
                    </a:lnTo>
                    <a:lnTo>
                      <a:pt x="38" y="268"/>
                    </a:lnTo>
                    <a:lnTo>
                      <a:pt x="40" y="268"/>
                    </a:lnTo>
                    <a:lnTo>
                      <a:pt x="40" y="268"/>
                    </a:lnTo>
                    <a:lnTo>
                      <a:pt x="40" y="265"/>
                    </a:lnTo>
                    <a:lnTo>
                      <a:pt x="43" y="265"/>
                    </a:lnTo>
                    <a:lnTo>
                      <a:pt x="43" y="265"/>
                    </a:lnTo>
                    <a:lnTo>
                      <a:pt x="43" y="265"/>
                    </a:lnTo>
                    <a:lnTo>
                      <a:pt x="43" y="268"/>
                    </a:lnTo>
                    <a:lnTo>
                      <a:pt x="43" y="268"/>
                    </a:lnTo>
                    <a:lnTo>
                      <a:pt x="40" y="270"/>
                    </a:lnTo>
                    <a:lnTo>
                      <a:pt x="38" y="275"/>
                    </a:lnTo>
                    <a:lnTo>
                      <a:pt x="36" y="277"/>
                    </a:lnTo>
                    <a:lnTo>
                      <a:pt x="36" y="277"/>
                    </a:lnTo>
                    <a:lnTo>
                      <a:pt x="33" y="279"/>
                    </a:lnTo>
                    <a:lnTo>
                      <a:pt x="31" y="277"/>
                    </a:lnTo>
                    <a:lnTo>
                      <a:pt x="29" y="279"/>
                    </a:lnTo>
                    <a:lnTo>
                      <a:pt x="26" y="279"/>
                    </a:lnTo>
                    <a:lnTo>
                      <a:pt x="22" y="282"/>
                    </a:lnTo>
                    <a:lnTo>
                      <a:pt x="22" y="282"/>
                    </a:lnTo>
                    <a:lnTo>
                      <a:pt x="22" y="282"/>
                    </a:lnTo>
                    <a:lnTo>
                      <a:pt x="19" y="279"/>
                    </a:lnTo>
                    <a:lnTo>
                      <a:pt x="19" y="279"/>
                    </a:lnTo>
                    <a:lnTo>
                      <a:pt x="17" y="279"/>
                    </a:lnTo>
                    <a:lnTo>
                      <a:pt x="17" y="282"/>
                    </a:lnTo>
                    <a:lnTo>
                      <a:pt x="17" y="284"/>
                    </a:lnTo>
                    <a:lnTo>
                      <a:pt x="22" y="289"/>
                    </a:lnTo>
                    <a:lnTo>
                      <a:pt x="26" y="291"/>
                    </a:lnTo>
                    <a:lnTo>
                      <a:pt x="29" y="294"/>
                    </a:lnTo>
                    <a:lnTo>
                      <a:pt x="33" y="298"/>
                    </a:lnTo>
                    <a:lnTo>
                      <a:pt x="38" y="306"/>
                    </a:lnTo>
                    <a:lnTo>
                      <a:pt x="40" y="308"/>
                    </a:lnTo>
                    <a:lnTo>
                      <a:pt x="48" y="313"/>
                    </a:lnTo>
                    <a:lnTo>
                      <a:pt x="52" y="315"/>
                    </a:lnTo>
                    <a:lnTo>
                      <a:pt x="55" y="315"/>
                    </a:lnTo>
                    <a:lnTo>
                      <a:pt x="57" y="315"/>
                    </a:lnTo>
                    <a:lnTo>
                      <a:pt x="64" y="313"/>
                    </a:lnTo>
                    <a:lnTo>
                      <a:pt x="66" y="310"/>
                    </a:lnTo>
                    <a:lnTo>
                      <a:pt x="76" y="306"/>
                    </a:lnTo>
                    <a:lnTo>
                      <a:pt x="76" y="306"/>
                    </a:lnTo>
                    <a:lnTo>
                      <a:pt x="78" y="298"/>
                    </a:lnTo>
                    <a:lnTo>
                      <a:pt x="78" y="296"/>
                    </a:lnTo>
                    <a:lnTo>
                      <a:pt x="78" y="294"/>
                    </a:lnTo>
                    <a:lnTo>
                      <a:pt x="76" y="294"/>
                    </a:lnTo>
                    <a:lnTo>
                      <a:pt x="76" y="291"/>
                    </a:lnTo>
                    <a:lnTo>
                      <a:pt x="74" y="291"/>
                    </a:lnTo>
                    <a:lnTo>
                      <a:pt x="74" y="291"/>
                    </a:lnTo>
                    <a:lnTo>
                      <a:pt x="76" y="289"/>
                    </a:lnTo>
                    <a:lnTo>
                      <a:pt x="76" y="289"/>
                    </a:lnTo>
                    <a:lnTo>
                      <a:pt x="78" y="287"/>
                    </a:lnTo>
                    <a:lnTo>
                      <a:pt x="78" y="287"/>
                    </a:lnTo>
                    <a:lnTo>
                      <a:pt x="78" y="284"/>
                    </a:lnTo>
                    <a:lnTo>
                      <a:pt x="76" y="282"/>
                    </a:lnTo>
                    <a:lnTo>
                      <a:pt x="76" y="282"/>
                    </a:lnTo>
                    <a:lnTo>
                      <a:pt x="78" y="282"/>
                    </a:lnTo>
                    <a:lnTo>
                      <a:pt x="81" y="282"/>
                    </a:lnTo>
                    <a:lnTo>
                      <a:pt x="83" y="282"/>
                    </a:lnTo>
                    <a:lnTo>
                      <a:pt x="85" y="282"/>
                    </a:lnTo>
                    <a:lnTo>
                      <a:pt x="88" y="284"/>
                    </a:lnTo>
                    <a:lnTo>
                      <a:pt x="85" y="284"/>
                    </a:lnTo>
                    <a:lnTo>
                      <a:pt x="83" y="284"/>
                    </a:lnTo>
                    <a:lnTo>
                      <a:pt x="83" y="284"/>
                    </a:lnTo>
                    <a:lnTo>
                      <a:pt x="83" y="289"/>
                    </a:lnTo>
                    <a:lnTo>
                      <a:pt x="85" y="289"/>
                    </a:lnTo>
                    <a:lnTo>
                      <a:pt x="85" y="289"/>
                    </a:lnTo>
                    <a:lnTo>
                      <a:pt x="85" y="289"/>
                    </a:lnTo>
                    <a:lnTo>
                      <a:pt x="83" y="291"/>
                    </a:lnTo>
                    <a:lnTo>
                      <a:pt x="83" y="294"/>
                    </a:lnTo>
                    <a:lnTo>
                      <a:pt x="88" y="294"/>
                    </a:lnTo>
                    <a:lnTo>
                      <a:pt x="93" y="294"/>
                    </a:lnTo>
                    <a:lnTo>
                      <a:pt x="95" y="294"/>
                    </a:lnTo>
                    <a:lnTo>
                      <a:pt x="93" y="294"/>
                    </a:lnTo>
                    <a:lnTo>
                      <a:pt x="88" y="296"/>
                    </a:lnTo>
                    <a:lnTo>
                      <a:pt x="88" y="298"/>
                    </a:lnTo>
                    <a:lnTo>
                      <a:pt x="85" y="298"/>
                    </a:lnTo>
                    <a:lnTo>
                      <a:pt x="85" y="298"/>
                    </a:lnTo>
                    <a:lnTo>
                      <a:pt x="88" y="298"/>
                    </a:lnTo>
                    <a:lnTo>
                      <a:pt x="88" y="301"/>
                    </a:lnTo>
                    <a:lnTo>
                      <a:pt x="85" y="301"/>
                    </a:lnTo>
                    <a:lnTo>
                      <a:pt x="88" y="306"/>
                    </a:lnTo>
                    <a:lnTo>
                      <a:pt x="88" y="306"/>
                    </a:lnTo>
                    <a:lnTo>
                      <a:pt x="90" y="306"/>
                    </a:lnTo>
                    <a:lnTo>
                      <a:pt x="90" y="308"/>
                    </a:lnTo>
                    <a:lnTo>
                      <a:pt x="90" y="310"/>
                    </a:lnTo>
                    <a:lnTo>
                      <a:pt x="93" y="313"/>
                    </a:lnTo>
                    <a:lnTo>
                      <a:pt x="93" y="315"/>
                    </a:lnTo>
                    <a:lnTo>
                      <a:pt x="93" y="317"/>
                    </a:lnTo>
                    <a:lnTo>
                      <a:pt x="90" y="329"/>
                    </a:lnTo>
                    <a:lnTo>
                      <a:pt x="90" y="334"/>
                    </a:lnTo>
                    <a:lnTo>
                      <a:pt x="90" y="334"/>
                    </a:lnTo>
                    <a:lnTo>
                      <a:pt x="90" y="336"/>
                    </a:lnTo>
                    <a:lnTo>
                      <a:pt x="90" y="339"/>
                    </a:lnTo>
                    <a:lnTo>
                      <a:pt x="93" y="341"/>
                    </a:lnTo>
                    <a:lnTo>
                      <a:pt x="93" y="341"/>
                    </a:lnTo>
                    <a:lnTo>
                      <a:pt x="93" y="343"/>
                    </a:lnTo>
                    <a:lnTo>
                      <a:pt x="93" y="343"/>
                    </a:lnTo>
                    <a:lnTo>
                      <a:pt x="97" y="346"/>
                    </a:lnTo>
                    <a:lnTo>
                      <a:pt x="93" y="346"/>
                    </a:lnTo>
                    <a:lnTo>
                      <a:pt x="93" y="346"/>
                    </a:lnTo>
                    <a:lnTo>
                      <a:pt x="93" y="346"/>
                    </a:lnTo>
                    <a:lnTo>
                      <a:pt x="93" y="350"/>
                    </a:lnTo>
                    <a:lnTo>
                      <a:pt x="95" y="353"/>
                    </a:lnTo>
                    <a:lnTo>
                      <a:pt x="95" y="350"/>
                    </a:lnTo>
                    <a:lnTo>
                      <a:pt x="97" y="348"/>
                    </a:lnTo>
                    <a:lnTo>
                      <a:pt x="97" y="350"/>
                    </a:lnTo>
                    <a:lnTo>
                      <a:pt x="97" y="353"/>
                    </a:lnTo>
                    <a:lnTo>
                      <a:pt x="95" y="355"/>
                    </a:lnTo>
                    <a:lnTo>
                      <a:pt x="95" y="358"/>
                    </a:lnTo>
                    <a:lnTo>
                      <a:pt x="95" y="360"/>
                    </a:lnTo>
                    <a:lnTo>
                      <a:pt x="97" y="360"/>
                    </a:lnTo>
                    <a:lnTo>
                      <a:pt x="97" y="365"/>
                    </a:lnTo>
                    <a:lnTo>
                      <a:pt x="97" y="367"/>
                    </a:lnTo>
                    <a:lnTo>
                      <a:pt x="100" y="369"/>
                    </a:lnTo>
                    <a:lnTo>
                      <a:pt x="100" y="374"/>
                    </a:lnTo>
                    <a:lnTo>
                      <a:pt x="102" y="381"/>
                    </a:lnTo>
                    <a:lnTo>
                      <a:pt x="102" y="384"/>
                    </a:lnTo>
                    <a:lnTo>
                      <a:pt x="104" y="388"/>
                    </a:lnTo>
                    <a:lnTo>
                      <a:pt x="109" y="405"/>
                    </a:lnTo>
                    <a:lnTo>
                      <a:pt x="111" y="412"/>
                    </a:lnTo>
                    <a:lnTo>
                      <a:pt x="111" y="414"/>
                    </a:lnTo>
                    <a:lnTo>
                      <a:pt x="114" y="417"/>
                    </a:lnTo>
                    <a:lnTo>
                      <a:pt x="116" y="422"/>
                    </a:lnTo>
                    <a:lnTo>
                      <a:pt x="116" y="422"/>
                    </a:lnTo>
                    <a:lnTo>
                      <a:pt x="119" y="422"/>
                    </a:lnTo>
                    <a:lnTo>
                      <a:pt x="119" y="424"/>
                    </a:lnTo>
                    <a:lnTo>
                      <a:pt x="119" y="424"/>
                    </a:lnTo>
                    <a:lnTo>
                      <a:pt x="119" y="426"/>
                    </a:lnTo>
                    <a:lnTo>
                      <a:pt x="121" y="429"/>
                    </a:lnTo>
                    <a:lnTo>
                      <a:pt x="119" y="429"/>
                    </a:lnTo>
                    <a:lnTo>
                      <a:pt x="121" y="429"/>
                    </a:lnTo>
                    <a:lnTo>
                      <a:pt x="121" y="433"/>
                    </a:lnTo>
                    <a:lnTo>
                      <a:pt x="123" y="438"/>
                    </a:lnTo>
                    <a:lnTo>
                      <a:pt x="126" y="438"/>
                    </a:lnTo>
                    <a:lnTo>
                      <a:pt x="128" y="443"/>
                    </a:lnTo>
                    <a:lnTo>
                      <a:pt x="128" y="443"/>
                    </a:lnTo>
                    <a:lnTo>
                      <a:pt x="130" y="445"/>
                    </a:lnTo>
                    <a:lnTo>
                      <a:pt x="130" y="448"/>
                    </a:lnTo>
                    <a:lnTo>
                      <a:pt x="130" y="448"/>
                    </a:lnTo>
                    <a:lnTo>
                      <a:pt x="133" y="452"/>
                    </a:lnTo>
                    <a:lnTo>
                      <a:pt x="133" y="455"/>
                    </a:lnTo>
                    <a:lnTo>
                      <a:pt x="133" y="457"/>
                    </a:lnTo>
                    <a:lnTo>
                      <a:pt x="135" y="459"/>
                    </a:lnTo>
                    <a:lnTo>
                      <a:pt x="137" y="464"/>
                    </a:lnTo>
                    <a:lnTo>
                      <a:pt x="137" y="467"/>
                    </a:lnTo>
                    <a:lnTo>
                      <a:pt x="137" y="467"/>
                    </a:lnTo>
                    <a:lnTo>
                      <a:pt x="140" y="476"/>
                    </a:lnTo>
                    <a:lnTo>
                      <a:pt x="140" y="478"/>
                    </a:lnTo>
                    <a:lnTo>
                      <a:pt x="142" y="481"/>
                    </a:lnTo>
                    <a:lnTo>
                      <a:pt x="145" y="488"/>
                    </a:lnTo>
                    <a:lnTo>
                      <a:pt x="149" y="497"/>
                    </a:lnTo>
                    <a:lnTo>
                      <a:pt x="149" y="500"/>
                    </a:lnTo>
                    <a:lnTo>
                      <a:pt x="152" y="500"/>
                    </a:lnTo>
                    <a:lnTo>
                      <a:pt x="154" y="504"/>
                    </a:lnTo>
                    <a:lnTo>
                      <a:pt x="156" y="507"/>
                    </a:lnTo>
                    <a:lnTo>
                      <a:pt x="159" y="512"/>
                    </a:lnTo>
                    <a:lnTo>
                      <a:pt x="159" y="514"/>
                    </a:lnTo>
                    <a:lnTo>
                      <a:pt x="161" y="519"/>
                    </a:lnTo>
                    <a:lnTo>
                      <a:pt x="163" y="526"/>
                    </a:lnTo>
                    <a:lnTo>
                      <a:pt x="168" y="533"/>
                    </a:lnTo>
                    <a:lnTo>
                      <a:pt x="168" y="535"/>
                    </a:lnTo>
                    <a:lnTo>
                      <a:pt x="171" y="538"/>
                    </a:lnTo>
                    <a:lnTo>
                      <a:pt x="171" y="538"/>
                    </a:lnTo>
                    <a:lnTo>
                      <a:pt x="171" y="540"/>
                    </a:lnTo>
                    <a:lnTo>
                      <a:pt x="171" y="542"/>
                    </a:lnTo>
                    <a:lnTo>
                      <a:pt x="171" y="542"/>
                    </a:lnTo>
                    <a:lnTo>
                      <a:pt x="173" y="542"/>
                    </a:lnTo>
                    <a:lnTo>
                      <a:pt x="175" y="552"/>
                    </a:lnTo>
                    <a:lnTo>
                      <a:pt x="175" y="552"/>
                    </a:lnTo>
                    <a:lnTo>
                      <a:pt x="173" y="552"/>
                    </a:lnTo>
                    <a:lnTo>
                      <a:pt x="173" y="547"/>
                    </a:lnTo>
                    <a:lnTo>
                      <a:pt x="173" y="545"/>
                    </a:lnTo>
                    <a:lnTo>
                      <a:pt x="171" y="545"/>
                    </a:lnTo>
                    <a:lnTo>
                      <a:pt x="171" y="542"/>
                    </a:lnTo>
                    <a:lnTo>
                      <a:pt x="173" y="549"/>
                    </a:lnTo>
                    <a:lnTo>
                      <a:pt x="173" y="554"/>
                    </a:lnTo>
                    <a:lnTo>
                      <a:pt x="175" y="559"/>
                    </a:lnTo>
                    <a:lnTo>
                      <a:pt x="175" y="559"/>
                    </a:lnTo>
                    <a:lnTo>
                      <a:pt x="175" y="559"/>
                    </a:lnTo>
                    <a:lnTo>
                      <a:pt x="175" y="559"/>
                    </a:lnTo>
                    <a:lnTo>
                      <a:pt x="175" y="561"/>
                    </a:lnTo>
                    <a:lnTo>
                      <a:pt x="178" y="566"/>
                    </a:lnTo>
                    <a:lnTo>
                      <a:pt x="178" y="566"/>
                    </a:lnTo>
                    <a:lnTo>
                      <a:pt x="185" y="575"/>
                    </a:lnTo>
                    <a:lnTo>
                      <a:pt x="187" y="578"/>
                    </a:lnTo>
                    <a:lnTo>
                      <a:pt x="192" y="580"/>
                    </a:lnTo>
                    <a:lnTo>
                      <a:pt x="197" y="583"/>
                    </a:lnTo>
                    <a:lnTo>
                      <a:pt x="197" y="580"/>
                    </a:lnTo>
                    <a:lnTo>
                      <a:pt x="201" y="580"/>
                    </a:lnTo>
                    <a:lnTo>
                      <a:pt x="206" y="575"/>
                    </a:lnTo>
                    <a:lnTo>
                      <a:pt x="206" y="573"/>
                    </a:lnTo>
                    <a:lnTo>
                      <a:pt x="206" y="571"/>
                    </a:lnTo>
                    <a:lnTo>
                      <a:pt x="208" y="566"/>
                    </a:lnTo>
                    <a:lnTo>
                      <a:pt x="208" y="564"/>
                    </a:lnTo>
                    <a:lnTo>
                      <a:pt x="213" y="561"/>
                    </a:lnTo>
                    <a:lnTo>
                      <a:pt x="223" y="556"/>
                    </a:lnTo>
                    <a:lnTo>
                      <a:pt x="227" y="556"/>
                    </a:lnTo>
                    <a:lnTo>
                      <a:pt x="230" y="559"/>
                    </a:lnTo>
                    <a:lnTo>
                      <a:pt x="230" y="556"/>
                    </a:lnTo>
                    <a:lnTo>
                      <a:pt x="227" y="556"/>
                    </a:lnTo>
                    <a:lnTo>
                      <a:pt x="225" y="556"/>
                    </a:lnTo>
                    <a:lnTo>
                      <a:pt x="223" y="556"/>
                    </a:lnTo>
                    <a:lnTo>
                      <a:pt x="223" y="554"/>
                    </a:lnTo>
                    <a:lnTo>
                      <a:pt x="220" y="554"/>
                    </a:lnTo>
                    <a:lnTo>
                      <a:pt x="220" y="552"/>
                    </a:lnTo>
                    <a:lnTo>
                      <a:pt x="223" y="549"/>
                    </a:lnTo>
                    <a:lnTo>
                      <a:pt x="227" y="540"/>
                    </a:lnTo>
                    <a:lnTo>
                      <a:pt x="227" y="538"/>
                    </a:lnTo>
                    <a:lnTo>
                      <a:pt x="227" y="535"/>
                    </a:lnTo>
                    <a:lnTo>
                      <a:pt x="230" y="535"/>
                    </a:lnTo>
                    <a:lnTo>
                      <a:pt x="232" y="535"/>
                    </a:lnTo>
                    <a:lnTo>
                      <a:pt x="232" y="535"/>
                    </a:lnTo>
                    <a:lnTo>
                      <a:pt x="234" y="535"/>
                    </a:lnTo>
                    <a:lnTo>
                      <a:pt x="237" y="535"/>
                    </a:lnTo>
                    <a:lnTo>
                      <a:pt x="237" y="535"/>
                    </a:lnTo>
                    <a:lnTo>
                      <a:pt x="237" y="526"/>
                    </a:lnTo>
                    <a:lnTo>
                      <a:pt x="237" y="516"/>
                    </a:lnTo>
                    <a:lnTo>
                      <a:pt x="237" y="514"/>
                    </a:lnTo>
                    <a:lnTo>
                      <a:pt x="234" y="514"/>
                    </a:lnTo>
                    <a:lnTo>
                      <a:pt x="234" y="514"/>
                    </a:lnTo>
                    <a:lnTo>
                      <a:pt x="234" y="514"/>
                    </a:lnTo>
                    <a:lnTo>
                      <a:pt x="234" y="512"/>
                    </a:lnTo>
                    <a:lnTo>
                      <a:pt x="234" y="509"/>
                    </a:lnTo>
                    <a:lnTo>
                      <a:pt x="234" y="507"/>
                    </a:lnTo>
                    <a:lnTo>
                      <a:pt x="234" y="500"/>
                    </a:lnTo>
                    <a:lnTo>
                      <a:pt x="237" y="495"/>
                    </a:lnTo>
                    <a:lnTo>
                      <a:pt x="239" y="493"/>
                    </a:lnTo>
                    <a:lnTo>
                      <a:pt x="239" y="490"/>
                    </a:lnTo>
                    <a:lnTo>
                      <a:pt x="242" y="485"/>
                    </a:lnTo>
                    <a:lnTo>
                      <a:pt x="242" y="471"/>
                    </a:lnTo>
                    <a:lnTo>
                      <a:pt x="242" y="469"/>
                    </a:lnTo>
                    <a:lnTo>
                      <a:pt x="239" y="467"/>
                    </a:lnTo>
                    <a:lnTo>
                      <a:pt x="237" y="467"/>
                    </a:lnTo>
                    <a:lnTo>
                      <a:pt x="239" y="464"/>
                    </a:lnTo>
                    <a:lnTo>
                      <a:pt x="239" y="467"/>
                    </a:lnTo>
                    <a:lnTo>
                      <a:pt x="242" y="467"/>
                    </a:lnTo>
                    <a:lnTo>
                      <a:pt x="242" y="469"/>
                    </a:lnTo>
                    <a:lnTo>
                      <a:pt x="239" y="464"/>
                    </a:lnTo>
                    <a:lnTo>
                      <a:pt x="239" y="462"/>
                    </a:lnTo>
                    <a:lnTo>
                      <a:pt x="239" y="459"/>
                    </a:lnTo>
                    <a:lnTo>
                      <a:pt x="237" y="457"/>
                    </a:lnTo>
                    <a:lnTo>
                      <a:pt x="237" y="452"/>
                    </a:lnTo>
                    <a:lnTo>
                      <a:pt x="237" y="450"/>
                    </a:lnTo>
                    <a:lnTo>
                      <a:pt x="237" y="450"/>
                    </a:lnTo>
                    <a:lnTo>
                      <a:pt x="237" y="448"/>
                    </a:lnTo>
                    <a:lnTo>
                      <a:pt x="237" y="445"/>
                    </a:lnTo>
                    <a:lnTo>
                      <a:pt x="237" y="440"/>
                    </a:lnTo>
                    <a:lnTo>
                      <a:pt x="234" y="433"/>
                    </a:lnTo>
                    <a:lnTo>
                      <a:pt x="234" y="429"/>
                    </a:lnTo>
                    <a:lnTo>
                      <a:pt x="237" y="422"/>
                    </a:lnTo>
                    <a:lnTo>
                      <a:pt x="239" y="419"/>
                    </a:lnTo>
                    <a:lnTo>
                      <a:pt x="244" y="417"/>
                    </a:lnTo>
                    <a:lnTo>
                      <a:pt x="244" y="417"/>
                    </a:lnTo>
                    <a:lnTo>
                      <a:pt x="246" y="417"/>
                    </a:lnTo>
                    <a:lnTo>
                      <a:pt x="246" y="419"/>
                    </a:lnTo>
                    <a:lnTo>
                      <a:pt x="249" y="419"/>
                    </a:lnTo>
                    <a:lnTo>
                      <a:pt x="249" y="419"/>
                    </a:lnTo>
                    <a:lnTo>
                      <a:pt x="251" y="419"/>
                    </a:lnTo>
                    <a:lnTo>
                      <a:pt x="251" y="419"/>
                    </a:lnTo>
                    <a:lnTo>
                      <a:pt x="251" y="417"/>
                    </a:lnTo>
                    <a:lnTo>
                      <a:pt x="253" y="417"/>
                    </a:lnTo>
                    <a:lnTo>
                      <a:pt x="253" y="410"/>
                    </a:lnTo>
                    <a:lnTo>
                      <a:pt x="256" y="407"/>
                    </a:lnTo>
                    <a:lnTo>
                      <a:pt x="256" y="407"/>
                    </a:lnTo>
                    <a:lnTo>
                      <a:pt x="263" y="407"/>
                    </a:lnTo>
                    <a:lnTo>
                      <a:pt x="263" y="407"/>
                    </a:lnTo>
                    <a:lnTo>
                      <a:pt x="270" y="405"/>
                    </a:lnTo>
                    <a:lnTo>
                      <a:pt x="272" y="403"/>
                    </a:lnTo>
                    <a:lnTo>
                      <a:pt x="272" y="400"/>
                    </a:lnTo>
                    <a:lnTo>
                      <a:pt x="272" y="400"/>
                    </a:lnTo>
                    <a:lnTo>
                      <a:pt x="275" y="398"/>
                    </a:lnTo>
                    <a:lnTo>
                      <a:pt x="272" y="398"/>
                    </a:lnTo>
                    <a:lnTo>
                      <a:pt x="272" y="395"/>
                    </a:lnTo>
                    <a:lnTo>
                      <a:pt x="272" y="395"/>
                    </a:lnTo>
                    <a:lnTo>
                      <a:pt x="272" y="393"/>
                    </a:lnTo>
                    <a:lnTo>
                      <a:pt x="272" y="391"/>
                    </a:lnTo>
                    <a:lnTo>
                      <a:pt x="277" y="388"/>
                    </a:lnTo>
                    <a:lnTo>
                      <a:pt x="284" y="384"/>
                    </a:lnTo>
                    <a:lnTo>
                      <a:pt x="286" y="381"/>
                    </a:lnTo>
                    <a:lnTo>
                      <a:pt x="291" y="377"/>
                    </a:lnTo>
                    <a:lnTo>
                      <a:pt x="294" y="372"/>
                    </a:lnTo>
                    <a:lnTo>
                      <a:pt x="296" y="372"/>
                    </a:lnTo>
                    <a:lnTo>
                      <a:pt x="303" y="367"/>
                    </a:lnTo>
                    <a:lnTo>
                      <a:pt x="303" y="365"/>
                    </a:lnTo>
                    <a:lnTo>
                      <a:pt x="308" y="358"/>
                    </a:lnTo>
                    <a:lnTo>
                      <a:pt x="310" y="353"/>
                    </a:lnTo>
                    <a:lnTo>
                      <a:pt x="313" y="353"/>
                    </a:lnTo>
                    <a:lnTo>
                      <a:pt x="313" y="350"/>
                    </a:lnTo>
                    <a:lnTo>
                      <a:pt x="313" y="348"/>
                    </a:lnTo>
                    <a:lnTo>
                      <a:pt x="320" y="341"/>
                    </a:lnTo>
                    <a:lnTo>
                      <a:pt x="324" y="339"/>
                    </a:lnTo>
                    <a:lnTo>
                      <a:pt x="324" y="339"/>
                    </a:lnTo>
                    <a:lnTo>
                      <a:pt x="322" y="336"/>
                    </a:lnTo>
                    <a:lnTo>
                      <a:pt x="320" y="339"/>
                    </a:lnTo>
                    <a:lnTo>
                      <a:pt x="320" y="339"/>
                    </a:lnTo>
                    <a:lnTo>
                      <a:pt x="320" y="339"/>
                    </a:lnTo>
                    <a:lnTo>
                      <a:pt x="320" y="336"/>
                    </a:lnTo>
                    <a:lnTo>
                      <a:pt x="324" y="332"/>
                    </a:lnTo>
                    <a:lnTo>
                      <a:pt x="324" y="332"/>
                    </a:lnTo>
                    <a:lnTo>
                      <a:pt x="327" y="334"/>
                    </a:lnTo>
                    <a:lnTo>
                      <a:pt x="327" y="336"/>
                    </a:lnTo>
                    <a:lnTo>
                      <a:pt x="324" y="336"/>
                    </a:lnTo>
                    <a:lnTo>
                      <a:pt x="324" y="336"/>
                    </a:lnTo>
                    <a:lnTo>
                      <a:pt x="327" y="336"/>
                    </a:lnTo>
                    <a:lnTo>
                      <a:pt x="331" y="334"/>
                    </a:lnTo>
                    <a:lnTo>
                      <a:pt x="339" y="332"/>
                    </a:lnTo>
                    <a:lnTo>
                      <a:pt x="339" y="332"/>
                    </a:lnTo>
                    <a:lnTo>
                      <a:pt x="339" y="332"/>
                    </a:lnTo>
                    <a:lnTo>
                      <a:pt x="339" y="332"/>
                    </a:lnTo>
                    <a:lnTo>
                      <a:pt x="339" y="329"/>
                    </a:lnTo>
                    <a:lnTo>
                      <a:pt x="339" y="329"/>
                    </a:lnTo>
                    <a:lnTo>
                      <a:pt x="341" y="329"/>
                    </a:lnTo>
                    <a:lnTo>
                      <a:pt x="341" y="329"/>
                    </a:lnTo>
                    <a:lnTo>
                      <a:pt x="343" y="327"/>
                    </a:lnTo>
                    <a:lnTo>
                      <a:pt x="346" y="324"/>
                    </a:lnTo>
                    <a:lnTo>
                      <a:pt x="346" y="322"/>
                    </a:lnTo>
                    <a:lnTo>
                      <a:pt x="346" y="322"/>
                    </a:lnTo>
                    <a:lnTo>
                      <a:pt x="348" y="320"/>
                    </a:lnTo>
                    <a:lnTo>
                      <a:pt x="348" y="317"/>
                    </a:lnTo>
                    <a:lnTo>
                      <a:pt x="350" y="315"/>
                    </a:lnTo>
                    <a:lnTo>
                      <a:pt x="348" y="315"/>
                    </a:lnTo>
                    <a:lnTo>
                      <a:pt x="348" y="310"/>
                    </a:lnTo>
                    <a:lnTo>
                      <a:pt x="346" y="308"/>
                    </a:lnTo>
                    <a:lnTo>
                      <a:pt x="346" y="303"/>
                    </a:lnTo>
                    <a:lnTo>
                      <a:pt x="348" y="301"/>
                    </a:lnTo>
                    <a:lnTo>
                      <a:pt x="350" y="298"/>
                    </a:lnTo>
                    <a:lnTo>
                      <a:pt x="353" y="298"/>
                    </a:lnTo>
                    <a:lnTo>
                      <a:pt x="360" y="296"/>
                    </a:lnTo>
                    <a:lnTo>
                      <a:pt x="362" y="294"/>
                    </a:lnTo>
                    <a:lnTo>
                      <a:pt x="365" y="291"/>
                    </a:lnTo>
                    <a:lnTo>
                      <a:pt x="367" y="289"/>
                    </a:lnTo>
                    <a:lnTo>
                      <a:pt x="367" y="287"/>
                    </a:lnTo>
                    <a:lnTo>
                      <a:pt x="367" y="287"/>
                    </a:lnTo>
                    <a:lnTo>
                      <a:pt x="367" y="284"/>
                    </a:lnTo>
                    <a:lnTo>
                      <a:pt x="365" y="284"/>
                    </a:lnTo>
                    <a:lnTo>
                      <a:pt x="365" y="282"/>
                    </a:lnTo>
                    <a:lnTo>
                      <a:pt x="362" y="279"/>
                    </a:lnTo>
                    <a:lnTo>
                      <a:pt x="365" y="282"/>
                    </a:lnTo>
                    <a:lnTo>
                      <a:pt x="367" y="284"/>
                    </a:lnTo>
                    <a:lnTo>
                      <a:pt x="369" y="284"/>
                    </a:lnTo>
                    <a:lnTo>
                      <a:pt x="369" y="287"/>
                    </a:lnTo>
                    <a:lnTo>
                      <a:pt x="367" y="291"/>
                    </a:lnTo>
                    <a:lnTo>
                      <a:pt x="367" y="294"/>
                    </a:lnTo>
                    <a:lnTo>
                      <a:pt x="369" y="296"/>
                    </a:lnTo>
                    <a:lnTo>
                      <a:pt x="372" y="296"/>
                    </a:lnTo>
                    <a:lnTo>
                      <a:pt x="372" y="294"/>
                    </a:lnTo>
                    <a:lnTo>
                      <a:pt x="372" y="294"/>
                    </a:lnTo>
                    <a:lnTo>
                      <a:pt x="372" y="294"/>
                    </a:lnTo>
                    <a:lnTo>
                      <a:pt x="374" y="296"/>
                    </a:lnTo>
                    <a:lnTo>
                      <a:pt x="376" y="296"/>
                    </a:lnTo>
                    <a:lnTo>
                      <a:pt x="376" y="294"/>
                    </a:lnTo>
                    <a:lnTo>
                      <a:pt x="376" y="291"/>
                    </a:lnTo>
                    <a:lnTo>
                      <a:pt x="376" y="287"/>
                    </a:lnTo>
                    <a:lnTo>
                      <a:pt x="376" y="287"/>
                    </a:lnTo>
                    <a:lnTo>
                      <a:pt x="379" y="287"/>
                    </a:lnTo>
                    <a:lnTo>
                      <a:pt x="379" y="287"/>
                    </a:lnTo>
                    <a:lnTo>
                      <a:pt x="379" y="289"/>
                    </a:lnTo>
                    <a:lnTo>
                      <a:pt x="379" y="294"/>
                    </a:lnTo>
                    <a:lnTo>
                      <a:pt x="379" y="296"/>
                    </a:lnTo>
                    <a:lnTo>
                      <a:pt x="379" y="296"/>
                    </a:lnTo>
                    <a:lnTo>
                      <a:pt x="379" y="296"/>
                    </a:lnTo>
                    <a:lnTo>
                      <a:pt x="381" y="296"/>
                    </a:lnTo>
                    <a:lnTo>
                      <a:pt x="381" y="294"/>
                    </a:lnTo>
                    <a:lnTo>
                      <a:pt x="383" y="296"/>
                    </a:lnTo>
                    <a:lnTo>
                      <a:pt x="383" y="296"/>
                    </a:lnTo>
                    <a:lnTo>
                      <a:pt x="386" y="296"/>
                    </a:lnTo>
                    <a:lnTo>
                      <a:pt x="386" y="294"/>
                    </a:lnTo>
                    <a:lnTo>
                      <a:pt x="383" y="291"/>
                    </a:lnTo>
                    <a:lnTo>
                      <a:pt x="383" y="289"/>
                    </a:lnTo>
                    <a:lnTo>
                      <a:pt x="383" y="289"/>
                    </a:lnTo>
                    <a:lnTo>
                      <a:pt x="383" y="287"/>
                    </a:lnTo>
                    <a:lnTo>
                      <a:pt x="383" y="284"/>
                    </a:lnTo>
                    <a:lnTo>
                      <a:pt x="383" y="282"/>
                    </a:lnTo>
                    <a:lnTo>
                      <a:pt x="381" y="277"/>
                    </a:lnTo>
                    <a:lnTo>
                      <a:pt x="381" y="275"/>
                    </a:lnTo>
                    <a:lnTo>
                      <a:pt x="381" y="275"/>
                    </a:lnTo>
                    <a:lnTo>
                      <a:pt x="381" y="272"/>
                    </a:lnTo>
                    <a:lnTo>
                      <a:pt x="379" y="270"/>
                    </a:lnTo>
                    <a:lnTo>
                      <a:pt x="379" y="268"/>
                    </a:lnTo>
                    <a:lnTo>
                      <a:pt x="379" y="265"/>
                    </a:lnTo>
                    <a:lnTo>
                      <a:pt x="379" y="263"/>
                    </a:lnTo>
                    <a:lnTo>
                      <a:pt x="379" y="263"/>
                    </a:lnTo>
                    <a:lnTo>
                      <a:pt x="376" y="263"/>
                    </a:lnTo>
                    <a:lnTo>
                      <a:pt x="374" y="261"/>
                    </a:lnTo>
                    <a:lnTo>
                      <a:pt x="374" y="261"/>
                    </a:lnTo>
                    <a:lnTo>
                      <a:pt x="374" y="258"/>
                    </a:lnTo>
                    <a:lnTo>
                      <a:pt x="374" y="256"/>
                    </a:lnTo>
                    <a:lnTo>
                      <a:pt x="372" y="256"/>
                    </a:lnTo>
                    <a:lnTo>
                      <a:pt x="372" y="256"/>
                    </a:lnTo>
                    <a:lnTo>
                      <a:pt x="372" y="253"/>
                    </a:lnTo>
                    <a:lnTo>
                      <a:pt x="372" y="253"/>
                    </a:lnTo>
                    <a:lnTo>
                      <a:pt x="372" y="249"/>
                    </a:lnTo>
                    <a:lnTo>
                      <a:pt x="372" y="246"/>
                    </a:lnTo>
                    <a:lnTo>
                      <a:pt x="372" y="244"/>
                    </a:lnTo>
                    <a:lnTo>
                      <a:pt x="372" y="242"/>
                    </a:lnTo>
                    <a:lnTo>
                      <a:pt x="372" y="242"/>
                    </a:lnTo>
                    <a:lnTo>
                      <a:pt x="372" y="239"/>
                    </a:lnTo>
                    <a:lnTo>
                      <a:pt x="372" y="239"/>
                    </a:lnTo>
                    <a:lnTo>
                      <a:pt x="367" y="239"/>
                    </a:lnTo>
                    <a:lnTo>
                      <a:pt x="367" y="237"/>
                    </a:lnTo>
                    <a:lnTo>
                      <a:pt x="365" y="237"/>
                    </a:lnTo>
                    <a:lnTo>
                      <a:pt x="365" y="234"/>
                    </a:lnTo>
                    <a:lnTo>
                      <a:pt x="362" y="237"/>
                    </a:lnTo>
                    <a:lnTo>
                      <a:pt x="362" y="234"/>
                    </a:lnTo>
                    <a:lnTo>
                      <a:pt x="360" y="234"/>
                    </a:lnTo>
                    <a:lnTo>
                      <a:pt x="357" y="232"/>
                    </a:lnTo>
                    <a:lnTo>
                      <a:pt x="357" y="232"/>
                    </a:lnTo>
                    <a:lnTo>
                      <a:pt x="357" y="230"/>
                    </a:lnTo>
                    <a:lnTo>
                      <a:pt x="360" y="227"/>
                    </a:lnTo>
                    <a:lnTo>
                      <a:pt x="360" y="227"/>
                    </a:lnTo>
                    <a:lnTo>
                      <a:pt x="362" y="227"/>
                    </a:lnTo>
                    <a:lnTo>
                      <a:pt x="362" y="227"/>
                    </a:lnTo>
                    <a:lnTo>
                      <a:pt x="365" y="225"/>
                    </a:lnTo>
                    <a:lnTo>
                      <a:pt x="365" y="220"/>
                    </a:lnTo>
                    <a:lnTo>
                      <a:pt x="367" y="220"/>
                    </a:lnTo>
                    <a:lnTo>
                      <a:pt x="369" y="220"/>
                    </a:lnTo>
                    <a:lnTo>
                      <a:pt x="369" y="220"/>
                    </a:lnTo>
                    <a:lnTo>
                      <a:pt x="372" y="220"/>
                    </a:lnTo>
                    <a:lnTo>
                      <a:pt x="372" y="220"/>
                    </a:lnTo>
                    <a:lnTo>
                      <a:pt x="374" y="220"/>
                    </a:lnTo>
                    <a:lnTo>
                      <a:pt x="374" y="220"/>
                    </a:lnTo>
                    <a:lnTo>
                      <a:pt x="374" y="218"/>
                    </a:lnTo>
                    <a:lnTo>
                      <a:pt x="372" y="218"/>
                    </a:lnTo>
                    <a:lnTo>
                      <a:pt x="372" y="218"/>
                    </a:lnTo>
                    <a:lnTo>
                      <a:pt x="369" y="216"/>
                    </a:lnTo>
                    <a:lnTo>
                      <a:pt x="369" y="213"/>
                    </a:lnTo>
                    <a:lnTo>
                      <a:pt x="367" y="213"/>
                    </a:lnTo>
                    <a:lnTo>
                      <a:pt x="365" y="213"/>
                    </a:lnTo>
                    <a:lnTo>
                      <a:pt x="362" y="213"/>
                    </a:lnTo>
                    <a:lnTo>
                      <a:pt x="362" y="211"/>
                    </a:lnTo>
                    <a:lnTo>
                      <a:pt x="360" y="208"/>
                    </a:lnTo>
                    <a:lnTo>
                      <a:pt x="357" y="208"/>
                    </a:lnTo>
                    <a:lnTo>
                      <a:pt x="355" y="206"/>
                    </a:lnTo>
                    <a:lnTo>
                      <a:pt x="355" y="206"/>
                    </a:lnTo>
                    <a:lnTo>
                      <a:pt x="355" y="204"/>
                    </a:lnTo>
                    <a:lnTo>
                      <a:pt x="355" y="204"/>
                    </a:lnTo>
                    <a:lnTo>
                      <a:pt x="355" y="201"/>
                    </a:lnTo>
                    <a:lnTo>
                      <a:pt x="357" y="199"/>
                    </a:lnTo>
                    <a:lnTo>
                      <a:pt x="360" y="199"/>
                    </a:lnTo>
                    <a:lnTo>
                      <a:pt x="360" y="197"/>
                    </a:lnTo>
                    <a:lnTo>
                      <a:pt x="360" y="197"/>
                    </a:lnTo>
                    <a:lnTo>
                      <a:pt x="360" y="194"/>
                    </a:lnTo>
                    <a:lnTo>
                      <a:pt x="360" y="194"/>
                    </a:lnTo>
                    <a:lnTo>
                      <a:pt x="360" y="194"/>
                    </a:lnTo>
                    <a:lnTo>
                      <a:pt x="357" y="194"/>
                    </a:lnTo>
                    <a:lnTo>
                      <a:pt x="357" y="192"/>
                    </a:lnTo>
                    <a:lnTo>
                      <a:pt x="357" y="192"/>
                    </a:lnTo>
                    <a:lnTo>
                      <a:pt x="360" y="192"/>
                    </a:lnTo>
                    <a:lnTo>
                      <a:pt x="362" y="192"/>
                    </a:lnTo>
                    <a:lnTo>
                      <a:pt x="365" y="194"/>
                    </a:lnTo>
                    <a:lnTo>
                      <a:pt x="365" y="197"/>
                    </a:lnTo>
                    <a:lnTo>
                      <a:pt x="365" y="197"/>
                    </a:lnTo>
                    <a:lnTo>
                      <a:pt x="367" y="197"/>
                    </a:lnTo>
                    <a:lnTo>
                      <a:pt x="367" y="197"/>
                    </a:lnTo>
                    <a:lnTo>
                      <a:pt x="367" y="199"/>
                    </a:lnTo>
                    <a:lnTo>
                      <a:pt x="369" y="199"/>
                    </a:lnTo>
                    <a:lnTo>
                      <a:pt x="369" y="199"/>
                    </a:lnTo>
                    <a:lnTo>
                      <a:pt x="369" y="199"/>
                    </a:lnTo>
                    <a:lnTo>
                      <a:pt x="372" y="197"/>
                    </a:lnTo>
                    <a:lnTo>
                      <a:pt x="369" y="197"/>
                    </a:lnTo>
                    <a:lnTo>
                      <a:pt x="369" y="197"/>
                    </a:lnTo>
                    <a:lnTo>
                      <a:pt x="369" y="194"/>
                    </a:lnTo>
                    <a:lnTo>
                      <a:pt x="369" y="194"/>
                    </a:lnTo>
                    <a:lnTo>
                      <a:pt x="372" y="194"/>
                    </a:lnTo>
                    <a:lnTo>
                      <a:pt x="372" y="197"/>
                    </a:lnTo>
                    <a:lnTo>
                      <a:pt x="372" y="197"/>
                    </a:lnTo>
                    <a:lnTo>
                      <a:pt x="374" y="199"/>
                    </a:lnTo>
                    <a:lnTo>
                      <a:pt x="374" y="201"/>
                    </a:lnTo>
                    <a:lnTo>
                      <a:pt x="376" y="204"/>
                    </a:lnTo>
                    <a:lnTo>
                      <a:pt x="379" y="204"/>
                    </a:lnTo>
                    <a:lnTo>
                      <a:pt x="381" y="204"/>
                    </a:lnTo>
                    <a:lnTo>
                      <a:pt x="381" y="204"/>
                    </a:lnTo>
                    <a:lnTo>
                      <a:pt x="381" y="201"/>
                    </a:lnTo>
                    <a:lnTo>
                      <a:pt x="381" y="201"/>
                    </a:lnTo>
                    <a:lnTo>
                      <a:pt x="381" y="199"/>
                    </a:lnTo>
                    <a:lnTo>
                      <a:pt x="381" y="199"/>
                    </a:lnTo>
                    <a:lnTo>
                      <a:pt x="383" y="199"/>
                    </a:lnTo>
                    <a:lnTo>
                      <a:pt x="383" y="199"/>
                    </a:lnTo>
                    <a:lnTo>
                      <a:pt x="386" y="204"/>
                    </a:lnTo>
                    <a:lnTo>
                      <a:pt x="386" y="206"/>
                    </a:lnTo>
                    <a:lnTo>
                      <a:pt x="388" y="213"/>
                    </a:lnTo>
                    <a:lnTo>
                      <a:pt x="388" y="216"/>
                    </a:lnTo>
                    <a:lnTo>
                      <a:pt x="388" y="218"/>
                    </a:lnTo>
                    <a:lnTo>
                      <a:pt x="388" y="218"/>
                    </a:lnTo>
                    <a:lnTo>
                      <a:pt x="388" y="218"/>
                    </a:lnTo>
                    <a:lnTo>
                      <a:pt x="391" y="218"/>
                    </a:lnTo>
                    <a:lnTo>
                      <a:pt x="393" y="220"/>
                    </a:lnTo>
                    <a:lnTo>
                      <a:pt x="395" y="220"/>
                    </a:lnTo>
                    <a:lnTo>
                      <a:pt x="398" y="220"/>
                    </a:lnTo>
                    <a:lnTo>
                      <a:pt x="400" y="220"/>
                    </a:lnTo>
                    <a:lnTo>
                      <a:pt x="402" y="220"/>
                    </a:lnTo>
                    <a:lnTo>
                      <a:pt x="405" y="220"/>
                    </a:lnTo>
                    <a:lnTo>
                      <a:pt x="407" y="220"/>
                    </a:lnTo>
                    <a:lnTo>
                      <a:pt x="412" y="220"/>
                    </a:lnTo>
                    <a:lnTo>
                      <a:pt x="417" y="220"/>
                    </a:lnTo>
                    <a:lnTo>
                      <a:pt x="419" y="220"/>
                    </a:lnTo>
                    <a:lnTo>
                      <a:pt x="419" y="223"/>
                    </a:lnTo>
                    <a:lnTo>
                      <a:pt x="424" y="220"/>
                    </a:lnTo>
                    <a:lnTo>
                      <a:pt x="431" y="220"/>
                    </a:lnTo>
                    <a:lnTo>
                      <a:pt x="433" y="223"/>
                    </a:lnTo>
                    <a:lnTo>
                      <a:pt x="436" y="225"/>
                    </a:lnTo>
                    <a:lnTo>
                      <a:pt x="438" y="225"/>
                    </a:lnTo>
                    <a:lnTo>
                      <a:pt x="438" y="227"/>
                    </a:lnTo>
                    <a:lnTo>
                      <a:pt x="438" y="227"/>
                    </a:lnTo>
                    <a:lnTo>
                      <a:pt x="438" y="227"/>
                    </a:lnTo>
                    <a:lnTo>
                      <a:pt x="438" y="227"/>
                    </a:lnTo>
                    <a:lnTo>
                      <a:pt x="436" y="227"/>
                    </a:lnTo>
                    <a:lnTo>
                      <a:pt x="433" y="227"/>
                    </a:lnTo>
                    <a:lnTo>
                      <a:pt x="436" y="230"/>
                    </a:lnTo>
                    <a:lnTo>
                      <a:pt x="436" y="230"/>
                    </a:lnTo>
                    <a:lnTo>
                      <a:pt x="433" y="232"/>
                    </a:lnTo>
                    <a:lnTo>
                      <a:pt x="433" y="234"/>
                    </a:lnTo>
                    <a:lnTo>
                      <a:pt x="433" y="237"/>
                    </a:lnTo>
                    <a:lnTo>
                      <a:pt x="433" y="237"/>
                    </a:lnTo>
                    <a:lnTo>
                      <a:pt x="433" y="237"/>
                    </a:lnTo>
                    <a:lnTo>
                      <a:pt x="431" y="237"/>
                    </a:lnTo>
                    <a:lnTo>
                      <a:pt x="431" y="239"/>
                    </a:lnTo>
                    <a:lnTo>
                      <a:pt x="431" y="239"/>
                    </a:lnTo>
                    <a:lnTo>
                      <a:pt x="431" y="239"/>
                    </a:lnTo>
                    <a:lnTo>
                      <a:pt x="431" y="242"/>
                    </a:lnTo>
                    <a:lnTo>
                      <a:pt x="428" y="242"/>
                    </a:lnTo>
                    <a:lnTo>
                      <a:pt x="428" y="242"/>
                    </a:lnTo>
                    <a:lnTo>
                      <a:pt x="426" y="242"/>
                    </a:lnTo>
                    <a:lnTo>
                      <a:pt x="426" y="242"/>
                    </a:lnTo>
                    <a:lnTo>
                      <a:pt x="426" y="242"/>
                    </a:lnTo>
                    <a:lnTo>
                      <a:pt x="424" y="244"/>
                    </a:lnTo>
                    <a:lnTo>
                      <a:pt x="424" y="244"/>
                    </a:lnTo>
                    <a:lnTo>
                      <a:pt x="421" y="244"/>
                    </a:lnTo>
                    <a:lnTo>
                      <a:pt x="421" y="244"/>
                    </a:lnTo>
                    <a:lnTo>
                      <a:pt x="421" y="244"/>
                    </a:lnTo>
                    <a:lnTo>
                      <a:pt x="421" y="246"/>
                    </a:lnTo>
                    <a:lnTo>
                      <a:pt x="419" y="246"/>
                    </a:lnTo>
                    <a:lnTo>
                      <a:pt x="419" y="251"/>
                    </a:lnTo>
                    <a:lnTo>
                      <a:pt x="419" y="253"/>
                    </a:lnTo>
                    <a:lnTo>
                      <a:pt x="419" y="253"/>
                    </a:lnTo>
                    <a:lnTo>
                      <a:pt x="421" y="258"/>
                    </a:lnTo>
                    <a:lnTo>
                      <a:pt x="424" y="265"/>
                    </a:lnTo>
                    <a:lnTo>
                      <a:pt x="424" y="265"/>
                    </a:lnTo>
                    <a:lnTo>
                      <a:pt x="424" y="265"/>
                    </a:lnTo>
                    <a:lnTo>
                      <a:pt x="424" y="265"/>
                    </a:lnTo>
                    <a:lnTo>
                      <a:pt x="424" y="265"/>
                    </a:lnTo>
                    <a:lnTo>
                      <a:pt x="424" y="263"/>
                    </a:lnTo>
                    <a:lnTo>
                      <a:pt x="424" y="263"/>
                    </a:lnTo>
                    <a:lnTo>
                      <a:pt x="424" y="263"/>
                    </a:lnTo>
                    <a:lnTo>
                      <a:pt x="426" y="263"/>
                    </a:lnTo>
                    <a:lnTo>
                      <a:pt x="426" y="265"/>
                    </a:lnTo>
                    <a:lnTo>
                      <a:pt x="428" y="268"/>
                    </a:lnTo>
                    <a:lnTo>
                      <a:pt x="428" y="268"/>
                    </a:lnTo>
                    <a:lnTo>
                      <a:pt x="431" y="268"/>
                    </a:lnTo>
                    <a:lnTo>
                      <a:pt x="431" y="265"/>
                    </a:lnTo>
                    <a:lnTo>
                      <a:pt x="431" y="265"/>
                    </a:lnTo>
                    <a:lnTo>
                      <a:pt x="431" y="263"/>
                    </a:lnTo>
                    <a:lnTo>
                      <a:pt x="431" y="261"/>
                    </a:lnTo>
                    <a:lnTo>
                      <a:pt x="431" y="258"/>
                    </a:lnTo>
                    <a:lnTo>
                      <a:pt x="433" y="256"/>
                    </a:lnTo>
                    <a:lnTo>
                      <a:pt x="433" y="256"/>
                    </a:lnTo>
                    <a:lnTo>
                      <a:pt x="433" y="253"/>
                    </a:lnTo>
                    <a:lnTo>
                      <a:pt x="433" y="253"/>
                    </a:lnTo>
                    <a:lnTo>
                      <a:pt x="433" y="253"/>
                    </a:lnTo>
                    <a:lnTo>
                      <a:pt x="436" y="253"/>
                    </a:lnTo>
                    <a:lnTo>
                      <a:pt x="436" y="251"/>
                    </a:lnTo>
                    <a:lnTo>
                      <a:pt x="436" y="251"/>
                    </a:lnTo>
                    <a:lnTo>
                      <a:pt x="438" y="253"/>
                    </a:lnTo>
                    <a:lnTo>
                      <a:pt x="438" y="253"/>
                    </a:lnTo>
                    <a:lnTo>
                      <a:pt x="440" y="256"/>
                    </a:lnTo>
                    <a:lnTo>
                      <a:pt x="440" y="261"/>
                    </a:lnTo>
                    <a:lnTo>
                      <a:pt x="440" y="263"/>
                    </a:lnTo>
                    <a:lnTo>
                      <a:pt x="443" y="265"/>
                    </a:lnTo>
                    <a:lnTo>
                      <a:pt x="443" y="268"/>
                    </a:lnTo>
                    <a:lnTo>
                      <a:pt x="443" y="270"/>
                    </a:lnTo>
                    <a:lnTo>
                      <a:pt x="445" y="270"/>
                    </a:lnTo>
                    <a:lnTo>
                      <a:pt x="445" y="272"/>
                    </a:lnTo>
                    <a:lnTo>
                      <a:pt x="445" y="272"/>
                    </a:lnTo>
                    <a:lnTo>
                      <a:pt x="447" y="277"/>
                    </a:lnTo>
                    <a:lnTo>
                      <a:pt x="447" y="279"/>
                    </a:lnTo>
                    <a:lnTo>
                      <a:pt x="447" y="287"/>
                    </a:lnTo>
                    <a:lnTo>
                      <a:pt x="450" y="289"/>
                    </a:lnTo>
                    <a:lnTo>
                      <a:pt x="450" y="289"/>
                    </a:lnTo>
                    <a:lnTo>
                      <a:pt x="450" y="287"/>
                    </a:lnTo>
                    <a:lnTo>
                      <a:pt x="450" y="287"/>
                    </a:lnTo>
                    <a:lnTo>
                      <a:pt x="450" y="284"/>
                    </a:lnTo>
                    <a:lnTo>
                      <a:pt x="452" y="284"/>
                    </a:lnTo>
                    <a:lnTo>
                      <a:pt x="452" y="287"/>
                    </a:lnTo>
                    <a:lnTo>
                      <a:pt x="454" y="289"/>
                    </a:lnTo>
                    <a:lnTo>
                      <a:pt x="454" y="289"/>
                    </a:lnTo>
                    <a:lnTo>
                      <a:pt x="457" y="289"/>
                    </a:lnTo>
                    <a:lnTo>
                      <a:pt x="457" y="284"/>
                    </a:lnTo>
                    <a:lnTo>
                      <a:pt x="457" y="284"/>
                    </a:lnTo>
                    <a:lnTo>
                      <a:pt x="457" y="284"/>
                    </a:lnTo>
                    <a:lnTo>
                      <a:pt x="459" y="284"/>
                    </a:lnTo>
                    <a:lnTo>
                      <a:pt x="459" y="284"/>
                    </a:lnTo>
                    <a:lnTo>
                      <a:pt x="459" y="282"/>
                    </a:lnTo>
                    <a:lnTo>
                      <a:pt x="459" y="279"/>
                    </a:lnTo>
                    <a:lnTo>
                      <a:pt x="457" y="277"/>
                    </a:lnTo>
                    <a:lnTo>
                      <a:pt x="457" y="275"/>
                    </a:lnTo>
                    <a:lnTo>
                      <a:pt x="457" y="272"/>
                    </a:lnTo>
                    <a:lnTo>
                      <a:pt x="457" y="270"/>
                    </a:lnTo>
                    <a:lnTo>
                      <a:pt x="457" y="270"/>
                    </a:lnTo>
                    <a:lnTo>
                      <a:pt x="457" y="268"/>
                    </a:lnTo>
                    <a:lnTo>
                      <a:pt x="457" y="265"/>
                    </a:lnTo>
                    <a:lnTo>
                      <a:pt x="457" y="265"/>
                    </a:lnTo>
                    <a:lnTo>
                      <a:pt x="459" y="268"/>
                    </a:lnTo>
                    <a:lnTo>
                      <a:pt x="459" y="265"/>
                    </a:lnTo>
                    <a:lnTo>
                      <a:pt x="459" y="265"/>
                    </a:lnTo>
                    <a:lnTo>
                      <a:pt x="459" y="265"/>
                    </a:lnTo>
                    <a:lnTo>
                      <a:pt x="459" y="261"/>
                    </a:lnTo>
                    <a:lnTo>
                      <a:pt x="459" y="256"/>
                    </a:lnTo>
                    <a:lnTo>
                      <a:pt x="459" y="253"/>
                    </a:lnTo>
                    <a:lnTo>
                      <a:pt x="459" y="251"/>
                    </a:lnTo>
                    <a:lnTo>
                      <a:pt x="457" y="246"/>
                    </a:lnTo>
                    <a:lnTo>
                      <a:pt x="457" y="244"/>
                    </a:lnTo>
                    <a:lnTo>
                      <a:pt x="457" y="244"/>
                    </a:lnTo>
                    <a:lnTo>
                      <a:pt x="459" y="246"/>
                    </a:lnTo>
                    <a:lnTo>
                      <a:pt x="459" y="246"/>
                    </a:lnTo>
                    <a:lnTo>
                      <a:pt x="462" y="246"/>
                    </a:lnTo>
                    <a:lnTo>
                      <a:pt x="462" y="246"/>
                    </a:lnTo>
                    <a:lnTo>
                      <a:pt x="464" y="246"/>
                    </a:lnTo>
                    <a:lnTo>
                      <a:pt x="464" y="246"/>
                    </a:lnTo>
                    <a:lnTo>
                      <a:pt x="466" y="246"/>
                    </a:lnTo>
                    <a:lnTo>
                      <a:pt x="469" y="249"/>
                    </a:lnTo>
                    <a:lnTo>
                      <a:pt x="471" y="249"/>
                    </a:lnTo>
                    <a:lnTo>
                      <a:pt x="471" y="249"/>
                    </a:lnTo>
                    <a:lnTo>
                      <a:pt x="473" y="246"/>
                    </a:lnTo>
                    <a:lnTo>
                      <a:pt x="473" y="244"/>
                    </a:lnTo>
                    <a:lnTo>
                      <a:pt x="473" y="239"/>
                    </a:lnTo>
                    <a:lnTo>
                      <a:pt x="473" y="237"/>
                    </a:lnTo>
                    <a:lnTo>
                      <a:pt x="476" y="234"/>
                    </a:lnTo>
                    <a:lnTo>
                      <a:pt x="476" y="232"/>
                    </a:lnTo>
                    <a:lnTo>
                      <a:pt x="478" y="230"/>
                    </a:lnTo>
                    <a:lnTo>
                      <a:pt x="478" y="225"/>
                    </a:lnTo>
                    <a:lnTo>
                      <a:pt x="478" y="223"/>
                    </a:lnTo>
                    <a:lnTo>
                      <a:pt x="478" y="223"/>
                    </a:lnTo>
                    <a:lnTo>
                      <a:pt x="478" y="223"/>
                    </a:lnTo>
                    <a:lnTo>
                      <a:pt x="476" y="220"/>
                    </a:lnTo>
                    <a:lnTo>
                      <a:pt x="476" y="220"/>
                    </a:lnTo>
                    <a:lnTo>
                      <a:pt x="476" y="220"/>
                    </a:lnTo>
                    <a:lnTo>
                      <a:pt x="476" y="220"/>
                    </a:lnTo>
                    <a:lnTo>
                      <a:pt x="476" y="218"/>
                    </a:lnTo>
                    <a:lnTo>
                      <a:pt x="476" y="216"/>
                    </a:lnTo>
                    <a:lnTo>
                      <a:pt x="476" y="216"/>
                    </a:lnTo>
                    <a:lnTo>
                      <a:pt x="478" y="213"/>
                    </a:lnTo>
                    <a:lnTo>
                      <a:pt x="480" y="211"/>
                    </a:lnTo>
                    <a:lnTo>
                      <a:pt x="480" y="211"/>
                    </a:lnTo>
                    <a:lnTo>
                      <a:pt x="480" y="208"/>
                    </a:lnTo>
                    <a:lnTo>
                      <a:pt x="480" y="206"/>
                    </a:lnTo>
                    <a:lnTo>
                      <a:pt x="480" y="204"/>
                    </a:lnTo>
                    <a:lnTo>
                      <a:pt x="483" y="204"/>
                    </a:lnTo>
                    <a:lnTo>
                      <a:pt x="483" y="204"/>
                    </a:lnTo>
                    <a:lnTo>
                      <a:pt x="483" y="201"/>
                    </a:lnTo>
                    <a:lnTo>
                      <a:pt x="483" y="201"/>
                    </a:lnTo>
                    <a:lnTo>
                      <a:pt x="480" y="199"/>
                    </a:lnTo>
                    <a:lnTo>
                      <a:pt x="480" y="197"/>
                    </a:lnTo>
                    <a:lnTo>
                      <a:pt x="480" y="194"/>
                    </a:lnTo>
                    <a:lnTo>
                      <a:pt x="480" y="192"/>
                    </a:lnTo>
                    <a:lnTo>
                      <a:pt x="480" y="192"/>
                    </a:lnTo>
                    <a:lnTo>
                      <a:pt x="483" y="189"/>
                    </a:lnTo>
                    <a:lnTo>
                      <a:pt x="483" y="189"/>
                    </a:lnTo>
                    <a:lnTo>
                      <a:pt x="485" y="187"/>
                    </a:lnTo>
                    <a:lnTo>
                      <a:pt x="490" y="182"/>
                    </a:lnTo>
                    <a:lnTo>
                      <a:pt x="492" y="182"/>
                    </a:lnTo>
                    <a:lnTo>
                      <a:pt x="492" y="182"/>
                    </a:lnTo>
                    <a:lnTo>
                      <a:pt x="495" y="180"/>
                    </a:lnTo>
                    <a:lnTo>
                      <a:pt x="495" y="178"/>
                    </a:lnTo>
                    <a:lnTo>
                      <a:pt x="497" y="178"/>
                    </a:lnTo>
                    <a:lnTo>
                      <a:pt x="499" y="175"/>
                    </a:lnTo>
                    <a:lnTo>
                      <a:pt x="506" y="175"/>
                    </a:lnTo>
                    <a:lnTo>
                      <a:pt x="506" y="175"/>
                    </a:lnTo>
                    <a:lnTo>
                      <a:pt x="509" y="175"/>
                    </a:lnTo>
                    <a:lnTo>
                      <a:pt x="509" y="178"/>
                    </a:lnTo>
                    <a:lnTo>
                      <a:pt x="511" y="180"/>
                    </a:lnTo>
                    <a:lnTo>
                      <a:pt x="514" y="180"/>
                    </a:lnTo>
                    <a:lnTo>
                      <a:pt x="514" y="180"/>
                    </a:lnTo>
                    <a:lnTo>
                      <a:pt x="514" y="178"/>
                    </a:lnTo>
                    <a:lnTo>
                      <a:pt x="509" y="173"/>
                    </a:lnTo>
                    <a:lnTo>
                      <a:pt x="509" y="171"/>
                    </a:lnTo>
                    <a:lnTo>
                      <a:pt x="509" y="171"/>
                    </a:lnTo>
                    <a:lnTo>
                      <a:pt x="509" y="168"/>
                    </a:lnTo>
                    <a:lnTo>
                      <a:pt x="509" y="168"/>
                    </a:lnTo>
                    <a:close/>
                    <a:moveTo>
                      <a:pt x="499" y="599"/>
                    </a:moveTo>
                    <a:lnTo>
                      <a:pt x="497" y="601"/>
                    </a:lnTo>
                    <a:lnTo>
                      <a:pt x="497" y="601"/>
                    </a:lnTo>
                    <a:lnTo>
                      <a:pt x="497" y="604"/>
                    </a:lnTo>
                    <a:lnTo>
                      <a:pt x="499" y="606"/>
                    </a:lnTo>
                    <a:lnTo>
                      <a:pt x="502" y="611"/>
                    </a:lnTo>
                    <a:lnTo>
                      <a:pt x="502" y="609"/>
                    </a:lnTo>
                    <a:lnTo>
                      <a:pt x="502" y="606"/>
                    </a:lnTo>
                    <a:lnTo>
                      <a:pt x="502" y="601"/>
                    </a:lnTo>
                    <a:lnTo>
                      <a:pt x="499" y="599"/>
                    </a:lnTo>
                    <a:close/>
                    <a:moveTo>
                      <a:pt x="495" y="580"/>
                    </a:moveTo>
                    <a:lnTo>
                      <a:pt x="492" y="580"/>
                    </a:lnTo>
                    <a:lnTo>
                      <a:pt x="492" y="580"/>
                    </a:lnTo>
                    <a:lnTo>
                      <a:pt x="492" y="583"/>
                    </a:lnTo>
                    <a:lnTo>
                      <a:pt x="492" y="583"/>
                    </a:lnTo>
                    <a:lnTo>
                      <a:pt x="492" y="583"/>
                    </a:lnTo>
                    <a:lnTo>
                      <a:pt x="492" y="583"/>
                    </a:lnTo>
                    <a:lnTo>
                      <a:pt x="492" y="583"/>
                    </a:lnTo>
                    <a:lnTo>
                      <a:pt x="495" y="583"/>
                    </a:lnTo>
                    <a:lnTo>
                      <a:pt x="495" y="580"/>
                    </a:lnTo>
                    <a:lnTo>
                      <a:pt x="495" y="580"/>
                    </a:lnTo>
                    <a:close/>
                    <a:moveTo>
                      <a:pt x="485" y="575"/>
                    </a:moveTo>
                    <a:lnTo>
                      <a:pt x="485" y="578"/>
                    </a:lnTo>
                    <a:lnTo>
                      <a:pt x="485" y="578"/>
                    </a:lnTo>
                    <a:lnTo>
                      <a:pt x="485" y="580"/>
                    </a:lnTo>
                    <a:lnTo>
                      <a:pt x="488" y="580"/>
                    </a:lnTo>
                    <a:lnTo>
                      <a:pt x="488" y="578"/>
                    </a:lnTo>
                    <a:lnTo>
                      <a:pt x="485" y="575"/>
                    </a:lnTo>
                    <a:close/>
                    <a:moveTo>
                      <a:pt x="492" y="583"/>
                    </a:moveTo>
                    <a:lnTo>
                      <a:pt x="490" y="585"/>
                    </a:lnTo>
                    <a:lnTo>
                      <a:pt x="490" y="585"/>
                    </a:lnTo>
                    <a:lnTo>
                      <a:pt x="490" y="585"/>
                    </a:lnTo>
                    <a:lnTo>
                      <a:pt x="492" y="587"/>
                    </a:lnTo>
                    <a:lnTo>
                      <a:pt x="492" y="587"/>
                    </a:lnTo>
                    <a:lnTo>
                      <a:pt x="492" y="587"/>
                    </a:lnTo>
                    <a:lnTo>
                      <a:pt x="492" y="585"/>
                    </a:lnTo>
                    <a:lnTo>
                      <a:pt x="492" y="583"/>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135"/>
              <p:cNvSpPr>
                <a:spLocks/>
              </p:cNvSpPr>
              <p:nvPr/>
            </p:nvSpPr>
            <p:spPr bwMode="auto">
              <a:xfrm>
                <a:off x="2453" y="1424"/>
                <a:ext cx="154" cy="60"/>
              </a:xfrm>
              <a:custGeom>
                <a:avLst/>
                <a:gdLst>
                  <a:gd name="T0" fmla="*/ 151 w 154"/>
                  <a:gd name="T1" fmla="*/ 19 h 60"/>
                  <a:gd name="T2" fmla="*/ 144 w 154"/>
                  <a:gd name="T3" fmla="*/ 15 h 60"/>
                  <a:gd name="T4" fmla="*/ 139 w 154"/>
                  <a:gd name="T5" fmla="*/ 12 h 60"/>
                  <a:gd name="T6" fmla="*/ 137 w 154"/>
                  <a:gd name="T7" fmla="*/ 10 h 60"/>
                  <a:gd name="T8" fmla="*/ 144 w 154"/>
                  <a:gd name="T9" fmla="*/ 3 h 60"/>
                  <a:gd name="T10" fmla="*/ 128 w 154"/>
                  <a:gd name="T11" fmla="*/ 5 h 60"/>
                  <a:gd name="T12" fmla="*/ 118 w 154"/>
                  <a:gd name="T13" fmla="*/ 0 h 60"/>
                  <a:gd name="T14" fmla="*/ 109 w 154"/>
                  <a:gd name="T15" fmla="*/ 7 h 60"/>
                  <a:gd name="T16" fmla="*/ 99 w 154"/>
                  <a:gd name="T17" fmla="*/ 10 h 60"/>
                  <a:gd name="T18" fmla="*/ 90 w 154"/>
                  <a:gd name="T19" fmla="*/ 7 h 60"/>
                  <a:gd name="T20" fmla="*/ 90 w 154"/>
                  <a:gd name="T21" fmla="*/ 15 h 60"/>
                  <a:gd name="T22" fmla="*/ 80 w 154"/>
                  <a:gd name="T23" fmla="*/ 7 h 60"/>
                  <a:gd name="T24" fmla="*/ 73 w 154"/>
                  <a:gd name="T25" fmla="*/ 15 h 60"/>
                  <a:gd name="T26" fmla="*/ 64 w 154"/>
                  <a:gd name="T27" fmla="*/ 7 h 60"/>
                  <a:gd name="T28" fmla="*/ 57 w 154"/>
                  <a:gd name="T29" fmla="*/ 19 h 60"/>
                  <a:gd name="T30" fmla="*/ 50 w 154"/>
                  <a:gd name="T31" fmla="*/ 22 h 60"/>
                  <a:gd name="T32" fmla="*/ 45 w 154"/>
                  <a:gd name="T33" fmla="*/ 19 h 60"/>
                  <a:gd name="T34" fmla="*/ 43 w 154"/>
                  <a:gd name="T35" fmla="*/ 17 h 60"/>
                  <a:gd name="T36" fmla="*/ 45 w 154"/>
                  <a:gd name="T37" fmla="*/ 15 h 60"/>
                  <a:gd name="T38" fmla="*/ 47 w 154"/>
                  <a:gd name="T39" fmla="*/ 10 h 60"/>
                  <a:gd name="T40" fmla="*/ 33 w 154"/>
                  <a:gd name="T41" fmla="*/ 3 h 60"/>
                  <a:gd name="T42" fmla="*/ 28 w 154"/>
                  <a:gd name="T43" fmla="*/ 5 h 60"/>
                  <a:gd name="T44" fmla="*/ 26 w 154"/>
                  <a:gd name="T45" fmla="*/ 5 h 60"/>
                  <a:gd name="T46" fmla="*/ 31 w 154"/>
                  <a:gd name="T47" fmla="*/ 12 h 60"/>
                  <a:gd name="T48" fmla="*/ 28 w 154"/>
                  <a:gd name="T49" fmla="*/ 10 h 60"/>
                  <a:gd name="T50" fmla="*/ 24 w 154"/>
                  <a:gd name="T51" fmla="*/ 10 h 60"/>
                  <a:gd name="T52" fmla="*/ 16 w 154"/>
                  <a:gd name="T53" fmla="*/ 7 h 60"/>
                  <a:gd name="T54" fmla="*/ 14 w 154"/>
                  <a:gd name="T55" fmla="*/ 10 h 60"/>
                  <a:gd name="T56" fmla="*/ 12 w 154"/>
                  <a:gd name="T57" fmla="*/ 15 h 60"/>
                  <a:gd name="T58" fmla="*/ 7 w 154"/>
                  <a:gd name="T59" fmla="*/ 15 h 60"/>
                  <a:gd name="T60" fmla="*/ 7 w 154"/>
                  <a:gd name="T61" fmla="*/ 19 h 60"/>
                  <a:gd name="T62" fmla="*/ 7 w 154"/>
                  <a:gd name="T63" fmla="*/ 22 h 60"/>
                  <a:gd name="T64" fmla="*/ 31 w 154"/>
                  <a:gd name="T65" fmla="*/ 19 h 60"/>
                  <a:gd name="T66" fmla="*/ 26 w 154"/>
                  <a:gd name="T67" fmla="*/ 24 h 60"/>
                  <a:gd name="T68" fmla="*/ 35 w 154"/>
                  <a:gd name="T69" fmla="*/ 29 h 60"/>
                  <a:gd name="T70" fmla="*/ 21 w 154"/>
                  <a:gd name="T71" fmla="*/ 29 h 60"/>
                  <a:gd name="T72" fmla="*/ 9 w 154"/>
                  <a:gd name="T73" fmla="*/ 31 h 60"/>
                  <a:gd name="T74" fmla="*/ 5 w 154"/>
                  <a:gd name="T75" fmla="*/ 33 h 60"/>
                  <a:gd name="T76" fmla="*/ 28 w 154"/>
                  <a:gd name="T77" fmla="*/ 33 h 60"/>
                  <a:gd name="T78" fmla="*/ 35 w 154"/>
                  <a:gd name="T79" fmla="*/ 36 h 60"/>
                  <a:gd name="T80" fmla="*/ 31 w 154"/>
                  <a:gd name="T81" fmla="*/ 41 h 60"/>
                  <a:gd name="T82" fmla="*/ 38 w 154"/>
                  <a:gd name="T83" fmla="*/ 41 h 60"/>
                  <a:gd name="T84" fmla="*/ 28 w 154"/>
                  <a:gd name="T85" fmla="*/ 45 h 60"/>
                  <a:gd name="T86" fmla="*/ 19 w 154"/>
                  <a:gd name="T87" fmla="*/ 45 h 60"/>
                  <a:gd name="T88" fmla="*/ 35 w 154"/>
                  <a:gd name="T89" fmla="*/ 50 h 60"/>
                  <a:gd name="T90" fmla="*/ 43 w 154"/>
                  <a:gd name="T91" fmla="*/ 50 h 60"/>
                  <a:gd name="T92" fmla="*/ 50 w 154"/>
                  <a:gd name="T93" fmla="*/ 52 h 60"/>
                  <a:gd name="T94" fmla="*/ 54 w 154"/>
                  <a:gd name="T95" fmla="*/ 55 h 60"/>
                  <a:gd name="T96" fmla="*/ 80 w 154"/>
                  <a:gd name="T97" fmla="*/ 57 h 60"/>
                  <a:gd name="T98" fmla="*/ 85 w 154"/>
                  <a:gd name="T99" fmla="*/ 55 h 60"/>
                  <a:gd name="T100" fmla="*/ 104 w 154"/>
                  <a:gd name="T101" fmla="*/ 50 h 60"/>
                  <a:gd name="T102" fmla="*/ 130 w 154"/>
                  <a:gd name="T103" fmla="*/ 41 h 60"/>
                  <a:gd name="T104" fmla="*/ 139 w 154"/>
                  <a:gd name="T105" fmla="*/ 36 h 60"/>
                  <a:gd name="T106" fmla="*/ 149 w 154"/>
                  <a:gd name="T107" fmla="*/ 31 h 60"/>
                  <a:gd name="T108" fmla="*/ 154 w 154"/>
                  <a:gd name="T109" fmla="*/ 26 h 60"/>
                  <a:gd name="T110" fmla="*/ 151 w 154"/>
                  <a:gd name="T111" fmla="*/ 24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4" h="60">
                    <a:moveTo>
                      <a:pt x="151" y="22"/>
                    </a:moveTo>
                    <a:lnTo>
                      <a:pt x="151" y="22"/>
                    </a:lnTo>
                    <a:lnTo>
                      <a:pt x="154" y="22"/>
                    </a:lnTo>
                    <a:lnTo>
                      <a:pt x="154" y="19"/>
                    </a:lnTo>
                    <a:lnTo>
                      <a:pt x="154" y="19"/>
                    </a:lnTo>
                    <a:lnTo>
                      <a:pt x="154" y="19"/>
                    </a:lnTo>
                    <a:lnTo>
                      <a:pt x="154" y="19"/>
                    </a:lnTo>
                    <a:lnTo>
                      <a:pt x="151" y="19"/>
                    </a:lnTo>
                    <a:lnTo>
                      <a:pt x="151" y="17"/>
                    </a:lnTo>
                    <a:lnTo>
                      <a:pt x="149" y="17"/>
                    </a:lnTo>
                    <a:lnTo>
                      <a:pt x="147" y="17"/>
                    </a:lnTo>
                    <a:lnTo>
                      <a:pt x="144" y="17"/>
                    </a:lnTo>
                    <a:lnTo>
                      <a:pt x="142" y="17"/>
                    </a:lnTo>
                    <a:lnTo>
                      <a:pt x="144" y="17"/>
                    </a:lnTo>
                    <a:lnTo>
                      <a:pt x="144" y="17"/>
                    </a:lnTo>
                    <a:lnTo>
                      <a:pt x="144" y="15"/>
                    </a:lnTo>
                    <a:lnTo>
                      <a:pt x="144" y="15"/>
                    </a:lnTo>
                    <a:lnTo>
                      <a:pt x="144" y="15"/>
                    </a:lnTo>
                    <a:lnTo>
                      <a:pt x="144" y="15"/>
                    </a:lnTo>
                    <a:lnTo>
                      <a:pt x="144" y="15"/>
                    </a:lnTo>
                    <a:lnTo>
                      <a:pt x="139" y="15"/>
                    </a:lnTo>
                    <a:lnTo>
                      <a:pt x="137" y="15"/>
                    </a:lnTo>
                    <a:lnTo>
                      <a:pt x="137" y="15"/>
                    </a:lnTo>
                    <a:lnTo>
                      <a:pt x="139" y="12"/>
                    </a:lnTo>
                    <a:lnTo>
                      <a:pt x="139" y="12"/>
                    </a:lnTo>
                    <a:lnTo>
                      <a:pt x="139" y="10"/>
                    </a:lnTo>
                    <a:lnTo>
                      <a:pt x="139" y="10"/>
                    </a:lnTo>
                    <a:lnTo>
                      <a:pt x="139" y="10"/>
                    </a:lnTo>
                    <a:lnTo>
                      <a:pt x="139" y="10"/>
                    </a:lnTo>
                    <a:lnTo>
                      <a:pt x="139" y="10"/>
                    </a:lnTo>
                    <a:lnTo>
                      <a:pt x="137" y="10"/>
                    </a:lnTo>
                    <a:lnTo>
                      <a:pt x="137" y="10"/>
                    </a:lnTo>
                    <a:lnTo>
                      <a:pt x="135" y="7"/>
                    </a:lnTo>
                    <a:lnTo>
                      <a:pt x="135" y="7"/>
                    </a:lnTo>
                    <a:lnTo>
                      <a:pt x="137" y="7"/>
                    </a:lnTo>
                    <a:lnTo>
                      <a:pt x="139" y="5"/>
                    </a:lnTo>
                    <a:lnTo>
                      <a:pt x="139" y="5"/>
                    </a:lnTo>
                    <a:lnTo>
                      <a:pt x="142" y="5"/>
                    </a:lnTo>
                    <a:lnTo>
                      <a:pt x="144" y="3"/>
                    </a:lnTo>
                    <a:lnTo>
                      <a:pt x="144" y="3"/>
                    </a:lnTo>
                    <a:lnTo>
                      <a:pt x="142" y="3"/>
                    </a:lnTo>
                    <a:lnTo>
                      <a:pt x="139" y="3"/>
                    </a:lnTo>
                    <a:lnTo>
                      <a:pt x="137" y="3"/>
                    </a:lnTo>
                    <a:lnTo>
                      <a:pt x="135" y="5"/>
                    </a:lnTo>
                    <a:lnTo>
                      <a:pt x="135" y="5"/>
                    </a:lnTo>
                    <a:lnTo>
                      <a:pt x="130" y="5"/>
                    </a:lnTo>
                    <a:lnTo>
                      <a:pt x="130" y="5"/>
                    </a:lnTo>
                    <a:lnTo>
                      <a:pt x="128" y="5"/>
                    </a:lnTo>
                    <a:lnTo>
                      <a:pt x="128" y="5"/>
                    </a:lnTo>
                    <a:lnTo>
                      <a:pt x="128" y="3"/>
                    </a:lnTo>
                    <a:lnTo>
                      <a:pt x="128" y="3"/>
                    </a:lnTo>
                    <a:lnTo>
                      <a:pt x="125" y="3"/>
                    </a:lnTo>
                    <a:lnTo>
                      <a:pt x="125" y="0"/>
                    </a:lnTo>
                    <a:lnTo>
                      <a:pt x="123" y="0"/>
                    </a:lnTo>
                    <a:lnTo>
                      <a:pt x="121" y="0"/>
                    </a:lnTo>
                    <a:lnTo>
                      <a:pt x="118" y="0"/>
                    </a:lnTo>
                    <a:lnTo>
                      <a:pt x="116" y="3"/>
                    </a:lnTo>
                    <a:lnTo>
                      <a:pt x="118" y="5"/>
                    </a:lnTo>
                    <a:lnTo>
                      <a:pt x="116" y="5"/>
                    </a:lnTo>
                    <a:lnTo>
                      <a:pt x="116" y="7"/>
                    </a:lnTo>
                    <a:lnTo>
                      <a:pt x="113" y="7"/>
                    </a:lnTo>
                    <a:lnTo>
                      <a:pt x="111" y="7"/>
                    </a:lnTo>
                    <a:lnTo>
                      <a:pt x="111" y="7"/>
                    </a:lnTo>
                    <a:lnTo>
                      <a:pt x="109" y="7"/>
                    </a:lnTo>
                    <a:lnTo>
                      <a:pt x="109" y="7"/>
                    </a:lnTo>
                    <a:lnTo>
                      <a:pt x="109" y="7"/>
                    </a:lnTo>
                    <a:lnTo>
                      <a:pt x="106" y="7"/>
                    </a:lnTo>
                    <a:lnTo>
                      <a:pt x="106" y="7"/>
                    </a:lnTo>
                    <a:lnTo>
                      <a:pt x="104" y="7"/>
                    </a:lnTo>
                    <a:lnTo>
                      <a:pt x="102" y="10"/>
                    </a:lnTo>
                    <a:lnTo>
                      <a:pt x="102" y="10"/>
                    </a:lnTo>
                    <a:lnTo>
                      <a:pt x="99" y="10"/>
                    </a:lnTo>
                    <a:lnTo>
                      <a:pt x="99" y="10"/>
                    </a:lnTo>
                    <a:lnTo>
                      <a:pt x="99" y="10"/>
                    </a:lnTo>
                    <a:lnTo>
                      <a:pt x="99" y="10"/>
                    </a:lnTo>
                    <a:lnTo>
                      <a:pt x="97" y="7"/>
                    </a:lnTo>
                    <a:lnTo>
                      <a:pt x="97" y="7"/>
                    </a:lnTo>
                    <a:lnTo>
                      <a:pt x="92" y="7"/>
                    </a:lnTo>
                    <a:lnTo>
                      <a:pt x="90" y="7"/>
                    </a:lnTo>
                    <a:lnTo>
                      <a:pt x="90" y="7"/>
                    </a:lnTo>
                    <a:lnTo>
                      <a:pt x="90" y="7"/>
                    </a:lnTo>
                    <a:lnTo>
                      <a:pt x="92" y="12"/>
                    </a:lnTo>
                    <a:lnTo>
                      <a:pt x="92" y="12"/>
                    </a:lnTo>
                    <a:lnTo>
                      <a:pt x="92" y="15"/>
                    </a:lnTo>
                    <a:lnTo>
                      <a:pt x="92" y="15"/>
                    </a:lnTo>
                    <a:lnTo>
                      <a:pt x="90" y="15"/>
                    </a:lnTo>
                    <a:lnTo>
                      <a:pt x="90" y="15"/>
                    </a:lnTo>
                    <a:lnTo>
                      <a:pt x="90" y="15"/>
                    </a:lnTo>
                    <a:lnTo>
                      <a:pt x="90" y="12"/>
                    </a:lnTo>
                    <a:lnTo>
                      <a:pt x="87" y="10"/>
                    </a:lnTo>
                    <a:lnTo>
                      <a:pt x="85" y="10"/>
                    </a:lnTo>
                    <a:lnTo>
                      <a:pt x="85" y="7"/>
                    </a:lnTo>
                    <a:lnTo>
                      <a:pt x="83" y="7"/>
                    </a:lnTo>
                    <a:lnTo>
                      <a:pt x="83" y="7"/>
                    </a:lnTo>
                    <a:lnTo>
                      <a:pt x="83" y="7"/>
                    </a:lnTo>
                    <a:lnTo>
                      <a:pt x="80" y="7"/>
                    </a:lnTo>
                    <a:lnTo>
                      <a:pt x="78" y="7"/>
                    </a:lnTo>
                    <a:lnTo>
                      <a:pt x="78" y="7"/>
                    </a:lnTo>
                    <a:lnTo>
                      <a:pt x="76" y="10"/>
                    </a:lnTo>
                    <a:lnTo>
                      <a:pt x="73" y="10"/>
                    </a:lnTo>
                    <a:lnTo>
                      <a:pt x="73" y="10"/>
                    </a:lnTo>
                    <a:lnTo>
                      <a:pt x="73" y="15"/>
                    </a:lnTo>
                    <a:lnTo>
                      <a:pt x="73" y="15"/>
                    </a:lnTo>
                    <a:lnTo>
                      <a:pt x="73" y="15"/>
                    </a:lnTo>
                    <a:lnTo>
                      <a:pt x="71" y="15"/>
                    </a:lnTo>
                    <a:lnTo>
                      <a:pt x="71" y="15"/>
                    </a:lnTo>
                    <a:lnTo>
                      <a:pt x="71" y="15"/>
                    </a:lnTo>
                    <a:lnTo>
                      <a:pt x="69" y="12"/>
                    </a:lnTo>
                    <a:lnTo>
                      <a:pt x="66" y="12"/>
                    </a:lnTo>
                    <a:lnTo>
                      <a:pt x="66" y="10"/>
                    </a:lnTo>
                    <a:lnTo>
                      <a:pt x="64" y="10"/>
                    </a:lnTo>
                    <a:lnTo>
                      <a:pt x="64" y="7"/>
                    </a:lnTo>
                    <a:lnTo>
                      <a:pt x="61" y="10"/>
                    </a:lnTo>
                    <a:lnTo>
                      <a:pt x="61" y="10"/>
                    </a:lnTo>
                    <a:lnTo>
                      <a:pt x="61" y="12"/>
                    </a:lnTo>
                    <a:lnTo>
                      <a:pt x="61" y="15"/>
                    </a:lnTo>
                    <a:lnTo>
                      <a:pt x="59" y="15"/>
                    </a:lnTo>
                    <a:lnTo>
                      <a:pt x="59" y="17"/>
                    </a:lnTo>
                    <a:lnTo>
                      <a:pt x="57" y="19"/>
                    </a:lnTo>
                    <a:lnTo>
                      <a:pt x="57" y="19"/>
                    </a:lnTo>
                    <a:lnTo>
                      <a:pt x="57" y="17"/>
                    </a:lnTo>
                    <a:lnTo>
                      <a:pt x="54" y="17"/>
                    </a:lnTo>
                    <a:lnTo>
                      <a:pt x="54" y="17"/>
                    </a:lnTo>
                    <a:lnTo>
                      <a:pt x="54" y="17"/>
                    </a:lnTo>
                    <a:lnTo>
                      <a:pt x="52" y="17"/>
                    </a:lnTo>
                    <a:lnTo>
                      <a:pt x="50" y="19"/>
                    </a:lnTo>
                    <a:lnTo>
                      <a:pt x="50" y="19"/>
                    </a:lnTo>
                    <a:lnTo>
                      <a:pt x="50" y="22"/>
                    </a:lnTo>
                    <a:lnTo>
                      <a:pt x="50" y="22"/>
                    </a:lnTo>
                    <a:lnTo>
                      <a:pt x="50" y="22"/>
                    </a:lnTo>
                    <a:lnTo>
                      <a:pt x="47" y="22"/>
                    </a:lnTo>
                    <a:lnTo>
                      <a:pt x="47" y="24"/>
                    </a:lnTo>
                    <a:lnTo>
                      <a:pt x="47" y="24"/>
                    </a:lnTo>
                    <a:lnTo>
                      <a:pt x="47" y="24"/>
                    </a:lnTo>
                    <a:lnTo>
                      <a:pt x="45" y="22"/>
                    </a:lnTo>
                    <a:lnTo>
                      <a:pt x="45" y="19"/>
                    </a:lnTo>
                    <a:lnTo>
                      <a:pt x="45" y="19"/>
                    </a:lnTo>
                    <a:lnTo>
                      <a:pt x="43" y="19"/>
                    </a:lnTo>
                    <a:lnTo>
                      <a:pt x="43" y="19"/>
                    </a:lnTo>
                    <a:lnTo>
                      <a:pt x="45" y="19"/>
                    </a:lnTo>
                    <a:lnTo>
                      <a:pt x="45" y="19"/>
                    </a:lnTo>
                    <a:lnTo>
                      <a:pt x="45" y="17"/>
                    </a:lnTo>
                    <a:lnTo>
                      <a:pt x="45" y="17"/>
                    </a:lnTo>
                    <a:lnTo>
                      <a:pt x="43" y="17"/>
                    </a:lnTo>
                    <a:lnTo>
                      <a:pt x="43" y="17"/>
                    </a:lnTo>
                    <a:lnTo>
                      <a:pt x="45" y="17"/>
                    </a:lnTo>
                    <a:lnTo>
                      <a:pt x="43" y="17"/>
                    </a:lnTo>
                    <a:lnTo>
                      <a:pt x="43" y="17"/>
                    </a:lnTo>
                    <a:lnTo>
                      <a:pt x="40" y="15"/>
                    </a:lnTo>
                    <a:lnTo>
                      <a:pt x="45" y="17"/>
                    </a:lnTo>
                    <a:lnTo>
                      <a:pt x="45" y="15"/>
                    </a:lnTo>
                    <a:lnTo>
                      <a:pt x="45" y="15"/>
                    </a:lnTo>
                    <a:lnTo>
                      <a:pt x="47" y="12"/>
                    </a:lnTo>
                    <a:lnTo>
                      <a:pt x="47" y="12"/>
                    </a:lnTo>
                    <a:lnTo>
                      <a:pt x="47" y="12"/>
                    </a:lnTo>
                    <a:lnTo>
                      <a:pt x="45" y="12"/>
                    </a:lnTo>
                    <a:lnTo>
                      <a:pt x="45" y="10"/>
                    </a:lnTo>
                    <a:lnTo>
                      <a:pt x="45" y="10"/>
                    </a:lnTo>
                    <a:lnTo>
                      <a:pt x="47" y="10"/>
                    </a:lnTo>
                    <a:lnTo>
                      <a:pt x="47" y="10"/>
                    </a:lnTo>
                    <a:lnTo>
                      <a:pt x="43" y="7"/>
                    </a:lnTo>
                    <a:lnTo>
                      <a:pt x="40" y="7"/>
                    </a:lnTo>
                    <a:lnTo>
                      <a:pt x="40" y="5"/>
                    </a:lnTo>
                    <a:lnTo>
                      <a:pt x="40" y="5"/>
                    </a:lnTo>
                    <a:lnTo>
                      <a:pt x="38" y="5"/>
                    </a:lnTo>
                    <a:lnTo>
                      <a:pt x="35" y="3"/>
                    </a:lnTo>
                    <a:lnTo>
                      <a:pt x="33" y="3"/>
                    </a:lnTo>
                    <a:lnTo>
                      <a:pt x="33" y="3"/>
                    </a:lnTo>
                    <a:lnTo>
                      <a:pt x="31" y="3"/>
                    </a:lnTo>
                    <a:lnTo>
                      <a:pt x="28" y="3"/>
                    </a:lnTo>
                    <a:lnTo>
                      <a:pt x="26" y="3"/>
                    </a:lnTo>
                    <a:lnTo>
                      <a:pt x="26" y="3"/>
                    </a:lnTo>
                    <a:lnTo>
                      <a:pt x="24" y="3"/>
                    </a:lnTo>
                    <a:lnTo>
                      <a:pt x="24" y="5"/>
                    </a:lnTo>
                    <a:lnTo>
                      <a:pt x="26" y="5"/>
                    </a:lnTo>
                    <a:lnTo>
                      <a:pt x="28" y="5"/>
                    </a:lnTo>
                    <a:lnTo>
                      <a:pt x="31" y="5"/>
                    </a:lnTo>
                    <a:lnTo>
                      <a:pt x="31" y="5"/>
                    </a:lnTo>
                    <a:lnTo>
                      <a:pt x="31" y="5"/>
                    </a:lnTo>
                    <a:lnTo>
                      <a:pt x="31" y="5"/>
                    </a:lnTo>
                    <a:lnTo>
                      <a:pt x="33" y="5"/>
                    </a:lnTo>
                    <a:lnTo>
                      <a:pt x="33" y="5"/>
                    </a:lnTo>
                    <a:lnTo>
                      <a:pt x="28" y="5"/>
                    </a:lnTo>
                    <a:lnTo>
                      <a:pt x="26" y="5"/>
                    </a:lnTo>
                    <a:lnTo>
                      <a:pt x="26" y="5"/>
                    </a:lnTo>
                    <a:lnTo>
                      <a:pt x="26" y="7"/>
                    </a:lnTo>
                    <a:lnTo>
                      <a:pt x="26" y="7"/>
                    </a:lnTo>
                    <a:lnTo>
                      <a:pt x="28" y="7"/>
                    </a:lnTo>
                    <a:lnTo>
                      <a:pt x="33" y="10"/>
                    </a:lnTo>
                    <a:lnTo>
                      <a:pt x="33" y="10"/>
                    </a:lnTo>
                    <a:lnTo>
                      <a:pt x="33" y="10"/>
                    </a:lnTo>
                    <a:lnTo>
                      <a:pt x="31" y="12"/>
                    </a:lnTo>
                    <a:lnTo>
                      <a:pt x="31" y="12"/>
                    </a:lnTo>
                    <a:lnTo>
                      <a:pt x="31" y="12"/>
                    </a:lnTo>
                    <a:lnTo>
                      <a:pt x="28" y="12"/>
                    </a:lnTo>
                    <a:lnTo>
                      <a:pt x="28" y="12"/>
                    </a:lnTo>
                    <a:lnTo>
                      <a:pt x="28" y="12"/>
                    </a:lnTo>
                    <a:lnTo>
                      <a:pt x="28" y="10"/>
                    </a:lnTo>
                    <a:lnTo>
                      <a:pt x="28" y="10"/>
                    </a:lnTo>
                    <a:lnTo>
                      <a:pt x="28" y="10"/>
                    </a:lnTo>
                    <a:lnTo>
                      <a:pt x="28" y="10"/>
                    </a:lnTo>
                    <a:lnTo>
                      <a:pt x="26" y="10"/>
                    </a:lnTo>
                    <a:lnTo>
                      <a:pt x="26" y="10"/>
                    </a:lnTo>
                    <a:lnTo>
                      <a:pt x="26" y="10"/>
                    </a:lnTo>
                    <a:lnTo>
                      <a:pt x="24" y="10"/>
                    </a:lnTo>
                    <a:lnTo>
                      <a:pt x="24" y="10"/>
                    </a:lnTo>
                    <a:lnTo>
                      <a:pt x="24" y="10"/>
                    </a:lnTo>
                    <a:lnTo>
                      <a:pt x="24" y="10"/>
                    </a:lnTo>
                    <a:lnTo>
                      <a:pt x="24" y="10"/>
                    </a:lnTo>
                    <a:lnTo>
                      <a:pt x="21" y="7"/>
                    </a:lnTo>
                    <a:lnTo>
                      <a:pt x="19" y="7"/>
                    </a:lnTo>
                    <a:lnTo>
                      <a:pt x="19" y="7"/>
                    </a:lnTo>
                    <a:lnTo>
                      <a:pt x="16" y="7"/>
                    </a:lnTo>
                    <a:lnTo>
                      <a:pt x="16" y="7"/>
                    </a:lnTo>
                    <a:lnTo>
                      <a:pt x="16" y="7"/>
                    </a:lnTo>
                    <a:lnTo>
                      <a:pt x="16" y="7"/>
                    </a:lnTo>
                    <a:lnTo>
                      <a:pt x="16" y="7"/>
                    </a:lnTo>
                    <a:lnTo>
                      <a:pt x="16" y="10"/>
                    </a:lnTo>
                    <a:lnTo>
                      <a:pt x="19" y="10"/>
                    </a:lnTo>
                    <a:lnTo>
                      <a:pt x="16" y="10"/>
                    </a:lnTo>
                    <a:lnTo>
                      <a:pt x="14" y="10"/>
                    </a:lnTo>
                    <a:lnTo>
                      <a:pt x="14" y="10"/>
                    </a:lnTo>
                    <a:lnTo>
                      <a:pt x="14" y="10"/>
                    </a:lnTo>
                    <a:lnTo>
                      <a:pt x="14" y="10"/>
                    </a:lnTo>
                    <a:lnTo>
                      <a:pt x="14" y="10"/>
                    </a:lnTo>
                    <a:lnTo>
                      <a:pt x="14" y="12"/>
                    </a:lnTo>
                    <a:lnTo>
                      <a:pt x="16" y="12"/>
                    </a:lnTo>
                    <a:lnTo>
                      <a:pt x="12" y="12"/>
                    </a:lnTo>
                    <a:lnTo>
                      <a:pt x="12" y="12"/>
                    </a:lnTo>
                    <a:lnTo>
                      <a:pt x="12" y="12"/>
                    </a:lnTo>
                    <a:lnTo>
                      <a:pt x="12" y="15"/>
                    </a:lnTo>
                    <a:lnTo>
                      <a:pt x="12" y="15"/>
                    </a:lnTo>
                    <a:lnTo>
                      <a:pt x="14" y="15"/>
                    </a:lnTo>
                    <a:lnTo>
                      <a:pt x="19" y="15"/>
                    </a:lnTo>
                    <a:lnTo>
                      <a:pt x="19" y="15"/>
                    </a:lnTo>
                    <a:lnTo>
                      <a:pt x="16" y="15"/>
                    </a:lnTo>
                    <a:lnTo>
                      <a:pt x="16" y="17"/>
                    </a:lnTo>
                    <a:lnTo>
                      <a:pt x="14" y="17"/>
                    </a:lnTo>
                    <a:lnTo>
                      <a:pt x="9" y="15"/>
                    </a:lnTo>
                    <a:lnTo>
                      <a:pt x="7" y="15"/>
                    </a:lnTo>
                    <a:lnTo>
                      <a:pt x="7" y="15"/>
                    </a:lnTo>
                    <a:lnTo>
                      <a:pt x="7" y="15"/>
                    </a:lnTo>
                    <a:lnTo>
                      <a:pt x="7" y="15"/>
                    </a:lnTo>
                    <a:lnTo>
                      <a:pt x="7" y="17"/>
                    </a:lnTo>
                    <a:lnTo>
                      <a:pt x="7" y="17"/>
                    </a:lnTo>
                    <a:lnTo>
                      <a:pt x="7" y="17"/>
                    </a:lnTo>
                    <a:lnTo>
                      <a:pt x="9" y="19"/>
                    </a:lnTo>
                    <a:lnTo>
                      <a:pt x="7" y="19"/>
                    </a:lnTo>
                    <a:lnTo>
                      <a:pt x="5" y="17"/>
                    </a:lnTo>
                    <a:lnTo>
                      <a:pt x="5" y="17"/>
                    </a:lnTo>
                    <a:lnTo>
                      <a:pt x="2" y="17"/>
                    </a:lnTo>
                    <a:lnTo>
                      <a:pt x="0" y="19"/>
                    </a:lnTo>
                    <a:lnTo>
                      <a:pt x="0" y="19"/>
                    </a:lnTo>
                    <a:lnTo>
                      <a:pt x="5" y="19"/>
                    </a:lnTo>
                    <a:lnTo>
                      <a:pt x="7" y="22"/>
                    </a:lnTo>
                    <a:lnTo>
                      <a:pt x="7" y="22"/>
                    </a:lnTo>
                    <a:lnTo>
                      <a:pt x="9" y="22"/>
                    </a:lnTo>
                    <a:lnTo>
                      <a:pt x="12" y="19"/>
                    </a:lnTo>
                    <a:lnTo>
                      <a:pt x="19" y="19"/>
                    </a:lnTo>
                    <a:lnTo>
                      <a:pt x="24" y="17"/>
                    </a:lnTo>
                    <a:lnTo>
                      <a:pt x="24" y="19"/>
                    </a:lnTo>
                    <a:lnTo>
                      <a:pt x="26" y="19"/>
                    </a:lnTo>
                    <a:lnTo>
                      <a:pt x="31" y="19"/>
                    </a:lnTo>
                    <a:lnTo>
                      <a:pt x="31" y="19"/>
                    </a:lnTo>
                    <a:lnTo>
                      <a:pt x="35" y="19"/>
                    </a:lnTo>
                    <a:lnTo>
                      <a:pt x="38" y="19"/>
                    </a:lnTo>
                    <a:lnTo>
                      <a:pt x="38" y="22"/>
                    </a:lnTo>
                    <a:lnTo>
                      <a:pt x="35" y="22"/>
                    </a:lnTo>
                    <a:lnTo>
                      <a:pt x="33" y="22"/>
                    </a:lnTo>
                    <a:lnTo>
                      <a:pt x="31" y="24"/>
                    </a:lnTo>
                    <a:lnTo>
                      <a:pt x="28" y="24"/>
                    </a:lnTo>
                    <a:lnTo>
                      <a:pt x="26" y="24"/>
                    </a:lnTo>
                    <a:lnTo>
                      <a:pt x="28" y="26"/>
                    </a:lnTo>
                    <a:lnTo>
                      <a:pt x="33" y="26"/>
                    </a:lnTo>
                    <a:lnTo>
                      <a:pt x="33" y="26"/>
                    </a:lnTo>
                    <a:lnTo>
                      <a:pt x="38" y="26"/>
                    </a:lnTo>
                    <a:lnTo>
                      <a:pt x="38" y="26"/>
                    </a:lnTo>
                    <a:lnTo>
                      <a:pt x="35" y="26"/>
                    </a:lnTo>
                    <a:lnTo>
                      <a:pt x="35" y="26"/>
                    </a:lnTo>
                    <a:lnTo>
                      <a:pt x="35" y="29"/>
                    </a:lnTo>
                    <a:lnTo>
                      <a:pt x="28" y="29"/>
                    </a:lnTo>
                    <a:lnTo>
                      <a:pt x="26" y="29"/>
                    </a:lnTo>
                    <a:lnTo>
                      <a:pt x="24" y="29"/>
                    </a:lnTo>
                    <a:lnTo>
                      <a:pt x="24" y="29"/>
                    </a:lnTo>
                    <a:lnTo>
                      <a:pt x="21" y="29"/>
                    </a:lnTo>
                    <a:lnTo>
                      <a:pt x="21" y="29"/>
                    </a:lnTo>
                    <a:lnTo>
                      <a:pt x="21" y="29"/>
                    </a:lnTo>
                    <a:lnTo>
                      <a:pt x="21" y="29"/>
                    </a:lnTo>
                    <a:lnTo>
                      <a:pt x="16" y="29"/>
                    </a:lnTo>
                    <a:lnTo>
                      <a:pt x="16" y="29"/>
                    </a:lnTo>
                    <a:lnTo>
                      <a:pt x="16" y="29"/>
                    </a:lnTo>
                    <a:lnTo>
                      <a:pt x="16" y="29"/>
                    </a:lnTo>
                    <a:lnTo>
                      <a:pt x="14" y="29"/>
                    </a:lnTo>
                    <a:lnTo>
                      <a:pt x="14" y="29"/>
                    </a:lnTo>
                    <a:lnTo>
                      <a:pt x="12" y="29"/>
                    </a:lnTo>
                    <a:lnTo>
                      <a:pt x="9" y="31"/>
                    </a:lnTo>
                    <a:lnTo>
                      <a:pt x="7" y="31"/>
                    </a:lnTo>
                    <a:lnTo>
                      <a:pt x="5" y="31"/>
                    </a:lnTo>
                    <a:lnTo>
                      <a:pt x="5" y="31"/>
                    </a:lnTo>
                    <a:lnTo>
                      <a:pt x="2" y="31"/>
                    </a:lnTo>
                    <a:lnTo>
                      <a:pt x="5" y="31"/>
                    </a:lnTo>
                    <a:lnTo>
                      <a:pt x="5" y="33"/>
                    </a:lnTo>
                    <a:lnTo>
                      <a:pt x="5" y="33"/>
                    </a:lnTo>
                    <a:lnTo>
                      <a:pt x="5" y="33"/>
                    </a:lnTo>
                    <a:lnTo>
                      <a:pt x="7" y="33"/>
                    </a:lnTo>
                    <a:lnTo>
                      <a:pt x="12" y="31"/>
                    </a:lnTo>
                    <a:lnTo>
                      <a:pt x="12" y="31"/>
                    </a:lnTo>
                    <a:lnTo>
                      <a:pt x="21" y="33"/>
                    </a:lnTo>
                    <a:lnTo>
                      <a:pt x="26" y="33"/>
                    </a:lnTo>
                    <a:lnTo>
                      <a:pt x="28" y="33"/>
                    </a:lnTo>
                    <a:lnTo>
                      <a:pt x="28" y="33"/>
                    </a:lnTo>
                    <a:lnTo>
                      <a:pt x="28" y="33"/>
                    </a:lnTo>
                    <a:lnTo>
                      <a:pt x="26" y="36"/>
                    </a:lnTo>
                    <a:lnTo>
                      <a:pt x="26" y="36"/>
                    </a:lnTo>
                    <a:lnTo>
                      <a:pt x="26" y="36"/>
                    </a:lnTo>
                    <a:lnTo>
                      <a:pt x="28" y="36"/>
                    </a:lnTo>
                    <a:lnTo>
                      <a:pt x="28" y="38"/>
                    </a:lnTo>
                    <a:lnTo>
                      <a:pt x="28" y="38"/>
                    </a:lnTo>
                    <a:lnTo>
                      <a:pt x="31" y="36"/>
                    </a:lnTo>
                    <a:lnTo>
                      <a:pt x="35" y="36"/>
                    </a:lnTo>
                    <a:lnTo>
                      <a:pt x="35" y="36"/>
                    </a:lnTo>
                    <a:lnTo>
                      <a:pt x="38" y="36"/>
                    </a:lnTo>
                    <a:lnTo>
                      <a:pt x="35" y="36"/>
                    </a:lnTo>
                    <a:lnTo>
                      <a:pt x="35" y="36"/>
                    </a:lnTo>
                    <a:lnTo>
                      <a:pt x="31" y="38"/>
                    </a:lnTo>
                    <a:lnTo>
                      <a:pt x="31" y="38"/>
                    </a:lnTo>
                    <a:lnTo>
                      <a:pt x="31" y="41"/>
                    </a:lnTo>
                    <a:lnTo>
                      <a:pt x="31" y="41"/>
                    </a:lnTo>
                    <a:lnTo>
                      <a:pt x="31" y="41"/>
                    </a:lnTo>
                    <a:lnTo>
                      <a:pt x="31" y="41"/>
                    </a:lnTo>
                    <a:lnTo>
                      <a:pt x="28" y="41"/>
                    </a:lnTo>
                    <a:lnTo>
                      <a:pt x="28" y="41"/>
                    </a:lnTo>
                    <a:lnTo>
                      <a:pt x="31" y="41"/>
                    </a:lnTo>
                    <a:lnTo>
                      <a:pt x="35" y="41"/>
                    </a:lnTo>
                    <a:lnTo>
                      <a:pt x="35" y="41"/>
                    </a:lnTo>
                    <a:lnTo>
                      <a:pt x="38" y="41"/>
                    </a:lnTo>
                    <a:lnTo>
                      <a:pt x="35" y="41"/>
                    </a:lnTo>
                    <a:lnTo>
                      <a:pt x="35" y="41"/>
                    </a:lnTo>
                    <a:lnTo>
                      <a:pt x="33" y="41"/>
                    </a:lnTo>
                    <a:lnTo>
                      <a:pt x="33" y="43"/>
                    </a:lnTo>
                    <a:lnTo>
                      <a:pt x="31" y="43"/>
                    </a:lnTo>
                    <a:lnTo>
                      <a:pt x="31" y="43"/>
                    </a:lnTo>
                    <a:lnTo>
                      <a:pt x="31" y="45"/>
                    </a:lnTo>
                    <a:lnTo>
                      <a:pt x="28" y="45"/>
                    </a:lnTo>
                    <a:lnTo>
                      <a:pt x="28" y="45"/>
                    </a:lnTo>
                    <a:lnTo>
                      <a:pt x="26" y="48"/>
                    </a:lnTo>
                    <a:lnTo>
                      <a:pt x="21" y="48"/>
                    </a:lnTo>
                    <a:lnTo>
                      <a:pt x="21" y="48"/>
                    </a:lnTo>
                    <a:lnTo>
                      <a:pt x="19" y="45"/>
                    </a:lnTo>
                    <a:lnTo>
                      <a:pt x="19" y="45"/>
                    </a:lnTo>
                    <a:lnTo>
                      <a:pt x="19" y="45"/>
                    </a:lnTo>
                    <a:lnTo>
                      <a:pt x="19" y="45"/>
                    </a:lnTo>
                    <a:lnTo>
                      <a:pt x="16" y="48"/>
                    </a:lnTo>
                    <a:lnTo>
                      <a:pt x="16" y="48"/>
                    </a:lnTo>
                    <a:lnTo>
                      <a:pt x="16" y="50"/>
                    </a:lnTo>
                    <a:lnTo>
                      <a:pt x="19" y="50"/>
                    </a:lnTo>
                    <a:lnTo>
                      <a:pt x="19" y="50"/>
                    </a:lnTo>
                    <a:lnTo>
                      <a:pt x="21" y="50"/>
                    </a:lnTo>
                    <a:lnTo>
                      <a:pt x="35" y="50"/>
                    </a:lnTo>
                    <a:lnTo>
                      <a:pt x="35" y="50"/>
                    </a:lnTo>
                    <a:lnTo>
                      <a:pt x="38" y="48"/>
                    </a:lnTo>
                    <a:lnTo>
                      <a:pt x="40" y="48"/>
                    </a:lnTo>
                    <a:lnTo>
                      <a:pt x="40" y="48"/>
                    </a:lnTo>
                    <a:lnTo>
                      <a:pt x="40" y="48"/>
                    </a:lnTo>
                    <a:lnTo>
                      <a:pt x="40" y="50"/>
                    </a:lnTo>
                    <a:lnTo>
                      <a:pt x="40" y="50"/>
                    </a:lnTo>
                    <a:lnTo>
                      <a:pt x="43" y="50"/>
                    </a:lnTo>
                    <a:lnTo>
                      <a:pt x="43" y="50"/>
                    </a:lnTo>
                    <a:lnTo>
                      <a:pt x="45" y="52"/>
                    </a:lnTo>
                    <a:lnTo>
                      <a:pt x="45" y="52"/>
                    </a:lnTo>
                    <a:lnTo>
                      <a:pt x="47" y="52"/>
                    </a:lnTo>
                    <a:lnTo>
                      <a:pt x="47" y="52"/>
                    </a:lnTo>
                    <a:lnTo>
                      <a:pt x="50" y="52"/>
                    </a:lnTo>
                    <a:lnTo>
                      <a:pt x="50" y="50"/>
                    </a:lnTo>
                    <a:lnTo>
                      <a:pt x="50" y="52"/>
                    </a:lnTo>
                    <a:lnTo>
                      <a:pt x="50" y="52"/>
                    </a:lnTo>
                    <a:lnTo>
                      <a:pt x="50" y="52"/>
                    </a:lnTo>
                    <a:lnTo>
                      <a:pt x="50" y="52"/>
                    </a:lnTo>
                    <a:lnTo>
                      <a:pt x="47" y="52"/>
                    </a:lnTo>
                    <a:lnTo>
                      <a:pt x="47" y="52"/>
                    </a:lnTo>
                    <a:lnTo>
                      <a:pt x="47" y="52"/>
                    </a:lnTo>
                    <a:lnTo>
                      <a:pt x="50" y="55"/>
                    </a:lnTo>
                    <a:lnTo>
                      <a:pt x="52" y="55"/>
                    </a:lnTo>
                    <a:lnTo>
                      <a:pt x="54" y="55"/>
                    </a:lnTo>
                    <a:lnTo>
                      <a:pt x="57" y="57"/>
                    </a:lnTo>
                    <a:lnTo>
                      <a:pt x="61" y="57"/>
                    </a:lnTo>
                    <a:lnTo>
                      <a:pt x="64" y="57"/>
                    </a:lnTo>
                    <a:lnTo>
                      <a:pt x="73" y="60"/>
                    </a:lnTo>
                    <a:lnTo>
                      <a:pt x="78" y="57"/>
                    </a:lnTo>
                    <a:lnTo>
                      <a:pt x="80" y="57"/>
                    </a:lnTo>
                    <a:lnTo>
                      <a:pt x="80" y="57"/>
                    </a:lnTo>
                    <a:lnTo>
                      <a:pt x="80" y="57"/>
                    </a:lnTo>
                    <a:lnTo>
                      <a:pt x="80" y="57"/>
                    </a:lnTo>
                    <a:lnTo>
                      <a:pt x="80" y="57"/>
                    </a:lnTo>
                    <a:lnTo>
                      <a:pt x="80" y="57"/>
                    </a:lnTo>
                    <a:lnTo>
                      <a:pt x="83" y="57"/>
                    </a:lnTo>
                    <a:lnTo>
                      <a:pt x="85" y="57"/>
                    </a:lnTo>
                    <a:lnTo>
                      <a:pt x="85" y="55"/>
                    </a:lnTo>
                    <a:lnTo>
                      <a:pt x="85" y="55"/>
                    </a:lnTo>
                    <a:lnTo>
                      <a:pt x="85" y="55"/>
                    </a:lnTo>
                    <a:lnTo>
                      <a:pt x="85" y="55"/>
                    </a:lnTo>
                    <a:lnTo>
                      <a:pt x="85" y="52"/>
                    </a:lnTo>
                    <a:lnTo>
                      <a:pt x="87" y="52"/>
                    </a:lnTo>
                    <a:lnTo>
                      <a:pt x="90" y="52"/>
                    </a:lnTo>
                    <a:lnTo>
                      <a:pt x="97" y="50"/>
                    </a:lnTo>
                    <a:lnTo>
                      <a:pt x="99" y="50"/>
                    </a:lnTo>
                    <a:lnTo>
                      <a:pt x="102" y="50"/>
                    </a:lnTo>
                    <a:lnTo>
                      <a:pt x="104" y="50"/>
                    </a:lnTo>
                    <a:lnTo>
                      <a:pt x="106" y="50"/>
                    </a:lnTo>
                    <a:lnTo>
                      <a:pt x="111" y="48"/>
                    </a:lnTo>
                    <a:lnTo>
                      <a:pt x="113" y="45"/>
                    </a:lnTo>
                    <a:lnTo>
                      <a:pt x="118" y="43"/>
                    </a:lnTo>
                    <a:lnTo>
                      <a:pt x="123" y="43"/>
                    </a:lnTo>
                    <a:lnTo>
                      <a:pt x="125" y="43"/>
                    </a:lnTo>
                    <a:lnTo>
                      <a:pt x="130" y="43"/>
                    </a:lnTo>
                    <a:lnTo>
                      <a:pt x="130" y="41"/>
                    </a:lnTo>
                    <a:lnTo>
                      <a:pt x="132" y="41"/>
                    </a:lnTo>
                    <a:lnTo>
                      <a:pt x="135" y="41"/>
                    </a:lnTo>
                    <a:lnTo>
                      <a:pt x="137" y="38"/>
                    </a:lnTo>
                    <a:lnTo>
                      <a:pt x="137" y="38"/>
                    </a:lnTo>
                    <a:lnTo>
                      <a:pt x="139" y="38"/>
                    </a:lnTo>
                    <a:lnTo>
                      <a:pt x="139" y="36"/>
                    </a:lnTo>
                    <a:lnTo>
                      <a:pt x="139" y="36"/>
                    </a:lnTo>
                    <a:lnTo>
                      <a:pt x="139" y="36"/>
                    </a:lnTo>
                    <a:lnTo>
                      <a:pt x="139" y="36"/>
                    </a:lnTo>
                    <a:lnTo>
                      <a:pt x="139" y="33"/>
                    </a:lnTo>
                    <a:lnTo>
                      <a:pt x="142" y="33"/>
                    </a:lnTo>
                    <a:lnTo>
                      <a:pt x="144" y="33"/>
                    </a:lnTo>
                    <a:lnTo>
                      <a:pt x="144" y="33"/>
                    </a:lnTo>
                    <a:lnTo>
                      <a:pt x="147" y="33"/>
                    </a:lnTo>
                    <a:lnTo>
                      <a:pt x="149" y="31"/>
                    </a:lnTo>
                    <a:lnTo>
                      <a:pt x="149" y="31"/>
                    </a:lnTo>
                    <a:lnTo>
                      <a:pt x="149" y="29"/>
                    </a:lnTo>
                    <a:lnTo>
                      <a:pt x="149" y="29"/>
                    </a:lnTo>
                    <a:lnTo>
                      <a:pt x="149" y="29"/>
                    </a:lnTo>
                    <a:lnTo>
                      <a:pt x="151" y="29"/>
                    </a:lnTo>
                    <a:lnTo>
                      <a:pt x="151" y="29"/>
                    </a:lnTo>
                    <a:lnTo>
                      <a:pt x="154" y="26"/>
                    </a:lnTo>
                    <a:lnTo>
                      <a:pt x="154" y="26"/>
                    </a:lnTo>
                    <a:lnTo>
                      <a:pt x="154" y="26"/>
                    </a:lnTo>
                    <a:lnTo>
                      <a:pt x="154" y="26"/>
                    </a:lnTo>
                    <a:lnTo>
                      <a:pt x="151" y="24"/>
                    </a:lnTo>
                    <a:lnTo>
                      <a:pt x="151" y="24"/>
                    </a:lnTo>
                    <a:lnTo>
                      <a:pt x="151" y="24"/>
                    </a:lnTo>
                    <a:lnTo>
                      <a:pt x="151" y="24"/>
                    </a:lnTo>
                    <a:lnTo>
                      <a:pt x="151" y="24"/>
                    </a:lnTo>
                    <a:lnTo>
                      <a:pt x="151" y="24"/>
                    </a:lnTo>
                    <a:lnTo>
                      <a:pt x="151" y="24"/>
                    </a:lnTo>
                    <a:lnTo>
                      <a:pt x="151" y="24"/>
                    </a:lnTo>
                    <a:lnTo>
                      <a:pt x="151" y="22"/>
                    </a:lnTo>
                    <a:lnTo>
                      <a:pt x="151" y="22"/>
                    </a:lnTo>
                    <a:lnTo>
                      <a:pt x="151" y="22"/>
                    </a:lnTo>
                    <a:lnTo>
                      <a:pt x="151" y="22"/>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Freeform 136"/>
              <p:cNvSpPr>
                <a:spLocks/>
              </p:cNvSpPr>
              <p:nvPr/>
            </p:nvSpPr>
            <p:spPr bwMode="auto">
              <a:xfrm>
                <a:off x="3037" y="1777"/>
                <a:ext cx="111" cy="57"/>
              </a:xfrm>
              <a:custGeom>
                <a:avLst/>
                <a:gdLst>
                  <a:gd name="T0" fmla="*/ 111 w 111"/>
                  <a:gd name="T1" fmla="*/ 10 h 57"/>
                  <a:gd name="T2" fmla="*/ 109 w 111"/>
                  <a:gd name="T3" fmla="*/ 10 h 57"/>
                  <a:gd name="T4" fmla="*/ 104 w 111"/>
                  <a:gd name="T5" fmla="*/ 7 h 57"/>
                  <a:gd name="T6" fmla="*/ 102 w 111"/>
                  <a:gd name="T7" fmla="*/ 5 h 57"/>
                  <a:gd name="T8" fmla="*/ 100 w 111"/>
                  <a:gd name="T9" fmla="*/ 2 h 57"/>
                  <a:gd name="T10" fmla="*/ 92 w 111"/>
                  <a:gd name="T11" fmla="*/ 5 h 57"/>
                  <a:gd name="T12" fmla="*/ 90 w 111"/>
                  <a:gd name="T13" fmla="*/ 2 h 57"/>
                  <a:gd name="T14" fmla="*/ 88 w 111"/>
                  <a:gd name="T15" fmla="*/ 0 h 57"/>
                  <a:gd name="T16" fmla="*/ 78 w 111"/>
                  <a:gd name="T17" fmla="*/ 0 h 57"/>
                  <a:gd name="T18" fmla="*/ 69 w 111"/>
                  <a:gd name="T19" fmla="*/ 5 h 57"/>
                  <a:gd name="T20" fmla="*/ 62 w 111"/>
                  <a:gd name="T21" fmla="*/ 7 h 57"/>
                  <a:gd name="T22" fmla="*/ 57 w 111"/>
                  <a:gd name="T23" fmla="*/ 7 h 57"/>
                  <a:gd name="T24" fmla="*/ 45 w 111"/>
                  <a:gd name="T25" fmla="*/ 12 h 57"/>
                  <a:gd name="T26" fmla="*/ 45 w 111"/>
                  <a:gd name="T27" fmla="*/ 14 h 57"/>
                  <a:gd name="T28" fmla="*/ 31 w 111"/>
                  <a:gd name="T29" fmla="*/ 17 h 57"/>
                  <a:gd name="T30" fmla="*/ 22 w 111"/>
                  <a:gd name="T31" fmla="*/ 12 h 57"/>
                  <a:gd name="T32" fmla="*/ 17 w 111"/>
                  <a:gd name="T33" fmla="*/ 12 h 57"/>
                  <a:gd name="T34" fmla="*/ 17 w 111"/>
                  <a:gd name="T35" fmla="*/ 14 h 57"/>
                  <a:gd name="T36" fmla="*/ 14 w 111"/>
                  <a:gd name="T37" fmla="*/ 17 h 57"/>
                  <a:gd name="T38" fmla="*/ 12 w 111"/>
                  <a:gd name="T39" fmla="*/ 17 h 57"/>
                  <a:gd name="T40" fmla="*/ 7 w 111"/>
                  <a:gd name="T41" fmla="*/ 17 h 57"/>
                  <a:gd name="T42" fmla="*/ 10 w 111"/>
                  <a:gd name="T43" fmla="*/ 19 h 57"/>
                  <a:gd name="T44" fmla="*/ 10 w 111"/>
                  <a:gd name="T45" fmla="*/ 24 h 57"/>
                  <a:gd name="T46" fmla="*/ 7 w 111"/>
                  <a:gd name="T47" fmla="*/ 26 h 57"/>
                  <a:gd name="T48" fmla="*/ 7 w 111"/>
                  <a:gd name="T49" fmla="*/ 29 h 57"/>
                  <a:gd name="T50" fmla="*/ 7 w 111"/>
                  <a:gd name="T51" fmla="*/ 31 h 57"/>
                  <a:gd name="T52" fmla="*/ 3 w 111"/>
                  <a:gd name="T53" fmla="*/ 33 h 57"/>
                  <a:gd name="T54" fmla="*/ 5 w 111"/>
                  <a:gd name="T55" fmla="*/ 36 h 57"/>
                  <a:gd name="T56" fmla="*/ 5 w 111"/>
                  <a:gd name="T57" fmla="*/ 40 h 57"/>
                  <a:gd name="T58" fmla="*/ 10 w 111"/>
                  <a:gd name="T59" fmla="*/ 43 h 57"/>
                  <a:gd name="T60" fmla="*/ 17 w 111"/>
                  <a:gd name="T61" fmla="*/ 50 h 57"/>
                  <a:gd name="T62" fmla="*/ 24 w 111"/>
                  <a:gd name="T63" fmla="*/ 55 h 57"/>
                  <a:gd name="T64" fmla="*/ 29 w 111"/>
                  <a:gd name="T65" fmla="*/ 57 h 57"/>
                  <a:gd name="T66" fmla="*/ 38 w 111"/>
                  <a:gd name="T67" fmla="*/ 57 h 57"/>
                  <a:gd name="T68" fmla="*/ 43 w 111"/>
                  <a:gd name="T69" fmla="*/ 57 h 57"/>
                  <a:gd name="T70" fmla="*/ 48 w 111"/>
                  <a:gd name="T71" fmla="*/ 55 h 57"/>
                  <a:gd name="T72" fmla="*/ 50 w 111"/>
                  <a:gd name="T73" fmla="*/ 52 h 57"/>
                  <a:gd name="T74" fmla="*/ 52 w 111"/>
                  <a:gd name="T75" fmla="*/ 52 h 57"/>
                  <a:gd name="T76" fmla="*/ 57 w 111"/>
                  <a:gd name="T77" fmla="*/ 52 h 57"/>
                  <a:gd name="T78" fmla="*/ 62 w 111"/>
                  <a:gd name="T79" fmla="*/ 50 h 57"/>
                  <a:gd name="T80" fmla="*/ 69 w 111"/>
                  <a:gd name="T81" fmla="*/ 50 h 57"/>
                  <a:gd name="T82" fmla="*/ 76 w 111"/>
                  <a:gd name="T83" fmla="*/ 50 h 57"/>
                  <a:gd name="T84" fmla="*/ 78 w 111"/>
                  <a:gd name="T85" fmla="*/ 47 h 57"/>
                  <a:gd name="T86" fmla="*/ 85 w 111"/>
                  <a:gd name="T87" fmla="*/ 47 h 57"/>
                  <a:gd name="T88" fmla="*/ 88 w 111"/>
                  <a:gd name="T89" fmla="*/ 45 h 57"/>
                  <a:gd name="T90" fmla="*/ 88 w 111"/>
                  <a:gd name="T91" fmla="*/ 40 h 57"/>
                  <a:gd name="T92" fmla="*/ 90 w 111"/>
                  <a:gd name="T93" fmla="*/ 38 h 57"/>
                  <a:gd name="T94" fmla="*/ 92 w 111"/>
                  <a:gd name="T95" fmla="*/ 31 h 57"/>
                  <a:gd name="T96" fmla="*/ 95 w 111"/>
                  <a:gd name="T97" fmla="*/ 26 h 57"/>
                  <a:gd name="T98" fmla="*/ 97 w 111"/>
                  <a:gd name="T99" fmla="*/ 21 h 57"/>
                  <a:gd name="T100" fmla="*/ 102 w 111"/>
                  <a:gd name="T101" fmla="*/ 17 h 57"/>
                  <a:gd name="T102" fmla="*/ 107 w 111"/>
                  <a:gd name="T103" fmla="*/ 17 h 57"/>
                  <a:gd name="T104" fmla="*/ 111 w 111"/>
                  <a:gd name="T105" fmla="*/ 12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11" h="57">
                    <a:moveTo>
                      <a:pt x="111" y="12"/>
                    </a:moveTo>
                    <a:lnTo>
                      <a:pt x="111" y="12"/>
                    </a:lnTo>
                    <a:lnTo>
                      <a:pt x="111" y="10"/>
                    </a:lnTo>
                    <a:lnTo>
                      <a:pt x="111" y="10"/>
                    </a:lnTo>
                    <a:lnTo>
                      <a:pt x="109" y="10"/>
                    </a:lnTo>
                    <a:lnTo>
                      <a:pt x="109" y="10"/>
                    </a:lnTo>
                    <a:lnTo>
                      <a:pt x="109" y="10"/>
                    </a:lnTo>
                    <a:lnTo>
                      <a:pt x="109" y="10"/>
                    </a:lnTo>
                    <a:lnTo>
                      <a:pt x="109" y="10"/>
                    </a:lnTo>
                    <a:lnTo>
                      <a:pt x="107" y="10"/>
                    </a:lnTo>
                    <a:lnTo>
                      <a:pt x="107" y="7"/>
                    </a:lnTo>
                    <a:lnTo>
                      <a:pt x="104" y="7"/>
                    </a:lnTo>
                    <a:lnTo>
                      <a:pt x="102" y="7"/>
                    </a:lnTo>
                    <a:lnTo>
                      <a:pt x="102" y="5"/>
                    </a:lnTo>
                    <a:lnTo>
                      <a:pt x="102" y="5"/>
                    </a:lnTo>
                    <a:lnTo>
                      <a:pt x="102" y="5"/>
                    </a:lnTo>
                    <a:lnTo>
                      <a:pt x="102" y="5"/>
                    </a:lnTo>
                    <a:lnTo>
                      <a:pt x="102" y="2"/>
                    </a:lnTo>
                    <a:lnTo>
                      <a:pt x="100" y="2"/>
                    </a:lnTo>
                    <a:lnTo>
                      <a:pt x="100" y="2"/>
                    </a:lnTo>
                    <a:lnTo>
                      <a:pt x="100" y="2"/>
                    </a:lnTo>
                    <a:lnTo>
                      <a:pt x="100" y="2"/>
                    </a:lnTo>
                    <a:lnTo>
                      <a:pt x="92" y="5"/>
                    </a:lnTo>
                    <a:lnTo>
                      <a:pt x="92" y="5"/>
                    </a:lnTo>
                    <a:lnTo>
                      <a:pt x="92" y="2"/>
                    </a:lnTo>
                    <a:lnTo>
                      <a:pt x="90" y="2"/>
                    </a:lnTo>
                    <a:lnTo>
                      <a:pt x="90" y="2"/>
                    </a:lnTo>
                    <a:lnTo>
                      <a:pt x="90" y="2"/>
                    </a:lnTo>
                    <a:lnTo>
                      <a:pt x="90" y="0"/>
                    </a:lnTo>
                    <a:lnTo>
                      <a:pt x="88" y="0"/>
                    </a:lnTo>
                    <a:lnTo>
                      <a:pt x="88" y="0"/>
                    </a:lnTo>
                    <a:lnTo>
                      <a:pt x="88" y="0"/>
                    </a:lnTo>
                    <a:lnTo>
                      <a:pt x="83" y="0"/>
                    </a:lnTo>
                    <a:lnTo>
                      <a:pt x="81" y="0"/>
                    </a:lnTo>
                    <a:lnTo>
                      <a:pt x="81" y="0"/>
                    </a:lnTo>
                    <a:lnTo>
                      <a:pt x="78" y="0"/>
                    </a:lnTo>
                    <a:lnTo>
                      <a:pt x="74" y="0"/>
                    </a:lnTo>
                    <a:lnTo>
                      <a:pt x="71" y="0"/>
                    </a:lnTo>
                    <a:lnTo>
                      <a:pt x="71" y="0"/>
                    </a:lnTo>
                    <a:lnTo>
                      <a:pt x="69" y="5"/>
                    </a:lnTo>
                    <a:lnTo>
                      <a:pt x="66" y="7"/>
                    </a:lnTo>
                    <a:lnTo>
                      <a:pt x="64" y="7"/>
                    </a:lnTo>
                    <a:lnTo>
                      <a:pt x="62" y="10"/>
                    </a:lnTo>
                    <a:lnTo>
                      <a:pt x="62" y="7"/>
                    </a:lnTo>
                    <a:lnTo>
                      <a:pt x="59" y="7"/>
                    </a:lnTo>
                    <a:lnTo>
                      <a:pt x="57" y="7"/>
                    </a:lnTo>
                    <a:lnTo>
                      <a:pt x="57" y="7"/>
                    </a:lnTo>
                    <a:lnTo>
                      <a:pt x="57" y="7"/>
                    </a:lnTo>
                    <a:lnTo>
                      <a:pt x="55" y="10"/>
                    </a:lnTo>
                    <a:lnTo>
                      <a:pt x="52" y="10"/>
                    </a:lnTo>
                    <a:lnTo>
                      <a:pt x="48" y="10"/>
                    </a:lnTo>
                    <a:lnTo>
                      <a:pt x="45" y="12"/>
                    </a:lnTo>
                    <a:lnTo>
                      <a:pt x="45" y="12"/>
                    </a:lnTo>
                    <a:lnTo>
                      <a:pt x="45" y="14"/>
                    </a:lnTo>
                    <a:lnTo>
                      <a:pt x="45" y="14"/>
                    </a:lnTo>
                    <a:lnTo>
                      <a:pt x="45" y="14"/>
                    </a:lnTo>
                    <a:lnTo>
                      <a:pt x="43" y="17"/>
                    </a:lnTo>
                    <a:lnTo>
                      <a:pt x="40" y="17"/>
                    </a:lnTo>
                    <a:lnTo>
                      <a:pt x="33" y="17"/>
                    </a:lnTo>
                    <a:lnTo>
                      <a:pt x="31" y="17"/>
                    </a:lnTo>
                    <a:lnTo>
                      <a:pt x="29" y="17"/>
                    </a:lnTo>
                    <a:lnTo>
                      <a:pt x="26" y="14"/>
                    </a:lnTo>
                    <a:lnTo>
                      <a:pt x="24" y="14"/>
                    </a:lnTo>
                    <a:lnTo>
                      <a:pt x="22" y="12"/>
                    </a:lnTo>
                    <a:lnTo>
                      <a:pt x="19" y="12"/>
                    </a:lnTo>
                    <a:lnTo>
                      <a:pt x="19" y="12"/>
                    </a:lnTo>
                    <a:lnTo>
                      <a:pt x="19" y="12"/>
                    </a:lnTo>
                    <a:lnTo>
                      <a:pt x="17" y="12"/>
                    </a:lnTo>
                    <a:lnTo>
                      <a:pt x="17" y="12"/>
                    </a:lnTo>
                    <a:lnTo>
                      <a:pt x="17" y="14"/>
                    </a:lnTo>
                    <a:lnTo>
                      <a:pt x="17" y="14"/>
                    </a:lnTo>
                    <a:lnTo>
                      <a:pt x="17" y="14"/>
                    </a:lnTo>
                    <a:lnTo>
                      <a:pt x="17" y="14"/>
                    </a:lnTo>
                    <a:lnTo>
                      <a:pt x="17" y="17"/>
                    </a:lnTo>
                    <a:lnTo>
                      <a:pt x="17" y="17"/>
                    </a:lnTo>
                    <a:lnTo>
                      <a:pt x="14" y="17"/>
                    </a:lnTo>
                    <a:lnTo>
                      <a:pt x="12" y="17"/>
                    </a:lnTo>
                    <a:lnTo>
                      <a:pt x="12" y="17"/>
                    </a:lnTo>
                    <a:lnTo>
                      <a:pt x="12" y="19"/>
                    </a:lnTo>
                    <a:lnTo>
                      <a:pt x="12" y="17"/>
                    </a:lnTo>
                    <a:lnTo>
                      <a:pt x="10" y="17"/>
                    </a:lnTo>
                    <a:lnTo>
                      <a:pt x="10" y="17"/>
                    </a:lnTo>
                    <a:lnTo>
                      <a:pt x="7" y="17"/>
                    </a:lnTo>
                    <a:lnTo>
                      <a:pt x="7" y="17"/>
                    </a:lnTo>
                    <a:lnTo>
                      <a:pt x="7" y="17"/>
                    </a:lnTo>
                    <a:lnTo>
                      <a:pt x="5" y="19"/>
                    </a:lnTo>
                    <a:lnTo>
                      <a:pt x="7" y="19"/>
                    </a:lnTo>
                    <a:lnTo>
                      <a:pt x="10" y="19"/>
                    </a:lnTo>
                    <a:lnTo>
                      <a:pt x="10" y="21"/>
                    </a:lnTo>
                    <a:lnTo>
                      <a:pt x="10" y="21"/>
                    </a:lnTo>
                    <a:lnTo>
                      <a:pt x="10" y="24"/>
                    </a:lnTo>
                    <a:lnTo>
                      <a:pt x="10" y="24"/>
                    </a:lnTo>
                    <a:lnTo>
                      <a:pt x="7" y="24"/>
                    </a:lnTo>
                    <a:lnTo>
                      <a:pt x="7" y="24"/>
                    </a:lnTo>
                    <a:lnTo>
                      <a:pt x="7" y="24"/>
                    </a:lnTo>
                    <a:lnTo>
                      <a:pt x="7" y="26"/>
                    </a:lnTo>
                    <a:lnTo>
                      <a:pt x="7" y="26"/>
                    </a:lnTo>
                    <a:lnTo>
                      <a:pt x="5" y="29"/>
                    </a:lnTo>
                    <a:lnTo>
                      <a:pt x="7" y="29"/>
                    </a:lnTo>
                    <a:lnTo>
                      <a:pt x="7" y="29"/>
                    </a:lnTo>
                    <a:lnTo>
                      <a:pt x="7" y="29"/>
                    </a:lnTo>
                    <a:lnTo>
                      <a:pt x="7" y="31"/>
                    </a:lnTo>
                    <a:lnTo>
                      <a:pt x="7" y="31"/>
                    </a:lnTo>
                    <a:lnTo>
                      <a:pt x="7" y="31"/>
                    </a:lnTo>
                    <a:lnTo>
                      <a:pt x="7" y="31"/>
                    </a:lnTo>
                    <a:lnTo>
                      <a:pt x="7" y="33"/>
                    </a:lnTo>
                    <a:lnTo>
                      <a:pt x="5" y="31"/>
                    </a:lnTo>
                    <a:lnTo>
                      <a:pt x="3" y="33"/>
                    </a:lnTo>
                    <a:lnTo>
                      <a:pt x="0" y="36"/>
                    </a:lnTo>
                    <a:lnTo>
                      <a:pt x="5" y="36"/>
                    </a:lnTo>
                    <a:lnTo>
                      <a:pt x="5" y="36"/>
                    </a:lnTo>
                    <a:lnTo>
                      <a:pt x="5" y="36"/>
                    </a:lnTo>
                    <a:lnTo>
                      <a:pt x="5" y="38"/>
                    </a:lnTo>
                    <a:lnTo>
                      <a:pt x="5" y="38"/>
                    </a:lnTo>
                    <a:lnTo>
                      <a:pt x="5" y="38"/>
                    </a:lnTo>
                    <a:lnTo>
                      <a:pt x="5" y="40"/>
                    </a:lnTo>
                    <a:lnTo>
                      <a:pt x="7" y="40"/>
                    </a:lnTo>
                    <a:lnTo>
                      <a:pt x="7" y="43"/>
                    </a:lnTo>
                    <a:lnTo>
                      <a:pt x="7" y="43"/>
                    </a:lnTo>
                    <a:lnTo>
                      <a:pt x="10" y="43"/>
                    </a:lnTo>
                    <a:lnTo>
                      <a:pt x="12" y="45"/>
                    </a:lnTo>
                    <a:lnTo>
                      <a:pt x="14" y="45"/>
                    </a:lnTo>
                    <a:lnTo>
                      <a:pt x="14" y="47"/>
                    </a:lnTo>
                    <a:lnTo>
                      <a:pt x="17" y="50"/>
                    </a:lnTo>
                    <a:lnTo>
                      <a:pt x="19" y="50"/>
                    </a:lnTo>
                    <a:lnTo>
                      <a:pt x="22" y="52"/>
                    </a:lnTo>
                    <a:lnTo>
                      <a:pt x="22" y="52"/>
                    </a:lnTo>
                    <a:lnTo>
                      <a:pt x="24" y="55"/>
                    </a:lnTo>
                    <a:lnTo>
                      <a:pt x="26" y="55"/>
                    </a:lnTo>
                    <a:lnTo>
                      <a:pt x="26" y="55"/>
                    </a:lnTo>
                    <a:lnTo>
                      <a:pt x="26" y="55"/>
                    </a:lnTo>
                    <a:lnTo>
                      <a:pt x="29" y="57"/>
                    </a:lnTo>
                    <a:lnTo>
                      <a:pt x="31" y="57"/>
                    </a:lnTo>
                    <a:lnTo>
                      <a:pt x="33" y="57"/>
                    </a:lnTo>
                    <a:lnTo>
                      <a:pt x="38" y="57"/>
                    </a:lnTo>
                    <a:lnTo>
                      <a:pt x="38" y="57"/>
                    </a:lnTo>
                    <a:lnTo>
                      <a:pt x="40" y="57"/>
                    </a:lnTo>
                    <a:lnTo>
                      <a:pt x="40" y="57"/>
                    </a:lnTo>
                    <a:lnTo>
                      <a:pt x="43" y="57"/>
                    </a:lnTo>
                    <a:lnTo>
                      <a:pt x="43" y="57"/>
                    </a:lnTo>
                    <a:lnTo>
                      <a:pt x="45" y="55"/>
                    </a:lnTo>
                    <a:lnTo>
                      <a:pt x="45" y="55"/>
                    </a:lnTo>
                    <a:lnTo>
                      <a:pt x="48" y="55"/>
                    </a:lnTo>
                    <a:lnTo>
                      <a:pt x="48" y="55"/>
                    </a:lnTo>
                    <a:lnTo>
                      <a:pt x="48" y="55"/>
                    </a:lnTo>
                    <a:lnTo>
                      <a:pt x="48" y="55"/>
                    </a:lnTo>
                    <a:lnTo>
                      <a:pt x="50" y="55"/>
                    </a:lnTo>
                    <a:lnTo>
                      <a:pt x="50" y="52"/>
                    </a:lnTo>
                    <a:lnTo>
                      <a:pt x="50" y="52"/>
                    </a:lnTo>
                    <a:lnTo>
                      <a:pt x="52" y="52"/>
                    </a:lnTo>
                    <a:lnTo>
                      <a:pt x="52" y="52"/>
                    </a:lnTo>
                    <a:lnTo>
                      <a:pt x="52" y="52"/>
                    </a:lnTo>
                    <a:lnTo>
                      <a:pt x="55" y="52"/>
                    </a:lnTo>
                    <a:lnTo>
                      <a:pt x="55" y="52"/>
                    </a:lnTo>
                    <a:lnTo>
                      <a:pt x="57" y="52"/>
                    </a:lnTo>
                    <a:lnTo>
                      <a:pt x="57" y="52"/>
                    </a:lnTo>
                    <a:lnTo>
                      <a:pt x="57" y="50"/>
                    </a:lnTo>
                    <a:lnTo>
                      <a:pt x="59" y="50"/>
                    </a:lnTo>
                    <a:lnTo>
                      <a:pt x="59" y="50"/>
                    </a:lnTo>
                    <a:lnTo>
                      <a:pt x="62" y="50"/>
                    </a:lnTo>
                    <a:lnTo>
                      <a:pt x="64" y="50"/>
                    </a:lnTo>
                    <a:lnTo>
                      <a:pt x="64" y="50"/>
                    </a:lnTo>
                    <a:lnTo>
                      <a:pt x="69" y="50"/>
                    </a:lnTo>
                    <a:lnTo>
                      <a:pt x="69" y="50"/>
                    </a:lnTo>
                    <a:lnTo>
                      <a:pt x="71" y="50"/>
                    </a:lnTo>
                    <a:lnTo>
                      <a:pt x="71" y="50"/>
                    </a:lnTo>
                    <a:lnTo>
                      <a:pt x="74" y="50"/>
                    </a:lnTo>
                    <a:lnTo>
                      <a:pt x="76" y="50"/>
                    </a:lnTo>
                    <a:lnTo>
                      <a:pt x="78" y="50"/>
                    </a:lnTo>
                    <a:lnTo>
                      <a:pt x="78" y="50"/>
                    </a:lnTo>
                    <a:lnTo>
                      <a:pt x="78" y="50"/>
                    </a:lnTo>
                    <a:lnTo>
                      <a:pt x="78" y="47"/>
                    </a:lnTo>
                    <a:lnTo>
                      <a:pt x="78" y="47"/>
                    </a:lnTo>
                    <a:lnTo>
                      <a:pt x="81" y="47"/>
                    </a:lnTo>
                    <a:lnTo>
                      <a:pt x="83" y="47"/>
                    </a:lnTo>
                    <a:lnTo>
                      <a:pt x="85" y="47"/>
                    </a:lnTo>
                    <a:lnTo>
                      <a:pt x="85" y="47"/>
                    </a:lnTo>
                    <a:lnTo>
                      <a:pt x="85" y="45"/>
                    </a:lnTo>
                    <a:lnTo>
                      <a:pt x="85" y="45"/>
                    </a:lnTo>
                    <a:lnTo>
                      <a:pt x="88" y="45"/>
                    </a:lnTo>
                    <a:lnTo>
                      <a:pt x="88" y="43"/>
                    </a:lnTo>
                    <a:lnTo>
                      <a:pt x="88" y="43"/>
                    </a:lnTo>
                    <a:lnTo>
                      <a:pt x="88" y="40"/>
                    </a:lnTo>
                    <a:lnTo>
                      <a:pt x="88" y="40"/>
                    </a:lnTo>
                    <a:lnTo>
                      <a:pt x="88" y="40"/>
                    </a:lnTo>
                    <a:lnTo>
                      <a:pt x="90" y="40"/>
                    </a:lnTo>
                    <a:lnTo>
                      <a:pt x="90" y="38"/>
                    </a:lnTo>
                    <a:lnTo>
                      <a:pt x="90" y="38"/>
                    </a:lnTo>
                    <a:lnTo>
                      <a:pt x="90" y="36"/>
                    </a:lnTo>
                    <a:lnTo>
                      <a:pt x="92" y="36"/>
                    </a:lnTo>
                    <a:lnTo>
                      <a:pt x="92" y="33"/>
                    </a:lnTo>
                    <a:lnTo>
                      <a:pt x="92" y="31"/>
                    </a:lnTo>
                    <a:lnTo>
                      <a:pt x="92" y="31"/>
                    </a:lnTo>
                    <a:lnTo>
                      <a:pt x="95" y="31"/>
                    </a:lnTo>
                    <a:lnTo>
                      <a:pt x="95" y="29"/>
                    </a:lnTo>
                    <a:lnTo>
                      <a:pt x="95" y="26"/>
                    </a:lnTo>
                    <a:lnTo>
                      <a:pt x="97" y="26"/>
                    </a:lnTo>
                    <a:lnTo>
                      <a:pt x="97" y="24"/>
                    </a:lnTo>
                    <a:lnTo>
                      <a:pt x="97" y="24"/>
                    </a:lnTo>
                    <a:lnTo>
                      <a:pt x="97" y="21"/>
                    </a:lnTo>
                    <a:lnTo>
                      <a:pt x="100" y="21"/>
                    </a:lnTo>
                    <a:lnTo>
                      <a:pt x="100" y="19"/>
                    </a:lnTo>
                    <a:lnTo>
                      <a:pt x="102" y="19"/>
                    </a:lnTo>
                    <a:lnTo>
                      <a:pt x="102" y="17"/>
                    </a:lnTo>
                    <a:lnTo>
                      <a:pt x="102" y="17"/>
                    </a:lnTo>
                    <a:lnTo>
                      <a:pt x="104" y="17"/>
                    </a:lnTo>
                    <a:lnTo>
                      <a:pt x="104" y="17"/>
                    </a:lnTo>
                    <a:lnTo>
                      <a:pt x="107" y="17"/>
                    </a:lnTo>
                    <a:lnTo>
                      <a:pt x="107" y="17"/>
                    </a:lnTo>
                    <a:lnTo>
                      <a:pt x="107" y="17"/>
                    </a:lnTo>
                    <a:lnTo>
                      <a:pt x="109" y="17"/>
                    </a:lnTo>
                    <a:lnTo>
                      <a:pt x="111" y="12"/>
                    </a:lnTo>
                    <a:lnTo>
                      <a:pt x="111" y="12"/>
                    </a:lnTo>
                    <a:lnTo>
                      <a:pt x="111" y="12"/>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137"/>
              <p:cNvSpPr>
                <a:spLocks noEditPoints="1"/>
              </p:cNvSpPr>
              <p:nvPr/>
            </p:nvSpPr>
            <p:spPr bwMode="auto">
              <a:xfrm>
                <a:off x="4830" y="2324"/>
                <a:ext cx="10" cy="7"/>
              </a:xfrm>
              <a:custGeom>
                <a:avLst/>
                <a:gdLst>
                  <a:gd name="T0" fmla="*/ 7 w 10"/>
                  <a:gd name="T1" fmla="*/ 5 h 7"/>
                  <a:gd name="T2" fmla="*/ 7 w 10"/>
                  <a:gd name="T3" fmla="*/ 5 h 7"/>
                  <a:gd name="T4" fmla="*/ 7 w 10"/>
                  <a:gd name="T5" fmla="*/ 5 h 7"/>
                  <a:gd name="T6" fmla="*/ 7 w 10"/>
                  <a:gd name="T7" fmla="*/ 7 h 7"/>
                  <a:gd name="T8" fmla="*/ 10 w 10"/>
                  <a:gd name="T9" fmla="*/ 7 h 7"/>
                  <a:gd name="T10" fmla="*/ 10 w 10"/>
                  <a:gd name="T11" fmla="*/ 7 h 7"/>
                  <a:gd name="T12" fmla="*/ 10 w 10"/>
                  <a:gd name="T13" fmla="*/ 5 h 7"/>
                  <a:gd name="T14" fmla="*/ 7 w 10"/>
                  <a:gd name="T15" fmla="*/ 5 h 7"/>
                  <a:gd name="T16" fmla="*/ 3 w 10"/>
                  <a:gd name="T17" fmla="*/ 5 h 7"/>
                  <a:gd name="T18" fmla="*/ 0 w 10"/>
                  <a:gd name="T19" fmla="*/ 5 h 7"/>
                  <a:gd name="T20" fmla="*/ 3 w 10"/>
                  <a:gd name="T21" fmla="*/ 7 h 7"/>
                  <a:gd name="T22" fmla="*/ 3 w 10"/>
                  <a:gd name="T23" fmla="*/ 7 h 7"/>
                  <a:gd name="T24" fmla="*/ 5 w 10"/>
                  <a:gd name="T25" fmla="*/ 7 h 7"/>
                  <a:gd name="T26" fmla="*/ 5 w 10"/>
                  <a:gd name="T27" fmla="*/ 5 h 7"/>
                  <a:gd name="T28" fmla="*/ 5 w 10"/>
                  <a:gd name="T29" fmla="*/ 5 h 7"/>
                  <a:gd name="T30" fmla="*/ 3 w 10"/>
                  <a:gd name="T31" fmla="*/ 5 h 7"/>
                  <a:gd name="T32" fmla="*/ 10 w 10"/>
                  <a:gd name="T33" fmla="*/ 2 h 7"/>
                  <a:gd name="T34" fmla="*/ 10 w 10"/>
                  <a:gd name="T35" fmla="*/ 2 h 7"/>
                  <a:gd name="T36" fmla="*/ 10 w 10"/>
                  <a:gd name="T37" fmla="*/ 2 h 7"/>
                  <a:gd name="T38" fmla="*/ 10 w 10"/>
                  <a:gd name="T39" fmla="*/ 0 h 7"/>
                  <a:gd name="T40" fmla="*/ 7 w 10"/>
                  <a:gd name="T41" fmla="*/ 0 h 7"/>
                  <a:gd name="T42" fmla="*/ 7 w 10"/>
                  <a:gd name="T43" fmla="*/ 0 h 7"/>
                  <a:gd name="T44" fmla="*/ 7 w 10"/>
                  <a:gd name="T45" fmla="*/ 0 h 7"/>
                  <a:gd name="T46" fmla="*/ 7 w 10"/>
                  <a:gd name="T47" fmla="*/ 0 h 7"/>
                  <a:gd name="T48" fmla="*/ 5 w 10"/>
                  <a:gd name="T49" fmla="*/ 0 h 7"/>
                  <a:gd name="T50" fmla="*/ 5 w 10"/>
                  <a:gd name="T51" fmla="*/ 0 h 7"/>
                  <a:gd name="T52" fmla="*/ 5 w 10"/>
                  <a:gd name="T53" fmla="*/ 0 h 7"/>
                  <a:gd name="T54" fmla="*/ 3 w 10"/>
                  <a:gd name="T55" fmla="*/ 0 h 7"/>
                  <a:gd name="T56" fmla="*/ 3 w 10"/>
                  <a:gd name="T57" fmla="*/ 0 h 7"/>
                  <a:gd name="T58" fmla="*/ 3 w 10"/>
                  <a:gd name="T59" fmla="*/ 0 h 7"/>
                  <a:gd name="T60" fmla="*/ 3 w 10"/>
                  <a:gd name="T61" fmla="*/ 2 h 7"/>
                  <a:gd name="T62" fmla="*/ 3 w 10"/>
                  <a:gd name="T63" fmla="*/ 2 h 7"/>
                  <a:gd name="T64" fmla="*/ 3 w 10"/>
                  <a:gd name="T65" fmla="*/ 2 h 7"/>
                  <a:gd name="T66" fmla="*/ 5 w 10"/>
                  <a:gd name="T67" fmla="*/ 2 h 7"/>
                  <a:gd name="T68" fmla="*/ 7 w 10"/>
                  <a:gd name="T69" fmla="*/ 5 h 7"/>
                  <a:gd name="T70" fmla="*/ 10 w 10"/>
                  <a:gd name="T71" fmla="*/ 5 h 7"/>
                  <a:gd name="T72" fmla="*/ 10 w 10"/>
                  <a:gd name="T73" fmla="*/ 5 h 7"/>
                  <a:gd name="T74" fmla="*/ 10 w 10"/>
                  <a:gd name="T75" fmla="*/ 2 h 7"/>
                  <a:gd name="T76" fmla="*/ 10 w 10"/>
                  <a:gd name="T77"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0" h="7">
                    <a:moveTo>
                      <a:pt x="7" y="5"/>
                    </a:moveTo>
                    <a:lnTo>
                      <a:pt x="7" y="5"/>
                    </a:lnTo>
                    <a:lnTo>
                      <a:pt x="7" y="5"/>
                    </a:lnTo>
                    <a:lnTo>
                      <a:pt x="7" y="7"/>
                    </a:lnTo>
                    <a:lnTo>
                      <a:pt x="10" y="7"/>
                    </a:lnTo>
                    <a:lnTo>
                      <a:pt x="10" y="7"/>
                    </a:lnTo>
                    <a:lnTo>
                      <a:pt x="10" y="5"/>
                    </a:lnTo>
                    <a:lnTo>
                      <a:pt x="7" y="5"/>
                    </a:lnTo>
                    <a:close/>
                    <a:moveTo>
                      <a:pt x="3" y="5"/>
                    </a:moveTo>
                    <a:lnTo>
                      <a:pt x="0" y="5"/>
                    </a:lnTo>
                    <a:lnTo>
                      <a:pt x="3" y="7"/>
                    </a:lnTo>
                    <a:lnTo>
                      <a:pt x="3" y="7"/>
                    </a:lnTo>
                    <a:lnTo>
                      <a:pt x="5" y="7"/>
                    </a:lnTo>
                    <a:lnTo>
                      <a:pt x="5" y="5"/>
                    </a:lnTo>
                    <a:lnTo>
                      <a:pt x="5" y="5"/>
                    </a:lnTo>
                    <a:lnTo>
                      <a:pt x="3" y="5"/>
                    </a:lnTo>
                    <a:close/>
                    <a:moveTo>
                      <a:pt x="10" y="2"/>
                    </a:moveTo>
                    <a:lnTo>
                      <a:pt x="10" y="2"/>
                    </a:lnTo>
                    <a:lnTo>
                      <a:pt x="10" y="2"/>
                    </a:lnTo>
                    <a:lnTo>
                      <a:pt x="10" y="0"/>
                    </a:lnTo>
                    <a:lnTo>
                      <a:pt x="7" y="0"/>
                    </a:lnTo>
                    <a:lnTo>
                      <a:pt x="7" y="0"/>
                    </a:lnTo>
                    <a:lnTo>
                      <a:pt x="7" y="0"/>
                    </a:lnTo>
                    <a:lnTo>
                      <a:pt x="7" y="0"/>
                    </a:lnTo>
                    <a:lnTo>
                      <a:pt x="5" y="0"/>
                    </a:lnTo>
                    <a:lnTo>
                      <a:pt x="5" y="0"/>
                    </a:lnTo>
                    <a:lnTo>
                      <a:pt x="5" y="0"/>
                    </a:lnTo>
                    <a:lnTo>
                      <a:pt x="3" y="0"/>
                    </a:lnTo>
                    <a:lnTo>
                      <a:pt x="3" y="0"/>
                    </a:lnTo>
                    <a:lnTo>
                      <a:pt x="3" y="0"/>
                    </a:lnTo>
                    <a:lnTo>
                      <a:pt x="3" y="2"/>
                    </a:lnTo>
                    <a:lnTo>
                      <a:pt x="3" y="2"/>
                    </a:lnTo>
                    <a:lnTo>
                      <a:pt x="3" y="2"/>
                    </a:lnTo>
                    <a:lnTo>
                      <a:pt x="5" y="2"/>
                    </a:lnTo>
                    <a:lnTo>
                      <a:pt x="7" y="5"/>
                    </a:lnTo>
                    <a:lnTo>
                      <a:pt x="10" y="5"/>
                    </a:lnTo>
                    <a:lnTo>
                      <a:pt x="10" y="5"/>
                    </a:lnTo>
                    <a:lnTo>
                      <a:pt x="10" y="2"/>
                    </a:lnTo>
                    <a:lnTo>
                      <a:pt x="10" y="2"/>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138"/>
              <p:cNvSpPr>
                <a:spLocks noEditPoints="1"/>
              </p:cNvSpPr>
              <p:nvPr/>
            </p:nvSpPr>
            <p:spPr bwMode="auto">
              <a:xfrm>
                <a:off x="1097" y="2452"/>
                <a:ext cx="116" cy="73"/>
              </a:xfrm>
              <a:custGeom>
                <a:avLst/>
                <a:gdLst>
                  <a:gd name="T0" fmla="*/ 109 w 116"/>
                  <a:gd name="T1" fmla="*/ 24 h 73"/>
                  <a:gd name="T2" fmla="*/ 112 w 116"/>
                  <a:gd name="T3" fmla="*/ 26 h 73"/>
                  <a:gd name="T4" fmla="*/ 107 w 116"/>
                  <a:gd name="T5" fmla="*/ 26 h 73"/>
                  <a:gd name="T6" fmla="*/ 102 w 116"/>
                  <a:gd name="T7" fmla="*/ 21 h 73"/>
                  <a:gd name="T8" fmla="*/ 100 w 116"/>
                  <a:gd name="T9" fmla="*/ 21 h 73"/>
                  <a:gd name="T10" fmla="*/ 107 w 116"/>
                  <a:gd name="T11" fmla="*/ 21 h 73"/>
                  <a:gd name="T12" fmla="*/ 95 w 116"/>
                  <a:gd name="T13" fmla="*/ 14 h 73"/>
                  <a:gd name="T14" fmla="*/ 93 w 116"/>
                  <a:gd name="T15" fmla="*/ 12 h 73"/>
                  <a:gd name="T16" fmla="*/ 76 w 116"/>
                  <a:gd name="T17" fmla="*/ 12 h 73"/>
                  <a:gd name="T18" fmla="*/ 69 w 116"/>
                  <a:gd name="T19" fmla="*/ 12 h 73"/>
                  <a:gd name="T20" fmla="*/ 57 w 116"/>
                  <a:gd name="T21" fmla="*/ 14 h 73"/>
                  <a:gd name="T22" fmla="*/ 41 w 116"/>
                  <a:gd name="T23" fmla="*/ 14 h 73"/>
                  <a:gd name="T24" fmla="*/ 36 w 116"/>
                  <a:gd name="T25" fmla="*/ 12 h 73"/>
                  <a:gd name="T26" fmla="*/ 29 w 116"/>
                  <a:gd name="T27" fmla="*/ 14 h 73"/>
                  <a:gd name="T28" fmla="*/ 22 w 116"/>
                  <a:gd name="T29" fmla="*/ 19 h 73"/>
                  <a:gd name="T30" fmla="*/ 10 w 116"/>
                  <a:gd name="T31" fmla="*/ 28 h 73"/>
                  <a:gd name="T32" fmla="*/ 5 w 116"/>
                  <a:gd name="T33" fmla="*/ 33 h 73"/>
                  <a:gd name="T34" fmla="*/ 5 w 116"/>
                  <a:gd name="T35" fmla="*/ 40 h 73"/>
                  <a:gd name="T36" fmla="*/ 0 w 116"/>
                  <a:gd name="T37" fmla="*/ 43 h 73"/>
                  <a:gd name="T38" fmla="*/ 8 w 116"/>
                  <a:gd name="T39" fmla="*/ 45 h 73"/>
                  <a:gd name="T40" fmla="*/ 12 w 116"/>
                  <a:gd name="T41" fmla="*/ 50 h 73"/>
                  <a:gd name="T42" fmla="*/ 15 w 116"/>
                  <a:gd name="T43" fmla="*/ 52 h 73"/>
                  <a:gd name="T44" fmla="*/ 17 w 116"/>
                  <a:gd name="T45" fmla="*/ 54 h 73"/>
                  <a:gd name="T46" fmla="*/ 24 w 116"/>
                  <a:gd name="T47" fmla="*/ 52 h 73"/>
                  <a:gd name="T48" fmla="*/ 29 w 116"/>
                  <a:gd name="T49" fmla="*/ 54 h 73"/>
                  <a:gd name="T50" fmla="*/ 29 w 116"/>
                  <a:gd name="T51" fmla="*/ 62 h 73"/>
                  <a:gd name="T52" fmla="*/ 29 w 116"/>
                  <a:gd name="T53" fmla="*/ 64 h 73"/>
                  <a:gd name="T54" fmla="*/ 31 w 116"/>
                  <a:gd name="T55" fmla="*/ 66 h 73"/>
                  <a:gd name="T56" fmla="*/ 34 w 116"/>
                  <a:gd name="T57" fmla="*/ 69 h 73"/>
                  <a:gd name="T58" fmla="*/ 41 w 116"/>
                  <a:gd name="T59" fmla="*/ 73 h 73"/>
                  <a:gd name="T60" fmla="*/ 43 w 116"/>
                  <a:gd name="T61" fmla="*/ 69 h 73"/>
                  <a:gd name="T62" fmla="*/ 48 w 116"/>
                  <a:gd name="T63" fmla="*/ 66 h 73"/>
                  <a:gd name="T64" fmla="*/ 48 w 116"/>
                  <a:gd name="T65" fmla="*/ 59 h 73"/>
                  <a:gd name="T66" fmla="*/ 55 w 116"/>
                  <a:gd name="T67" fmla="*/ 57 h 73"/>
                  <a:gd name="T68" fmla="*/ 60 w 116"/>
                  <a:gd name="T69" fmla="*/ 52 h 73"/>
                  <a:gd name="T70" fmla="*/ 67 w 116"/>
                  <a:gd name="T71" fmla="*/ 54 h 73"/>
                  <a:gd name="T72" fmla="*/ 69 w 116"/>
                  <a:gd name="T73" fmla="*/ 52 h 73"/>
                  <a:gd name="T74" fmla="*/ 76 w 116"/>
                  <a:gd name="T75" fmla="*/ 45 h 73"/>
                  <a:gd name="T76" fmla="*/ 79 w 116"/>
                  <a:gd name="T77" fmla="*/ 43 h 73"/>
                  <a:gd name="T78" fmla="*/ 81 w 116"/>
                  <a:gd name="T79" fmla="*/ 40 h 73"/>
                  <a:gd name="T80" fmla="*/ 86 w 116"/>
                  <a:gd name="T81" fmla="*/ 35 h 73"/>
                  <a:gd name="T82" fmla="*/ 90 w 116"/>
                  <a:gd name="T83" fmla="*/ 38 h 73"/>
                  <a:gd name="T84" fmla="*/ 95 w 116"/>
                  <a:gd name="T85" fmla="*/ 38 h 73"/>
                  <a:gd name="T86" fmla="*/ 97 w 116"/>
                  <a:gd name="T87" fmla="*/ 38 h 73"/>
                  <a:gd name="T88" fmla="*/ 100 w 116"/>
                  <a:gd name="T89" fmla="*/ 35 h 73"/>
                  <a:gd name="T90" fmla="*/ 107 w 116"/>
                  <a:gd name="T91" fmla="*/ 33 h 73"/>
                  <a:gd name="T92" fmla="*/ 109 w 116"/>
                  <a:gd name="T93" fmla="*/ 31 h 73"/>
                  <a:gd name="T94" fmla="*/ 60 w 116"/>
                  <a:gd name="T95" fmla="*/ 2 h 73"/>
                  <a:gd name="T96" fmla="*/ 57 w 116"/>
                  <a:gd name="T97" fmla="*/ 2 h 73"/>
                  <a:gd name="T98" fmla="*/ 71 w 116"/>
                  <a:gd name="T99" fmla="*/ 0 h 73"/>
                  <a:gd name="T100" fmla="*/ 69 w 116"/>
                  <a:gd name="T101" fmla="*/ 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16" h="73">
                    <a:moveTo>
                      <a:pt x="116" y="31"/>
                    </a:moveTo>
                    <a:lnTo>
                      <a:pt x="114" y="28"/>
                    </a:lnTo>
                    <a:lnTo>
                      <a:pt x="114" y="26"/>
                    </a:lnTo>
                    <a:lnTo>
                      <a:pt x="109" y="24"/>
                    </a:lnTo>
                    <a:lnTo>
                      <a:pt x="109" y="24"/>
                    </a:lnTo>
                    <a:lnTo>
                      <a:pt x="112" y="24"/>
                    </a:lnTo>
                    <a:lnTo>
                      <a:pt x="112" y="26"/>
                    </a:lnTo>
                    <a:lnTo>
                      <a:pt x="112" y="26"/>
                    </a:lnTo>
                    <a:lnTo>
                      <a:pt x="109" y="26"/>
                    </a:lnTo>
                    <a:lnTo>
                      <a:pt x="109" y="26"/>
                    </a:lnTo>
                    <a:lnTo>
                      <a:pt x="107" y="26"/>
                    </a:lnTo>
                    <a:lnTo>
                      <a:pt x="107" y="26"/>
                    </a:lnTo>
                    <a:lnTo>
                      <a:pt x="107" y="26"/>
                    </a:lnTo>
                    <a:lnTo>
                      <a:pt x="105" y="24"/>
                    </a:lnTo>
                    <a:lnTo>
                      <a:pt x="105" y="24"/>
                    </a:lnTo>
                    <a:lnTo>
                      <a:pt x="102" y="21"/>
                    </a:lnTo>
                    <a:lnTo>
                      <a:pt x="102" y="24"/>
                    </a:lnTo>
                    <a:lnTo>
                      <a:pt x="100" y="24"/>
                    </a:lnTo>
                    <a:lnTo>
                      <a:pt x="100" y="21"/>
                    </a:lnTo>
                    <a:lnTo>
                      <a:pt x="100" y="21"/>
                    </a:lnTo>
                    <a:lnTo>
                      <a:pt x="102" y="21"/>
                    </a:lnTo>
                    <a:lnTo>
                      <a:pt x="105" y="19"/>
                    </a:lnTo>
                    <a:lnTo>
                      <a:pt x="107" y="21"/>
                    </a:lnTo>
                    <a:lnTo>
                      <a:pt x="107" y="21"/>
                    </a:lnTo>
                    <a:lnTo>
                      <a:pt x="100" y="14"/>
                    </a:lnTo>
                    <a:lnTo>
                      <a:pt x="95" y="12"/>
                    </a:lnTo>
                    <a:lnTo>
                      <a:pt x="95" y="14"/>
                    </a:lnTo>
                    <a:lnTo>
                      <a:pt x="95" y="14"/>
                    </a:lnTo>
                    <a:lnTo>
                      <a:pt x="95" y="14"/>
                    </a:lnTo>
                    <a:lnTo>
                      <a:pt x="95" y="14"/>
                    </a:lnTo>
                    <a:lnTo>
                      <a:pt x="93" y="14"/>
                    </a:lnTo>
                    <a:lnTo>
                      <a:pt x="93" y="12"/>
                    </a:lnTo>
                    <a:lnTo>
                      <a:pt x="86" y="9"/>
                    </a:lnTo>
                    <a:lnTo>
                      <a:pt x="86" y="9"/>
                    </a:lnTo>
                    <a:lnTo>
                      <a:pt x="83" y="12"/>
                    </a:lnTo>
                    <a:lnTo>
                      <a:pt x="76" y="12"/>
                    </a:lnTo>
                    <a:lnTo>
                      <a:pt x="71" y="9"/>
                    </a:lnTo>
                    <a:lnTo>
                      <a:pt x="67" y="9"/>
                    </a:lnTo>
                    <a:lnTo>
                      <a:pt x="69" y="9"/>
                    </a:lnTo>
                    <a:lnTo>
                      <a:pt x="69" y="12"/>
                    </a:lnTo>
                    <a:lnTo>
                      <a:pt x="67" y="12"/>
                    </a:lnTo>
                    <a:lnTo>
                      <a:pt x="64" y="12"/>
                    </a:lnTo>
                    <a:lnTo>
                      <a:pt x="60" y="14"/>
                    </a:lnTo>
                    <a:lnTo>
                      <a:pt x="57" y="14"/>
                    </a:lnTo>
                    <a:lnTo>
                      <a:pt x="53" y="14"/>
                    </a:lnTo>
                    <a:lnTo>
                      <a:pt x="50" y="14"/>
                    </a:lnTo>
                    <a:lnTo>
                      <a:pt x="43" y="14"/>
                    </a:lnTo>
                    <a:lnTo>
                      <a:pt x="41" y="14"/>
                    </a:lnTo>
                    <a:lnTo>
                      <a:pt x="38" y="14"/>
                    </a:lnTo>
                    <a:lnTo>
                      <a:pt x="38" y="14"/>
                    </a:lnTo>
                    <a:lnTo>
                      <a:pt x="36" y="12"/>
                    </a:lnTo>
                    <a:lnTo>
                      <a:pt x="36" y="12"/>
                    </a:lnTo>
                    <a:lnTo>
                      <a:pt x="31" y="12"/>
                    </a:lnTo>
                    <a:lnTo>
                      <a:pt x="31" y="12"/>
                    </a:lnTo>
                    <a:lnTo>
                      <a:pt x="29" y="14"/>
                    </a:lnTo>
                    <a:lnTo>
                      <a:pt x="29" y="14"/>
                    </a:lnTo>
                    <a:lnTo>
                      <a:pt x="26" y="17"/>
                    </a:lnTo>
                    <a:lnTo>
                      <a:pt x="26" y="17"/>
                    </a:lnTo>
                    <a:lnTo>
                      <a:pt x="24" y="17"/>
                    </a:lnTo>
                    <a:lnTo>
                      <a:pt x="22" y="19"/>
                    </a:lnTo>
                    <a:lnTo>
                      <a:pt x="19" y="21"/>
                    </a:lnTo>
                    <a:lnTo>
                      <a:pt x="17" y="24"/>
                    </a:lnTo>
                    <a:lnTo>
                      <a:pt x="12" y="26"/>
                    </a:lnTo>
                    <a:lnTo>
                      <a:pt x="10" y="28"/>
                    </a:lnTo>
                    <a:lnTo>
                      <a:pt x="10" y="28"/>
                    </a:lnTo>
                    <a:lnTo>
                      <a:pt x="8" y="28"/>
                    </a:lnTo>
                    <a:lnTo>
                      <a:pt x="5" y="31"/>
                    </a:lnTo>
                    <a:lnTo>
                      <a:pt x="5" y="33"/>
                    </a:lnTo>
                    <a:lnTo>
                      <a:pt x="5" y="33"/>
                    </a:lnTo>
                    <a:lnTo>
                      <a:pt x="5" y="35"/>
                    </a:lnTo>
                    <a:lnTo>
                      <a:pt x="5" y="38"/>
                    </a:lnTo>
                    <a:lnTo>
                      <a:pt x="5" y="40"/>
                    </a:lnTo>
                    <a:lnTo>
                      <a:pt x="3" y="40"/>
                    </a:lnTo>
                    <a:lnTo>
                      <a:pt x="0" y="43"/>
                    </a:lnTo>
                    <a:lnTo>
                      <a:pt x="0" y="43"/>
                    </a:lnTo>
                    <a:lnTo>
                      <a:pt x="0" y="43"/>
                    </a:lnTo>
                    <a:lnTo>
                      <a:pt x="5" y="45"/>
                    </a:lnTo>
                    <a:lnTo>
                      <a:pt x="5" y="45"/>
                    </a:lnTo>
                    <a:lnTo>
                      <a:pt x="8" y="45"/>
                    </a:lnTo>
                    <a:lnTo>
                      <a:pt x="8" y="45"/>
                    </a:lnTo>
                    <a:lnTo>
                      <a:pt x="8" y="47"/>
                    </a:lnTo>
                    <a:lnTo>
                      <a:pt x="10" y="50"/>
                    </a:lnTo>
                    <a:lnTo>
                      <a:pt x="10" y="50"/>
                    </a:lnTo>
                    <a:lnTo>
                      <a:pt x="12" y="50"/>
                    </a:lnTo>
                    <a:lnTo>
                      <a:pt x="12" y="52"/>
                    </a:lnTo>
                    <a:lnTo>
                      <a:pt x="12" y="52"/>
                    </a:lnTo>
                    <a:lnTo>
                      <a:pt x="15" y="52"/>
                    </a:lnTo>
                    <a:lnTo>
                      <a:pt x="15" y="52"/>
                    </a:lnTo>
                    <a:lnTo>
                      <a:pt x="17" y="52"/>
                    </a:lnTo>
                    <a:lnTo>
                      <a:pt x="17" y="54"/>
                    </a:lnTo>
                    <a:lnTo>
                      <a:pt x="17" y="54"/>
                    </a:lnTo>
                    <a:lnTo>
                      <a:pt x="17" y="54"/>
                    </a:lnTo>
                    <a:lnTo>
                      <a:pt x="17" y="54"/>
                    </a:lnTo>
                    <a:lnTo>
                      <a:pt x="19" y="54"/>
                    </a:lnTo>
                    <a:lnTo>
                      <a:pt x="22" y="52"/>
                    </a:lnTo>
                    <a:lnTo>
                      <a:pt x="24" y="52"/>
                    </a:lnTo>
                    <a:lnTo>
                      <a:pt x="24" y="54"/>
                    </a:lnTo>
                    <a:lnTo>
                      <a:pt x="24" y="54"/>
                    </a:lnTo>
                    <a:lnTo>
                      <a:pt x="26" y="54"/>
                    </a:lnTo>
                    <a:lnTo>
                      <a:pt x="29" y="54"/>
                    </a:lnTo>
                    <a:lnTo>
                      <a:pt x="29" y="54"/>
                    </a:lnTo>
                    <a:lnTo>
                      <a:pt x="31" y="57"/>
                    </a:lnTo>
                    <a:lnTo>
                      <a:pt x="29" y="59"/>
                    </a:lnTo>
                    <a:lnTo>
                      <a:pt x="29" y="62"/>
                    </a:lnTo>
                    <a:lnTo>
                      <a:pt x="29" y="62"/>
                    </a:lnTo>
                    <a:lnTo>
                      <a:pt x="29" y="62"/>
                    </a:lnTo>
                    <a:lnTo>
                      <a:pt x="29" y="64"/>
                    </a:lnTo>
                    <a:lnTo>
                      <a:pt x="29" y="64"/>
                    </a:lnTo>
                    <a:lnTo>
                      <a:pt x="26" y="64"/>
                    </a:lnTo>
                    <a:lnTo>
                      <a:pt x="29" y="66"/>
                    </a:lnTo>
                    <a:lnTo>
                      <a:pt x="29" y="66"/>
                    </a:lnTo>
                    <a:lnTo>
                      <a:pt x="31" y="66"/>
                    </a:lnTo>
                    <a:lnTo>
                      <a:pt x="34" y="66"/>
                    </a:lnTo>
                    <a:lnTo>
                      <a:pt x="34" y="66"/>
                    </a:lnTo>
                    <a:lnTo>
                      <a:pt x="34" y="69"/>
                    </a:lnTo>
                    <a:lnTo>
                      <a:pt x="34" y="69"/>
                    </a:lnTo>
                    <a:lnTo>
                      <a:pt x="34" y="71"/>
                    </a:lnTo>
                    <a:lnTo>
                      <a:pt x="36" y="71"/>
                    </a:lnTo>
                    <a:lnTo>
                      <a:pt x="36" y="73"/>
                    </a:lnTo>
                    <a:lnTo>
                      <a:pt x="41" y="73"/>
                    </a:lnTo>
                    <a:lnTo>
                      <a:pt x="41" y="73"/>
                    </a:lnTo>
                    <a:lnTo>
                      <a:pt x="43" y="71"/>
                    </a:lnTo>
                    <a:lnTo>
                      <a:pt x="43" y="71"/>
                    </a:lnTo>
                    <a:lnTo>
                      <a:pt x="43" y="69"/>
                    </a:lnTo>
                    <a:lnTo>
                      <a:pt x="43" y="69"/>
                    </a:lnTo>
                    <a:lnTo>
                      <a:pt x="45" y="69"/>
                    </a:lnTo>
                    <a:lnTo>
                      <a:pt x="45" y="66"/>
                    </a:lnTo>
                    <a:lnTo>
                      <a:pt x="48" y="66"/>
                    </a:lnTo>
                    <a:lnTo>
                      <a:pt x="48" y="66"/>
                    </a:lnTo>
                    <a:lnTo>
                      <a:pt x="48" y="64"/>
                    </a:lnTo>
                    <a:lnTo>
                      <a:pt x="48" y="59"/>
                    </a:lnTo>
                    <a:lnTo>
                      <a:pt x="48" y="59"/>
                    </a:lnTo>
                    <a:lnTo>
                      <a:pt x="48" y="57"/>
                    </a:lnTo>
                    <a:lnTo>
                      <a:pt x="48" y="57"/>
                    </a:lnTo>
                    <a:lnTo>
                      <a:pt x="50" y="57"/>
                    </a:lnTo>
                    <a:lnTo>
                      <a:pt x="55" y="57"/>
                    </a:lnTo>
                    <a:lnTo>
                      <a:pt x="55" y="57"/>
                    </a:lnTo>
                    <a:lnTo>
                      <a:pt x="57" y="54"/>
                    </a:lnTo>
                    <a:lnTo>
                      <a:pt x="60" y="52"/>
                    </a:lnTo>
                    <a:lnTo>
                      <a:pt x="60" y="52"/>
                    </a:lnTo>
                    <a:lnTo>
                      <a:pt x="62" y="52"/>
                    </a:lnTo>
                    <a:lnTo>
                      <a:pt x="62" y="52"/>
                    </a:lnTo>
                    <a:lnTo>
                      <a:pt x="67" y="54"/>
                    </a:lnTo>
                    <a:lnTo>
                      <a:pt x="67" y="54"/>
                    </a:lnTo>
                    <a:lnTo>
                      <a:pt x="67" y="54"/>
                    </a:lnTo>
                    <a:lnTo>
                      <a:pt x="67" y="54"/>
                    </a:lnTo>
                    <a:lnTo>
                      <a:pt x="67" y="54"/>
                    </a:lnTo>
                    <a:lnTo>
                      <a:pt x="69" y="52"/>
                    </a:lnTo>
                    <a:lnTo>
                      <a:pt x="69" y="52"/>
                    </a:lnTo>
                    <a:lnTo>
                      <a:pt x="71" y="50"/>
                    </a:lnTo>
                    <a:lnTo>
                      <a:pt x="74" y="47"/>
                    </a:lnTo>
                    <a:lnTo>
                      <a:pt x="76" y="45"/>
                    </a:lnTo>
                    <a:lnTo>
                      <a:pt x="79" y="45"/>
                    </a:lnTo>
                    <a:lnTo>
                      <a:pt x="79" y="45"/>
                    </a:lnTo>
                    <a:lnTo>
                      <a:pt x="79" y="45"/>
                    </a:lnTo>
                    <a:lnTo>
                      <a:pt x="79" y="43"/>
                    </a:lnTo>
                    <a:lnTo>
                      <a:pt x="79" y="40"/>
                    </a:lnTo>
                    <a:lnTo>
                      <a:pt x="81" y="40"/>
                    </a:lnTo>
                    <a:lnTo>
                      <a:pt x="81" y="40"/>
                    </a:lnTo>
                    <a:lnTo>
                      <a:pt x="81" y="40"/>
                    </a:lnTo>
                    <a:lnTo>
                      <a:pt x="81" y="38"/>
                    </a:lnTo>
                    <a:lnTo>
                      <a:pt x="81" y="38"/>
                    </a:lnTo>
                    <a:lnTo>
                      <a:pt x="83" y="35"/>
                    </a:lnTo>
                    <a:lnTo>
                      <a:pt x="86" y="35"/>
                    </a:lnTo>
                    <a:lnTo>
                      <a:pt x="86" y="35"/>
                    </a:lnTo>
                    <a:lnTo>
                      <a:pt x="88" y="38"/>
                    </a:lnTo>
                    <a:lnTo>
                      <a:pt x="88" y="38"/>
                    </a:lnTo>
                    <a:lnTo>
                      <a:pt x="90" y="38"/>
                    </a:lnTo>
                    <a:lnTo>
                      <a:pt x="93" y="38"/>
                    </a:lnTo>
                    <a:lnTo>
                      <a:pt x="93" y="38"/>
                    </a:lnTo>
                    <a:lnTo>
                      <a:pt x="95" y="38"/>
                    </a:lnTo>
                    <a:lnTo>
                      <a:pt x="95" y="38"/>
                    </a:lnTo>
                    <a:lnTo>
                      <a:pt x="95" y="38"/>
                    </a:lnTo>
                    <a:lnTo>
                      <a:pt x="95" y="35"/>
                    </a:lnTo>
                    <a:lnTo>
                      <a:pt x="97" y="35"/>
                    </a:lnTo>
                    <a:lnTo>
                      <a:pt x="97" y="38"/>
                    </a:lnTo>
                    <a:lnTo>
                      <a:pt x="97" y="38"/>
                    </a:lnTo>
                    <a:lnTo>
                      <a:pt x="100" y="38"/>
                    </a:lnTo>
                    <a:lnTo>
                      <a:pt x="100" y="35"/>
                    </a:lnTo>
                    <a:lnTo>
                      <a:pt x="100" y="35"/>
                    </a:lnTo>
                    <a:lnTo>
                      <a:pt x="100" y="35"/>
                    </a:lnTo>
                    <a:lnTo>
                      <a:pt x="102" y="35"/>
                    </a:lnTo>
                    <a:lnTo>
                      <a:pt x="105" y="35"/>
                    </a:lnTo>
                    <a:lnTo>
                      <a:pt x="107" y="33"/>
                    </a:lnTo>
                    <a:lnTo>
                      <a:pt x="107" y="33"/>
                    </a:lnTo>
                    <a:lnTo>
                      <a:pt x="107" y="33"/>
                    </a:lnTo>
                    <a:lnTo>
                      <a:pt x="109" y="33"/>
                    </a:lnTo>
                    <a:lnTo>
                      <a:pt x="109" y="31"/>
                    </a:lnTo>
                    <a:lnTo>
                      <a:pt x="112" y="31"/>
                    </a:lnTo>
                    <a:lnTo>
                      <a:pt x="116" y="31"/>
                    </a:lnTo>
                    <a:lnTo>
                      <a:pt x="116" y="31"/>
                    </a:lnTo>
                    <a:close/>
                    <a:moveTo>
                      <a:pt x="60" y="2"/>
                    </a:moveTo>
                    <a:lnTo>
                      <a:pt x="64" y="0"/>
                    </a:lnTo>
                    <a:lnTo>
                      <a:pt x="62" y="0"/>
                    </a:lnTo>
                    <a:lnTo>
                      <a:pt x="60" y="0"/>
                    </a:lnTo>
                    <a:lnTo>
                      <a:pt x="57" y="2"/>
                    </a:lnTo>
                    <a:lnTo>
                      <a:pt x="57" y="2"/>
                    </a:lnTo>
                    <a:lnTo>
                      <a:pt x="57" y="2"/>
                    </a:lnTo>
                    <a:lnTo>
                      <a:pt x="60" y="2"/>
                    </a:lnTo>
                    <a:close/>
                    <a:moveTo>
                      <a:pt x="71" y="0"/>
                    </a:moveTo>
                    <a:lnTo>
                      <a:pt x="71" y="0"/>
                    </a:lnTo>
                    <a:lnTo>
                      <a:pt x="71" y="0"/>
                    </a:lnTo>
                    <a:lnTo>
                      <a:pt x="71" y="0"/>
                    </a:lnTo>
                    <a:lnTo>
                      <a:pt x="69" y="0"/>
                    </a:lnTo>
                    <a:lnTo>
                      <a:pt x="69" y="0"/>
                    </a:lnTo>
                    <a:lnTo>
                      <a:pt x="69" y="2"/>
                    </a:lnTo>
                    <a:lnTo>
                      <a:pt x="71" y="0"/>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Freeform 139"/>
              <p:cNvSpPr>
                <a:spLocks noEditPoints="1"/>
              </p:cNvSpPr>
              <p:nvPr/>
            </p:nvSpPr>
            <p:spPr bwMode="auto">
              <a:xfrm>
                <a:off x="1384" y="2376"/>
                <a:ext cx="52" cy="43"/>
              </a:xfrm>
              <a:custGeom>
                <a:avLst/>
                <a:gdLst>
                  <a:gd name="T0" fmla="*/ 28 w 52"/>
                  <a:gd name="T1" fmla="*/ 26 h 43"/>
                  <a:gd name="T2" fmla="*/ 23 w 52"/>
                  <a:gd name="T3" fmla="*/ 24 h 43"/>
                  <a:gd name="T4" fmla="*/ 21 w 52"/>
                  <a:gd name="T5" fmla="*/ 24 h 43"/>
                  <a:gd name="T6" fmla="*/ 30 w 52"/>
                  <a:gd name="T7" fmla="*/ 29 h 43"/>
                  <a:gd name="T8" fmla="*/ 52 w 52"/>
                  <a:gd name="T9" fmla="*/ 17 h 43"/>
                  <a:gd name="T10" fmla="*/ 52 w 52"/>
                  <a:gd name="T11" fmla="*/ 14 h 43"/>
                  <a:gd name="T12" fmla="*/ 52 w 52"/>
                  <a:gd name="T13" fmla="*/ 7 h 43"/>
                  <a:gd name="T14" fmla="*/ 52 w 52"/>
                  <a:gd name="T15" fmla="*/ 7 h 43"/>
                  <a:gd name="T16" fmla="*/ 45 w 52"/>
                  <a:gd name="T17" fmla="*/ 7 h 43"/>
                  <a:gd name="T18" fmla="*/ 38 w 52"/>
                  <a:gd name="T19" fmla="*/ 3 h 43"/>
                  <a:gd name="T20" fmla="*/ 28 w 52"/>
                  <a:gd name="T21" fmla="*/ 3 h 43"/>
                  <a:gd name="T22" fmla="*/ 23 w 52"/>
                  <a:gd name="T23" fmla="*/ 5 h 43"/>
                  <a:gd name="T24" fmla="*/ 21 w 52"/>
                  <a:gd name="T25" fmla="*/ 7 h 43"/>
                  <a:gd name="T26" fmla="*/ 23 w 52"/>
                  <a:gd name="T27" fmla="*/ 10 h 43"/>
                  <a:gd name="T28" fmla="*/ 30 w 52"/>
                  <a:gd name="T29" fmla="*/ 12 h 43"/>
                  <a:gd name="T30" fmla="*/ 33 w 52"/>
                  <a:gd name="T31" fmla="*/ 14 h 43"/>
                  <a:gd name="T32" fmla="*/ 33 w 52"/>
                  <a:gd name="T33" fmla="*/ 19 h 43"/>
                  <a:gd name="T34" fmla="*/ 33 w 52"/>
                  <a:gd name="T35" fmla="*/ 24 h 43"/>
                  <a:gd name="T36" fmla="*/ 38 w 52"/>
                  <a:gd name="T37" fmla="*/ 29 h 43"/>
                  <a:gd name="T38" fmla="*/ 38 w 52"/>
                  <a:gd name="T39" fmla="*/ 31 h 43"/>
                  <a:gd name="T40" fmla="*/ 33 w 52"/>
                  <a:gd name="T41" fmla="*/ 31 h 43"/>
                  <a:gd name="T42" fmla="*/ 33 w 52"/>
                  <a:gd name="T43" fmla="*/ 33 h 43"/>
                  <a:gd name="T44" fmla="*/ 30 w 52"/>
                  <a:gd name="T45" fmla="*/ 33 h 43"/>
                  <a:gd name="T46" fmla="*/ 16 w 52"/>
                  <a:gd name="T47" fmla="*/ 33 h 43"/>
                  <a:gd name="T48" fmla="*/ 12 w 52"/>
                  <a:gd name="T49" fmla="*/ 31 h 43"/>
                  <a:gd name="T50" fmla="*/ 7 w 52"/>
                  <a:gd name="T51" fmla="*/ 31 h 43"/>
                  <a:gd name="T52" fmla="*/ 2 w 52"/>
                  <a:gd name="T53" fmla="*/ 29 h 43"/>
                  <a:gd name="T54" fmla="*/ 0 w 52"/>
                  <a:gd name="T55" fmla="*/ 33 h 43"/>
                  <a:gd name="T56" fmla="*/ 0 w 52"/>
                  <a:gd name="T57" fmla="*/ 36 h 43"/>
                  <a:gd name="T58" fmla="*/ 4 w 52"/>
                  <a:gd name="T59" fmla="*/ 38 h 43"/>
                  <a:gd name="T60" fmla="*/ 9 w 52"/>
                  <a:gd name="T61" fmla="*/ 43 h 43"/>
                  <a:gd name="T62" fmla="*/ 9 w 52"/>
                  <a:gd name="T63" fmla="*/ 40 h 43"/>
                  <a:gd name="T64" fmla="*/ 14 w 52"/>
                  <a:gd name="T65" fmla="*/ 38 h 43"/>
                  <a:gd name="T66" fmla="*/ 19 w 52"/>
                  <a:gd name="T67" fmla="*/ 38 h 43"/>
                  <a:gd name="T68" fmla="*/ 23 w 52"/>
                  <a:gd name="T69" fmla="*/ 38 h 43"/>
                  <a:gd name="T70" fmla="*/ 30 w 52"/>
                  <a:gd name="T71" fmla="*/ 40 h 43"/>
                  <a:gd name="T72" fmla="*/ 33 w 52"/>
                  <a:gd name="T73" fmla="*/ 40 h 43"/>
                  <a:gd name="T74" fmla="*/ 35 w 52"/>
                  <a:gd name="T75" fmla="*/ 38 h 43"/>
                  <a:gd name="T76" fmla="*/ 45 w 52"/>
                  <a:gd name="T77" fmla="*/ 38 h 43"/>
                  <a:gd name="T78" fmla="*/ 47 w 52"/>
                  <a:gd name="T79" fmla="*/ 40 h 43"/>
                  <a:gd name="T80" fmla="*/ 47 w 52"/>
                  <a:gd name="T81" fmla="*/ 38 h 43"/>
                  <a:gd name="T82" fmla="*/ 49 w 52"/>
                  <a:gd name="T83" fmla="*/ 36 h 43"/>
                  <a:gd name="T84" fmla="*/ 45 w 52"/>
                  <a:gd name="T85" fmla="*/ 33 h 43"/>
                  <a:gd name="T86" fmla="*/ 45 w 52"/>
                  <a:gd name="T87" fmla="*/ 31 h 43"/>
                  <a:gd name="T88" fmla="*/ 47 w 52"/>
                  <a:gd name="T89" fmla="*/ 31 h 43"/>
                  <a:gd name="T90" fmla="*/ 49 w 52"/>
                  <a:gd name="T91" fmla="*/ 26 h 43"/>
                  <a:gd name="T92" fmla="*/ 49 w 52"/>
                  <a:gd name="T93" fmla="*/ 24 h 43"/>
                  <a:gd name="T94" fmla="*/ 52 w 52"/>
                  <a:gd name="T95" fmla="*/ 21 h 43"/>
                  <a:gd name="T96" fmla="*/ 52 w 52"/>
                  <a:gd name="T97" fmla="*/ 19 h 43"/>
                  <a:gd name="T98" fmla="*/ 52 w 52"/>
                  <a:gd name="T99" fmla="*/ 17 h 43"/>
                  <a:gd name="T100" fmla="*/ 33 w 52"/>
                  <a:gd name="T101" fmla="*/ 0 h 43"/>
                  <a:gd name="T102" fmla="*/ 38 w 52"/>
                  <a:gd name="T103" fmla="*/ 3 h 43"/>
                  <a:gd name="T104" fmla="*/ 35 w 52"/>
                  <a:gd name="T105" fmla="*/ 0 h 43"/>
                  <a:gd name="T106" fmla="*/ 33 w 52"/>
                  <a:gd name="T107" fmla="*/ 0 h 43"/>
                  <a:gd name="T108" fmla="*/ 30 w 52"/>
                  <a:gd name="T109" fmla="*/ 0 h 43"/>
                  <a:gd name="T110" fmla="*/ 33 w 52"/>
                  <a:gd name="T111"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2" h="43">
                    <a:moveTo>
                      <a:pt x="30" y="26"/>
                    </a:moveTo>
                    <a:lnTo>
                      <a:pt x="28" y="26"/>
                    </a:lnTo>
                    <a:lnTo>
                      <a:pt x="26" y="24"/>
                    </a:lnTo>
                    <a:lnTo>
                      <a:pt x="23" y="24"/>
                    </a:lnTo>
                    <a:lnTo>
                      <a:pt x="23" y="24"/>
                    </a:lnTo>
                    <a:lnTo>
                      <a:pt x="21" y="24"/>
                    </a:lnTo>
                    <a:lnTo>
                      <a:pt x="26" y="26"/>
                    </a:lnTo>
                    <a:lnTo>
                      <a:pt x="30" y="29"/>
                    </a:lnTo>
                    <a:lnTo>
                      <a:pt x="30" y="26"/>
                    </a:lnTo>
                    <a:close/>
                    <a:moveTo>
                      <a:pt x="52" y="17"/>
                    </a:moveTo>
                    <a:lnTo>
                      <a:pt x="52" y="14"/>
                    </a:lnTo>
                    <a:lnTo>
                      <a:pt x="52" y="14"/>
                    </a:lnTo>
                    <a:lnTo>
                      <a:pt x="52" y="12"/>
                    </a:lnTo>
                    <a:lnTo>
                      <a:pt x="52" y="7"/>
                    </a:lnTo>
                    <a:lnTo>
                      <a:pt x="52" y="7"/>
                    </a:lnTo>
                    <a:lnTo>
                      <a:pt x="52" y="7"/>
                    </a:lnTo>
                    <a:lnTo>
                      <a:pt x="49" y="7"/>
                    </a:lnTo>
                    <a:lnTo>
                      <a:pt x="45" y="7"/>
                    </a:lnTo>
                    <a:lnTo>
                      <a:pt x="40" y="5"/>
                    </a:lnTo>
                    <a:lnTo>
                      <a:pt x="38" y="3"/>
                    </a:lnTo>
                    <a:lnTo>
                      <a:pt x="33" y="3"/>
                    </a:lnTo>
                    <a:lnTo>
                      <a:pt x="28" y="3"/>
                    </a:lnTo>
                    <a:lnTo>
                      <a:pt x="26" y="5"/>
                    </a:lnTo>
                    <a:lnTo>
                      <a:pt x="23" y="5"/>
                    </a:lnTo>
                    <a:lnTo>
                      <a:pt x="23" y="5"/>
                    </a:lnTo>
                    <a:lnTo>
                      <a:pt x="21" y="7"/>
                    </a:lnTo>
                    <a:lnTo>
                      <a:pt x="21" y="10"/>
                    </a:lnTo>
                    <a:lnTo>
                      <a:pt x="23" y="10"/>
                    </a:lnTo>
                    <a:lnTo>
                      <a:pt x="28" y="10"/>
                    </a:lnTo>
                    <a:lnTo>
                      <a:pt x="30" y="12"/>
                    </a:lnTo>
                    <a:lnTo>
                      <a:pt x="35" y="12"/>
                    </a:lnTo>
                    <a:lnTo>
                      <a:pt x="33" y="14"/>
                    </a:lnTo>
                    <a:lnTo>
                      <a:pt x="33" y="17"/>
                    </a:lnTo>
                    <a:lnTo>
                      <a:pt x="33" y="19"/>
                    </a:lnTo>
                    <a:lnTo>
                      <a:pt x="30" y="21"/>
                    </a:lnTo>
                    <a:lnTo>
                      <a:pt x="33" y="24"/>
                    </a:lnTo>
                    <a:lnTo>
                      <a:pt x="38" y="29"/>
                    </a:lnTo>
                    <a:lnTo>
                      <a:pt x="38" y="29"/>
                    </a:lnTo>
                    <a:lnTo>
                      <a:pt x="38" y="31"/>
                    </a:lnTo>
                    <a:lnTo>
                      <a:pt x="38" y="31"/>
                    </a:lnTo>
                    <a:lnTo>
                      <a:pt x="38" y="31"/>
                    </a:lnTo>
                    <a:lnTo>
                      <a:pt x="33" y="31"/>
                    </a:lnTo>
                    <a:lnTo>
                      <a:pt x="33" y="33"/>
                    </a:lnTo>
                    <a:lnTo>
                      <a:pt x="33" y="33"/>
                    </a:lnTo>
                    <a:lnTo>
                      <a:pt x="30" y="33"/>
                    </a:lnTo>
                    <a:lnTo>
                      <a:pt x="30" y="33"/>
                    </a:lnTo>
                    <a:lnTo>
                      <a:pt x="28" y="33"/>
                    </a:lnTo>
                    <a:lnTo>
                      <a:pt x="16" y="33"/>
                    </a:lnTo>
                    <a:lnTo>
                      <a:pt x="14" y="31"/>
                    </a:lnTo>
                    <a:lnTo>
                      <a:pt x="12" y="31"/>
                    </a:lnTo>
                    <a:lnTo>
                      <a:pt x="9" y="31"/>
                    </a:lnTo>
                    <a:lnTo>
                      <a:pt x="7" y="31"/>
                    </a:lnTo>
                    <a:lnTo>
                      <a:pt x="4" y="29"/>
                    </a:lnTo>
                    <a:lnTo>
                      <a:pt x="2" y="29"/>
                    </a:lnTo>
                    <a:lnTo>
                      <a:pt x="2" y="31"/>
                    </a:lnTo>
                    <a:lnTo>
                      <a:pt x="0" y="33"/>
                    </a:lnTo>
                    <a:lnTo>
                      <a:pt x="0" y="36"/>
                    </a:lnTo>
                    <a:lnTo>
                      <a:pt x="0" y="36"/>
                    </a:lnTo>
                    <a:lnTo>
                      <a:pt x="4" y="38"/>
                    </a:lnTo>
                    <a:lnTo>
                      <a:pt x="4" y="38"/>
                    </a:lnTo>
                    <a:lnTo>
                      <a:pt x="7" y="40"/>
                    </a:lnTo>
                    <a:lnTo>
                      <a:pt x="9" y="43"/>
                    </a:lnTo>
                    <a:lnTo>
                      <a:pt x="9" y="43"/>
                    </a:lnTo>
                    <a:lnTo>
                      <a:pt x="9" y="40"/>
                    </a:lnTo>
                    <a:lnTo>
                      <a:pt x="12" y="40"/>
                    </a:lnTo>
                    <a:lnTo>
                      <a:pt x="14" y="38"/>
                    </a:lnTo>
                    <a:lnTo>
                      <a:pt x="16" y="38"/>
                    </a:lnTo>
                    <a:lnTo>
                      <a:pt x="19" y="38"/>
                    </a:lnTo>
                    <a:lnTo>
                      <a:pt x="21" y="38"/>
                    </a:lnTo>
                    <a:lnTo>
                      <a:pt x="23" y="38"/>
                    </a:lnTo>
                    <a:lnTo>
                      <a:pt x="28" y="40"/>
                    </a:lnTo>
                    <a:lnTo>
                      <a:pt x="30" y="40"/>
                    </a:lnTo>
                    <a:lnTo>
                      <a:pt x="33" y="40"/>
                    </a:lnTo>
                    <a:lnTo>
                      <a:pt x="33" y="40"/>
                    </a:lnTo>
                    <a:lnTo>
                      <a:pt x="33" y="38"/>
                    </a:lnTo>
                    <a:lnTo>
                      <a:pt x="35" y="38"/>
                    </a:lnTo>
                    <a:lnTo>
                      <a:pt x="42" y="38"/>
                    </a:lnTo>
                    <a:lnTo>
                      <a:pt x="45" y="38"/>
                    </a:lnTo>
                    <a:lnTo>
                      <a:pt x="45" y="40"/>
                    </a:lnTo>
                    <a:lnTo>
                      <a:pt x="47" y="40"/>
                    </a:lnTo>
                    <a:lnTo>
                      <a:pt x="47" y="43"/>
                    </a:lnTo>
                    <a:lnTo>
                      <a:pt x="47" y="38"/>
                    </a:lnTo>
                    <a:lnTo>
                      <a:pt x="49" y="38"/>
                    </a:lnTo>
                    <a:lnTo>
                      <a:pt x="49" y="36"/>
                    </a:lnTo>
                    <a:lnTo>
                      <a:pt x="47" y="36"/>
                    </a:lnTo>
                    <a:lnTo>
                      <a:pt x="45" y="33"/>
                    </a:lnTo>
                    <a:lnTo>
                      <a:pt x="45" y="31"/>
                    </a:lnTo>
                    <a:lnTo>
                      <a:pt x="45" y="31"/>
                    </a:lnTo>
                    <a:lnTo>
                      <a:pt x="47" y="31"/>
                    </a:lnTo>
                    <a:lnTo>
                      <a:pt x="47" y="31"/>
                    </a:lnTo>
                    <a:lnTo>
                      <a:pt x="49" y="29"/>
                    </a:lnTo>
                    <a:lnTo>
                      <a:pt x="49" y="26"/>
                    </a:lnTo>
                    <a:lnTo>
                      <a:pt x="49" y="26"/>
                    </a:lnTo>
                    <a:lnTo>
                      <a:pt x="49" y="24"/>
                    </a:lnTo>
                    <a:lnTo>
                      <a:pt x="49" y="24"/>
                    </a:lnTo>
                    <a:lnTo>
                      <a:pt x="52" y="21"/>
                    </a:lnTo>
                    <a:lnTo>
                      <a:pt x="52" y="19"/>
                    </a:lnTo>
                    <a:lnTo>
                      <a:pt x="52" y="19"/>
                    </a:lnTo>
                    <a:lnTo>
                      <a:pt x="52" y="19"/>
                    </a:lnTo>
                    <a:lnTo>
                      <a:pt x="52" y="17"/>
                    </a:lnTo>
                    <a:close/>
                    <a:moveTo>
                      <a:pt x="33" y="0"/>
                    </a:moveTo>
                    <a:lnTo>
                      <a:pt x="33" y="0"/>
                    </a:lnTo>
                    <a:lnTo>
                      <a:pt x="35" y="0"/>
                    </a:lnTo>
                    <a:lnTo>
                      <a:pt x="38" y="3"/>
                    </a:lnTo>
                    <a:lnTo>
                      <a:pt x="38" y="0"/>
                    </a:lnTo>
                    <a:lnTo>
                      <a:pt x="35" y="0"/>
                    </a:lnTo>
                    <a:lnTo>
                      <a:pt x="35" y="0"/>
                    </a:lnTo>
                    <a:lnTo>
                      <a:pt x="33" y="0"/>
                    </a:lnTo>
                    <a:lnTo>
                      <a:pt x="33" y="0"/>
                    </a:lnTo>
                    <a:lnTo>
                      <a:pt x="30" y="0"/>
                    </a:lnTo>
                    <a:lnTo>
                      <a:pt x="33" y="0"/>
                    </a:lnTo>
                    <a:lnTo>
                      <a:pt x="33" y="0"/>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140"/>
              <p:cNvSpPr>
                <a:spLocks/>
              </p:cNvSpPr>
              <p:nvPr/>
            </p:nvSpPr>
            <p:spPr bwMode="auto">
              <a:xfrm>
                <a:off x="1606" y="2620"/>
                <a:ext cx="88" cy="154"/>
              </a:xfrm>
              <a:custGeom>
                <a:avLst/>
                <a:gdLst>
                  <a:gd name="T0" fmla="*/ 83 w 88"/>
                  <a:gd name="T1" fmla="*/ 135 h 154"/>
                  <a:gd name="T2" fmla="*/ 80 w 88"/>
                  <a:gd name="T3" fmla="*/ 128 h 154"/>
                  <a:gd name="T4" fmla="*/ 78 w 88"/>
                  <a:gd name="T5" fmla="*/ 123 h 154"/>
                  <a:gd name="T6" fmla="*/ 76 w 88"/>
                  <a:gd name="T7" fmla="*/ 121 h 154"/>
                  <a:gd name="T8" fmla="*/ 76 w 88"/>
                  <a:gd name="T9" fmla="*/ 116 h 154"/>
                  <a:gd name="T10" fmla="*/ 73 w 88"/>
                  <a:gd name="T11" fmla="*/ 109 h 154"/>
                  <a:gd name="T12" fmla="*/ 69 w 88"/>
                  <a:gd name="T13" fmla="*/ 109 h 154"/>
                  <a:gd name="T14" fmla="*/ 66 w 88"/>
                  <a:gd name="T15" fmla="*/ 104 h 154"/>
                  <a:gd name="T16" fmla="*/ 59 w 88"/>
                  <a:gd name="T17" fmla="*/ 92 h 154"/>
                  <a:gd name="T18" fmla="*/ 64 w 88"/>
                  <a:gd name="T19" fmla="*/ 85 h 154"/>
                  <a:gd name="T20" fmla="*/ 64 w 88"/>
                  <a:gd name="T21" fmla="*/ 78 h 154"/>
                  <a:gd name="T22" fmla="*/ 66 w 88"/>
                  <a:gd name="T23" fmla="*/ 73 h 154"/>
                  <a:gd name="T24" fmla="*/ 76 w 88"/>
                  <a:gd name="T25" fmla="*/ 73 h 154"/>
                  <a:gd name="T26" fmla="*/ 76 w 88"/>
                  <a:gd name="T27" fmla="*/ 69 h 154"/>
                  <a:gd name="T28" fmla="*/ 76 w 88"/>
                  <a:gd name="T29" fmla="*/ 66 h 154"/>
                  <a:gd name="T30" fmla="*/ 78 w 88"/>
                  <a:gd name="T31" fmla="*/ 55 h 154"/>
                  <a:gd name="T32" fmla="*/ 71 w 88"/>
                  <a:gd name="T33" fmla="*/ 43 h 154"/>
                  <a:gd name="T34" fmla="*/ 57 w 88"/>
                  <a:gd name="T35" fmla="*/ 36 h 154"/>
                  <a:gd name="T36" fmla="*/ 50 w 88"/>
                  <a:gd name="T37" fmla="*/ 45 h 154"/>
                  <a:gd name="T38" fmla="*/ 54 w 88"/>
                  <a:gd name="T39" fmla="*/ 26 h 154"/>
                  <a:gd name="T40" fmla="*/ 43 w 88"/>
                  <a:gd name="T41" fmla="*/ 10 h 154"/>
                  <a:gd name="T42" fmla="*/ 31 w 88"/>
                  <a:gd name="T43" fmla="*/ 5 h 154"/>
                  <a:gd name="T44" fmla="*/ 31 w 88"/>
                  <a:gd name="T45" fmla="*/ 5 h 154"/>
                  <a:gd name="T46" fmla="*/ 24 w 88"/>
                  <a:gd name="T47" fmla="*/ 12 h 154"/>
                  <a:gd name="T48" fmla="*/ 17 w 88"/>
                  <a:gd name="T49" fmla="*/ 17 h 154"/>
                  <a:gd name="T50" fmla="*/ 14 w 88"/>
                  <a:gd name="T51" fmla="*/ 24 h 154"/>
                  <a:gd name="T52" fmla="*/ 17 w 88"/>
                  <a:gd name="T53" fmla="*/ 28 h 154"/>
                  <a:gd name="T54" fmla="*/ 19 w 88"/>
                  <a:gd name="T55" fmla="*/ 31 h 154"/>
                  <a:gd name="T56" fmla="*/ 12 w 88"/>
                  <a:gd name="T57" fmla="*/ 38 h 154"/>
                  <a:gd name="T58" fmla="*/ 7 w 88"/>
                  <a:gd name="T59" fmla="*/ 38 h 154"/>
                  <a:gd name="T60" fmla="*/ 5 w 88"/>
                  <a:gd name="T61" fmla="*/ 43 h 154"/>
                  <a:gd name="T62" fmla="*/ 2 w 88"/>
                  <a:gd name="T63" fmla="*/ 50 h 154"/>
                  <a:gd name="T64" fmla="*/ 7 w 88"/>
                  <a:gd name="T65" fmla="*/ 64 h 154"/>
                  <a:gd name="T66" fmla="*/ 17 w 88"/>
                  <a:gd name="T67" fmla="*/ 71 h 154"/>
                  <a:gd name="T68" fmla="*/ 24 w 88"/>
                  <a:gd name="T69" fmla="*/ 71 h 154"/>
                  <a:gd name="T70" fmla="*/ 24 w 88"/>
                  <a:gd name="T71" fmla="*/ 78 h 154"/>
                  <a:gd name="T72" fmla="*/ 21 w 88"/>
                  <a:gd name="T73" fmla="*/ 85 h 154"/>
                  <a:gd name="T74" fmla="*/ 28 w 88"/>
                  <a:gd name="T75" fmla="*/ 85 h 154"/>
                  <a:gd name="T76" fmla="*/ 28 w 88"/>
                  <a:gd name="T77" fmla="*/ 90 h 154"/>
                  <a:gd name="T78" fmla="*/ 33 w 88"/>
                  <a:gd name="T79" fmla="*/ 97 h 154"/>
                  <a:gd name="T80" fmla="*/ 31 w 88"/>
                  <a:gd name="T81" fmla="*/ 102 h 154"/>
                  <a:gd name="T82" fmla="*/ 26 w 88"/>
                  <a:gd name="T83" fmla="*/ 109 h 154"/>
                  <a:gd name="T84" fmla="*/ 24 w 88"/>
                  <a:gd name="T85" fmla="*/ 123 h 154"/>
                  <a:gd name="T86" fmla="*/ 28 w 88"/>
                  <a:gd name="T87" fmla="*/ 135 h 154"/>
                  <a:gd name="T88" fmla="*/ 28 w 88"/>
                  <a:gd name="T89" fmla="*/ 142 h 154"/>
                  <a:gd name="T90" fmla="*/ 33 w 88"/>
                  <a:gd name="T91" fmla="*/ 145 h 154"/>
                  <a:gd name="T92" fmla="*/ 40 w 88"/>
                  <a:gd name="T93" fmla="*/ 152 h 154"/>
                  <a:gd name="T94" fmla="*/ 45 w 88"/>
                  <a:gd name="T95" fmla="*/ 154 h 154"/>
                  <a:gd name="T96" fmla="*/ 52 w 88"/>
                  <a:gd name="T97" fmla="*/ 152 h 154"/>
                  <a:gd name="T98" fmla="*/ 52 w 88"/>
                  <a:gd name="T99" fmla="*/ 147 h 154"/>
                  <a:gd name="T100" fmla="*/ 57 w 88"/>
                  <a:gd name="T101" fmla="*/ 147 h 154"/>
                  <a:gd name="T102" fmla="*/ 59 w 88"/>
                  <a:gd name="T103" fmla="*/ 147 h 154"/>
                  <a:gd name="T104" fmla="*/ 64 w 88"/>
                  <a:gd name="T105" fmla="*/ 145 h 154"/>
                  <a:gd name="T106" fmla="*/ 71 w 88"/>
                  <a:gd name="T107" fmla="*/ 140 h 154"/>
                  <a:gd name="T108" fmla="*/ 76 w 88"/>
                  <a:gd name="T109" fmla="*/ 137 h 154"/>
                  <a:gd name="T110" fmla="*/ 83 w 88"/>
                  <a:gd name="T111" fmla="*/ 140 h 154"/>
                  <a:gd name="T112" fmla="*/ 88 w 88"/>
                  <a:gd name="T113" fmla="*/ 14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8" h="154">
                    <a:moveTo>
                      <a:pt x="88" y="137"/>
                    </a:moveTo>
                    <a:lnTo>
                      <a:pt x="88" y="137"/>
                    </a:lnTo>
                    <a:lnTo>
                      <a:pt x="85" y="137"/>
                    </a:lnTo>
                    <a:lnTo>
                      <a:pt x="85" y="137"/>
                    </a:lnTo>
                    <a:lnTo>
                      <a:pt x="83" y="135"/>
                    </a:lnTo>
                    <a:lnTo>
                      <a:pt x="83" y="133"/>
                    </a:lnTo>
                    <a:lnTo>
                      <a:pt x="83" y="133"/>
                    </a:lnTo>
                    <a:lnTo>
                      <a:pt x="80" y="130"/>
                    </a:lnTo>
                    <a:lnTo>
                      <a:pt x="80" y="130"/>
                    </a:lnTo>
                    <a:lnTo>
                      <a:pt x="80" y="128"/>
                    </a:lnTo>
                    <a:lnTo>
                      <a:pt x="80" y="128"/>
                    </a:lnTo>
                    <a:lnTo>
                      <a:pt x="80" y="126"/>
                    </a:lnTo>
                    <a:lnTo>
                      <a:pt x="78" y="126"/>
                    </a:lnTo>
                    <a:lnTo>
                      <a:pt x="78" y="123"/>
                    </a:lnTo>
                    <a:lnTo>
                      <a:pt x="78" y="123"/>
                    </a:lnTo>
                    <a:lnTo>
                      <a:pt x="78" y="123"/>
                    </a:lnTo>
                    <a:lnTo>
                      <a:pt x="78" y="121"/>
                    </a:lnTo>
                    <a:lnTo>
                      <a:pt x="78" y="121"/>
                    </a:lnTo>
                    <a:lnTo>
                      <a:pt x="78" y="121"/>
                    </a:lnTo>
                    <a:lnTo>
                      <a:pt x="76" y="121"/>
                    </a:lnTo>
                    <a:lnTo>
                      <a:pt x="76" y="121"/>
                    </a:lnTo>
                    <a:lnTo>
                      <a:pt x="76" y="118"/>
                    </a:lnTo>
                    <a:lnTo>
                      <a:pt x="76" y="118"/>
                    </a:lnTo>
                    <a:lnTo>
                      <a:pt x="76" y="116"/>
                    </a:lnTo>
                    <a:lnTo>
                      <a:pt x="76" y="116"/>
                    </a:lnTo>
                    <a:lnTo>
                      <a:pt x="76" y="114"/>
                    </a:lnTo>
                    <a:lnTo>
                      <a:pt x="76" y="114"/>
                    </a:lnTo>
                    <a:lnTo>
                      <a:pt x="73" y="114"/>
                    </a:lnTo>
                    <a:lnTo>
                      <a:pt x="73" y="111"/>
                    </a:lnTo>
                    <a:lnTo>
                      <a:pt x="73" y="109"/>
                    </a:lnTo>
                    <a:lnTo>
                      <a:pt x="73" y="109"/>
                    </a:lnTo>
                    <a:lnTo>
                      <a:pt x="71" y="109"/>
                    </a:lnTo>
                    <a:lnTo>
                      <a:pt x="71" y="109"/>
                    </a:lnTo>
                    <a:lnTo>
                      <a:pt x="71" y="109"/>
                    </a:lnTo>
                    <a:lnTo>
                      <a:pt x="69" y="109"/>
                    </a:lnTo>
                    <a:lnTo>
                      <a:pt x="69" y="109"/>
                    </a:lnTo>
                    <a:lnTo>
                      <a:pt x="69" y="109"/>
                    </a:lnTo>
                    <a:lnTo>
                      <a:pt x="66" y="107"/>
                    </a:lnTo>
                    <a:lnTo>
                      <a:pt x="69" y="107"/>
                    </a:lnTo>
                    <a:lnTo>
                      <a:pt x="66" y="104"/>
                    </a:lnTo>
                    <a:lnTo>
                      <a:pt x="64" y="102"/>
                    </a:lnTo>
                    <a:lnTo>
                      <a:pt x="64" y="100"/>
                    </a:lnTo>
                    <a:lnTo>
                      <a:pt x="64" y="100"/>
                    </a:lnTo>
                    <a:lnTo>
                      <a:pt x="62" y="95"/>
                    </a:lnTo>
                    <a:lnTo>
                      <a:pt x="59" y="92"/>
                    </a:lnTo>
                    <a:lnTo>
                      <a:pt x="62" y="92"/>
                    </a:lnTo>
                    <a:lnTo>
                      <a:pt x="62" y="90"/>
                    </a:lnTo>
                    <a:lnTo>
                      <a:pt x="62" y="88"/>
                    </a:lnTo>
                    <a:lnTo>
                      <a:pt x="64" y="85"/>
                    </a:lnTo>
                    <a:lnTo>
                      <a:pt x="64" y="85"/>
                    </a:lnTo>
                    <a:lnTo>
                      <a:pt x="64" y="83"/>
                    </a:lnTo>
                    <a:lnTo>
                      <a:pt x="64" y="81"/>
                    </a:lnTo>
                    <a:lnTo>
                      <a:pt x="64" y="81"/>
                    </a:lnTo>
                    <a:lnTo>
                      <a:pt x="64" y="78"/>
                    </a:lnTo>
                    <a:lnTo>
                      <a:pt x="64" y="78"/>
                    </a:lnTo>
                    <a:lnTo>
                      <a:pt x="64" y="76"/>
                    </a:lnTo>
                    <a:lnTo>
                      <a:pt x="64" y="76"/>
                    </a:lnTo>
                    <a:lnTo>
                      <a:pt x="66" y="76"/>
                    </a:lnTo>
                    <a:lnTo>
                      <a:pt x="66" y="76"/>
                    </a:lnTo>
                    <a:lnTo>
                      <a:pt x="66" y="73"/>
                    </a:lnTo>
                    <a:lnTo>
                      <a:pt x="69" y="73"/>
                    </a:lnTo>
                    <a:lnTo>
                      <a:pt x="71" y="73"/>
                    </a:lnTo>
                    <a:lnTo>
                      <a:pt x="73" y="73"/>
                    </a:lnTo>
                    <a:lnTo>
                      <a:pt x="73" y="73"/>
                    </a:lnTo>
                    <a:lnTo>
                      <a:pt x="76" y="73"/>
                    </a:lnTo>
                    <a:lnTo>
                      <a:pt x="76" y="71"/>
                    </a:lnTo>
                    <a:lnTo>
                      <a:pt x="76" y="71"/>
                    </a:lnTo>
                    <a:lnTo>
                      <a:pt x="76" y="71"/>
                    </a:lnTo>
                    <a:lnTo>
                      <a:pt x="76" y="71"/>
                    </a:lnTo>
                    <a:lnTo>
                      <a:pt x="76" y="69"/>
                    </a:lnTo>
                    <a:lnTo>
                      <a:pt x="76" y="69"/>
                    </a:lnTo>
                    <a:lnTo>
                      <a:pt x="76" y="69"/>
                    </a:lnTo>
                    <a:lnTo>
                      <a:pt x="76" y="69"/>
                    </a:lnTo>
                    <a:lnTo>
                      <a:pt x="76" y="66"/>
                    </a:lnTo>
                    <a:lnTo>
                      <a:pt x="76" y="66"/>
                    </a:lnTo>
                    <a:lnTo>
                      <a:pt x="76" y="64"/>
                    </a:lnTo>
                    <a:lnTo>
                      <a:pt x="76" y="64"/>
                    </a:lnTo>
                    <a:lnTo>
                      <a:pt x="78" y="62"/>
                    </a:lnTo>
                    <a:lnTo>
                      <a:pt x="78" y="62"/>
                    </a:lnTo>
                    <a:lnTo>
                      <a:pt x="78" y="55"/>
                    </a:lnTo>
                    <a:lnTo>
                      <a:pt x="78" y="52"/>
                    </a:lnTo>
                    <a:lnTo>
                      <a:pt x="78" y="50"/>
                    </a:lnTo>
                    <a:lnTo>
                      <a:pt x="76" y="47"/>
                    </a:lnTo>
                    <a:lnTo>
                      <a:pt x="71" y="45"/>
                    </a:lnTo>
                    <a:lnTo>
                      <a:pt x="71" y="43"/>
                    </a:lnTo>
                    <a:lnTo>
                      <a:pt x="66" y="40"/>
                    </a:lnTo>
                    <a:lnTo>
                      <a:pt x="64" y="36"/>
                    </a:lnTo>
                    <a:lnTo>
                      <a:pt x="62" y="36"/>
                    </a:lnTo>
                    <a:lnTo>
                      <a:pt x="59" y="36"/>
                    </a:lnTo>
                    <a:lnTo>
                      <a:pt x="57" y="36"/>
                    </a:lnTo>
                    <a:lnTo>
                      <a:pt x="54" y="36"/>
                    </a:lnTo>
                    <a:lnTo>
                      <a:pt x="54" y="38"/>
                    </a:lnTo>
                    <a:lnTo>
                      <a:pt x="52" y="40"/>
                    </a:lnTo>
                    <a:lnTo>
                      <a:pt x="52" y="43"/>
                    </a:lnTo>
                    <a:lnTo>
                      <a:pt x="50" y="45"/>
                    </a:lnTo>
                    <a:lnTo>
                      <a:pt x="52" y="43"/>
                    </a:lnTo>
                    <a:lnTo>
                      <a:pt x="52" y="38"/>
                    </a:lnTo>
                    <a:lnTo>
                      <a:pt x="52" y="36"/>
                    </a:lnTo>
                    <a:lnTo>
                      <a:pt x="54" y="31"/>
                    </a:lnTo>
                    <a:lnTo>
                      <a:pt x="54" y="26"/>
                    </a:lnTo>
                    <a:lnTo>
                      <a:pt x="54" y="24"/>
                    </a:lnTo>
                    <a:lnTo>
                      <a:pt x="52" y="21"/>
                    </a:lnTo>
                    <a:lnTo>
                      <a:pt x="50" y="19"/>
                    </a:lnTo>
                    <a:lnTo>
                      <a:pt x="50" y="17"/>
                    </a:lnTo>
                    <a:lnTo>
                      <a:pt x="43" y="10"/>
                    </a:lnTo>
                    <a:lnTo>
                      <a:pt x="38" y="5"/>
                    </a:lnTo>
                    <a:lnTo>
                      <a:pt x="33" y="2"/>
                    </a:lnTo>
                    <a:lnTo>
                      <a:pt x="33" y="2"/>
                    </a:lnTo>
                    <a:lnTo>
                      <a:pt x="33" y="5"/>
                    </a:lnTo>
                    <a:lnTo>
                      <a:pt x="31" y="5"/>
                    </a:lnTo>
                    <a:lnTo>
                      <a:pt x="31" y="2"/>
                    </a:lnTo>
                    <a:lnTo>
                      <a:pt x="28" y="0"/>
                    </a:lnTo>
                    <a:lnTo>
                      <a:pt x="26" y="0"/>
                    </a:lnTo>
                    <a:lnTo>
                      <a:pt x="31" y="5"/>
                    </a:lnTo>
                    <a:lnTo>
                      <a:pt x="31" y="5"/>
                    </a:lnTo>
                    <a:lnTo>
                      <a:pt x="31" y="5"/>
                    </a:lnTo>
                    <a:lnTo>
                      <a:pt x="28" y="7"/>
                    </a:lnTo>
                    <a:lnTo>
                      <a:pt x="26" y="7"/>
                    </a:lnTo>
                    <a:lnTo>
                      <a:pt x="26" y="10"/>
                    </a:lnTo>
                    <a:lnTo>
                      <a:pt x="24" y="12"/>
                    </a:lnTo>
                    <a:lnTo>
                      <a:pt x="21" y="12"/>
                    </a:lnTo>
                    <a:lnTo>
                      <a:pt x="21" y="14"/>
                    </a:lnTo>
                    <a:lnTo>
                      <a:pt x="19" y="14"/>
                    </a:lnTo>
                    <a:lnTo>
                      <a:pt x="17" y="14"/>
                    </a:lnTo>
                    <a:lnTo>
                      <a:pt x="17" y="17"/>
                    </a:lnTo>
                    <a:lnTo>
                      <a:pt x="14" y="19"/>
                    </a:lnTo>
                    <a:lnTo>
                      <a:pt x="14" y="19"/>
                    </a:lnTo>
                    <a:lnTo>
                      <a:pt x="14" y="21"/>
                    </a:lnTo>
                    <a:lnTo>
                      <a:pt x="14" y="21"/>
                    </a:lnTo>
                    <a:lnTo>
                      <a:pt x="14" y="24"/>
                    </a:lnTo>
                    <a:lnTo>
                      <a:pt x="14" y="26"/>
                    </a:lnTo>
                    <a:lnTo>
                      <a:pt x="14" y="26"/>
                    </a:lnTo>
                    <a:lnTo>
                      <a:pt x="14" y="28"/>
                    </a:lnTo>
                    <a:lnTo>
                      <a:pt x="14" y="28"/>
                    </a:lnTo>
                    <a:lnTo>
                      <a:pt x="17" y="28"/>
                    </a:lnTo>
                    <a:lnTo>
                      <a:pt x="17" y="28"/>
                    </a:lnTo>
                    <a:lnTo>
                      <a:pt x="19" y="28"/>
                    </a:lnTo>
                    <a:lnTo>
                      <a:pt x="19" y="28"/>
                    </a:lnTo>
                    <a:lnTo>
                      <a:pt x="19" y="28"/>
                    </a:lnTo>
                    <a:lnTo>
                      <a:pt x="19" y="31"/>
                    </a:lnTo>
                    <a:lnTo>
                      <a:pt x="19" y="33"/>
                    </a:lnTo>
                    <a:lnTo>
                      <a:pt x="19" y="33"/>
                    </a:lnTo>
                    <a:lnTo>
                      <a:pt x="14" y="36"/>
                    </a:lnTo>
                    <a:lnTo>
                      <a:pt x="14" y="36"/>
                    </a:lnTo>
                    <a:lnTo>
                      <a:pt x="12" y="38"/>
                    </a:lnTo>
                    <a:lnTo>
                      <a:pt x="10" y="36"/>
                    </a:lnTo>
                    <a:lnTo>
                      <a:pt x="10" y="36"/>
                    </a:lnTo>
                    <a:lnTo>
                      <a:pt x="10" y="38"/>
                    </a:lnTo>
                    <a:lnTo>
                      <a:pt x="10" y="38"/>
                    </a:lnTo>
                    <a:lnTo>
                      <a:pt x="7" y="38"/>
                    </a:lnTo>
                    <a:lnTo>
                      <a:pt x="5" y="38"/>
                    </a:lnTo>
                    <a:lnTo>
                      <a:pt x="5" y="38"/>
                    </a:lnTo>
                    <a:lnTo>
                      <a:pt x="5" y="40"/>
                    </a:lnTo>
                    <a:lnTo>
                      <a:pt x="2" y="40"/>
                    </a:lnTo>
                    <a:lnTo>
                      <a:pt x="5" y="43"/>
                    </a:lnTo>
                    <a:lnTo>
                      <a:pt x="5" y="43"/>
                    </a:lnTo>
                    <a:lnTo>
                      <a:pt x="5" y="45"/>
                    </a:lnTo>
                    <a:lnTo>
                      <a:pt x="5" y="50"/>
                    </a:lnTo>
                    <a:lnTo>
                      <a:pt x="5" y="50"/>
                    </a:lnTo>
                    <a:lnTo>
                      <a:pt x="2" y="50"/>
                    </a:lnTo>
                    <a:lnTo>
                      <a:pt x="0" y="52"/>
                    </a:lnTo>
                    <a:lnTo>
                      <a:pt x="0" y="55"/>
                    </a:lnTo>
                    <a:lnTo>
                      <a:pt x="0" y="55"/>
                    </a:lnTo>
                    <a:lnTo>
                      <a:pt x="2" y="59"/>
                    </a:lnTo>
                    <a:lnTo>
                      <a:pt x="7" y="64"/>
                    </a:lnTo>
                    <a:lnTo>
                      <a:pt x="12" y="71"/>
                    </a:lnTo>
                    <a:lnTo>
                      <a:pt x="12" y="69"/>
                    </a:lnTo>
                    <a:lnTo>
                      <a:pt x="14" y="71"/>
                    </a:lnTo>
                    <a:lnTo>
                      <a:pt x="17" y="71"/>
                    </a:lnTo>
                    <a:lnTo>
                      <a:pt x="17" y="71"/>
                    </a:lnTo>
                    <a:lnTo>
                      <a:pt x="19" y="71"/>
                    </a:lnTo>
                    <a:lnTo>
                      <a:pt x="21" y="69"/>
                    </a:lnTo>
                    <a:lnTo>
                      <a:pt x="21" y="69"/>
                    </a:lnTo>
                    <a:lnTo>
                      <a:pt x="21" y="69"/>
                    </a:lnTo>
                    <a:lnTo>
                      <a:pt x="24" y="71"/>
                    </a:lnTo>
                    <a:lnTo>
                      <a:pt x="24" y="71"/>
                    </a:lnTo>
                    <a:lnTo>
                      <a:pt x="24" y="73"/>
                    </a:lnTo>
                    <a:lnTo>
                      <a:pt x="24" y="73"/>
                    </a:lnTo>
                    <a:lnTo>
                      <a:pt x="24" y="76"/>
                    </a:lnTo>
                    <a:lnTo>
                      <a:pt x="24" y="78"/>
                    </a:lnTo>
                    <a:lnTo>
                      <a:pt x="24" y="81"/>
                    </a:lnTo>
                    <a:lnTo>
                      <a:pt x="24" y="81"/>
                    </a:lnTo>
                    <a:lnTo>
                      <a:pt x="21" y="83"/>
                    </a:lnTo>
                    <a:lnTo>
                      <a:pt x="21" y="83"/>
                    </a:lnTo>
                    <a:lnTo>
                      <a:pt x="21" y="85"/>
                    </a:lnTo>
                    <a:lnTo>
                      <a:pt x="21" y="85"/>
                    </a:lnTo>
                    <a:lnTo>
                      <a:pt x="24" y="85"/>
                    </a:lnTo>
                    <a:lnTo>
                      <a:pt x="26" y="85"/>
                    </a:lnTo>
                    <a:lnTo>
                      <a:pt x="26" y="85"/>
                    </a:lnTo>
                    <a:lnTo>
                      <a:pt x="28" y="85"/>
                    </a:lnTo>
                    <a:lnTo>
                      <a:pt x="28" y="88"/>
                    </a:lnTo>
                    <a:lnTo>
                      <a:pt x="31" y="88"/>
                    </a:lnTo>
                    <a:lnTo>
                      <a:pt x="31" y="88"/>
                    </a:lnTo>
                    <a:lnTo>
                      <a:pt x="28" y="90"/>
                    </a:lnTo>
                    <a:lnTo>
                      <a:pt x="28" y="90"/>
                    </a:lnTo>
                    <a:lnTo>
                      <a:pt x="28" y="92"/>
                    </a:lnTo>
                    <a:lnTo>
                      <a:pt x="31" y="92"/>
                    </a:lnTo>
                    <a:lnTo>
                      <a:pt x="31" y="95"/>
                    </a:lnTo>
                    <a:lnTo>
                      <a:pt x="31" y="97"/>
                    </a:lnTo>
                    <a:lnTo>
                      <a:pt x="33" y="97"/>
                    </a:lnTo>
                    <a:lnTo>
                      <a:pt x="33" y="97"/>
                    </a:lnTo>
                    <a:lnTo>
                      <a:pt x="31" y="97"/>
                    </a:lnTo>
                    <a:lnTo>
                      <a:pt x="31" y="100"/>
                    </a:lnTo>
                    <a:lnTo>
                      <a:pt x="31" y="102"/>
                    </a:lnTo>
                    <a:lnTo>
                      <a:pt x="31" y="102"/>
                    </a:lnTo>
                    <a:lnTo>
                      <a:pt x="28" y="102"/>
                    </a:lnTo>
                    <a:lnTo>
                      <a:pt x="26" y="104"/>
                    </a:lnTo>
                    <a:lnTo>
                      <a:pt x="26" y="107"/>
                    </a:lnTo>
                    <a:lnTo>
                      <a:pt x="26" y="109"/>
                    </a:lnTo>
                    <a:lnTo>
                      <a:pt x="26" y="109"/>
                    </a:lnTo>
                    <a:lnTo>
                      <a:pt x="26" y="111"/>
                    </a:lnTo>
                    <a:lnTo>
                      <a:pt x="24" y="114"/>
                    </a:lnTo>
                    <a:lnTo>
                      <a:pt x="24" y="116"/>
                    </a:lnTo>
                    <a:lnTo>
                      <a:pt x="24" y="121"/>
                    </a:lnTo>
                    <a:lnTo>
                      <a:pt x="24" y="123"/>
                    </a:lnTo>
                    <a:lnTo>
                      <a:pt x="24" y="126"/>
                    </a:lnTo>
                    <a:lnTo>
                      <a:pt x="26" y="130"/>
                    </a:lnTo>
                    <a:lnTo>
                      <a:pt x="26" y="130"/>
                    </a:lnTo>
                    <a:lnTo>
                      <a:pt x="28" y="133"/>
                    </a:lnTo>
                    <a:lnTo>
                      <a:pt x="28" y="135"/>
                    </a:lnTo>
                    <a:lnTo>
                      <a:pt x="28" y="140"/>
                    </a:lnTo>
                    <a:lnTo>
                      <a:pt x="28" y="140"/>
                    </a:lnTo>
                    <a:lnTo>
                      <a:pt x="28" y="140"/>
                    </a:lnTo>
                    <a:lnTo>
                      <a:pt x="28" y="140"/>
                    </a:lnTo>
                    <a:lnTo>
                      <a:pt x="28" y="142"/>
                    </a:lnTo>
                    <a:lnTo>
                      <a:pt x="28" y="142"/>
                    </a:lnTo>
                    <a:lnTo>
                      <a:pt x="28" y="142"/>
                    </a:lnTo>
                    <a:lnTo>
                      <a:pt x="31" y="145"/>
                    </a:lnTo>
                    <a:lnTo>
                      <a:pt x="31" y="145"/>
                    </a:lnTo>
                    <a:lnTo>
                      <a:pt x="33" y="145"/>
                    </a:lnTo>
                    <a:lnTo>
                      <a:pt x="36" y="147"/>
                    </a:lnTo>
                    <a:lnTo>
                      <a:pt x="36" y="149"/>
                    </a:lnTo>
                    <a:lnTo>
                      <a:pt x="36" y="149"/>
                    </a:lnTo>
                    <a:lnTo>
                      <a:pt x="38" y="152"/>
                    </a:lnTo>
                    <a:lnTo>
                      <a:pt x="40" y="152"/>
                    </a:lnTo>
                    <a:lnTo>
                      <a:pt x="43" y="152"/>
                    </a:lnTo>
                    <a:lnTo>
                      <a:pt x="43" y="154"/>
                    </a:lnTo>
                    <a:lnTo>
                      <a:pt x="45" y="154"/>
                    </a:lnTo>
                    <a:lnTo>
                      <a:pt x="45" y="154"/>
                    </a:lnTo>
                    <a:lnTo>
                      <a:pt x="45" y="154"/>
                    </a:lnTo>
                    <a:lnTo>
                      <a:pt x="47" y="154"/>
                    </a:lnTo>
                    <a:lnTo>
                      <a:pt x="47" y="154"/>
                    </a:lnTo>
                    <a:lnTo>
                      <a:pt x="50" y="154"/>
                    </a:lnTo>
                    <a:lnTo>
                      <a:pt x="50" y="154"/>
                    </a:lnTo>
                    <a:lnTo>
                      <a:pt x="52" y="152"/>
                    </a:lnTo>
                    <a:lnTo>
                      <a:pt x="52" y="152"/>
                    </a:lnTo>
                    <a:lnTo>
                      <a:pt x="50" y="149"/>
                    </a:lnTo>
                    <a:lnTo>
                      <a:pt x="52" y="149"/>
                    </a:lnTo>
                    <a:lnTo>
                      <a:pt x="52" y="149"/>
                    </a:lnTo>
                    <a:lnTo>
                      <a:pt x="52" y="147"/>
                    </a:lnTo>
                    <a:lnTo>
                      <a:pt x="54" y="147"/>
                    </a:lnTo>
                    <a:lnTo>
                      <a:pt x="54" y="147"/>
                    </a:lnTo>
                    <a:lnTo>
                      <a:pt x="54" y="147"/>
                    </a:lnTo>
                    <a:lnTo>
                      <a:pt x="54" y="147"/>
                    </a:lnTo>
                    <a:lnTo>
                      <a:pt x="57" y="147"/>
                    </a:lnTo>
                    <a:lnTo>
                      <a:pt x="57" y="147"/>
                    </a:lnTo>
                    <a:lnTo>
                      <a:pt x="57" y="147"/>
                    </a:lnTo>
                    <a:lnTo>
                      <a:pt x="59" y="149"/>
                    </a:lnTo>
                    <a:lnTo>
                      <a:pt x="59" y="147"/>
                    </a:lnTo>
                    <a:lnTo>
                      <a:pt x="59" y="147"/>
                    </a:lnTo>
                    <a:lnTo>
                      <a:pt x="62" y="147"/>
                    </a:lnTo>
                    <a:lnTo>
                      <a:pt x="62" y="145"/>
                    </a:lnTo>
                    <a:lnTo>
                      <a:pt x="62" y="145"/>
                    </a:lnTo>
                    <a:lnTo>
                      <a:pt x="62" y="145"/>
                    </a:lnTo>
                    <a:lnTo>
                      <a:pt x="64" y="145"/>
                    </a:lnTo>
                    <a:lnTo>
                      <a:pt x="66" y="145"/>
                    </a:lnTo>
                    <a:lnTo>
                      <a:pt x="69" y="145"/>
                    </a:lnTo>
                    <a:lnTo>
                      <a:pt x="69" y="145"/>
                    </a:lnTo>
                    <a:lnTo>
                      <a:pt x="69" y="142"/>
                    </a:lnTo>
                    <a:lnTo>
                      <a:pt x="71" y="140"/>
                    </a:lnTo>
                    <a:lnTo>
                      <a:pt x="73" y="140"/>
                    </a:lnTo>
                    <a:lnTo>
                      <a:pt x="73" y="137"/>
                    </a:lnTo>
                    <a:lnTo>
                      <a:pt x="73" y="140"/>
                    </a:lnTo>
                    <a:lnTo>
                      <a:pt x="76" y="137"/>
                    </a:lnTo>
                    <a:lnTo>
                      <a:pt x="76" y="137"/>
                    </a:lnTo>
                    <a:lnTo>
                      <a:pt x="78" y="137"/>
                    </a:lnTo>
                    <a:lnTo>
                      <a:pt x="78" y="140"/>
                    </a:lnTo>
                    <a:lnTo>
                      <a:pt x="78" y="140"/>
                    </a:lnTo>
                    <a:lnTo>
                      <a:pt x="80" y="140"/>
                    </a:lnTo>
                    <a:lnTo>
                      <a:pt x="83" y="140"/>
                    </a:lnTo>
                    <a:lnTo>
                      <a:pt x="83" y="140"/>
                    </a:lnTo>
                    <a:lnTo>
                      <a:pt x="85" y="140"/>
                    </a:lnTo>
                    <a:lnTo>
                      <a:pt x="85" y="140"/>
                    </a:lnTo>
                    <a:lnTo>
                      <a:pt x="88" y="140"/>
                    </a:lnTo>
                    <a:lnTo>
                      <a:pt x="88" y="140"/>
                    </a:lnTo>
                    <a:lnTo>
                      <a:pt x="88" y="140"/>
                    </a:lnTo>
                    <a:lnTo>
                      <a:pt x="88" y="137"/>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141"/>
              <p:cNvSpPr>
                <a:spLocks noEditPoints="1"/>
              </p:cNvSpPr>
              <p:nvPr/>
            </p:nvSpPr>
            <p:spPr bwMode="auto">
              <a:xfrm>
                <a:off x="2441" y="2532"/>
                <a:ext cx="55" cy="36"/>
              </a:xfrm>
              <a:custGeom>
                <a:avLst/>
                <a:gdLst>
                  <a:gd name="T0" fmla="*/ 12 w 55"/>
                  <a:gd name="T1" fmla="*/ 31 h 36"/>
                  <a:gd name="T2" fmla="*/ 12 w 55"/>
                  <a:gd name="T3" fmla="*/ 34 h 36"/>
                  <a:gd name="T4" fmla="*/ 14 w 55"/>
                  <a:gd name="T5" fmla="*/ 31 h 36"/>
                  <a:gd name="T6" fmla="*/ 10 w 55"/>
                  <a:gd name="T7" fmla="*/ 31 h 36"/>
                  <a:gd name="T8" fmla="*/ 7 w 55"/>
                  <a:gd name="T9" fmla="*/ 34 h 36"/>
                  <a:gd name="T10" fmla="*/ 7 w 55"/>
                  <a:gd name="T11" fmla="*/ 34 h 36"/>
                  <a:gd name="T12" fmla="*/ 10 w 55"/>
                  <a:gd name="T13" fmla="*/ 34 h 36"/>
                  <a:gd name="T14" fmla="*/ 17 w 55"/>
                  <a:gd name="T15" fmla="*/ 29 h 36"/>
                  <a:gd name="T16" fmla="*/ 17 w 55"/>
                  <a:gd name="T17" fmla="*/ 31 h 36"/>
                  <a:gd name="T18" fmla="*/ 17 w 55"/>
                  <a:gd name="T19" fmla="*/ 31 h 36"/>
                  <a:gd name="T20" fmla="*/ 19 w 55"/>
                  <a:gd name="T21" fmla="*/ 29 h 36"/>
                  <a:gd name="T22" fmla="*/ 12 w 55"/>
                  <a:gd name="T23" fmla="*/ 24 h 36"/>
                  <a:gd name="T24" fmla="*/ 12 w 55"/>
                  <a:gd name="T25" fmla="*/ 27 h 36"/>
                  <a:gd name="T26" fmla="*/ 12 w 55"/>
                  <a:gd name="T27" fmla="*/ 22 h 36"/>
                  <a:gd name="T28" fmla="*/ 19 w 55"/>
                  <a:gd name="T29" fmla="*/ 24 h 36"/>
                  <a:gd name="T30" fmla="*/ 21 w 55"/>
                  <a:gd name="T31" fmla="*/ 24 h 36"/>
                  <a:gd name="T32" fmla="*/ 12 w 55"/>
                  <a:gd name="T33" fmla="*/ 17 h 36"/>
                  <a:gd name="T34" fmla="*/ 10 w 55"/>
                  <a:gd name="T35" fmla="*/ 19 h 36"/>
                  <a:gd name="T36" fmla="*/ 12 w 55"/>
                  <a:gd name="T37" fmla="*/ 17 h 36"/>
                  <a:gd name="T38" fmla="*/ 47 w 55"/>
                  <a:gd name="T39" fmla="*/ 0 h 36"/>
                  <a:gd name="T40" fmla="*/ 31 w 55"/>
                  <a:gd name="T41" fmla="*/ 0 h 36"/>
                  <a:gd name="T42" fmla="*/ 21 w 55"/>
                  <a:gd name="T43" fmla="*/ 5 h 36"/>
                  <a:gd name="T44" fmla="*/ 7 w 55"/>
                  <a:gd name="T45" fmla="*/ 5 h 36"/>
                  <a:gd name="T46" fmla="*/ 2 w 55"/>
                  <a:gd name="T47" fmla="*/ 8 h 36"/>
                  <a:gd name="T48" fmla="*/ 5 w 55"/>
                  <a:gd name="T49" fmla="*/ 10 h 36"/>
                  <a:gd name="T50" fmla="*/ 7 w 55"/>
                  <a:gd name="T51" fmla="*/ 10 h 36"/>
                  <a:gd name="T52" fmla="*/ 7 w 55"/>
                  <a:gd name="T53" fmla="*/ 15 h 36"/>
                  <a:gd name="T54" fmla="*/ 14 w 55"/>
                  <a:gd name="T55" fmla="*/ 15 h 36"/>
                  <a:gd name="T56" fmla="*/ 14 w 55"/>
                  <a:gd name="T57" fmla="*/ 19 h 36"/>
                  <a:gd name="T58" fmla="*/ 24 w 55"/>
                  <a:gd name="T59" fmla="*/ 15 h 36"/>
                  <a:gd name="T60" fmla="*/ 28 w 55"/>
                  <a:gd name="T61" fmla="*/ 15 h 36"/>
                  <a:gd name="T62" fmla="*/ 28 w 55"/>
                  <a:gd name="T63" fmla="*/ 17 h 36"/>
                  <a:gd name="T64" fmla="*/ 21 w 55"/>
                  <a:gd name="T65" fmla="*/ 17 h 36"/>
                  <a:gd name="T66" fmla="*/ 24 w 55"/>
                  <a:gd name="T67" fmla="*/ 22 h 36"/>
                  <a:gd name="T68" fmla="*/ 26 w 55"/>
                  <a:gd name="T69" fmla="*/ 22 h 36"/>
                  <a:gd name="T70" fmla="*/ 28 w 55"/>
                  <a:gd name="T71" fmla="*/ 24 h 36"/>
                  <a:gd name="T72" fmla="*/ 21 w 55"/>
                  <a:gd name="T73" fmla="*/ 27 h 36"/>
                  <a:gd name="T74" fmla="*/ 24 w 55"/>
                  <a:gd name="T75" fmla="*/ 27 h 36"/>
                  <a:gd name="T76" fmla="*/ 24 w 55"/>
                  <a:gd name="T77" fmla="*/ 29 h 36"/>
                  <a:gd name="T78" fmla="*/ 26 w 55"/>
                  <a:gd name="T79" fmla="*/ 31 h 36"/>
                  <a:gd name="T80" fmla="*/ 26 w 55"/>
                  <a:gd name="T81" fmla="*/ 36 h 36"/>
                  <a:gd name="T82" fmla="*/ 28 w 55"/>
                  <a:gd name="T83" fmla="*/ 36 h 36"/>
                  <a:gd name="T84" fmla="*/ 31 w 55"/>
                  <a:gd name="T85" fmla="*/ 34 h 36"/>
                  <a:gd name="T86" fmla="*/ 36 w 55"/>
                  <a:gd name="T87" fmla="*/ 24 h 36"/>
                  <a:gd name="T88" fmla="*/ 43 w 55"/>
                  <a:gd name="T89" fmla="*/ 22 h 36"/>
                  <a:gd name="T90" fmla="*/ 50 w 55"/>
                  <a:gd name="T91" fmla="*/ 22 h 36"/>
                  <a:gd name="T92" fmla="*/ 55 w 55"/>
                  <a:gd name="T93" fmla="*/ 15 h 36"/>
                  <a:gd name="T94" fmla="*/ 52 w 55"/>
                  <a:gd name="T95" fmla="*/ 12 h 36"/>
                  <a:gd name="T96" fmla="*/ 50 w 55"/>
                  <a:gd name="T97" fmla="*/ 10 h 36"/>
                  <a:gd name="T98" fmla="*/ 55 w 55"/>
                  <a:gd name="T99" fmla="*/ 10 h 36"/>
                  <a:gd name="T100" fmla="*/ 55 w 55"/>
                  <a:gd name="T101" fmla="*/ 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5" h="36">
                    <a:moveTo>
                      <a:pt x="14" y="31"/>
                    </a:moveTo>
                    <a:lnTo>
                      <a:pt x="12" y="31"/>
                    </a:lnTo>
                    <a:lnTo>
                      <a:pt x="12" y="31"/>
                    </a:lnTo>
                    <a:lnTo>
                      <a:pt x="12" y="34"/>
                    </a:lnTo>
                    <a:lnTo>
                      <a:pt x="12" y="34"/>
                    </a:lnTo>
                    <a:lnTo>
                      <a:pt x="12" y="34"/>
                    </a:lnTo>
                    <a:lnTo>
                      <a:pt x="14" y="34"/>
                    </a:lnTo>
                    <a:lnTo>
                      <a:pt x="14" y="34"/>
                    </a:lnTo>
                    <a:lnTo>
                      <a:pt x="14" y="31"/>
                    </a:lnTo>
                    <a:lnTo>
                      <a:pt x="14" y="31"/>
                    </a:lnTo>
                    <a:close/>
                    <a:moveTo>
                      <a:pt x="10" y="31"/>
                    </a:moveTo>
                    <a:lnTo>
                      <a:pt x="10" y="31"/>
                    </a:lnTo>
                    <a:lnTo>
                      <a:pt x="10" y="31"/>
                    </a:lnTo>
                    <a:lnTo>
                      <a:pt x="10" y="34"/>
                    </a:lnTo>
                    <a:lnTo>
                      <a:pt x="7" y="34"/>
                    </a:lnTo>
                    <a:lnTo>
                      <a:pt x="7" y="34"/>
                    </a:lnTo>
                    <a:lnTo>
                      <a:pt x="7" y="34"/>
                    </a:lnTo>
                    <a:lnTo>
                      <a:pt x="7" y="34"/>
                    </a:lnTo>
                    <a:lnTo>
                      <a:pt x="10" y="34"/>
                    </a:lnTo>
                    <a:lnTo>
                      <a:pt x="10" y="34"/>
                    </a:lnTo>
                    <a:lnTo>
                      <a:pt x="10" y="34"/>
                    </a:lnTo>
                    <a:lnTo>
                      <a:pt x="10" y="31"/>
                    </a:lnTo>
                    <a:lnTo>
                      <a:pt x="10" y="31"/>
                    </a:lnTo>
                    <a:close/>
                    <a:moveTo>
                      <a:pt x="17" y="29"/>
                    </a:moveTo>
                    <a:lnTo>
                      <a:pt x="17" y="29"/>
                    </a:lnTo>
                    <a:lnTo>
                      <a:pt x="17" y="31"/>
                    </a:lnTo>
                    <a:lnTo>
                      <a:pt x="17" y="31"/>
                    </a:lnTo>
                    <a:lnTo>
                      <a:pt x="17" y="31"/>
                    </a:lnTo>
                    <a:lnTo>
                      <a:pt x="17" y="31"/>
                    </a:lnTo>
                    <a:lnTo>
                      <a:pt x="17" y="31"/>
                    </a:lnTo>
                    <a:lnTo>
                      <a:pt x="19" y="31"/>
                    </a:lnTo>
                    <a:lnTo>
                      <a:pt x="19" y="29"/>
                    </a:lnTo>
                    <a:lnTo>
                      <a:pt x="19" y="29"/>
                    </a:lnTo>
                    <a:lnTo>
                      <a:pt x="17" y="29"/>
                    </a:lnTo>
                    <a:close/>
                    <a:moveTo>
                      <a:pt x="12" y="22"/>
                    </a:moveTo>
                    <a:lnTo>
                      <a:pt x="12" y="24"/>
                    </a:lnTo>
                    <a:lnTo>
                      <a:pt x="12" y="27"/>
                    </a:lnTo>
                    <a:lnTo>
                      <a:pt x="12" y="27"/>
                    </a:lnTo>
                    <a:lnTo>
                      <a:pt x="12" y="27"/>
                    </a:lnTo>
                    <a:lnTo>
                      <a:pt x="14" y="27"/>
                    </a:lnTo>
                    <a:lnTo>
                      <a:pt x="14" y="24"/>
                    </a:lnTo>
                    <a:lnTo>
                      <a:pt x="12" y="22"/>
                    </a:lnTo>
                    <a:close/>
                    <a:moveTo>
                      <a:pt x="21" y="22"/>
                    </a:moveTo>
                    <a:lnTo>
                      <a:pt x="19" y="24"/>
                    </a:lnTo>
                    <a:lnTo>
                      <a:pt x="19" y="24"/>
                    </a:lnTo>
                    <a:lnTo>
                      <a:pt x="19" y="24"/>
                    </a:lnTo>
                    <a:lnTo>
                      <a:pt x="21" y="24"/>
                    </a:lnTo>
                    <a:lnTo>
                      <a:pt x="21" y="24"/>
                    </a:lnTo>
                    <a:lnTo>
                      <a:pt x="21" y="22"/>
                    </a:lnTo>
                    <a:lnTo>
                      <a:pt x="21" y="22"/>
                    </a:lnTo>
                    <a:close/>
                    <a:moveTo>
                      <a:pt x="12" y="17"/>
                    </a:moveTo>
                    <a:lnTo>
                      <a:pt x="10" y="17"/>
                    </a:lnTo>
                    <a:lnTo>
                      <a:pt x="10" y="17"/>
                    </a:lnTo>
                    <a:lnTo>
                      <a:pt x="10" y="19"/>
                    </a:lnTo>
                    <a:lnTo>
                      <a:pt x="12" y="19"/>
                    </a:lnTo>
                    <a:lnTo>
                      <a:pt x="12" y="17"/>
                    </a:lnTo>
                    <a:lnTo>
                      <a:pt x="12" y="17"/>
                    </a:lnTo>
                    <a:close/>
                    <a:moveTo>
                      <a:pt x="55" y="3"/>
                    </a:moveTo>
                    <a:lnTo>
                      <a:pt x="55" y="0"/>
                    </a:lnTo>
                    <a:lnTo>
                      <a:pt x="47" y="0"/>
                    </a:lnTo>
                    <a:lnTo>
                      <a:pt x="43" y="0"/>
                    </a:lnTo>
                    <a:lnTo>
                      <a:pt x="36" y="0"/>
                    </a:lnTo>
                    <a:lnTo>
                      <a:pt x="31" y="0"/>
                    </a:lnTo>
                    <a:lnTo>
                      <a:pt x="28" y="0"/>
                    </a:lnTo>
                    <a:lnTo>
                      <a:pt x="24" y="3"/>
                    </a:lnTo>
                    <a:lnTo>
                      <a:pt x="21" y="5"/>
                    </a:lnTo>
                    <a:lnTo>
                      <a:pt x="14" y="5"/>
                    </a:lnTo>
                    <a:lnTo>
                      <a:pt x="10" y="5"/>
                    </a:lnTo>
                    <a:lnTo>
                      <a:pt x="7" y="5"/>
                    </a:lnTo>
                    <a:lnTo>
                      <a:pt x="5" y="5"/>
                    </a:lnTo>
                    <a:lnTo>
                      <a:pt x="5" y="8"/>
                    </a:lnTo>
                    <a:lnTo>
                      <a:pt x="2" y="8"/>
                    </a:lnTo>
                    <a:lnTo>
                      <a:pt x="0" y="8"/>
                    </a:lnTo>
                    <a:lnTo>
                      <a:pt x="0" y="8"/>
                    </a:lnTo>
                    <a:lnTo>
                      <a:pt x="5" y="10"/>
                    </a:lnTo>
                    <a:lnTo>
                      <a:pt x="7" y="10"/>
                    </a:lnTo>
                    <a:lnTo>
                      <a:pt x="7" y="10"/>
                    </a:lnTo>
                    <a:lnTo>
                      <a:pt x="7" y="10"/>
                    </a:lnTo>
                    <a:lnTo>
                      <a:pt x="7" y="12"/>
                    </a:lnTo>
                    <a:lnTo>
                      <a:pt x="7" y="12"/>
                    </a:lnTo>
                    <a:lnTo>
                      <a:pt x="7" y="15"/>
                    </a:lnTo>
                    <a:lnTo>
                      <a:pt x="10" y="17"/>
                    </a:lnTo>
                    <a:lnTo>
                      <a:pt x="12" y="15"/>
                    </a:lnTo>
                    <a:lnTo>
                      <a:pt x="14" y="15"/>
                    </a:lnTo>
                    <a:lnTo>
                      <a:pt x="14" y="17"/>
                    </a:lnTo>
                    <a:lnTo>
                      <a:pt x="14" y="19"/>
                    </a:lnTo>
                    <a:lnTo>
                      <a:pt x="14" y="19"/>
                    </a:lnTo>
                    <a:lnTo>
                      <a:pt x="19" y="19"/>
                    </a:lnTo>
                    <a:lnTo>
                      <a:pt x="21" y="17"/>
                    </a:lnTo>
                    <a:lnTo>
                      <a:pt x="24" y="15"/>
                    </a:lnTo>
                    <a:lnTo>
                      <a:pt x="26" y="17"/>
                    </a:lnTo>
                    <a:lnTo>
                      <a:pt x="28" y="15"/>
                    </a:lnTo>
                    <a:lnTo>
                      <a:pt x="28" y="15"/>
                    </a:lnTo>
                    <a:lnTo>
                      <a:pt x="28" y="15"/>
                    </a:lnTo>
                    <a:lnTo>
                      <a:pt x="28" y="17"/>
                    </a:lnTo>
                    <a:lnTo>
                      <a:pt x="28" y="17"/>
                    </a:lnTo>
                    <a:lnTo>
                      <a:pt x="26" y="17"/>
                    </a:lnTo>
                    <a:lnTo>
                      <a:pt x="24" y="17"/>
                    </a:lnTo>
                    <a:lnTo>
                      <a:pt x="21" y="17"/>
                    </a:lnTo>
                    <a:lnTo>
                      <a:pt x="21" y="19"/>
                    </a:lnTo>
                    <a:lnTo>
                      <a:pt x="21" y="19"/>
                    </a:lnTo>
                    <a:lnTo>
                      <a:pt x="24" y="22"/>
                    </a:lnTo>
                    <a:lnTo>
                      <a:pt x="24" y="22"/>
                    </a:lnTo>
                    <a:lnTo>
                      <a:pt x="24" y="22"/>
                    </a:lnTo>
                    <a:lnTo>
                      <a:pt x="26" y="22"/>
                    </a:lnTo>
                    <a:lnTo>
                      <a:pt x="28" y="22"/>
                    </a:lnTo>
                    <a:lnTo>
                      <a:pt x="28" y="22"/>
                    </a:lnTo>
                    <a:lnTo>
                      <a:pt x="28" y="24"/>
                    </a:lnTo>
                    <a:lnTo>
                      <a:pt x="26" y="24"/>
                    </a:lnTo>
                    <a:lnTo>
                      <a:pt x="21" y="24"/>
                    </a:lnTo>
                    <a:lnTo>
                      <a:pt x="21" y="27"/>
                    </a:lnTo>
                    <a:lnTo>
                      <a:pt x="21" y="27"/>
                    </a:lnTo>
                    <a:lnTo>
                      <a:pt x="24" y="27"/>
                    </a:lnTo>
                    <a:lnTo>
                      <a:pt x="24" y="27"/>
                    </a:lnTo>
                    <a:lnTo>
                      <a:pt x="24" y="27"/>
                    </a:lnTo>
                    <a:lnTo>
                      <a:pt x="24" y="29"/>
                    </a:lnTo>
                    <a:lnTo>
                      <a:pt x="24" y="29"/>
                    </a:lnTo>
                    <a:lnTo>
                      <a:pt x="24" y="31"/>
                    </a:lnTo>
                    <a:lnTo>
                      <a:pt x="24" y="31"/>
                    </a:lnTo>
                    <a:lnTo>
                      <a:pt x="26" y="31"/>
                    </a:lnTo>
                    <a:lnTo>
                      <a:pt x="26" y="31"/>
                    </a:lnTo>
                    <a:lnTo>
                      <a:pt x="26" y="36"/>
                    </a:lnTo>
                    <a:lnTo>
                      <a:pt x="26" y="36"/>
                    </a:lnTo>
                    <a:lnTo>
                      <a:pt x="28" y="34"/>
                    </a:lnTo>
                    <a:lnTo>
                      <a:pt x="28" y="34"/>
                    </a:lnTo>
                    <a:lnTo>
                      <a:pt x="28" y="36"/>
                    </a:lnTo>
                    <a:lnTo>
                      <a:pt x="28" y="36"/>
                    </a:lnTo>
                    <a:lnTo>
                      <a:pt x="31" y="36"/>
                    </a:lnTo>
                    <a:lnTo>
                      <a:pt x="31" y="34"/>
                    </a:lnTo>
                    <a:lnTo>
                      <a:pt x="36" y="27"/>
                    </a:lnTo>
                    <a:lnTo>
                      <a:pt x="36" y="27"/>
                    </a:lnTo>
                    <a:lnTo>
                      <a:pt x="36" y="24"/>
                    </a:lnTo>
                    <a:lnTo>
                      <a:pt x="38" y="24"/>
                    </a:lnTo>
                    <a:lnTo>
                      <a:pt x="40" y="24"/>
                    </a:lnTo>
                    <a:lnTo>
                      <a:pt x="43" y="22"/>
                    </a:lnTo>
                    <a:lnTo>
                      <a:pt x="45" y="22"/>
                    </a:lnTo>
                    <a:lnTo>
                      <a:pt x="47" y="22"/>
                    </a:lnTo>
                    <a:lnTo>
                      <a:pt x="50" y="22"/>
                    </a:lnTo>
                    <a:lnTo>
                      <a:pt x="55" y="19"/>
                    </a:lnTo>
                    <a:lnTo>
                      <a:pt x="55" y="17"/>
                    </a:lnTo>
                    <a:lnTo>
                      <a:pt x="55" y="15"/>
                    </a:lnTo>
                    <a:lnTo>
                      <a:pt x="55" y="15"/>
                    </a:lnTo>
                    <a:lnTo>
                      <a:pt x="52" y="12"/>
                    </a:lnTo>
                    <a:lnTo>
                      <a:pt x="52" y="12"/>
                    </a:lnTo>
                    <a:lnTo>
                      <a:pt x="52" y="12"/>
                    </a:lnTo>
                    <a:lnTo>
                      <a:pt x="50" y="10"/>
                    </a:lnTo>
                    <a:lnTo>
                      <a:pt x="50" y="10"/>
                    </a:lnTo>
                    <a:lnTo>
                      <a:pt x="52" y="10"/>
                    </a:lnTo>
                    <a:lnTo>
                      <a:pt x="52" y="10"/>
                    </a:lnTo>
                    <a:lnTo>
                      <a:pt x="55" y="10"/>
                    </a:lnTo>
                    <a:lnTo>
                      <a:pt x="55" y="8"/>
                    </a:lnTo>
                    <a:lnTo>
                      <a:pt x="55" y="8"/>
                    </a:lnTo>
                    <a:lnTo>
                      <a:pt x="55" y="5"/>
                    </a:lnTo>
                    <a:lnTo>
                      <a:pt x="55" y="5"/>
                    </a:lnTo>
                    <a:lnTo>
                      <a:pt x="55" y="3"/>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142"/>
              <p:cNvSpPr>
                <a:spLocks/>
              </p:cNvSpPr>
              <p:nvPr/>
            </p:nvSpPr>
            <p:spPr bwMode="auto">
              <a:xfrm>
                <a:off x="2469" y="2532"/>
                <a:ext cx="138" cy="116"/>
              </a:xfrm>
              <a:custGeom>
                <a:avLst/>
                <a:gdLst>
                  <a:gd name="T0" fmla="*/ 133 w 138"/>
                  <a:gd name="T1" fmla="*/ 79 h 116"/>
                  <a:gd name="T2" fmla="*/ 133 w 138"/>
                  <a:gd name="T3" fmla="*/ 71 h 116"/>
                  <a:gd name="T4" fmla="*/ 128 w 138"/>
                  <a:gd name="T5" fmla="*/ 64 h 116"/>
                  <a:gd name="T6" fmla="*/ 133 w 138"/>
                  <a:gd name="T7" fmla="*/ 53 h 116"/>
                  <a:gd name="T8" fmla="*/ 126 w 138"/>
                  <a:gd name="T9" fmla="*/ 43 h 116"/>
                  <a:gd name="T10" fmla="*/ 123 w 138"/>
                  <a:gd name="T11" fmla="*/ 36 h 116"/>
                  <a:gd name="T12" fmla="*/ 119 w 138"/>
                  <a:gd name="T13" fmla="*/ 34 h 116"/>
                  <a:gd name="T14" fmla="*/ 126 w 138"/>
                  <a:gd name="T15" fmla="*/ 29 h 116"/>
                  <a:gd name="T16" fmla="*/ 119 w 138"/>
                  <a:gd name="T17" fmla="*/ 22 h 116"/>
                  <a:gd name="T18" fmla="*/ 116 w 138"/>
                  <a:gd name="T19" fmla="*/ 12 h 116"/>
                  <a:gd name="T20" fmla="*/ 109 w 138"/>
                  <a:gd name="T21" fmla="*/ 5 h 116"/>
                  <a:gd name="T22" fmla="*/ 107 w 138"/>
                  <a:gd name="T23" fmla="*/ 8 h 116"/>
                  <a:gd name="T24" fmla="*/ 100 w 138"/>
                  <a:gd name="T25" fmla="*/ 15 h 116"/>
                  <a:gd name="T26" fmla="*/ 88 w 138"/>
                  <a:gd name="T27" fmla="*/ 10 h 116"/>
                  <a:gd name="T28" fmla="*/ 83 w 138"/>
                  <a:gd name="T29" fmla="*/ 17 h 116"/>
                  <a:gd name="T30" fmla="*/ 79 w 138"/>
                  <a:gd name="T31" fmla="*/ 10 h 116"/>
                  <a:gd name="T32" fmla="*/ 71 w 138"/>
                  <a:gd name="T33" fmla="*/ 15 h 116"/>
                  <a:gd name="T34" fmla="*/ 69 w 138"/>
                  <a:gd name="T35" fmla="*/ 8 h 116"/>
                  <a:gd name="T36" fmla="*/ 57 w 138"/>
                  <a:gd name="T37" fmla="*/ 5 h 116"/>
                  <a:gd name="T38" fmla="*/ 48 w 138"/>
                  <a:gd name="T39" fmla="*/ 5 h 116"/>
                  <a:gd name="T40" fmla="*/ 41 w 138"/>
                  <a:gd name="T41" fmla="*/ 5 h 116"/>
                  <a:gd name="T42" fmla="*/ 38 w 138"/>
                  <a:gd name="T43" fmla="*/ 0 h 116"/>
                  <a:gd name="T44" fmla="*/ 27 w 138"/>
                  <a:gd name="T45" fmla="*/ 3 h 116"/>
                  <a:gd name="T46" fmla="*/ 24 w 138"/>
                  <a:gd name="T47" fmla="*/ 10 h 116"/>
                  <a:gd name="T48" fmla="*/ 24 w 138"/>
                  <a:gd name="T49" fmla="*/ 12 h 116"/>
                  <a:gd name="T50" fmla="*/ 19 w 138"/>
                  <a:gd name="T51" fmla="*/ 22 h 116"/>
                  <a:gd name="T52" fmla="*/ 8 w 138"/>
                  <a:gd name="T53" fmla="*/ 27 h 116"/>
                  <a:gd name="T54" fmla="*/ 3 w 138"/>
                  <a:gd name="T55" fmla="*/ 41 h 116"/>
                  <a:gd name="T56" fmla="*/ 8 w 138"/>
                  <a:gd name="T57" fmla="*/ 38 h 116"/>
                  <a:gd name="T58" fmla="*/ 10 w 138"/>
                  <a:gd name="T59" fmla="*/ 45 h 116"/>
                  <a:gd name="T60" fmla="*/ 19 w 138"/>
                  <a:gd name="T61" fmla="*/ 55 h 116"/>
                  <a:gd name="T62" fmla="*/ 27 w 138"/>
                  <a:gd name="T63" fmla="*/ 60 h 116"/>
                  <a:gd name="T64" fmla="*/ 31 w 138"/>
                  <a:gd name="T65" fmla="*/ 69 h 116"/>
                  <a:gd name="T66" fmla="*/ 34 w 138"/>
                  <a:gd name="T67" fmla="*/ 76 h 116"/>
                  <a:gd name="T68" fmla="*/ 38 w 138"/>
                  <a:gd name="T69" fmla="*/ 71 h 116"/>
                  <a:gd name="T70" fmla="*/ 45 w 138"/>
                  <a:gd name="T71" fmla="*/ 64 h 116"/>
                  <a:gd name="T72" fmla="*/ 53 w 138"/>
                  <a:gd name="T73" fmla="*/ 57 h 116"/>
                  <a:gd name="T74" fmla="*/ 71 w 138"/>
                  <a:gd name="T75" fmla="*/ 57 h 116"/>
                  <a:gd name="T76" fmla="*/ 79 w 138"/>
                  <a:gd name="T77" fmla="*/ 67 h 116"/>
                  <a:gd name="T78" fmla="*/ 81 w 138"/>
                  <a:gd name="T79" fmla="*/ 76 h 116"/>
                  <a:gd name="T80" fmla="*/ 83 w 138"/>
                  <a:gd name="T81" fmla="*/ 83 h 116"/>
                  <a:gd name="T82" fmla="*/ 81 w 138"/>
                  <a:gd name="T83" fmla="*/ 93 h 116"/>
                  <a:gd name="T84" fmla="*/ 88 w 138"/>
                  <a:gd name="T85" fmla="*/ 88 h 116"/>
                  <a:gd name="T86" fmla="*/ 93 w 138"/>
                  <a:gd name="T87" fmla="*/ 88 h 116"/>
                  <a:gd name="T88" fmla="*/ 100 w 138"/>
                  <a:gd name="T89" fmla="*/ 90 h 116"/>
                  <a:gd name="T90" fmla="*/ 102 w 138"/>
                  <a:gd name="T91" fmla="*/ 90 h 116"/>
                  <a:gd name="T92" fmla="*/ 105 w 138"/>
                  <a:gd name="T93" fmla="*/ 98 h 116"/>
                  <a:gd name="T94" fmla="*/ 105 w 138"/>
                  <a:gd name="T95" fmla="*/ 105 h 116"/>
                  <a:gd name="T96" fmla="*/ 105 w 138"/>
                  <a:gd name="T97" fmla="*/ 112 h 116"/>
                  <a:gd name="T98" fmla="*/ 109 w 138"/>
                  <a:gd name="T99" fmla="*/ 114 h 116"/>
                  <a:gd name="T100" fmla="*/ 114 w 138"/>
                  <a:gd name="T101" fmla="*/ 114 h 116"/>
                  <a:gd name="T102" fmla="*/ 119 w 138"/>
                  <a:gd name="T103" fmla="*/ 107 h 116"/>
                  <a:gd name="T104" fmla="*/ 121 w 138"/>
                  <a:gd name="T105" fmla="*/ 107 h 116"/>
                  <a:gd name="T106" fmla="*/ 128 w 138"/>
                  <a:gd name="T107" fmla="*/ 105 h 116"/>
                  <a:gd name="T108" fmla="*/ 131 w 138"/>
                  <a:gd name="T109" fmla="*/ 95 h 116"/>
                  <a:gd name="T110" fmla="*/ 126 w 138"/>
                  <a:gd name="T111" fmla="*/ 90 h 116"/>
                  <a:gd name="T112" fmla="*/ 133 w 138"/>
                  <a:gd name="T113" fmla="*/ 88 h 116"/>
                  <a:gd name="T114" fmla="*/ 138 w 138"/>
                  <a:gd name="T115" fmla="*/ 88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8" h="116">
                    <a:moveTo>
                      <a:pt x="138" y="88"/>
                    </a:moveTo>
                    <a:lnTo>
                      <a:pt x="138" y="86"/>
                    </a:lnTo>
                    <a:lnTo>
                      <a:pt x="135" y="83"/>
                    </a:lnTo>
                    <a:lnTo>
                      <a:pt x="133" y="83"/>
                    </a:lnTo>
                    <a:lnTo>
                      <a:pt x="133" y="81"/>
                    </a:lnTo>
                    <a:lnTo>
                      <a:pt x="133" y="79"/>
                    </a:lnTo>
                    <a:lnTo>
                      <a:pt x="133" y="79"/>
                    </a:lnTo>
                    <a:lnTo>
                      <a:pt x="135" y="76"/>
                    </a:lnTo>
                    <a:lnTo>
                      <a:pt x="135" y="76"/>
                    </a:lnTo>
                    <a:lnTo>
                      <a:pt x="135" y="74"/>
                    </a:lnTo>
                    <a:lnTo>
                      <a:pt x="133" y="74"/>
                    </a:lnTo>
                    <a:lnTo>
                      <a:pt x="133" y="71"/>
                    </a:lnTo>
                    <a:lnTo>
                      <a:pt x="133" y="69"/>
                    </a:lnTo>
                    <a:lnTo>
                      <a:pt x="133" y="69"/>
                    </a:lnTo>
                    <a:lnTo>
                      <a:pt x="131" y="69"/>
                    </a:lnTo>
                    <a:lnTo>
                      <a:pt x="131" y="69"/>
                    </a:lnTo>
                    <a:lnTo>
                      <a:pt x="128" y="67"/>
                    </a:lnTo>
                    <a:lnTo>
                      <a:pt x="128" y="64"/>
                    </a:lnTo>
                    <a:lnTo>
                      <a:pt x="128" y="60"/>
                    </a:lnTo>
                    <a:lnTo>
                      <a:pt x="128" y="57"/>
                    </a:lnTo>
                    <a:lnTo>
                      <a:pt x="128" y="57"/>
                    </a:lnTo>
                    <a:lnTo>
                      <a:pt x="131" y="55"/>
                    </a:lnTo>
                    <a:lnTo>
                      <a:pt x="131" y="55"/>
                    </a:lnTo>
                    <a:lnTo>
                      <a:pt x="133" y="53"/>
                    </a:lnTo>
                    <a:lnTo>
                      <a:pt x="133" y="53"/>
                    </a:lnTo>
                    <a:lnTo>
                      <a:pt x="133" y="50"/>
                    </a:lnTo>
                    <a:lnTo>
                      <a:pt x="133" y="50"/>
                    </a:lnTo>
                    <a:lnTo>
                      <a:pt x="128" y="48"/>
                    </a:lnTo>
                    <a:lnTo>
                      <a:pt x="126" y="45"/>
                    </a:lnTo>
                    <a:lnTo>
                      <a:pt x="126" y="43"/>
                    </a:lnTo>
                    <a:lnTo>
                      <a:pt x="126" y="41"/>
                    </a:lnTo>
                    <a:lnTo>
                      <a:pt x="126" y="38"/>
                    </a:lnTo>
                    <a:lnTo>
                      <a:pt x="126" y="38"/>
                    </a:lnTo>
                    <a:lnTo>
                      <a:pt x="126" y="36"/>
                    </a:lnTo>
                    <a:lnTo>
                      <a:pt x="126" y="36"/>
                    </a:lnTo>
                    <a:lnTo>
                      <a:pt x="123" y="36"/>
                    </a:lnTo>
                    <a:lnTo>
                      <a:pt x="123" y="34"/>
                    </a:lnTo>
                    <a:lnTo>
                      <a:pt x="121" y="36"/>
                    </a:lnTo>
                    <a:lnTo>
                      <a:pt x="121" y="36"/>
                    </a:lnTo>
                    <a:lnTo>
                      <a:pt x="121" y="36"/>
                    </a:lnTo>
                    <a:lnTo>
                      <a:pt x="119" y="36"/>
                    </a:lnTo>
                    <a:lnTo>
                      <a:pt x="119" y="34"/>
                    </a:lnTo>
                    <a:lnTo>
                      <a:pt x="121" y="31"/>
                    </a:lnTo>
                    <a:lnTo>
                      <a:pt x="123" y="31"/>
                    </a:lnTo>
                    <a:lnTo>
                      <a:pt x="123" y="29"/>
                    </a:lnTo>
                    <a:lnTo>
                      <a:pt x="123" y="29"/>
                    </a:lnTo>
                    <a:lnTo>
                      <a:pt x="126" y="29"/>
                    </a:lnTo>
                    <a:lnTo>
                      <a:pt x="126" y="29"/>
                    </a:lnTo>
                    <a:lnTo>
                      <a:pt x="126" y="27"/>
                    </a:lnTo>
                    <a:lnTo>
                      <a:pt x="123" y="27"/>
                    </a:lnTo>
                    <a:lnTo>
                      <a:pt x="121" y="27"/>
                    </a:lnTo>
                    <a:lnTo>
                      <a:pt x="121" y="24"/>
                    </a:lnTo>
                    <a:lnTo>
                      <a:pt x="121" y="24"/>
                    </a:lnTo>
                    <a:lnTo>
                      <a:pt x="119" y="22"/>
                    </a:lnTo>
                    <a:lnTo>
                      <a:pt x="119" y="22"/>
                    </a:lnTo>
                    <a:lnTo>
                      <a:pt x="119" y="22"/>
                    </a:lnTo>
                    <a:lnTo>
                      <a:pt x="116" y="22"/>
                    </a:lnTo>
                    <a:lnTo>
                      <a:pt x="116" y="19"/>
                    </a:lnTo>
                    <a:lnTo>
                      <a:pt x="116" y="17"/>
                    </a:lnTo>
                    <a:lnTo>
                      <a:pt x="116" y="12"/>
                    </a:lnTo>
                    <a:lnTo>
                      <a:pt x="114" y="10"/>
                    </a:lnTo>
                    <a:lnTo>
                      <a:pt x="114" y="8"/>
                    </a:lnTo>
                    <a:lnTo>
                      <a:pt x="114" y="5"/>
                    </a:lnTo>
                    <a:lnTo>
                      <a:pt x="112" y="5"/>
                    </a:lnTo>
                    <a:lnTo>
                      <a:pt x="109" y="5"/>
                    </a:lnTo>
                    <a:lnTo>
                      <a:pt x="109" y="5"/>
                    </a:lnTo>
                    <a:lnTo>
                      <a:pt x="107" y="5"/>
                    </a:lnTo>
                    <a:lnTo>
                      <a:pt x="107" y="5"/>
                    </a:lnTo>
                    <a:lnTo>
                      <a:pt x="107" y="5"/>
                    </a:lnTo>
                    <a:lnTo>
                      <a:pt x="107" y="8"/>
                    </a:lnTo>
                    <a:lnTo>
                      <a:pt x="107" y="8"/>
                    </a:lnTo>
                    <a:lnTo>
                      <a:pt x="107" y="8"/>
                    </a:lnTo>
                    <a:lnTo>
                      <a:pt x="107" y="10"/>
                    </a:lnTo>
                    <a:lnTo>
                      <a:pt x="107" y="10"/>
                    </a:lnTo>
                    <a:lnTo>
                      <a:pt x="105" y="10"/>
                    </a:lnTo>
                    <a:lnTo>
                      <a:pt x="102" y="10"/>
                    </a:lnTo>
                    <a:lnTo>
                      <a:pt x="102" y="12"/>
                    </a:lnTo>
                    <a:lnTo>
                      <a:pt x="100" y="15"/>
                    </a:lnTo>
                    <a:lnTo>
                      <a:pt x="100" y="15"/>
                    </a:lnTo>
                    <a:lnTo>
                      <a:pt x="100" y="15"/>
                    </a:lnTo>
                    <a:lnTo>
                      <a:pt x="95" y="12"/>
                    </a:lnTo>
                    <a:lnTo>
                      <a:pt x="93" y="10"/>
                    </a:lnTo>
                    <a:lnTo>
                      <a:pt x="90" y="10"/>
                    </a:lnTo>
                    <a:lnTo>
                      <a:pt x="88" y="10"/>
                    </a:lnTo>
                    <a:lnTo>
                      <a:pt x="88" y="10"/>
                    </a:lnTo>
                    <a:lnTo>
                      <a:pt x="86" y="12"/>
                    </a:lnTo>
                    <a:lnTo>
                      <a:pt x="83" y="15"/>
                    </a:lnTo>
                    <a:lnTo>
                      <a:pt x="83" y="15"/>
                    </a:lnTo>
                    <a:lnTo>
                      <a:pt x="83" y="17"/>
                    </a:lnTo>
                    <a:lnTo>
                      <a:pt x="83" y="17"/>
                    </a:lnTo>
                    <a:lnTo>
                      <a:pt x="83" y="17"/>
                    </a:lnTo>
                    <a:lnTo>
                      <a:pt x="81" y="17"/>
                    </a:lnTo>
                    <a:lnTo>
                      <a:pt x="81" y="17"/>
                    </a:lnTo>
                    <a:lnTo>
                      <a:pt x="81" y="15"/>
                    </a:lnTo>
                    <a:lnTo>
                      <a:pt x="79" y="12"/>
                    </a:lnTo>
                    <a:lnTo>
                      <a:pt x="79" y="10"/>
                    </a:lnTo>
                    <a:lnTo>
                      <a:pt x="76" y="10"/>
                    </a:lnTo>
                    <a:lnTo>
                      <a:pt x="76" y="10"/>
                    </a:lnTo>
                    <a:lnTo>
                      <a:pt x="74" y="12"/>
                    </a:lnTo>
                    <a:lnTo>
                      <a:pt x="74" y="15"/>
                    </a:lnTo>
                    <a:lnTo>
                      <a:pt x="71" y="15"/>
                    </a:lnTo>
                    <a:lnTo>
                      <a:pt x="71" y="15"/>
                    </a:lnTo>
                    <a:lnTo>
                      <a:pt x="69" y="12"/>
                    </a:lnTo>
                    <a:lnTo>
                      <a:pt x="67" y="10"/>
                    </a:lnTo>
                    <a:lnTo>
                      <a:pt x="67" y="10"/>
                    </a:lnTo>
                    <a:lnTo>
                      <a:pt x="69" y="10"/>
                    </a:lnTo>
                    <a:lnTo>
                      <a:pt x="69" y="8"/>
                    </a:lnTo>
                    <a:lnTo>
                      <a:pt x="69" y="8"/>
                    </a:lnTo>
                    <a:lnTo>
                      <a:pt x="69" y="5"/>
                    </a:lnTo>
                    <a:lnTo>
                      <a:pt x="69" y="5"/>
                    </a:lnTo>
                    <a:lnTo>
                      <a:pt x="67" y="5"/>
                    </a:lnTo>
                    <a:lnTo>
                      <a:pt x="62" y="5"/>
                    </a:lnTo>
                    <a:lnTo>
                      <a:pt x="60" y="5"/>
                    </a:lnTo>
                    <a:lnTo>
                      <a:pt x="57" y="5"/>
                    </a:lnTo>
                    <a:lnTo>
                      <a:pt x="55" y="8"/>
                    </a:lnTo>
                    <a:lnTo>
                      <a:pt x="53" y="8"/>
                    </a:lnTo>
                    <a:lnTo>
                      <a:pt x="50" y="8"/>
                    </a:lnTo>
                    <a:lnTo>
                      <a:pt x="50" y="8"/>
                    </a:lnTo>
                    <a:lnTo>
                      <a:pt x="48" y="8"/>
                    </a:lnTo>
                    <a:lnTo>
                      <a:pt x="48" y="5"/>
                    </a:lnTo>
                    <a:lnTo>
                      <a:pt x="45" y="5"/>
                    </a:lnTo>
                    <a:lnTo>
                      <a:pt x="43" y="5"/>
                    </a:lnTo>
                    <a:lnTo>
                      <a:pt x="43" y="3"/>
                    </a:lnTo>
                    <a:lnTo>
                      <a:pt x="41" y="3"/>
                    </a:lnTo>
                    <a:lnTo>
                      <a:pt x="41" y="3"/>
                    </a:lnTo>
                    <a:lnTo>
                      <a:pt x="41" y="5"/>
                    </a:lnTo>
                    <a:lnTo>
                      <a:pt x="41" y="5"/>
                    </a:lnTo>
                    <a:lnTo>
                      <a:pt x="38" y="5"/>
                    </a:lnTo>
                    <a:lnTo>
                      <a:pt x="38" y="3"/>
                    </a:lnTo>
                    <a:lnTo>
                      <a:pt x="38" y="3"/>
                    </a:lnTo>
                    <a:lnTo>
                      <a:pt x="38" y="0"/>
                    </a:lnTo>
                    <a:lnTo>
                      <a:pt x="38" y="0"/>
                    </a:lnTo>
                    <a:lnTo>
                      <a:pt x="38" y="0"/>
                    </a:lnTo>
                    <a:lnTo>
                      <a:pt x="36" y="0"/>
                    </a:lnTo>
                    <a:lnTo>
                      <a:pt x="34" y="0"/>
                    </a:lnTo>
                    <a:lnTo>
                      <a:pt x="34" y="0"/>
                    </a:lnTo>
                    <a:lnTo>
                      <a:pt x="27" y="0"/>
                    </a:lnTo>
                    <a:lnTo>
                      <a:pt x="27" y="3"/>
                    </a:lnTo>
                    <a:lnTo>
                      <a:pt x="27" y="5"/>
                    </a:lnTo>
                    <a:lnTo>
                      <a:pt x="27" y="5"/>
                    </a:lnTo>
                    <a:lnTo>
                      <a:pt x="27" y="8"/>
                    </a:lnTo>
                    <a:lnTo>
                      <a:pt x="27" y="8"/>
                    </a:lnTo>
                    <a:lnTo>
                      <a:pt x="27" y="10"/>
                    </a:lnTo>
                    <a:lnTo>
                      <a:pt x="24" y="10"/>
                    </a:lnTo>
                    <a:lnTo>
                      <a:pt x="24" y="10"/>
                    </a:lnTo>
                    <a:lnTo>
                      <a:pt x="22" y="10"/>
                    </a:lnTo>
                    <a:lnTo>
                      <a:pt x="22" y="10"/>
                    </a:lnTo>
                    <a:lnTo>
                      <a:pt x="24" y="12"/>
                    </a:lnTo>
                    <a:lnTo>
                      <a:pt x="24" y="12"/>
                    </a:lnTo>
                    <a:lnTo>
                      <a:pt x="24" y="12"/>
                    </a:lnTo>
                    <a:lnTo>
                      <a:pt x="27" y="15"/>
                    </a:lnTo>
                    <a:lnTo>
                      <a:pt x="27" y="15"/>
                    </a:lnTo>
                    <a:lnTo>
                      <a:pt x="27" y="17"/>
                    </a:lnTo>
                    <a:lnTo>
                      <a:pt x="27" y="19"/>
                    </a:lnTo>
                    <a:lnTo>
                      <a:pt x="22" y="22"/>
                    </a:lnTo>
                    <a:lnTo>
                      <a:pt x="19" y="22"/>
                    </a:lnTo>
                    <a:lnTo>
                      <a:pt x="17" y="22"/>
                    </a:lnTo>
                    <a:lnTo>
                      <a:pt x="15" y="22"/>
                    </a:lnTo>
                    <a:lnTo>
                      <a:pt x="12" y="24"/>
                    </a:lnTo>
                    <a:lnTo>
                      <a:pt x="10" y="24"/>
                    </a:lnTo>
                    <a:lnTo>
                      <a:pt x="8" y="24"/>
                    </a:lnTo>
                    <a:lnTo>
                      <a:pt x="8" y="27"/>
                    </a:lnTo>
                    <a:lnTo>
                      <a:pt x="8" y="27"/>
                    </a:lnTo>
                    <a:lnTo>
                      <a:pt x="3" y="34"/>
                    </a:lnTo>
                    <a:lnTo>
                      <a:pt x="3" y="36"/>
                    </a:lnTo>
                    <a:lnTo>
                      <a:pt x="0" y="36"/>
                    </a:lnTo>
                    <a:lnTo>
                      <a:pt x="0" y="38"/>
                    </a:lnTo>
                    <a:lnTo>
                      <a:pt x="3" y="41"/>
                    </a:lnTo>
                    <a:lnTo>
                      <a:pt x="3" y="41"/>
                    </a:lnTo>
                    <a:lnTo>
                      <a:pt x="3" y="36"/>
                    </a:lnTo>
                    <a:lnTo>
                      <a:pt x="5" y="36"/>
                    </a:lnTo>
                    <a:lnTo>
                      <a:pt x="5" y="36"/>
                    </a:lnTo>
                    <a:lnTo>
                      <a:pt x="5" y="36"/>
                    </a:lnTo>
                    <a:lnTo>
                      <a:pt x="8" y="38"/>
                    </a:lnTo>
                    <a:lnTo>
                      <a:pt x="8" y="41"/>
                    </a:lnTo>
                    <a:lnTo>
                      <a:pt x="8" y="43"/>
                    </a:lnTo>
                    <a:lnTo>
                      <a:pt x="10" y="41"/>
                    </a:lnTo>
                    <a:lnTo>
                      <a:pt x="10" y="41"/>
                    </a:lnTo>
                    <a:lnTo>
                      <a:pt x="10" y="43"/>
                    </a:lnTo>
                    <a:lnTo>
                      <a:pt x="10" y="45"/>
                    </a:lnTo>
                    <a:lnTo>
                      <a:pt x="12" y="53"/>
                    </a:lnTo>
                    <a:lnTo>
                      <a:pt x="17" y="55"/>
                    </a:lnTo>
                    <a:lnTo>
                      <a:pt x="19" y="55"/>
                    </a:lnTo>
                    <a:lnTo>
                      <a:pt x="19" y="53"/>
                    </a:lnTo>
                    <a:lnTo>
                      <a:pt x="19" y="55"/>
                    </a:lnTo>
                    <a:lnTo>
                      <a:pt x="19" y="55"/>
                    </a:lnTo>
                    <a:lnTo>
                      <a:pt x="22" y="57"/>
                    </a:lnTo>
                    <a:lnTo>
                      <a:pt x="24" y="60"/>
                    </a:lnTo>
                    <a:lnTo>
                      <a:pt x="24" y="60"/>
                    </a:lnTo>
                    <a:lnTo>
                      <a:pt x="27" y="57"/>
                    </a:lnTo>
                    <a:lnTo>
                      <a:pt x="27" y="57"/>
                    </a:lnTo>
                    <a:lnTo>
                      <a:pt x="27" y="60"/>
                    </a:lnTo>
                    <a:lnTo>
                      <a:pt x="27" y="62"/>
                    </a:lnTo>
                    <a:lnTo>
                      <a:pt x="27" y="64"/>
                    </a:lnTo>
                    <a:lnTo>
                      <a:pt x="27" y="67"/>
                    </a:lnTo>
                    <a:lnTo>
                      <a:pt x="29" y="67"/>
                    </a:lnTo>
                    <a:lnTo>
                      <a:pt x="31" y="69"/>
                    </a:lnTo>
                    <a:lnTo>
                      <a:pt x="31" y="69"/>
                    </a:lnTo>
                    <a:lnTo>
                      <a:pt x="31" y="71"/>
                    </a:lnTo>
                    <a:lnTo>
                      <a:pt x="34" y="74"/>
                    </a:lnTo>
                    <a:lnTo>
                      <a:pt x="34" y="74"/>
                    </a:lnTo>
                    <a:lnTo>
                      <a:pt x="34" y="76"/>
                    </a:lnTo>
                    <a:lnTo>
                      <a:pt x="34" y="76"/>
                    </a:lnTo>
                    <a:lnTo>
                      <a:pt x="34" y="76"/>
                    </a:lnTo>
                    <a:lnTo>
                      <a:pt x="36" y="76"/>
                    </a:lnTo>
                    <a:lnTo>
                      <a:pt x="36" y="76"/>
                    </a:lnTo>
                    <a:lnTo>
                      <a:pt x="38" y="76"/>
                    </a:lnTo>
                    <a:lnTo>
                      <a:pt x="38" y="76"/>
                    </a:lnTo>
                    <a:lnTo>
                      <a:pt x="38" y="74"/>
                    </a:lnTo>
                    <a:lnTo>
                      <a:pt x="38" y="71"/>
                    </a:lnTo>
                    <a:lnTo>
                      <a:pt x="41" y="71"/>
                    </a:lnTo>
                    <a:lnTo>
                      <a:pt x="43" y="69"/>
                    </a:lnTo>
                    <a:lnTo>
                      <a:pt x="45" y="67"/>
                    </a:lnTo>
                    <a:lnTo>
                      <a:pt x="45" y="67"/>
                    </a:lnTo>
                    <a:lnTo>
                      <a:pt x="45" y="64"/>
                    </a:lnTo>
                    <a:lnTo>
                      <a:pt x="45" y="64"/>
                    </a:lnTo>
                    <a:lnTo>
                      <a:pt x="45" y="64"/>
                    </a:lnTo>
                    <a:lnTo>
                      <a:pt x="48" y="62"/>
                    </a:lnTo>
                    <a:lnTo>
                      <a:pt x="48" y="62"/>
                    </a:lnTo>
                    <a:lnTo>
                      <a:pt x="48" y="60"/>
                    </a:lnTo>
                    <a:lnTo>
                      <a:pt x="50" y="60"/>
                    </a:lnTo>
                    <a:lnTo>
                      <a:pt x="53" y="57"/>
                    </a:lnTo>
                    <a:lnTo>
                      <a:pt x="55" y="60"/>
                    </a:lnTo>
                    <a:lnTo>
                      <a:pt x="60" y="57"/>
                    </a:lnTo>
                    <a:lnTo>
                      <a:pt x="60" y="57"/>
                    </a:lnTo>
                    <a:lnTo>
                      <a:pt x="62" y="57"/>
                    </a:lnTo>
                    <a:lnTo>
                      <a:pt x="67" y="57"/>
                    </a:lnTo>
                    <a:lnTo>
                      <a:pt x="71" y="57"/>
                    </a:lnTo>
                    <a:lnTo>
                      <a:pt x="71" y="57"/>
                    </a:lnTo>
                    <a:lnTo>
                      <a:pt x="74" y="57"/>
                    </a:lnTo>
                    <a:lnTo>
                      <a:pt x="74" y="60"/>
                    </a:lnTo>
                    <a:lnTo>
                      <a:pt x="76" y="62"/>
                    </a:lnTo>
                    <a:lnTo>
                      <a:pt x="76" y="64"/>
                    </a:lnTo>
                    <a:lnTo>
                      <a:pt x="79" y="67"/>
                    </a:lnTo>
                    <a:lnTo>
                      <a:pt x="81" y="69"/>
                    </a:lnTo>
                    <a:lnTo>
                      <a:pt x="81" y="71"/>
                    </a:lnTo>
                    <a:lnTo>
                      <a:pt x="81" y="71"/>
                    </a:lnTo>
                    <a:lnTo>
                      <a:pt x="81" y="71"/>
                    </a:lnTo>
                    <a:lnTo>
                      <a:pt x="81" y="74"/>
                    </a:lnTo>
                    <a:lnTo>
                      <a:pt x="81" y="76"/>
                    </a:lnTo>
                    <a:lnTo>
                      <a:pt x="81" y="76"/>
                    </a:lnTo>
                    <a:lnTo>
                      <a:pt x="81" y="76"/>
                    </a:lnTo>
                    <a:lnTo>
                      <a:pt x="83" y="76"/>
                    </a:lnTo>
                    <a:lnTo>
                      <a:pt x="83" y="79"/>
                    </a:lnTo>
                    <a:lnTo>
                      <a:pt x="83" y="81"/>
                    </a:lnTo>
                    <a:lnTo>
                      <a:pt x="83" y="83"/>
                    </a:lnTo>
                    <a:lnTo>
                      <a:pt x="86" y="83"/>
                    </a:lnTo>
                    <a:lnTo>
                      <a:pt x="86" y="86"/>
                    </a:lnTo>
                    <a:lnTo>
                      <a:pt x="83" y="88"/>
                    </a:lnTo>
                    <a:lnTo>
                      <a:pt x="81" y="90"/>
                    </a:lnTo>
                    <a:lnTo>
                      <a:pt x="81" y="90"/>
                    </a:lnTo>
                    <a:lnTo>
                      <a:pt x="81" y="93"/>
                    </a:lnTo>
                    <a:lnTo>
                      <a:pt x="81" y="93"/>
                    </a:lnTo>
                    <a:lnTo>
                      <a:pt x="81" y="93"/>
                    </a:lnTo>
                    <a:lnTo>
                      <a:pt x="83" y="93"/>
                    </a:lnTo>
                    <a:lnTo>
                      <a:pt x="83" y="93"/>
                    </a:lnTo>
                    <a:lnTo>
                      <a:pt x="86" y="90"/>
                    </a:lnTo>
                    <a:lnTo>
                      <a:pt x="88" y="88"/>
                    </a:lnTo>
                    <a:lnTo>
                      <a:pt x="88" y="88"/>
                    </a:lnTo>
                    <a:lnTo>
                      <a:pt x="88" y="88"/>
                    </a:lnTo>
                    <a:lnTo>
                      <a:pt x="90" y="88"/>
                    </a:lnTo>
                    <a:lnTo>
                      <a:pt x="90" y="88"/>
                    </a:lnTo>
                    <a:lnTo>
                      <a:pt x="93" y="88"/>
                    </a:lnTo>
                    <a:lnTo>
                      <a:pt x="93" y="88"/>
                    </a:lnTo>
                    <a:lnTo>
                      <a:pt x="93" y="90"/>
                    </a:lnTo>
                    <a:lnTo>
                      <a:pt x="97" y="88"/>
                    </a:lnTo>
                    <a:lnTo>
                      <a:pt x="97" y="88"/>
                    </a:lnTo>
                    <a:lnTo>
                      <a:pt x="97" y="88"/>
                    </a:lnTo>
                    <a:lnTo>
                      <a:pt x="100" y="90"/>
                    </a:lnTo>
                    <a:lnTo>
                      <a:pt x="100" y="90"/>
                    </a:lnTo>
                    <a:lnTo>
                      <a:pt x="100" y="88"/>
                    </a:lnTo>
                    <a:lnTo>
                      <a:pt x="100" y="88"/>
                    </a:lnTo>
                    <a:lnTo>
                      <a:pt x="100" y="88"/>
                    </a:lnTo>
                    <a:lnTo>
                      <a:pt x="100" y="90"/>
                    </a:lnTo>
                    <a:lnTo>
                      <a:pt x="102" y="90"/>
                    </a:lnTo>
                    <a:lnTo>
                      <a:pt x="102" y="90"/>
                    </a:lnTo>
                    <a:lnTo>
                      <a:pt x="102" y="93"/>
                    </a:lnTo>
                    <a:lnTo>
                      <a:pt x="102" y="93"/>
                    </a:lnTo>
                    <a:lnTo>
                      <a:pt x="102" y="95"/>
                    </a:lnTo>
                    <a:lnTo>
                      <a:pt x="105" y="95"/>
                    </a:lnTo>
                    <a:lnTo>
                      <a:pt x="105" y="98"/>
                    </a:lnTo>
                    <a:lnTo>
                      <a:pt x="105" y="98"/>
                    </a:lnTo>
                    <a:lnTo>
                      <a:pt x="105" y="98"/>
                    </a:lnTo>
                    <a:lnTo>
                      <a:pt x="105" y="100"/>
                    </a:lnTo>
                    <a:lnTo>
                      <a:pt x="105" y="100"/>
                    </a:lnTo>
                    <a:lnTo>
                      <a:pt x="105" y="102"/>
                    </a:lnTo>
                    <a:lnTo>
                      <a:pt x="105" y="102"/>
                    </a:lnTo>
                    <a:lnTo>
                      <a:pt x="105" y="105"/>
                    </a:lnTo>
                    <a:lnTo>
                      <a:pt x="105" y="107"/>
                    </a:lnTo>
                    <a:lnTo>
                      <a:pt x="105" y="107"/>
                    </a:lnTo>
                    <a:lnTo>
                      <a:pt x="105" y="109"/>
                    </a:lnTo>
                    <a:lnTo>
                      <a:pt x="105" y="112"/>
                    </a:lnTo>
                    <a:lnTo>
                      <a:pt x="105" y="112"/>
                    </a:lnTo>
                    <a:lnTo>
                      <a:pt x="105" y="112"/>
                    </a:lnTo>
                    <a:lnTo>
                      <a:pt x="105" y="112"/>
                    </a:lnTo>
                    <a:lnTo>
                      <a:pt x="107" y="112"/>
                    </a:lnTo>
                    <a:lnTo>
                      <a:pt x="107" y="112"/>
                    </a:lnTo>
                    <a:lnTo>
                      <a:pt x="109" y="114"/>
                    </a:lnTo>
                    <a:lnTo>
                      <a:pt x="109" y="114"/>
                    </a:lnTo>
                    <a:lnTo>
                      <a:pt x="109" y="114"/>
                    </a:lnTo>
                    <a:lnTo>
                      <a:pt x="109" y="116"/>
                    </a:lnTo>
                    <a:lnTo>
                      <a:pt x="112" y="116"/>
                    </a:lnTo>
                    <a:lnTo>
                      <a:pt x="114" y="114"/>
                    </a:lnTo>
                    <a:lnTo>
                      <a:pt x="114" y="114"/>
                    </a:lnTo>
                    <a:lnTo>
                      <a:pt x="114" y="114"/>
                    </a:lnTo>
                    <a:lnTo>
                      <a:pt x="114" y="114"/>
                    </a:lnTo>
                    <a:lnTo>
                      <a:pt x="114" y="114"/>
                    </a:lnTo>
                    <a:lnTo>
                      <a:pt x="116" y="112"/>
                    </a:lnTo>
                    <a:lnTo>
                      <a:pt x="116" y="109"/>
                    </a:lnTo>
                    <a:lnTo>
                      <a:pt x="116" y="109"/>
                    </a:lnTo>
                    <a:lnTo>
                      <a:pt x="116" y="109"/>
                    </a:lnTo>
                    <a:lnTo>
                      <a:pt x="119" y="107"/>
                    </a:lnTo>
                    <a:lnTo>
                      <a:pt x="119" y="107"/>
                    </a:lnTo>
                    <a:lnTo>
                      <a:pt x="119" y="105"/>
                    </a:lnTo>
                    <a:lnTo>
                      <a:pt x="119" y="105"/>
                    </a:lnTo>
                    <a:lnTo>
                      <a:pt x="121" y="105"/>
                    </a:lnTo>
                    <a:lnTo>
                      <a:pt x="121" y="107"/>
                    </a:lnTo>
                    <a:lnTo>
                      <a:pt x="121" y="107"/>
                    </a:lnTo>
                    <a:lnTo>
                      <a:pt x="121" y="109"/>
                    </a:lnTo>
                    <a:lnTo>
                      <a:pt x="123" y="107"/>
                    </a:lnTo>
                    <a:lnTo>
                      <a:pt x="123" y="107"/>
                    </a:lnTo>
                    <a:lnTo>
                      <a:pt x="126" y="109"/>
                    </a:lnTo>
                    <a:lnTo>
                      <a:pt x="128" y="107"/>
                    </a:lnTo>
                    <a:lnTo>
                      <a:pt x="128" y="105"/>
                    </a:lnTo>
                    <a:lnTo>
                      <a:pt x="128" y="102"/>
                    </a:lnTo>
                    <a:lnTo>
                      <a:pt x="128" y="102"/>
                    </a:lnTo>
                    <a:lnTo>
                      <a:pt x="131" y="100"/>
                    </a:lnTo>
                    <a:lnTo>
                      <a:pt x="131" y="98"/>
                    </a:lnTo>
                    <a:lnTo>
                      <a:pt x="131" y="98"/>
                    </a:lnTo>
                    <a:lnTo>
                      <a:pt x="131" y="95"/>
                    </a:lnTo>
                    <a:lnTo>
                      <a:pt x="131" y="95"/>
                    </a:lnTo>
                    <a:lnTo>
                      <a:pt x="131" y="95"/>
                    </a:lnTo>
                    <a:lnTo>
                      <a:pt x="128" y="95"/>
                    </a:lnTo>
                    <a:lnTo>
                      <a:pt x="128" y="95"/>
                    </a:lnTo>
                    <a:lnTo>
                      <a:pt x="126" y="93"/>
                    </a:lnTo>
                    <a:lnTo>
                      <a:pt x="126" y="90"/>
                    </a:lnTo>
                    <a:lnTo>
                      <a:pt x="126" y="90"/>
                    </a:lnTo>
                    <a:lnTo>
                      <a:pt x="128" y="88"/>
                    </a:lnTo>
                    <a:lnTo>
                      <a:pt x="128" y="88"/>
                    </a:lnTo>
                    <a:lnTo>
                      <a:pt x="131" y="88"/>
                    </a:lnTo>
                    <a:lnTo>
                      <a:pt x="133" y="88"/>
                    </a:lnTo>
                    <a:lnTo>
                      <a:pt x="133" y="88"/>
                    </a:lnTo>
                    <a:lnTo>
                      <a:pt x="135" y="88"/>
                    </a:lnTo>
                    <a:lnTo>
                      <a:pt x="135" y="90"/>
                    </a:lnTo>
                    <a:lnTo>
                      <a:pt x="135" y="90"/>
                    </a:lnTo>
                    <a:lnTo>
                      <a:pt x="138" y="90"/>
                    </a:lnTo>
                    <a:lnTo>
                      <a:pt x="138" y="90"/>
                    </a:lnTo>
                    <a:lnTo>
                      <a:pt x="138" y="88"/>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143"/>
              <p:cNvSpPr>
                <a:spLocks/>
              </p:cNvSpPr>
              <p:nvPr/>
            </p:nvSpPr>
            <p:spPr bwMode="auto">
              <a:xfrm>
                <a:off x="2732" y="1758"/>
                <a:ext cx="2" cy="0"/>
              </a:xfrm>
              <a:custGeom>
                <a:avLst/>
                <a:gdLst>
                  <a:gd name="T0" fmla="*/ 2 w 2"/>
                  <a:gd name="T1" fmla="*/ 2 w 2"/>
                  <a:gd name="T2" fmla="*/ 0 w 2"/>
                  <a:gd name="T3" fmla="*/ 0 w 2"/>
                  <a:gd name="T4" fmla="*/ 2 w 2"/>
                  <a:gd name="T5" fmla="*/ 2 w 2"/>
                  <a:gd name="T6" fmla="*/ 2 w 2"/>
                </a:gdLst>
                <a:ahLst/>
                <a:cxnLst>
                  <a:cxn ang="0">
                    <a:pos x="T0" y="0"/>
                  </a:cxn>
                  <a:cxn ang="0">
                    <a:pos x="T1" y="0"/>
                  </a:cxn>
                  <a:cxn ang="0">
                    <a:pos x="T2" y="0"/>
                  </a:cxn>
                  <a:cxn ang="0">
                    <a:pos x="T3" y="0"/>
                  </a:cxn>
                  <a:cxn ang="0">
                    <a:pos x="T4" y="0"/>
                  </a:cxn>
                  <a:cxn ang="0">
                    <a:pos x="T5" y="0"/>
                  </a:cxn>
                  <a:cxn ang="0">
                    <a:pos x="T6" y="0"/>
                  </a:cxn>
                </a:cxnLst>
                <a:rect l="0" t="0" r="r" b="b"/>
                <a:pathLst>
                  <a:path w="2">
                    <a:moveTo>
                      <a:pt x="2" y="0"/>
                    </a:moveTo>
                    <a:lnTo>
                      <a:pt x="2" y="0"/>
                    </a:lnTo>
                    <a:lnTo>
                      <a:pt x="0" y="0"/>
                    </a:lnTo>
                    <a:lnTo>
                      <a:pt x="0" y="0"/>
                    </a:lnTo>
                    <a:lnTo>
                      <a:pt x="2" y="0"/>
                    </a:lnTo>
                    <a:lnTo>
                      <a:pt x="2" y="0"/>
                    </a:lnTo>
                    <a:lnTo>
                      <a:pt x="2" y="0"/>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144"/>
              <p:cNvSpPr>
                <a:spLocks/>
              </p:cNvSpPr>
              <p:nvPr/>
            </p:nvSpPr>
            <p:spPr bwMode="auto">
              <a:xfrm>
                <a:off x="1045" y="2424"/>
                <a:ext cx="78" cy="85"/>
              </a:xfrm>
              <a:custGeom>
                <a:avLst/>
                <a:gdLst>
                  <a:gd name="T0" fmla="*/ 71 w 78"/>
                  <a:gd name="T1" fmla="*/ 40 h 85"/>
                  <a:gd name="T2" fmla="*/ 71 w 78"/>
                  <a:gd name="T3" fmla="*/ 42 h 85"/>
                  <a:gd name="T4" fmla="*/ 69 w 78"/>
                  <a:gd name="T5" fmla="*/ 42 h 85"/>
                  <a:gd name="T6" fmla="*/ 67 w 78"/>
                  <a:gd name="T7" fmla="*/ 40 h 85"/>
                  <a:gd name="T8" fmla="*/ 64 w 78"/>
                  <a:gd name="T9" fmla="*/ 40 h 85"/>
                  <a:gd name="T10" fmla="*/ 60 w 78"/>
                  <a:gd name="T11" fmla="*/ 40 h 85"/>
                  <a:gd name="T12" fmla="*/ 60 w 78"/>
                  <a:gd name="T13" fmla="*/ 35 h 85"/>
                  <a:gd name="T14" fmla="*/ 62 w 78"/>
                  <a:gd name="T15" fmla="*/ 21 h 85"/>
                  <a:gd name="T16" fmla="*/ 64 w 78"/>
                  <a:gd name="T17" fmla="*/ 11 h 85"/>
                  <a:gd name="T18" fmla="*/ 67 w 78"/>
                  <a:gd name="T19" fmla="*/ 0 h 85"/>
                  <a:gd name="T20" fmla="*/ 55 w 78"/>
                  <a:gd name="T21" fmla="*/ 0 h 85"/>
                  <a:gd name="T22" fmla="*/ 38 w 78"/>
                  <a:gd name="T23" fmla="*/ 0 h 85"/>
                  <a:gd name="T24" fmla="*/ 31 w 78"/>
                  <a:gd name="T25" fmla="*/ 4 h 85"/>
                  <a:gd name="T26" fmla="*/ 31 w 78"/>
                  <a:gd name="T27" fmla="*/ 11 h 85"/>
                  <a:gd name="T28" fmla="*/ 24 w 78"/>
                  <a:gd name="T29" fmla="*/ 11 h 85"/>
                  <a:gd name="T30" fmla="*/ 24 w 78"/>
                  <a:gd name="T31" fmla="*/ 11 h 85"/>
                  <a:gd name="T32" fmla="*/ 29 w 78"/>
                  <a:gd name="T33" fmla="*/ 16 h 85"/>
                  <a:gd name="T34" fmla="*/ 34 w 78"/>
                  <a:gd name="T35" fmla="*/ 21 h 85"/>
                  <a:gd name="T36" fmla="*/ 36 w 78"/>
                  <a:gd name="T37" fmla="*/ 26 h 85"/>
                  <a:gd name="T38" fmla="*/ 36 w 78"/>
                  <a:gd name="T39" fmla="*/ 28 h 85"/>
                  <a:gd name="T40" fmla="*/ 38 w 78"/>
                  <a:gd name="T41" fmla="*/ 28 h 85"/>
                  <a:gd name="T42" fmla="*/ 38 w 78"/>
                  <a:gd name="T43" fmla="*/ 30 h 85"/>
                  <a:gd name="T44" fmla="*/ 38 w 78"/>
                  <a:gd name="T45" fmla="*/ 35 h 85"/>
                  <a:gd name="T46" fmla="*/ 36 w 78"/>
                  <a:gd name="T47" fmla="*/ 37 h 85"/>
                  <a:gd name="T48" fmla="*/ 26 w 78"/>
                  <a:gd name="T49" fmla="*/ 37 h 85"/>
                  <a:gd name="T50" fmla="*/ 19 w 78"/>
                  <a:gd name="T51" fmla="*/ 37 h 85"/>
                  <a:gd name="T52" fmla="*/ 12 w 78"/>
                  <a:gd name="T53" fmla="*/ 40 h 85"/>
                  <a:gd name="T54" fmla="*/ 5 w 78"/>
                  <a:gd name="T55" fmla="*/ 49 h 85"/>
                  <a:gd name="T56" fmla="*/ 3 w 78"/>
                  <a:gd name="T57" fmla="*/ 54 h 85"/>
                  <a:gd name="T58" fmla="*/ 5 w 78"/>
                  <a:gd name="T59" fmla="*/ 56 h 85"/>
                  <a:gd name="T60" fmla="*/ 3 w 78"/>
                  <a:gd name="T61" fmla="*/ 59 h 85"/>
                  <a:gd name="T62" fmla="*/ 3 w 78"/>
                  <a:gd name="T63" fmla="*/ 61 h 85"/>
                  <a:gd name="T64" fmla="*/ 3 w 78"/>
                  <a:gd name="T65" fmla="*/ 63 h 85"/>
                  <a:gd name="T66" fmla="*/ 0 w 78"/>
                  <a:gd name="T67" fmla="*/ 66 h 85"/>
                  <a:gd name="T68" fmla="*/ 0 w 78"/>
                  <a:gd name="T69" fmla="*/ 68 h 85"/>
                  <a:gd name="T70" fmla="*/ 10 w 78"/>
                  <a:gd name="T71" fmla="*/ 78 h 85"/>
                  <a:gd name="T72" fmla="*/ 19 w 78"/>
                  <a:gd name="T73" fmla="*/ 82 h 85"/>
                  <a:gd name="T74" fmla="*/ 31 w 78"/>
                  <a:gd name="T75" fmla="*/ 82 h 85"/>
                  <a:gd name="T76" fmla="*/ 38 w 78"/>
                  <a:gd name="T77" fmla="*/ 85 h 85"/>
                  <a:gd name="T78" fmla="*/ 38 w 78"/>
                  <a:gd name="T79" fmla="*/ 82 h 85"/>
                  <a:gd name="T80" fmla="*/ 43 w 78"/>
                  <a:gd name="T81" fmla="*/ 80 h 85"/>
                  <a:gd name="T82" fmla="*/ 45 w 78"/>
                  <a:gd name="T83" fmla="*/ 80 h 85"/>
                  <a:gd name="T84" fmla="*/ 45 w 78"/>
                  <a:gd name="T85" fmla="*/ 78 h 85"/>
                  <a:gd name="T86" fmla="*/ 48 w 78"/>
                  <a:gd name="T87" fmla="*/ 75 h 85"/>
                  <a:gd name="T88" fmla="*/ 50 w 78"/>
                  <a:gd name="T89" fmla="*/ 75 h 85"/>
                  <a:gd name="T90" fmla="*/ 50 w 78"/>
                  <a:gd name="T91" fmla="*/ 73 h 85"/>
                  <a:gd name="T92" fmla="*/ 50 w 78"/>
                  <a:gd name="T93" fmla="*/ 71 h 85"/>
                  <a:gd name="T94" fmla="*/ 52 w 78"/>
                  <a:gd name="T95" fmla="*/ 71 h 85"/>
                  <a:gd name="T96" fmla="*/ 52 w 78"/>
                  <a:gd name="T97" fmla="*/ 71 h 85"/>
                  <a:gd name="T98" fmla="*/ 57 w 78"/>
                  <a:gd name="T99" fmla="*/ 68 h 85"/>
                  <a:gd name="T100" fmla="*/ 57 w 78"/>
                  <a:gd name="T101" fmla="*/ 63 h 85"/>
                  <a:gd name="T102" fmla="*/ 57 w 78"/>
                  <a:gd name="T103" fmla="*/ 61 h 85"/>
                  <a:gd name="T104" fmla="*/ 60 w 78"/>
                  <a:gd name="T105" fmla="*/ 56 h 85"/>
                  <a:gd name="T106" fmla="*/ 62 w 78"/>
                  <a:gd name="T107" fmla="*/ 56 h 85"/>
                  <a:gd name="T108" fmla="*/ 69 w 78"/>
                  <a:gd name="T109" fmla="*/ 52 h 85"/>
                  <a:gd name="T110" fmla="*/ 74 w 78"/>
                  <a:gd name="T111" fmla="*/ 47 h 85"/>
                  <a:gd name="T112" fmla="*/ 78 w 78"/>
                  <a:gd name="T113" fmla="*/ 4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 h="85">
                    <a:moveTo>
                      <a:pt x="71" y="40"/>
                    </a:moveTo>
                    <a:lnTo>
                      <a:pt x="71" y="40"/>
                    </a:lnTo>
                    <a:lnTo>
                      <a:pt x="71" y="40"/>
                    </a:lnTo>
                    <a:lnTo>
                      <a:pt x="71" y="42"/>
                    </a:lnTo>
                    <a:lnTo>
                      <a:pt x="71" y="42"/>
                    </a:lnTo>
                    <a:lnTo>
                      <a:pt x="69" y="42"/>
                    </a:lnTo>
                    <a:lnTo>
                      <a:pt x="67" y="40"/>
                    </a:lnTo>
                    <a:lnTo>
                      <a:pt x="67" y="40"/>
                    </a:lnTo>
                    <a:lnTo>
                      <a:pt x="67" y="40"/>
                    </a:lnTo>
                    <a:lnTo>
                      <a:pt x="64" y="40"/>
                    </a:lnTo>
                    <a:lnTo>
                      <a:pt x="62" y="40"/>
                    </a:lnTo>
                    <a:lnTo>
                      <a:pt x="60" y="40"/>
                    </a:lnTo>
                    <a:lnTo>
                      <a:pt x="60" y="40"/>
                    </a:lnTo>
                    <a:lnTo>
                      <a:pt x="60" y="35"/>
                    </a:lnTo>
                    <a:lnTo>
                      <a:pt x="62" y="26"/>
                    </a:lnTo>
                    <a:lnTo>
                      <a:pt x="62" y="21"/>
                    </a:lnTo>
                    <a:lnTo>
                      <a:pt x="64" y="14"/>
                    </a:lnTo>
                    <a:lnTo>
                      <a:pt x="64" y="11"/>
                    </a:lnTo>
                    <a:lnTo>
                      <a:pt x="64" y="4"/>
                    </a:lnTo>
                    <a:lnTo>
                      <a:pt x="67" y="0"/>
                    </a:lnTo>
                    <a:lnTo>
                      <a:pt x="62" y="0"/>
                    </a:lnTo>
                    <a:lnTo>
                      <a:pt x="55" y="0"/>
                    </a:lnTo>
                    <a:lnTo>
                      <a:pt x="48" y="0"/>
                    </a:lnTo>
                    <a:lnTo>
                      <a:pt x="38" y="0"/>
                    </a:lnTo>
                    <a:lnTo>
                      <a:pt x="34" y="0"/>
                    </a:lnTo>
                    <a:lnTo>
                      <a:pt x="31" y="4"/>
                    </a:lnTo>
                    <a:lnTo>
                      <a:pt x="31" y="7"/>
                    </a:lnTo>
                    <a:lnTo>
                      <a:pt x="31" y="11"/>
                    </a:lnTo>
                    <a:lnTo>
                      <a:pt x="26" y="11"/>
                    </a:lnTo>
                    <a:lnTo>
                      <a:pt x="24" y="11"/>
                    </a:lnTo>
                    <a:lnTo>
                      <a:pt x="24" y="11"/>
                    </a:lnTo>
                    <a:lnTo>
                      <a:pt x="24" y="11"/>
                    </a:lnTo>
                    <a:lnTo>
                      <a:pt x="26" y="14"/>
                    </a:lnTo>
                    <a:lnTo>
                      <a:pt x="29" y="16"/>
                    </a:lnTo>
                    <a:lnTo>
                      <a:pt x="29" y="18"/>
                    </a:lnTo>
                    <a:lnTo>
                      <a:pt x="34" y="21"/>
                    </a:lnTo>
                    <a:lnTo>
                      <a:pt x="34" y="23"/>
                    </a:lnTo>
                    <a:lnTo>
                      <a:pt x="36" y="26"/>
                    </a:lnTo>
                    <a:lnTo>
                      <a:pt x="36" y="26"/>
                    </a:lnTo>
                    <a:lnTo>
                      <a:pt x="36" y="28"/>
                    </a:lnTo>
                    <a:lnTo>
                      <a:pt x="36" y="28"/>
                    </a:lnTo>
                    <a:lnTo>
                      <a:pt x="38" y="28"/>
                    </a:lnTo>
                    <a:lnTo>
                      <a:pt x="38" y="30"/>
                    </a:lnTo>
                    <a:lnTo>
                      <a:pt x="38" y="30"/>
                    </a:lnTo>
                    <a:lnTo>
                      <a:pt x="38" y="33"/>
                    </a:lnTo>
                    <a:lnTo>
                      <a:pt x="38" y="35"/>
                    </a:lnTo>
                    <a:lnTo>
                      <a:pt x="38" y="37"/>
                    </a:lnTo>
                    <a:lnTo>
                      <a:pt x="36" y="37"/>
                    </a:lnTo>
                    <a:lnTo>
                      <a:pt x="34" y="37"/>
                    </a:lnTo>
                    <a:lnTo>
                      <a:pt x="26" y="37"/>
                    </a:lnTo>
                    <a:lnTo>
                      <a:pt x="22" y="37"/>
                    </a:lnTo>
                    <a:lnTo>
                      <a:pt x="19" y="37"/>
                    </a:lnTo>
                    <a:lnTo>
                      <a:pt x="15" y="37"/>
                    </a:lnTo>
                    <a:lnTo>
                      <a:pt x="12" y="40"/>
                    </a:lnTo>
                    <a:lnTo>
                      <a:pt x="8" y="45"/>
                    </a:lnTo>
                    <a:lnTo>
                      <a:pt x="5" y="49"/>
                    </a:lnTo>
                    <a:lnTo>
                      <a:pt x="3" y="52"/>
                    </a:lnTo>
                    <a:lnTo>
                      <a:pt x="3" y="54"/>
                    </a:lnTo>
                    <a:lnTo>
                      <a:pt x="3" y="54"/>
                    </a:lnTo>
                    <a:lnTo>
                      <a:pt x="5" y="56"/>
                    </a:lnTo>
                    <a:lnTo>
                      <a:pt x="5" y="59"/>
                    </a:lnTo>
                    <a:lnTo>
                      <a:pt x="3" y="59"/>
                    </a:lnTo>
                    <a:lnTo>
                      <a:pt x="3" y="59"/>
                    </a:lnTo>
                    <a:lnTo>
                      <a:pt x="3" y="61"/>
                    </a:lnTo>
                    <a:lnTo>
                      <a:pt x="3" y="63"/>
                    </a:lnTo>
                    <a:lnTo>
                      <a:pt x="3" y="63"/>
                    </a:lnTo>
                    <a:lnTo>
                      <a:pt x="3" y="66"/>
                    </a:lnTo>
                    <a:lnTo>
                      <a:pt x="0" y="66"/>
                    </a:lnTo>
                    <a:lnTo>
                      <a:pt x="0" y="68"/>
                    </a:lnTo>
                    <a:lnTo>
                      <a:pt x="0" y="68"/>
                    </a:lnTo>
                    <a:lnTo>
                      <a:pt x="8" y="75"/>
                    </a:lnTo>
                    <a:lnTo>
                      <a:pt x="10" y="78"/>
                    </a:lnTo>
                    <a:lnTo>
                      <a:pt x="15" y="80"/>
                    </a:lnTo>
                    <a:lnTo>
                      <a:pt x="19" y="82"/>
                    </a:lnTo>
                    <a:lnTo>
                      <a:pt x="29" y="82"/>
                    </a:lnTo>
                    <a:lnTo>
                      <a:pt x="31" y="82"/>
                    </a:lnTo>
                    <a:lnTo>
                      <a:pt x="38" y="85"/>
                    </a:lnTo>
                    <a:lnTo>
                      <a:pt x="38" y="85"/>
                    </a:lnTo>
                    <a:lnTo>
                      <a:pt x="38" y="85"/>
                    </a:lnTo>
                    <a:lnTo>
                      <a:pt x="38" y="82"/>
                    </a:lnTo>
                    <a:lnTo>
                      <a:pt x="41" y="80"/>
                    </a:lnTo>
                    <a:lnTo>
                      <a:pt x="43" y="80"/>
                    </a:lnTo>
                    <a:lnTo>
                      <a:pt x="43" y="80"/>
                    </a:lnTo>
                    <a:lnTo>
                      <a:pt x="45" y="80"/>
                    </a:lnTo>
                    <a:lnTo>
                      <a:pt x="45" y="78"/>
                    </a:lnTo>
                    <a:lnTo>
                      <a:pt x="45" y="78"/>
                    </a:lnTo>
                    <a:lnTo>
                      <a:pt x="48" y="75"/>
                    </a:lnTo>
                    <a:lnTo>
                      <a:pt x="48" y="75"/>
                    </a:lnTo>
                    <a:lnTo>
                      <a:pt x="50" y="75"/>
                    </a:lnTo>
                    <a:lnTo>
                      <a:pt x="50" y="75"/>
                    </a:lnTo>
                    <a:lnTo>
                      <a:pt x="50" y="73"/>
                    </a:lnTo>
                    <a:lnTo>
                      <a:pt x="50" y="73"/>
                    </a:lnTo>
                    <a:lnTo>
                      <a:pt x="50" y="71"/>
                    </a:lnTo>
                    <a:lnTo>
                      <a:pt x="50" y="71"/>
                    </a:lnTo>
                    <a:lnTo>
                      <a:pt x="52" y="71"/>
                    </a:lnTo>
                    <a:lnTo>
                      <a:pt x="52" y="71"/>
                    </a:lnTo>
                    <a:lnTo>
                      <a:pt x="52" y="71"/>
                    </a:lnTo>
                    <a:lnTo>
                      <a:pt x="52" y="71"/>
                    </a:lnTo>
                    <a:lnTo>
                      <a:pt x="55" y="68"/>
                    </a:lnTo>
                    <a:lnTo>
                      <a:pt x="57" y="68"/>
                    </a:lnTo>
                    <a:lnTo>
                      <a:pt x="57" y="66"/>
                    </a:lnTo>
                    <a:lnTo>
                      <a:pt x="57" y="63"/>
                    </a:lnTo>
                    <a:lnTo>
                      <a:pt x="57" y="61"/>
                    </a:lnTo>
                    <a:lnTo>
                      <a:pt x="57" y="61"/>
                    </a:lnTo>
                    <a:lnTo>
                      <a:pt x="57" y="59"/>
                    </a:lnTo>
                    <a:lnTo>
                      <a:pt x="60" y="56"/>
                    </a:lnTo>
                    <a:lnTo>
                      <a:pt x="62" y="56"/>
                    </a:lnTo>
                    <a:lnTo>
                      <a:pt x="62" y="56"/>
                    </a:lnTo>
                    <a:lnTo>
                      <a:pt x="64" y="54"/>
                    </a:lnTo>
                    <a:lnTo>
                      <a:pt x="69" y="52"/>
                    </a:lnTo>
                    <a:lnTo>
                      <a:pt x="71" y="49"/>
                    </a:lnTo>
                    <a:lnTo>
                      <a:pt x="74" y="47"/>
                    </a:lnTo>
                    <a:lnTo>
                      <a:pt x="76" y="45"/>
                    </a:lnTo>
                    <a:lnTo>
                      <a:pt x="78" y="45"/>
                    </a:lnTo>
                    <a:lnTo>
                      <a:pt x="71" y="40"/>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145"/>
              <p:cNvSpPr>
                <a:spLocks noEditPoints="1"/>
              </p:cNvSpPr>
              <p:nvPr/>
            </p:nvSpPr>
            <p:spPr bwMode="auto">
              <a:xfrm>
                <a:off x="1611" y="2452"/>
                <a:ext cx="12" cy="12"/>
              </a:xfrm>
              <a:custGeom>
                <a:avLst/>
                <a:gdLst>
                  <a:gd name="T0" fmla="*/ 2 w 12"/>
                  <a:gd name="T1" fmla="*/ 2 h 12"/>
                  <a:gd name="T2" fmla="*/ 2 w 12"/>
                  <a:gd name="T3" fmla="*/ 2 h 12"/>
                  <a:gd name="T4" fmla="*/ 2 w 12"/>
                  <a:gd name="T5" fmla="*/ 2 h 12"/>
                  <a:gd name="T6" fmla="*/ 0 w 12"/>
                  <a:gd name="T7" fmla="*/ 2 h 12"/>
                  <a:gd name="T8" fmla="*/ 0 w 12"/>
                  <a:gd name="T9" fmla="*/ 9 h 12"/>
                  <a:gd name="T10" fmla="*/ 2 w 12"/>
                  <a:gd name="T11" fmla="*/ 9 h 12"/>
                  <a:gd name="T12" fmla="*/ 2 w 12"/>
                  <a:gd name="T13" fmla="*/ 12 h 12"/>
                  <a:gd name="T14" fmla="*/ 5 w 12"/>
                  <a:gd name="T15" fmla="*/ 9 h 12"/>
                  <a:gd name="T16" fmla="*/ 5 w 12"/>
                  <a:gd name="T17" fmla="*/ 9 h 12"/>
                  <a:gd name="T18" fmla="*/ 5 w 12"/>
                  <a:gd name="T19" fmla="*/ 5 h 12"/>
                  <a:gd name="T20" fmla="*/ 5 w 12"/>
                  <a:gd name="T21" fmla="*/ 5 h 12"/>
                  <a:gd name="T22" fmla="*/ 5 w 12"/>
                  <a:gd name="T23" fmla="*/ 5 h 12"/>
                  <a:gd name="T24" fmla="*/ 2 w 12"/>
                  <a:gd name="T25" fmla="*/ 2 h 12"/>
                  <a:gd name="T26" fmla="*/ 9 w 12"/>
                  <a:gd name="T27" fmla="*/ 9 h 12"/>
                  <a:gd name="T28" fmla="*/ 9 w 12"/>
                  <a:gd name="T29" fmla="*/ 9 h 12"/>
                  <a:gd name="T30" fmla="*/ 9 w 12"/>
                  <a:gd name="T31" fmla="*/ 12 h 12"/>
                  <a:gd name="T32" fmla="*/ 9 w 12"/>
                  <a:gd name="T33" fmla="*/ 12 h 12"/>
                  <a:gd name="T34" fmla="*/ 9 w 12"/>
                  <a:gd name="T35" fmla="*/ 12 h 12"/>
                  <a:gd name="T36" fmla="*/ 9 w 12"/>
                  <a:gd name="T37" fmla="*/ 12 h 12"/>
                  <a:gd name="T38" fmla="*/ 12 w 12"/>
                  <a:gd name="T39" fmla="*/ 12 h 12"/>
                  <a:gd name="T40" fmla="*/ 12 w 12"/>
                  <a:gd name="T41" fmla="*/ 12 h 12"/>
                  <a:gd name="T42" fmla="*/ 9 w 12"/>
                  <a:gd name="T43" fmla="*/ 9 h 12"/>
                  <a:gd name="T44" fmla="*/ 12 w 12"/>
                  <a:gd name="T45" fmla="*/ 5 h 12"/>
                  <a:gd name="T46" fmla="*/ 9 w 12"/>
                  <a:gd name="T47" fmla="*/ 2 h 12"/>
                  <a:gd name="T48" fmla="*/ 7 w 12"/>
                  <a:gd name="T49" fmla="*/ 0 h 12"/>
                  <a:gd name="T50" fmla="*/ 7 w 12"/>
                  <a:gd name="T51" fmla="*/ 0 h 12"/>
                  <a:gd name="T52" fmla="*/ 7 w 12"/>
                  <a:gd name="T53" fmla="*/ 0 h 12"/>
                  <a:gd name="T54" fmla="*/ 7 w 12"/>
                  <a:gd name="T55" fmla="*/ 0 h 12"/>
                  <a:gd name="T56" fmla="*/ 5 w 12"/>
                  <a:gd name="T57" fmla="*/ 0 h 12"/>
                  <a:gd name="T58" fmla="*/ 7 w 12"/>
                  <a:gd name="T59" fmla="*/ 2 h 12"/>
                  <a:gd name="T60" fmla="*/ 5 w 12"/>
                  <a:gd name="T61" fmla="*/ 5 h 12"/>
                  <a:gd name="T62" fmla="*/ 5 w 12"/>
                  <a:gd name="T63" fmla="*/ 5 h 12"/>
                  <a:gd name="T64" fmla="*/ 7 w 12"/>
                  <a:gd name="T65" fmla="*/ 5 h 12"/>
                  <a:gd name="T66" fmla="*/ 9 w 12"/>
                  <a:gd name="T67" fmla="*/ 5 h 12"/>
                  <a:gd name="T68" fmla="*/ 12 w 12"/>
                  <a:gd name="T69" fmla="*/ 5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 h="12">
                    <a:moveTo>
                      <a:pt x="2" y="2"/>
                    </a:moveTo>
                    <a:lnTo>
                      <a:pt x="2" y="2"/>
                    </a:lnTo>
                    <a:lnTo>
                      <a:pt x="2" y="2"/>
                    </a:lnTo>
                    <a:lnTo>
                      <a:pt x="0" y="2"/>
                    </a:lnTo>
                    <a:lnTo>
                      <a:pt x="0" y="9"/>
                    </a:lnTo>
                    <a:lnTo>
                      <a:pt x="2" y="9"/>
                    </a:lnTo>
                    <a:lnTo>
                      <a:pt x="2" y="12"/>
                    </a:lnTo>
                    <a:lnTo>
                      <a:pt x="5" y="9"/>
                    </a:lnTo>
                    <a:lnTo>
                      <a:pt x="5" y="9"/>
                    </a:lnTo>
                    <a:lnTo>
                      <a:pt x="5" y="5"/>
                    </a:lnTo>
                    <a:lnTo>
                      <a:pt x="5" y="5"/>
                    </a:lnTo>
                    <a:lnTo>
                      <a:pt x="5" y="5"/>
                    </a:lnTo>
                    <a:lnTo>
                      <a:pt x="2" y="2"/>
                    </a:lnTo>
                    <a:close/>
                    <a:moveTo>
                      <a:pt x="9" y="9"/>
                    </a:moveTo>
                    <a:lnTo>
                      <a:pt x="9" y="9"/>
                    </a:lnTo>
                    <a:lnTo>
                      <a:pt x="9" y="12"/>
                    </a:lnTo>
                    <a:lnTo>
                      <a:pt x="9" y="12"/>
                    </a:lnTo>
                    <a:lnTo>
                      <a:pt x="9" y="12"/>
                    </a:lnTo>
                    <a:lnTo>
                      <a:pt x="9" y="12"/>
                    </a:lnTo>
                    <a:lnTo>
                      <a:pt x="12" y="12"/>
                    </a:lnTo>
                    <a:lnTo>
                      <a:pt x="12" y="12"/>
                    </a:lnTo>
                    <a:lnTo>
                      <a:pt x="9" y="9"/>
                    </a:lnTo>
                    <a:close/>
                    <a:moveTo>
                      <a:pt x="12" y="5"/>
                    </a:moveTo>
                    <a:lnTo>
                      <a:pt x="9" y="2"/>
                    </a:lnTo>
                    <a:lnTo>
                      <a:pt x="7" y="0"/>
                    </a:lnTo>
                    <a:lnTo>
                      <a:pt x="7" y="0"/>
                    </a:lnTo>
                    <a:lnTo>
                      <a:pt x="7" y="0"/>
                    </a:lnTo>
                    <a:lnTo>
                      <a:pt x="7" y="0"/>
                    </a:lnTo>
                    <a:lnTo>
                      <a:pt x="5" y="0"/>
                    </a:lnTo>
                    <a:lnTo>
                      <a:pt x="7" y="2"/>
                    </a:lnTo>
                    <a:lnTo>
                      <a:pt x="5" y="5"/>
                    </a:lnTo>
                    <a:lnTo>
                      <a:pt x="5" y="5"/>
                    </a:lnTo>
                    <a:lnTo>
                      <a:pt x="7" y="5"/>
                    </a:lnTo>
                    <a:lnTo>
                      <a:pt x="9" y="5"/>
                    </a:lnTo>
                    <a:lnTo>
                      <a:pt x="12" y="5"/>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146"/>
              <p:cNvSpPr>
                <a:spLocks noEditPoints="1"/>
              </p:cNvSpPr>
              <p:nvPr/>
            </p:nvSpPr>
            <p:spPr bwMode="auto">
              <a:xfrm>
                <a:off x="1942" y="1152"/>
                <a:ext cx="757" cy="400"/>
              </a:xfrm>
              <a:custGeom>
                <a:avLst/>
                <a:gdLst>
                  <a:gd name="T0" fmla="*/ 173 w 757"/>
                  <a:gd name="T1" fmla="*/ 218 h 400"/>
                  <a:gd name="T2" fmla="*/ 163 w 757"/>
                  <a:gd name="T3" fmla="*/ 215 h 400"/>
                  <a:gd name="T4" fmla="*/ 527 w 757"/>
                  <a:gd name="T5" fmla="*/ 197 h 400"/>
                  <a:gd name="T6" fmla="*/ 527 w 757"/>
                  <a:gd name="T7" fmla="*/ 197 h 400"/>
                  <a:gd name="T8" fmla="*/ 142 w 757"/>
                  <a:gd name="T9" fmla="*/ 163 h 400"/>
                  <a:gd name="T10" fmla="*/ 12 w 757"/>
                  <a:gd name="T11" fmla="*/ 85 h 400"/>
                  <a:gd name="T12" fmla="*/ 665 w 757"/>
                  <a:gd name="T13" fmla="*/ 47 h 400"/>
                  <a:gd name="T14" fmla="*/ 755 w 757"/>
                  <a:gd name="T15" fmla="*/ 24 h 400"/>
                  <a:gd name="T16" fmla="*/ 622 w 757"/>
                  <a:gd name="T17" fmla="*/ 36 h 400"/>
                  <a:gd name="T18" fmla="*/ 558 w 757"/>
                  <a:gd name="T19" fmla="*/ 17 h 400"/>
                  <a:gd name="T20" fmla="*/ 606 w 757"/>
                  <a:gd name="T21" fmla="*/ 2 h 400"/>
                  <a:gd name="T22" fmla="*/ 473 w 757"/>
                  <a:gd name="T23" fmla="*/ 5 h 400"/>
                  <a:gd name="T24" fmla="*/ 433 w 757"/>
                  <a:gd name="T25" fmla="*/ 9 h 400"/>
                  <a:gd name="T26" fmla="*/ 331 w 757"/>
                  <a:gd name="T27" fmla="*/ 21 h 400"/>
                  <a:gd name="T28" fmla="*/ 229 w 757"/>
                  <a:gd name="T29" fmla="*/ 21 h 400"/>
                  <a:gd name="T30" fmla="*/ 173 w 757"/>
                  <a:gd name="T31" fmla="*/ 28 h 400"/>
                  <a:gd name="T32" fmla="*/ 132 w 757"/>
                  <a:gd name="T33" fmla="*/ 45 h 400"/>
                  <a:gd name="T34" fmla="*/ 45 w 757"/>
                  <a:gd name="T35" fmla="*/ 66 h 400"/>
                  <a:gd name="T36" fmla="*/ 33 w 757"/>
                  <a:gd name="T37" fmla="*/ 83 h 400"/>
                  <a:gd name="T38" fmla="*/ 17 w 757"/>
                  <a:gd name="T39" fmla="*/ 90 h 400"/>
                  <a:gd name="T40" fmla="*/ 31 w 757"/>
                  <a:gd name="T41" fmla="*/ 107 h 400"/>
                  <a:gd name="T42" fmla="*/ 102 w 757"/>
                  <a:gd name="T43" fmla="*/ 104 h 400"/>
                  <a:gd name="T44" fmla="*/ 158 w 757"/>
                  <a:gd name="T45" fmla="*/ 133 h 400"/>
                  <a:gd name="T46" fmla="*/ 156 w 757"/>
                  <a:gd name="T47" fmla="*/ 152 h 400"/>
                  <a:gd name="T48" fmla="*/ 144 w 757"/>
                  <a:gd name="T49" fmla="*/ 171 h 400"/>
                  <a:gd name="T50" fmla="*/ 168 w 757"/>
                  <a:gd name="T51" fmla="*/ 178 h 400"/>
                  <a:gd name="T52" fmla="*/ 184 w 757"/>
                  <a:gd name="T53" fmla="*/ 180 h 400"/>
                  <a:gd name="T54" fmla="*/ 187 w 757"/>
                  <a:gd name="T55" fmla="*/ 201 h 400"/>
                  <a:gd name="T56" fmla="*/ 180 w 757"/>
                  <a:gd name="T57" fmla="*/ 208 h 400"/>
                  <a:gd name="T58" fmla="*/ 168 w 757"/>
                  <a:gd name="T59" fmla="*/ 234 h 400"/>
                  <a:gd name="T60" fmla="*/ 151 w 757"/>
                  <a:gd name="T61" fmla="*/ 244 h 400"/>
                  <a:gd name="T62" fmla="*/ 144 w 757"/>
                  <a:gd name="T63" fmla="*/ 251 h 400"/>
                  <a:gd name="T64" fmla="*/ 114 w 757"/>
                  <a:gd name="T65" fmla="*/ 279 h 400"/>
                  <a:gd name="T66" fmla="*/ 125 w 757"/>
                  <a:gd name="T67" fmla="*/ 289 h 400"/>
                  <a:gd name="T68" fmla="*/ 125 w 757"/>
                  <a:gd name="T69" fmla="*/ 308 h 400"/>
                  <a:gd name="T70" fmla="*/ 116 w 757"/>
                  <a:gd name="T71" fmla="*/ 317 h 400"/>
                  <a:gd name="T72" fmla="*/ 132 w 757"/>
                  <a:gd name="T73" fmla="*/ 336 h 400"/>
                  <a:gd name="T74" fmla="*/ 128 w 757"/>
                  <a:gd name="T75" fmla="*/ 365 h 400"/>
                  <a:gd name="T76" fmla="*/ 158 w 757"/>
                  <a:gd name="T77" fmla="*/ 379 h 400"/>
                  <a:gd name="T78" fmla="*/ 192 w 757"/>
                  <a:gd name="T79" fmla="*/ 391 h 400"/>
                  <a:gd name="T80" fmla="*/ 203 w 757"/>
                  <a:gd name="T81" fmla="*/ 384 h 400"/>
                  <a:gd name="T82" fmla="*/ 244 w 757"/>
                  <a:gd name="T83" fmla="*/ 343 h 400"/>
                  <a:gd name="T84" fmla="*/ 272 w 757"/>
                  <a:gd name="T85" fmla="*/ 315 h 400"/>
                  <a:gd name="T86" fmla="*/ 319 w 757"/>
                  <a:gd name="T87" fmla="*/ 282 h 400"/>
                  <a:gd name="T88" fmla="*/ 345 w 757"/>
                  <a:gd name="T89" fmla="*/ 282 h 400"/>
                  <a:gd name="T90" fmla="*/ 400 w 757"/>
                  <a:gd name="T91" fmla="*/ 256 h 400"/>
                  <a:gd name="T92" fmla="*/ 454 w 757"/>
                  <a:gd name="T93" fmla="*/ 239 h 400"/>
                  <a:gd name="T94" fmla="*/ 542 w 757"/>
                  <a:gd name="T95" fmla="*/ 218 h 400"/>
                  <a:gd name="T96" fmla="*/ 494 w 757"/>
                  <a:gd name="T97" fmla="*/ 208 h 400"/>
                  <a:gd name="T98" fmla="*/ 523 w 757"/>
                  <a:gd name="T99" fmla="*/ 192 h 400"/>
                  <a:gd name="T100" fmla="*/ 568 w 757"/>
                  <a:gd name="T101" fmla="*/ 194 h 400"/>
                  <a:gd name="T102" fmla="*/ 568 w 757"/>
                  <a:gd name="T103" fmla="*/ 175 h 400"/>
                  <a:gd name="T104" fmla="*/ 554 w 757"/>
                  <a:gd name="T105" fmla="*/ 163 h 400"/>
                  <a:gd name="T106" fmla="*/ 516 w 757"/>
                  <a:gd name="T107" fmla="*/ 156 h 400"/>
                  <a:gd name="T108" fmla="*/ 558 w 757"/>
                  <a:gd name="T109" fmla="*/ 147 h 400"/>
                  <a:gd name="T110" fmla="*/ 594 w 757"/>
                  <a:gd name="T111" fmla="*/ 137 h 400"/>
                  <a:gd name="T112" fmla="*/ 603 w 757"/>
                  <a:gd name="T113" fmla="*/ 126 h 400"/>
                  <a:gd name="T114" fmla="*/ 620 w 757"/>
                  <a:gd name="T115" fmla="*/ 104 h 400"/>
                  <a:gd name="T116" fmla="*/ 655 w 757"/>
                  <a:gd name="T117" fmla="*/ 88 h 400"/>
                  <a:gd name="T118" fmla="*/ 629 w 757"/>
                  <a:gd name="T119" fmla="*/ 71 h 400"/>
                  <a:gd name="T120" fmla="*/ 650 w 757"/>
                  <a:gd name="T121" fmla="*/ 50 h 400"/>
                  <a:gd name="T122" fmla="*/ 729 w 757"/>
                  <a:gd name="T123" fmla="*/ 33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57" h="400">
                    <a:moveTo>
                      <a:pt x="163" y="379"/>
                    </a:moveTo>
                    <a:lnTo>
                      <a:pt x="156" y="381"/>
                    </a:lnTo>
                    <a:lnTo>
                      <a:pt x="156" y="381"/>
                    </a:lnTo>
                    <a:lnTo>
                      <a:pt x="158" y="381"/>
                    </a:lnTo>
                    <a:lnTo>
                      <a:pt x="161" y="381"/>
                    </a:lnTo>
                    <a:lnTo>
                      <a:pt x="161" y="381"/>
                    </a:lnTo>
                    <a:lnTo>
                      <a:pt x="161" y="384"/>
                    </a:lnTo>
                    <a:lnTo>
                      <a:pt x="166" y="381"/>
                    </a:lnTo>
                    <a:lnTo>
                      <a:pt x="166" y="379"/>
                    </a:lnTo>
                    <a:lnTo>
                      <a:pt x="166" y="379"/>
                    </a:lnTo>
                    <a:lnTo>
                      <a:pt x="168" y="377"/>
                    </a:lnTo>
                    <a:lnTo>
                      <a:pt x="163" y="379"/>
                    </a:lnTo>
                    <a:close/>
                    <a:moveTo>
                      <a:pt x="334" y="289"/>
                    </a:moveTo>
                    <a:lnTo>
                      <a:pt x="331" y="289"/>
                    </a:lnTo>
                    <a:lnTo>
                      <a:pt x="334" y="291"/>
                    </a:lnTo>
                    <a:lnTo>
                      <a:pt x="334" y="291"/>
                    </a:lnTo>
                    <a:lnTo>
                      <a:pt x="336" y="289"/>
                    </a:lnTo>
                    <a:lnTo>
                      <a:pt x="336" y="289"/>
                    </a:lnTo>
                    <a:lnTo>
                      <a:pt x="336" y="287"/>
                    </a:lnTo>
                    <a:lnTo>
                      <a:pt x="334" y="289"/>
                    </a:lnTo>
                    <a:close/>
                    <a:moveTo>
                      <a:pt x="175" y="218"/>
                    </a:moveTo>
                    <a:lnTo>
                      <a:pt x="177" y="218"/>
                    </a:lnTo>
                    <a:lnTo>
                      <a:pt x="177" y="218"/>
                    </a:lnTo>
                    <a:lnTo>
                      <a:pt x="177" y="215"/>
                    </a:lnTo>
                    <a:lnTo>
                      <a:pt x="180" y="215"/>
                    </a:lnTo>
                    <a:lnTo>
                      <a:pt x="182" y="213"/>
                    </a:lnTo>
                    <a:lnTo>
                      <a:pt x="182" y="213"/>
                    </a:lnTo>
                    <a:lnTo>
                      <a:pt x="182" y="213"/>
                    </a:lnTo>
                    <a:lnTo>
                      <a:pt x="180" y="211"/>
                    </a:lnTo>
                    <a:lnTo>
                      <a:pt x="177" y="211"/>
                    </a:lnTo>
                    <a:lnTo>
                      <a:pt x="177" y="211"/>
                    </a:lnTo>
                    <a:lnTo>
                      <a:pt x="175" y="213"/>
                    </a:lnTo>
                    <a:lnTo>
                      <a:pt x="175" y="213"/>
                    </a:lnTo>
                    <a:lnTo>
                      <a:pt x="173" y="215"/>
                    </a:lnTo>
                    <a:lnTo>
                      <a:pt x="173" y="215"/>
                    </a:lnTo>
                    <a:lnTo>
                      <a:pt x="173" y="218"/>
                    </a:lnTo>
                    <a:lnTo>
                      <a:pt x="173" y="218"/>
                    </a:lnTo>
                    <a:lnTo>
                      <a:pt x="173" y="218"/>
                    </a:lnTo>
                    <a:lnTo>
                      <a:pt x="175" y="218"/>
                    </a:lnTo>
                    <a:close/>
                    <a:moveTo>
                      <a:pt x="130" y="211"/>
                    </a:moveTo>
                    <a:lnTo>
                      <a:pt x="130" y="211"/>
                    </a:lnTo>
                    <a:lnTo>
                      <a:pt x="128" y="211"/>
                    </a:lnTo>
                    <a:lnTo>
                      <a:pt x="125" y="215"/>
                    </a:lnTo>
                    <a:lnTo>
                      <a:pt x="125" y="215"/>
                    </a:lnTo>
                    <a:lnTo>
                      <a:pt x="125" y="215"/>
                    </a:lnTo>
                    <a:lnTo>
                      <a:pt x="125" y="218"/>
                    </a:lnTo>
                    <a:lnTo>
                      <a:pt x="130" y="218"/>
                    </a:lnTo>
                    <a:lnTo>
                      <a:pt x="135" y="218"/>
                    </a:lnTo>
                    <a:lnTo>
                      <a:pt x="135" y="218"/>
                    </a:lnTo>
                    <a:lnTo>
                      <a:pt x="137" y="218"/>
                    </a:lnTo>
                    <a:lnTo>
                      <a:pt x="137" y="218"/>
                    </a:lnTo>
                    <a:lnTo>
                      <a:pt x="137" y="218"/>
                    </a:lnTo>
                    <a:lnTo>
                      <a:pt x="140" y="218"/>
                    </a:lnTo>
                    <a:lnTo>
                      <a:pt x="140" y="220"/>
                    </a:lnTo>
                    <a:lnTo>
                      <a:pt x="135" y="220"/>
                    </a:lnTo>
                    <a:lnTo>
                      <a:pt x="135" y="220"/>
                    </a:lnTo>
                    <a:lnTo>
                      <a:pt x="132" y="220"/>
                    </a:lnTo>
                    <a:lnTo>
                      <a:pt x="132" y="220"/>
                    </a:lnTo>
                    <a:lnTo>
                      <a:pt x="132" y="220"/>
                    </a:lnTo>
                    <a:lnTo>
                      <a:pt x="132" y="223"/>
                    </a:lnTo>
                    <a:lnTo>
                      <a:pt x="135" y="223"/>
                    </a:lnTo>
                    <a:lnTo>
                      <a:pt x="135" y="223"/>
                    </a:lnTo>
                    <a:lnTo>
                      <a:pt x="135" y="223"/>
                    </a:lnTo>
                    <a:lnTo>
                      <a:pt x="137" y="223"/>
                    </a:lnTo>
                    <a:lnTo>
                      <a:pt x="147" y="223"/>
                    </a:lnTo>
                    <a:lnTo>
                      <a:pt x="149" y="220"/>
                    </a:lnTo>
                    <a:lnTo>
                      <a:pt x="161" y="220"/>
                    </a:lnTo>
                    <a:lnTo>
                      <a:pt x="163" y="218"/>
                    </a:lnTo>
                    <a:lnTo>
                      <a:pt x="163" y="218"/>
                    </a:lnTo>
                    <a:lnTo>
                      <a:pt x="166" y="215"/>
                    </a:lnTo>
                    <a:lnTo>
                      <a:pt x="163" y="215"/>
                    </a:lnTo>
                    <a:lnTo>
                      <a:pt x="163" y="215"/>
                    </a:lnTo>
                    <a:lnTo>
                      <a:pt x="163" y="215"/>
                    </a:lnTo>
                    <a:lnTo>
                      <a:pt x="166" y="215"/>
                    </a:lnTo>
                    <a:lnTo>
                      <a:pt x="166" y="215"/>
                    </a:lnTo>
                    <a:lnTo>
                      <a:pt x="166" y="213"/>
                    </a:lnTo>
                    <a:lnTo>
                      <a:pt x="163" y="213"/>
                    </a:lnTo>
                    <a:lnTo>
                      <a:pt x="161" y="213"/>
                    </a:lnTo>
                    <a:lnTo>
                      <a:pt x="156" y="211"/>
                    </a:lnTo>
                    <a:lnTo>
                      <a:pt x="154" y="208"/>
                    </a:lnTo>
                    <a:lnTo>
                      <a:pt x="151" y="206"/>
                    </a:lnTo>
                    <a:lnTo>
                      <a:pt x="151" y="206"/>
                    </a:lnTo>
                    <a:lnTo>
                      <a:pt x="142" y="204"/>
                    </a:lnTo>
                    <a:lnTo>
                      <a:pt x="140" y="204"/>
                    </a:lnTo>
                    <a:lnTo>
                      <a:pt x="132" y="206"/>
                    </a:lnTo>
                    <a:lnTo>
                      <a:pt x="132" y="206"/>
                    </a:lnTo>
                    <a:lnTo>
                      <a:pt x="130" y="206"/>
                    </a:lnTo>
                    <a:lnTo>
                      <a:pt x="130" y="206"/>
                    </a:lnTo>
                    <a:lnTo>
                      <a:pt x="130" y="208"/>
                    </a:lnTo>
                    <a:lnTo>
                      <a:pt x="130" y="208"/>
                    </a:lnTo>
                    <a:lnTo>
                      <a:pt x="130" y="208"/>
                    </a:lnTo>
                    <a:lnTo>
                      <a:pt x="132" y="211"/>
                    </a:lnTo>
                    <a:lnTo>
                      <a:pt x="135" y="211"/>
                    </a:lnTo>
                    <a:lnTo>
                      <a:pt x="135" y="211"/>
                    </a:lnTo>
                    <a:lnTo>
                      <a:pt x="130" y="211"/>
                    </a:lnTo>
                    <a:close/>
                    <a:moveTo>
                      <a:pt x="180" y="194"/>
                    </a:moveTo>
                    <a:lnTo>
                      <a:pt x="180" y="194"/>
                    </a:lnTo>
                    <a:lnTo>
                      <a:pt x="180" y="194"/>
                    </a:lnTo>
                    <a:lnTo>
                      <a:pt x="180" y="194"/>
                    </a:lnTo>
                    <a:lnTo>
                      <a:pt x="177" y="192"/>
                    </a:lnTo>
                    <a:lnTo>
                      <a:pt x="175" y="194"/>
                    </a:lnTo>
                    <a:lnTo>
                      <a:pt x="175" y="194"/>
                    </a:lnTo>
                    <a:lnTo>
                      <a:pt x="175" y="194"/>
                    </a:lnTo>
                    <a:lnTo>
                      <a:pt x="175" y="194"/>
                    </a:lnTo>
                    <a:lnTo>
                      <a:pt x="177" y="194"/>
                    </a:lnTo>
                    <a:lnTo>
                      <a:pt x="180" y="194"/>
                    </a:lnTo>
                    <a:close/>
                    <a:moveTo>
                      <a:pt x="527" y="197"/>
                    </a:moveTo>
                    <a:lnTo>
                      <a:pt x="527" y="197"/>
                    </a:lnTo>
                    <a:lnTo>
                      <a:pt x="530" y="194"/>
                    </a:lnTo>
                    <a:lnTo>
                      <a:pt x="527" y="194"/>
                    </a:lnTo>
                    <a:lnTo>
                      <a:pt x="527" y="194"/>
                    </a:lnTo>
                    <a:lnTo>
                      <a:pt x="527" y="192"/>
                    </a:lnTo>
                    <a:lnTo>
                      <a:pt x="525" y="192"/>
                    </a:lnTo>
                    <a:lnTo>
                      <a:pt x="525" y="192"/>
                    </a:lnTo>
                    <a:lnTo>
                      <a:pt x="525" y="192"/>
                    </a:lnTo>
                    <a:lnTo>
                      <a:pt x="516" y="194"/>
                    </a:lnTo>
                    <a:lnTo>
                      <a:pt x="513" y="194"/>
                    </a:lnTo>
                    <a:lnTo>
                      <a:pt x="509" y="194"/>
                    </a:lnTo>
                    <a:lnTo>
                      <a:pt x="504" y="194"/>
                    </a:lnTo>
                    <a:lnTo>
                      <a:pt x="501" y="194"/>
                    </a:lnTo>
                    <a:lnTo>
                      <a:pt x="499" y="194"/>
                    </a:lnTo>
                    <a:lnTo>
                      <a:pt x="499" y="194"/>
                    </a:lnTo>
                    <a:lnTo>
                      <a:pt x="497" y="197"/>
                    </a:lnTo>
                    <a:lnTo>
                      <a:pt x="497" y="197"/>
                    </a:lnTo>
                    <a:lnTo>
                      <a:pt x="494" y="199"/>
                    </a:lnTo>
                    <a:lnTo>
                      <a:pt x="494" y="199"/>
                    </a:lnTo>
                    <a:lnTo>
                      <a:pt x="492" y="199"/>
                    </a:lnTo>
                    <a:lnTo>
                      <a:pt x="492" y="201"/>
                    </a:lnTo>
                    <a:lnTo>
                      <a:pt x="492" y="201"/>
                    </a:lnTo>
                    <a:lnTo>
                      <a:pt x="492" y="201"/>
                    </a:lnTo>
                    <a:lnTo>
                      <a:pt x="492" y="201"/>
                    </a:lnTo>
                    <a:lnTo>
                      <a:pt x="497" y="201"/>
                    </a:lnTo>
                    <a:lnTo>
                      <a:pt x="504" y="201"/>
                    </a:lnTo>
                    <a:lnTo>
                      <a:pt x="511" y="201"/>
                    </a:lnTo>
                    <a:lnTo>
                      <a:pt x="513" y="201"/>
                    </a:lnTo>
                    <a:lnTo>
                      <a:pt x="516" y="201"/>
                    </a:lnTo>
                    <a:lnTo>
                      <a:pt x="516" y="201"/>
                    </a:lnTo>
                    <a:lnTo>
                      <a:pt x="518" y="201"/>
                    </a:lnTo>
                    <a:lnTo>
                      <a:pt x="520" y="199"/>
                    </a:lnTo>
                    <a:lnTo>
                      <a:pt x="523" y="199"/>
                    </a:lnTo>
                    <a:lnTo>
                      <a:pt x="527" y="199"/>
                    </a:lnTo>
                    <a:lnTo>
                      <a:pt x="527" y="199"/>
                    </a:lnTo>
                    <a:lnTo>
                      <a:pt x="527" y="197"/>
                    </a:lnTo>
                    <a:lnTo>
                      <a:pt x="527" y="197"/>
                    </a:lnTo>
                    <a:lnTo>
                      <a:pt x="527" y="197"/>
                    </a:lnTo>
                    <a:lnTo>
                      <a:pt x="527" y="197"/>
                    </a:lnTo>
                    <a:lnTo>
                      <a:pt x="527" y="197"/>
                    </a:lnTo>
                    <a:close/>
                    <a:moveTo>
                      <a:pt x="156" y="192"/>
                    </a:moveTo>
                    <a:lnTo>
                      <a:pt x="156" y="192"/>
                    </a:lnTo>
                    <a:lnTo>
                      <a:pt x="158" y="192"/>
                    </a:lnTo>
                    <a:lnTo>
                      <a:pt x="158" y="192"/>
                    </a:lnTo>
                    <a:lnTo>
                      <a:pt x="158" y="189"/>
                    </a:lnTo>
                    <a:lnTo>
                      <a:pt x="158" y="189"/>
                    </a:lnTo>
                    <a:lnTo>
                      <a:pt x="161" y="189"/>
                    </a:lnTo>
                    <a:lnTo>
                      <a:pt x="158" y="187"/>
                    </a:lnTo>
                    <a:lnTo>
                      <a:pt x="158" y="187"/>
                    </a:lnTo>
                    <a:lnTo>
                      <a:pt x="158" y="187"/>
                    </a:lnTo>
                    <a:lnTo>
                      <a:pt x="154" y="189"/>
                    </a:lnTo>
                    <a:lnTo>
                      <a:pt x="154" y="189"/>
                    </a:lnTo>
                    <a:lnTo>
                      <a:pt x="151" y="189"/>
                    </a:lnTo>
                    <a:lnTo>
                      <a:pt x="151" y="192"/>
                    </a:lnTo>
                    <a:lnTo>
                      <a:pt x="154" y="192"/>
                    </a:lnTo>
                    <a:lnTo>
                      <a:pt x="156" y="192"/>
                    </a:lnTo>
                    <a:close/>
                    <a:moveTo>
                      <a:pt x="144" y="166"/>
                    </a:moveTo>
                    <a:lnTo>
                      <a:pt x="147" y="166"/>
                    </a:lnTo>
                    <a:lnTo>
                      <a:pt x="147" y="166"/>
                    </a:lnTo>
                    <a:lnTo>
                      <a:pt x="147" y="166"/>
                    </a:lnTo>
                    <a:lnTo>
                      <a:pt x="147" y="166"/>
                    </a:lnTo>
                    <a:lnTo>
                      <a:pt x="151" y="163"/>
                    </a:lnTo>
                    <a:lnTo>
                      <a:pt x="154" y="163"/>
                    </a:lnTo>
                    <a:lnTo>
                      <a:pt x="156" y="161"/>
                    </a:lnTo>
                    <a:lnTo>
                      <a:pt x="156" y="161"/>
                    </a:lnTo>
                    <a:lnTo>
                      <a:pt x="154" y="161"/>
                    </a:lnTo>
                    <a:lnTo>
                      <a:pt x="154" y="161"/>
                    </a:lnTo>
                    <a:lnTo>
                      <a:pt x="151" y="161"/>
                    </a:lnTo>
                    <a:lnTo>
                      <a:pt x="149" y="161"/>
                    </a:lnTo>
                    <a:lnTo>
                      <a:pt x="149" y="161"/>
                    </a:lnTo>
                    <a:lnTo>
                      <a:pt x="149" y="161"/>
                    </a:lnTo>
                    <a:lnTo>
                      <a:pt x="144" y="161"/>
                    </a:lnTo>
                    <a:lnTo>
                      <a:pt x="142" y="163"/>
                    </a:lnTo>
                    <a:lnTo>
                      <a:pt x="140" y="163"/>
                    </a:lnTo>
                    <a:lnTo>
                      <a:pt x="140" y="163"/>
                    </a:lnTo>
                    <a:lnTo>
                      <a:pt x="142" y="163"/>
                    </a:lnTo>
                    <a:lnTo>
                      <a:pt x="144" y="163"/>
                    </a:lnTo>
                    <a:lnTo>
                      <a:pt x="144" y="163"/>
                    </a:lnTo>
                    <a:lnTo>
                      <a:pt x="144" y="163"/>
                    </a:lnTo>
                    <a:lnTo>
                      <a:pt x="144" y="163"/>
                    </a:lnTo>
                    <a:lnTo>
                      <a:pt x="144" y="166"/>
                    </a:lnTo>
                    <a:close/>
                    <a:moveTo>
                      <a:pt x="650" y="123"/>
                    </a:moveTo>
                    <a:lnTo>
                      <a:pt x="650" y="121"/>
                    </a:lnTo>
                    <a:lnTo>
                      <a:pt x="650" y="121"/>
                    </a:lnTo>
                    <a:lnTo>
                      <a:pt x="650" y="118"/>
                    </a:lnTo>
                    <a:lnTo>
                      <a:pt x="646" y="118"/>
                    </a:lnTo>
                    <a:lnTo>
                      <a:pt x="643" y="118"/>
                    </a:lnTo>
                    <a:lnTo>
                      <a:pt x="641" y="118"/>
                    </a:lnTo>
                    <a:lnTo>
                      <a:pt x="639" y="118"/>
                    </a:lnTo>
                    <a:lnTo>
                      <a:pt x="636" y="121"/>
                    </a:lnTo>
                    <a:lnTo>
                      <a:pt x="636" y="123"/>
                    </a:lnTo>
                    <a:lnTo>
                      <a:pt x="639" y="126"/>
                    </a:lnTo>
                    <a:lnTo>
                      <a:pt x="643" y="126"/>
                    </a:lnTo>
                    <a:lnTo>
                      <a:pt x="653" y="126"/>
                    </a:lnTo>
                    <a:lnTo>
                      <a:pt x="655" y="123"/>
                    </a:lnTo>
                    <a:lnTo>
                      <a:pt x="655" y="123"/>
                    </a:lnTo>
                    <a:lnTo>
                      <a:pt x="650" y="123"/>
                    </a:lnTo>
                    <a:close/>
                    <a:moveTo>
                      <a:pt x="646" y="107"/>
                    </a:moveTo>
                    <a:lnTo>
                      <a:pt x="648" y="102"/>
                    </a:lnTo>
                    <a:lnTo>
                      <a:pt x="648" y="97"/>
                    </a:lnTo>
                    <a:lnTo>
                      <a:pt x="646" y="97"/>
                    </a:lnTo>
                    <a:lnTo>
                      <a:pt x="643" y="97"/>
                    </a:lnTo>
                    <a:lnTo>
                      <a:pt x="643" y="99"/>
                    </a:lnTo>
                    <a:lnTo>
                      <a:pt x="641" y="102"/>
                    </a:lnTo>
                    <a:lnTo>
                      <a:pt x="643" y="109"/>
                    </a:lnTo>
                    <a:lnTo>
                      <a:pt x="646" y="107"/>
                    </a:lnTo>
                    <a:close/>
                    <a:moveTo>
                      <a:pt x="14" y="85"/>
                    </a:moveTo>
                    <a:lnTo>
                      <a:pt x="12" y="85"/>
                    </a:lnTo>
                    <a:lnTo>
                      <a:pt x="12" y="85"/>
                    </a:lnTo>
                    <a:lnTo>
                      <a:pt x="7" y="85"/>
                    </a:lnTo>
                    <a:lnTo>
                      <a:pt x="7" y="85"/>
                    </a:lnTo>
                    <a:lnTo>
                      <a:pt x="5" y="85"/>
                    </a:lnTo>
                    <a:lnTo>
                      <a:pt x="2" y="85"/>
                    </a:lnTo>
                    <a:lnTo>
                      <a:pt x="2" y="85"/>
                    </a:lnTo>
                    <a:lnTo>
                      <a:pt x="0" y="85"/>
                    </a:lnTo>
                    <a:lnTo>
                      <a:pt x="2" y="88"/>
                    </a:lnTo>
                    <a:lnTo>
                      <a:pt x="5" y="88"/>
                    </a:lnTo>
                    <a:lnTo>
                      <a:pt x="9" y="88"/>
                    </a:lnTo>
                    <a:lnTo>
                      <a:pt x="12" y="88"/>
                    </a:lnTo>
                    <a:lnTo>
                      <a:pt x="14" y="85"/>
                    </a:lnTo>
                    <a:close/>
                    <a:moveTo>
                      <a:pt x="665" y="78"/>
                    </a:moveTo>
                    <a:lnTo>
                      <a:pt x="665" y="78"/>
                    </a:lnTo>
                    <a:lnTo>
                      <a:pt x="660" y="81"/>
                    </a:lnTo>
                    <a:lnTo>
                      <a:pt x="660" y="81"/>
                    </a:lnTo>
                    <a:lnTo>
                      <a:pt x="660" y="83"/>
                    </a:lnTo>
                    <a:lnTo>
                      <a:pt x="662" y="83"/>
                    </a:lnTo>
                    <a:lnTo>
                      <a:pt x="665" y="81"/>
                    </a:lnTo>
                    <a:lnTo>
                      <a:pt x="667" y="81"/>
                    </a:lnTo>
                    <a:lnTo>
                      <a:pt x="667" y="78"/>
                    </a:lnTo>
                    <a:lnTo>
                      <a:pt x="665" y="78"/>
                    </a:lnTo>
                    <a:close/>
                    <a:moveTo>
                      <a:pt x="655" y="71"/>
                    </a:moveTo>
                    <a:lnTo>
                      <a:pt x="655" y="69"/>
                    </a:lnTo>
                    <a:lnTo>
                      <a:pt x="653" y="71"/>
                    </a:lnTo>
                    <a:lnTo>
                      <a:pt x="650" y="71"/>
                    </a:lnTo>
                    <a:lnTo>
                      <a:pt x="650" y="73"/>
                    </a:lnTo>
                    <a:lnTo>
                      <a:pt x="650" y="76"/>
                    </a:lnTo>
                    <a:lnTo>
                      <a:pt x="650" y="78"/>
                    </a:lnTo>
                    <a:lnTo>
                      <a:pt x="653" y="76"/>
                    </a:lnTo>
                    <a:lnTo>
                      <a:pt x="655" y="76"/>
                    </a:lnTo>
                    <a:lnTo>
                      <a:pt x="653" y="73"/>
                    </a:lnTo>
                    <a:lnTo>
                      <a:pt x="655" y="71"/>
                    </a:lnTo>
                    <a:lnTo>
                      <a:pt x="655" y="71"/>
                    </a:lnTo>
                    <a:close/>
                    <a:moveTo>
                      <a:pt x="677" y="45"/>
                    </a:moveTo>
                    <a:lnTo>
                      <a:pt x="669" y="47"/>
                    </a:lnTo>
                    <a:lnTo>
                      <a:pt x="665" y="47"/>
                    </a:lnTo>
                    <a:lnTo>
                      <a:pt x="662" y="50"/>
                    </a:lnTo>
                    <a:lnTo>
                      <a:pt x="662" y="50"/>
                    </a:lnTo>
                    <a:lnTo>
                      <a:pt x="667" y="50"/>
                    </a:lnTo>
                    <a:lnTo>
                      <a:pt x="674" y="50"/>
                    </a:lnTo>
                    <a:lnTo>
                      <a:pt x="679" y="50"/>
                    </a:lnTo>
                    <a:lnTo>
                      <a:pt x="681" y="47"/>
                    </a:lnTo>
                    <a:lnTo>
                      <a:pt x="681" y="45"/>
                    </a:lnTo>
                    <a:lnTo>
                      <a:pt x="677" y="45"/>
                    </a:lnTo>
                    <a:close/>
                    <a:moveTo>
                      <a:pt x="674" y="21"/>
                    </a:moveTo>
                    <a:lnTo>
                      <a:pt x="677" y="21"/>
                    </a:lnTo>
                    <a:lnTo>
                      <a:pt x="679" y="21"/>
                    </a:lnTo>
                    <a:lnTo>
                      <a:pt x="677" y="19"/>
                    </a:lnTo>
                    <a:lnTo>
                      <a:pt x="674" y="19"/>
                    </a:lnTo>
                    <a:lnTo>
                      <a:pt x="672" y="17"/>
                    </a:lnTo>
                    <a:lnTo>
                      <a:pt x="669" y="17"/>
                    </a:lnTo>
                    <a:lnTo>
                      <a:pt x="669" y="19"/>
                    </a:lnTo>
                    <a:lnTo>
                      <a:pt x="669" y="19"/>
                    </a:lnTo>
                    <a:lnTo>
                      <a:pt x="672" y="21"/>
                    </a:lnTo>
                    <a:lnTo>
                      <a:pt x="674" y="21"/>
                    </a:lnTo>
                    <a:close/>
                    <a:moveTo>
                      <a:pt x="374" y="17"/>
                    </a:moveTo>
                    <a:lnTo>
                      <a:pt x="381" y="17"/>
                    </a:lnTo>
                    <a:lnTo>
                      <a:pt x="383" y="19"/>
                    </a:lnTo>
                    <a:lnTo>
                      <a:pt x="386" y="19"/>
                    </a:lnTo>
                    <a:lnTo>
                      <a:pt x="388" y="17"/>
                    </a:lnTo>
                    <a:lnTo>
                      <a:pt x="390" y="14"/>
                    </a:lnTo>
                    <a:lnTo>
                      <a:pt x="390" y="14"/>
                    </a:lnTo>
                    <a:lnTo>
                      <a:pt x="386" y="12"/>
                    </a:lnTo>
                    <a:lnTo>
                      <a:pt x="376" y="9"/>
                    </a:lnTo>
                    <a:lnTo>
                      <a:pt x="371" y="12"/>
                    </a:lnTo>
                    <a:lnTo>
                      <a:pt x="364" y="12"/>
                    </a:lnTo>
                    <a:lnTo>
                      <a:pt x="364" y="12"/>
                    </a:lnTo>
                    <a:lnTo>
                      <a:pt x="364" y="12"/>
                    </a:lnTo>
                    <a:lnTo>
                      <a:pt x="369" y="14"/>
                    </a:lnTo>
                    <a:lnTo>
                      <a:pt x="374" y="17"/>
                    </a:lnTo>
                    <a:close/>
                    <a:moveTo>
                      <a:pt x="757" y="26"/>
                    </a:moveTo>
                    <a:lnTo>
                      <a:pt x="755" y="24"/>
                    </a:lnTo>
                    <a:lnTo>
                      <a:pt x="750" y="24"/>
                    </a:lnTo>
                    <a:lnTo>
                      <a:pt x="747" y="24"/>
                    </a:lnTo>
                    <a:lnTo>
                      <a:pt x="743" y="24"/>
                    </a:lnTo>
                    <a:lnTo>
                      <a:pt x="733" y="21"/>
                    </a:lnTo>
                    <a:lnTo>
                      <a:pt x="729" y="21"/>
                    </a:lnTo>
                    <a:lnTo>
                      <a:pt x="717" y="21"/>
                    </a:lnTo>
                    <a:lnTo>
                      <a:pt x="714" y="21"/>
                    </a:lnTo>
                    <a:lnTo>
                      <a:pt x="712" y="21"/>
                    </a:lnTo>
                    <a:lnTo>
                      <a:pt x="707" y="21"/>
                    </a:lnTo>
                    <a:lnTo>
                      <a:pt x="707" y="21"/>
                    </a:lnTo>
                    <a:lnTo>
                      <a:pt x="705" y="21"/>
                    </a:lnTo>
                    <a:lnTo>
                      <a:pt x="703" y="24"/>
                    </a:lnTo>
                    <a:lnTo>
                      <a:pt x="700" y="24"/>
                    </a:lnTo>
                    <a:lnTo>
                      <a:pt x="695" y="26"/>
                    </a:lnTo>
                    <a:lnTo>
                      <a:pt x="693" y="26"/>
                    </a:lnTo>
                    <a:lnTo>
                      <a:pt x="693" y="26"/>
                    </a:lnTo>
                    <a:lnTo>
                      <a:pt x="688" y="26"/>
                    </a:lnTo>
                    <a:lnTo>
                      <a:pt x="686" y="26"/>
                    </a:lnTo>
                    <a:lnTo>
                      <a:pt x="684" y="26"/>
                    </a:lnTo>
                    <a:lnTo>
                      <a:pt x="681" y="26"/>
                    </a:lnTo>
                    <a:lnTo>
                      <a:pt x="679" y="26"/>
                    </a:lnTo>
                    <a:lnTo>
                      <a:pt x="677" y="26"/>
                    </a:lnTo>
                    <a:lnTo>
                      <a:pt x="672" y="26"/>
                    </a:lnTo>
                    <a:lnTo>
                      <a:pt x="672" y="24"/>
                    </a:lnTo>
                    <a:lnTo>
                      <a:pt x="667" y="24"/>
                    </a:lnTo>
                    <a:lnTo>
                      <a:pt x="662" y="26"/>
                    </a:lnTo>
                    <a:lnTo>
                      <a:pt x="650" y="28"/>
                    </a:lnTo>
                    <a:lnTo>
                      <a:pt x="650" y="28"/>
                    </a:lnTo>
                    <a:lnTo>
                      <a:pt x="646" y="28"/>
                    </a:lnTo>
                    <a:lnTo>
                      <a:pt x="643" y="31"/>
                    </a:lnTo>
                    <a:lnTo>
                      <a:pt x="636" y="31"/>
                    </a:lnTo>
                    <a:lnTo>
                      <a:pt x="634" y="33"/>
                    </a:lnTo>
                    <a:lnTo>
                      <a:pt x="624" y="33"/>
                    </a:lnTo>
                    <a:lnTo>
                      <a:pt x="624" y="33"/>
                    </a:lnTo>
                    <a:lnTo>
                      <a:pt x="624" y="36"/>
                    </a:lnTo>
                    <a:lnTo>
                      <a:pt x="622" y="36"/>
                    </a:lnTo>
                    <a:lnTo>
                      <a:pt x="620" y="36"/>
                    </a:lnTo>
                    <a:lnTo>
                      <a:pt x="620" y="36"/>
                    </a:lnTo>
                    <a:lnTo>
                      <a:pt x="622" y="33"/>
                    </a:lnTo>
                    <a:lnTo>
                      <a:pt x="629" y="31"/>
                    </a:lnTo>
                    <a:lnTo>
                      <a:pt x="632" y="31"/>
                    </a:lnTo>
                    <a:lnTo>
                      <a:pt x="639" y="28"/>
                    </a:lnTo>
                    <a:lnTo>
                      <a:pt x="641" y="28"/>
                    </a:lnTo>
                    <a:lnTo>
                      <a:pt x="643" y="26"/>
                    </a:lnTo>
                    <a:lnTo>
                      <a:pt x="648" y="24"/>
                    </a:lnTo>
                    <a:lnTo>
                      <a:pt x="650" y="24"/>
                    </a:lnTo>
                    <a:lnTo>
                      <a:pt x="650" y="21"/>
                    </a:lnTo>
                    <a:lnTo>
                      <a:pt x="650" y="21"/>
                    </a:lnTo>
                    <a:lnTo>
                      <a:pt x="650" y="19"/>
                    </a:lnTo>
                    <a:lnTo>
                      <a:pt x="650" y="19"/>
                    </a:lnTo>
                    <a:lnTo>
                      <a:pt x="650" y="19"/>
                    </a:lnTo>
                    <a:lnTo>
                      <a:pt x="646" y="19"/>
                    </a:lnTo>
                    <a:lnTo>
                      <a:pt x="636" y="19"/>
                    </a:lnTo>
                    <a:lnTo>
                      <a:pt x="632" y="19"/>
                    </a:lnTo>
                    <a:lnTo>
                      <a:pt x="629" y="19"/>
                    </a:lnTo>
                    <a:lnTo>
                      <a:pt x="629" y="19"/>
                    </a:lnTo>
                    <a:lnTo>
                      <a:pt x="627" y="19"/>
                    </a:lnTo>
                    <a:lnTo>
                      <a:pt x="627" y="21"/>
                    </a:lnTo>
                    <a:lnTo>
                      <a:pt x="624" y="21"/>
                    </a:lnTo>
                    <a:lnTo>
                      <a:pt x="624" y="21"/>
                    </a:lnTo>
                    <a:lnTo>
                      <a:pt x="622" y="24"/>
                    </a:lnTo>
                    <a:lnTo>
                      <a:pt x="615" y="24"/>
                    </a:lnTo>
                    <a:lnTo>
                      <a:pt x="613" y="21"/>
                    </a:lnTo>
                    <a:lnTo>
                      <a:pt x="606" y="19"/>
                    </a:lnTo>
                    <a:lnTo>
                      <a:pt x="587" y="19"/>
                    </a:lnTo>
                    <a:lnTo>
                      <a:pt x="577" y="19"/>
                    </a:lnTo>
                    <a:lnTo>
                      <a:pt x="563" y="19"/>
                    </a:lnTo>
                    <a:lnTo>
                      <a:pt x="556" y="19"/>
                    </a:lnTo>
                    <a:lnTo>
                      <a:pt x="554" y="19"/>
                    </a:lnTo>
                    <a:lnTo>
                      <a:pt x="554" y="19"/>
                    </a:lnTo>
                    <a:lnTo>
                      <a:pt x="556" y="17"/>
                    </a:lnTo>
                    <a:lnTo>
                      <a:pt x="558" y="17"/>
                    </a:lnTo>
                    <a:lnTo>
                      <a:pt x="622" y="17"/>
                    </a:lnTo>
                    <a:lnTo>
                      <a:pt x="632" y="14"/>
                    </a:lnTo>
                    <a:lnTo>
                      <a:pt x="639" y="14"/>
                    </a:lnTo>
                    <a:lnTo>
                      <a:pt x="646" y="14"/>
                    </a:lnTo>
                    <a:lnTo>
                      <a:pt x="650" y="12"/>
                    </a:lnTo>
                    <a:lnTo>
                      <a:pt x="650" y="12"/>
                    </a:lnTo>
                    <a:lnTo>
                      <a:pt x="650" y="12"/>
                    </a:lnTo>
                    <a:lnTo>
                      <a:pt x="648" y="9"/>
                    </a:lnTo>
                    <a:lnTo>
                      <a:pt x="648" y="9"/>
                    </a:lnTo>
                    <a:lnTo>
                      <a:pt x="641" y="9"/>
                    </a:lnTo>
                    <a:lnTo>
                      <a:pt x="632" y="9"/>
                    </a:lnTo>
                    <a:lnTo>
                      <a:pt x="627" y="9"/>
                    </a:lnTo>
                    <a:lnTo>
                      <a:pt x="627" y="9"/>
                    </a:lnTo>
                    <a:lnTo>
                      <a:pt x="627" y="7"/>
                    </a:lnTo>
                    <a:lnTo>
                      <a:pt x="622" y="7"/>
                    </a:lnTo>
                    <a:lnTo>
                      <a:pt x="620" y="7"/>
                    </a:lnTo>
                    <a:lnTo>
                      <a:pt x="617" y="7"/>
                    </a:lnTo>
                    <a:lnTo>
                      <a:pt x="615" y="5"/>
                    </a:lnTo>
                    <a:lnTo>
                      <a:pt x="603" y="5"/>
                    </a:lnTo>
                    <a:lnTo>
                      <a:pt x="594" y="5"/>
                    </a:lnTo>
                    <a:lnTo>
                      <a:pt x="584" y="5"/>
                    </a:lnTo>
                    <a:lnTo>
                      <a:pt x="580" y="5"/>
                    </a:lnTo>
                    <a:lnTo>
                      <a:pt x="570" y="5"/>
                    </a:lnTo>
                    <a:lnTo>
                      <a:pt x="561" y="5"/>
                    </a:lnTo>
                    <a:lnTo>
                      <a:pt x="556" y="5"/>
                    </a:lnTo>
                    <a:lnTo>
                      <a:pt x="542" y="7"/>
                    </a:lnTo>
                    <a:lnTo>
                      <a:pt x="539" y="7"/>
                    </a:lnTo>
                    <a:lnTo>
                      <a:pt x="537" y="7"/>
                    </a:lnTo>
                    <a:lnTo>
                      <a:pt x="539" y="5"/>
                    </a:lnTo>
                    <a:lnTo>
                      <a:pt x="544" y="5"/>
                    </a:lnTo>
                    <a:lnTo>
                      <a:pt x="561" y="5"/>
                    </a:lnTo>
                    <a:lnTo>
                      <a:pt x="587" y="5"/>
                    </a:lnTo>
                    <a:lnTo>
                      <a:pt x="603" y="5"/>
                    </a:lnTo>
                    <a:lnTo>
                      <a:pt x="606" y="5"/>
                    </a:lnTo>
                    <a:lnTo>
                      <a:pt x="608" y="2"/>
                    </a:lnTo>
                    <a:lnTo>
                      <a:pt x="606" y="2"/>
                    </a:lnTo>
                    <a:lnTo>
                      <a:pt x="594" y="2"/>
                    </a:lnTo>
                    <a:lnTo>
                      <a:pt x="589" y="2"/>
                    </a:lnTo>
                    <a:lnTo>
                      <a:pt x="580" y="2"/>
                    </a:lnTo>
                    <a:lnTo>
                      <a:pt x="580" y="2"/>
                    </a:lnTo>
                    <a:lnTo>
                      <a:pt x="575" y="0"/>
                    </a:lnTo>
                    <a:lnTo>
                      <a:pt x="565" y="0"/>
                    </a:lnTo>
                    <a:lnTo>
                      <a:pt x="556" y="0"/>
                    </a:lnTo>
                    <a:lnTo>
                      <a:pt x="532" y="0"/>
                    </a:lnTo>
                    <a:lnTo>
                      <a:pt x="527" y="0"/>
                    </a:lnTo>
                    <a:lnTo>
                      <a:pt x="520" y="0"/>
                    </a:lnTo>
                    <a:lnTo>
                      <a:pt x="518" y="0"/>
                    </a:lnTo>
                    <a:lnTo>
                      <a:pt x="516" y="0"/>
                    </a:lnTo>
                    <a:lnTo>
                      <a:pt x="513" y="0"/>
                    </a:lnTo>
                    <a:lnTo>
                      <a:pt x="511" y="0"/>
                    </a:lnTo>
                    <a:lnTo>
                      <a:pt x="506" y="0"/>
                    </a:lnTo>
                    <a:lnTo>
                      <a:pt x="504" y="0"/>
                    </a:lnTo>
                    <a:lnTo>
                      <a:pt x="492" y="0"/>
                    </a:lnTo>
                    <a:lnTo>
                      <a:pt x="490" y="0"/>
                    </a:lnTo>
                    <a:lnTo>
                      <a:pt x="490" y="0"/>
                    </a:lnTo>
                    <a:lnTo>
                      <a:pt x="490" y="0"/>
                    </a:lnTo>
                    <a:lnTo>
                      <a:pt x="490" y="0"/>
                    </a:lnTo>
                    <a:lnTo>
                      <a:pt x="485" y="0"/>
                    </a:lnTo>
                    <a:lnTo>
                      <a:pt x="480" y="0"/>
                    </a:lnTo>
                    <a:lnTo>
                      <a:pt x="478" y="0"/>
                    </a:lnTo>
                    <a:lnTo>
                      <a:pt x="478" y="0"/>
                    </a:lnTo>
                    <a:lnTo>
                      <a:pt x="475" y="2"/>
                    </a:lnTo>
                    <a:lnTo>
                      <a:pt x="473" y="2"/>
                    </a:lnTo>
                    <a:lnTo>
                      <a:pt x="473" y="2"/>
                    </a:lnTo>
                    <a:lnTo>
                      <a:pt x="468" y="2"/>
                    </a:lnTo>
                    <a:lnTo>
                      <a:pt x="468" y="2"/>
                    </a:lnTo>
                    <a:lnTo>
                      <a:pt x="466" y="2"/>
                    </a:lnTo>
                    <a:lnTo>
                      <a:pt x="466" y="2"/>
                    </a:lnTo>
                    <a:lnTo>
                      <a:pt x="466" y="2"/>
                    </a:lnTo>
                    <a:lnTo>
                      <a:pt x="468" y="2"/>
                    </a:lnTo>
                    <a:lnTo>
                      <a:pt x="473" y="5"/>
                    </a:lnTo>
                    <a:lnTo>
                      <a:pt x="473" y="5"/>
                    </a:lnTo>
                    <a:lnTo>
                      <a:pt x="473" y="5"/>
                    </a:lnTo>
                    <a:lnTo>
                      <a:pt x="471" y="7"/>
                    </a:lnTo>
                    <a:lnTo>
                      <a:pt x="471" y="7"/>
                    </a:lnTo>
                    <a:lnTo>
                      <a:pt x="471" y="7"/>
                    </a:lnTo>
                    <a:lnTo>
                      <a:pt x="468" y="7"/>
                    </a:lnTo>
                    <a:lnTo>
                      <a:pt x="464" y="5"/>
                    </a:lnTo>
                    <a:lnTo>
                      <a:pt x="459" y="5"/>
                    </a:lnTo>
                    <a:lnTo>
                      <a:pt x="457" y="5"/>
                    </a:lnTo>
                    <a:lnTo>
                      <a:pt x="454" y="2"/>
                    </a:lnTo>
                    <a:lnTo>
                      <a:pt x="449" y="2"/>
                    </a:lnTo>
                    <a:lnTo>
                      <a:pt x="445" y="2"/>
                    </a:lnTo>
                    <a:lnTo>
                      <a:pt x="440" y="5"/>
                    </a:lnTo>
                    <a:lnTo>
                      <a:pt x="435" y="5"/>
                    </a:lnTo>
                    <a:lnTo>
                      <a:pt x="433" y="5"/>
                    </a:lnTo>
                    <a:lnTo>
                      <a:pt x="433" y="5"/>
                    </a:lnTo>
                    <a:lnTo>
                      <a:pt x="431" y="5"/>
                    </a:lnTo>
                    <a:lnTo>
                      <a:pt x="428" y="5"/>
                    </a:lnTo>
                    <a:lnTo>
                      <a:pt x="426" y="5"/>
                    </a:lnTo>
                    <a:lnTo>
                      <a:pt x="421" y="2"/>
                    </a:lnTo>
                    <a:lnTo>
                      <a:pt x="419" y="2"/>
                    </a:lnTo>
                    <a:lnTo>
                      <a:pt x="416" y="5"/>
                    </a:lnTo>
                    <a:lnTo>
                      <a:pt x="404" y="5"/>
                    </a:lnTo>
                    <a:lnTo>
                      <a:pt x="400" y="5"/>
                    </a:lnTo>
                    <a:lnTo>
                      <a:pt x="393" y="5"/>
                    </a:lnTo>
                    <a:lnTo>
                      <a:pt x="390" y="7"/>
                    </a:lnTo>
                    <a:lnTo>
                      <a:pt x="386" y="5"/>
                    </a:lnTo>
                    <a:lnTo>
                      <a:pt x="381" y="5"/>
                    </a:lnTo>
                    <a:lnTo>
                      <a:pt x="378" y="7"/>
                    </a:lnTo>
                    <a:lnTo>
                      <a:pt x="381" y="9"/>
                    </a:lnTo>
                    <a:lnTo>
                      <a:pt x="383" y="9"/>
                    </a:lnTo>
                    <a:lnTo>
                      <a:pt x="390" y="7"/>
                    </a:lnTo>
                    <a:lnTo>
                      <a:pt x="393" y="7"/>
                    </a:lnTo>
                    <a:lnTo>
                      <a:pt x="395" y="7"/>
                    </a:lnTo>
                    <a:lnTo>
                      <a:pt x="402" y="9"/>
                    </a:lnTo>
                    <a:lnTo>
                      <a:pt x="431" y="9"/>
                    </a:lnTo>
                    <a:lnTo>
                      <a:pt x="433" y="9"/>
                    </a:lnTo>
                    <a:lnTo>
                      <a:pt x="431" y="9"/>
                    </a:lnTo>
                    <a:lnTo>
                      <a:pt x="426" y="9"/>
                    </a:lnTo>
                    <a:lnTo>
                      <a:pt x="423" y="9"/>
                    </a:lnTo>
                    <a:lnTo>
                      <a:pt x="423" y="9"/>
                    </a:lnTo>
                    <a:lnTo>
                      <a:pt x="421" y="9"/>
                    </a:lnTo>
                    <a:lnTo>
                      <a:pt x="419" y="9"/>
                    </a:lnTo>
                    <a:lnTo>
                      <a:pt x="390" y="9"/>
                    </a:lnTo>
                    <a:lnTo>
                      <a:pt x="388" y="9"/>
                    </a:lnTo>
                    <a:lnTo>
                      <a:pt x="386" y="9"/>
                    </a:lnTo>
                    <a:lnTo>
                      <a:pt x="386" y="9"/>
                    </a:lnTo>
                    <a:lnTo>
                      <a:pt x="395" y="12"/>
                    </a:lnTo>
                    <a:lnTo>
                      <a:pt x="397" y="14"/>
                    </a:lnTo>
                    <a:lnTo>
                      <a:pt x="395" y="14"/>
                    </a:lnTo>
                    <a:lnTo>
                      <a:pt x="395" y="14"/>
                    </a:lnTo>
                    <a:lnTo>
                      <a:pt x="393" y="17"/>
                    </a:lnTo>
                    <a:lnTo>
                      <a:pt x="388" y="19"/>
                    </a:lnTo>
                    <a:lnTo>
                      <a:pt x="388" y="19"/>
                    </a:lnTo>
                    <a:lnTo>
                      <a:pt x="388" y="19"/>
                    </a:lnTo>
                    <a:lnTo>
                      <a:pt x="388" y="21"/>
                    </a:lnTo>
                    <a:lnTo>
                      <a:pt x="388" y="21"/>
                    </a:lnTo>
                    <a:lnTo>
                      <a:pt x="386" y="21"/>
                    </a:lnTo>
                    <a:lnTo>
                      <a:pt x="386" y="21"/>
                    </a:lnTo>
                    <a:lnTo>
                      <a:pt x="383" y="21"/>
                    </a:lnTo>
                    <a:lnTo>
                      <a:pt x="378" y="21"/>
                    </a:lnTo>
                    <a:lnTo>
                      <a:pt x="367" y="19"/>
                    </a:lnTo>
                    <a:lnTo>
                      <a:pt x="360" y="17"/>
                    </a:lnTo>
                    <a:lnTo>
                      <a:pt x="345" y="14"/>
                    </a:lnTo>
                    <a:lnTo>
                      <a:pt x="334" y="14"/>
                    </a:lnTo>
                    <a:lnTo>
                      <a:pt x="324" y="14"/>
                    </a:lnTo>
                    <a:lnTo>
                      <a:pt x="322" y="14"/>
                    </a:lnTo>
                    <a:lnTo>
                      <a:pt x="322" y="14"/>
                    </a:lnTo>
                    <a:lnTo>
                      <a:pt x="322" y="17"/>
                    </a:lnTo>
                    <a:lnTo>
                      <a:pt x="324" y="17"/>
                    </a:lnTo>
                    <a:lnTo>
                      <a:pt x="331" y="19"/>
                    </a:lnTo>
                    <a:lnTo>
                      <a:pt x="331" y="21"/>
                    </a:lnTo>
                    <a:lnTo>
                      <a:pt x="331" y="21"/>
                    </a:lnTo>
                    <a:lnTo>
                      <a:pt x="329" y="21"/>
                    </a:lnTo>
                    <a:lnTo>
                      <a:pt x="322" y="21"/>
                    </a:lnTo>
                    <a:lnTo>
                      <a:pt x="317" y="21"/>
                    </a:lnTo>
                    <a:lnTo>
                      <a:pt x="312" y="19"/>
                    </a:lnTo>
                    <a:lnTo>
                      <a:pt x="310" y="19"/>
                    </a:lnTo>
                    <a:lnTo>
                      <a:pt x="300" y="14"/>
                    </a:lnTo>
                    <a:lnTo>
                      <a:pt x="298" y="14"/>
                    </a:lnTo>
                    <a:lnTo>
                      <a:pt x="296" y="17"/>
                    </a:lnTo>
                    <a:lnTo>
                      <a:pt x="293" y="17"/>
                    </a:lnTo>
                    <a:lnTo>
                      <a:pt x="296" y="19"/>
                    </a:lnTo>
                    <a:lnTo>
                      <a:pt x="293" y="19"/>
                    </a:lnTo>
                    <a:lnTo>
                      <a:pt x="291" y="21"/>
                    </a:lnTo>
                    <a:lnTo>
                      <a:pt x="291" y="21"/>
                    </a:lnTo>
                    <a:lnTo>
                      <a:pt x="289" y="21"/>
                    </a:lnTo>
                    <a:lnTo>
                      <a:pt x="286" y="24"/>
                    </a:lnTo>
                    <a:lnTo>
                      <a:pt x="284" y="24"/>
                    </a:lnTo>
                    <a:lnTo>
                      <a:pt x="284" y="24"/>
                    </a:lnTo>
                    <a:lnTo>
                      <a:pt x="284" y="24"/>
                    </a:lnTo>
                    <a:lnTo>
                      <a:pt x="289" y="19"/>
                    </a:lnTo>
                    <a:lnTo>
                      <a:pt x="289" y="17"/>
                    </a:lnTo>
                    <a:lnTo>
                      <a:pt x="289" y="17"/>
                    </a:lnTo>
                    <a:lnTo>
                      <a:pt x="286" y="17"/>
                    </a:lnTo>
                    <a:lnTo>
                      <a:pt x="284" y="14"/>
                    </a:lnTo>
                    <a:lnTo>
                      <a:pt x="281" y="14"/>
                    </a:lnTo>
                    <a:lnTo>
                      <a:pt x="279" y="14"/>
                    </a:lnTo>
                    <a:lnTo>
                      <a:pt x="272" y="14"/>
                    </a:lnTo>
                    <a:lnTo>
                      <a:pt x="270" y="17"/>
                    </a:lnTo>
                    <a:lnTo>
                      <a:pt x="270" y="17"/>
                    </a:lnTo>
                    <a:lnTo>
                      <a:pt x="260" y="17"/>
                    </a:lnTo>
                    <a:lnTo>
                      <a:pt x="258" y="17"/>
                    </a:lnTo>
                    <a:lnTo>
                      <a:pt x="244" y="17"/>
                    </a:lnTo>
                    <a:lnTo>
                      <a:pt x="232" y="19"/>
                    </a:lnTo>
                    <a:lnTo>
                      <a:pt x="225" y="19"/>
                    </a:lnTo>
                    <a:lnTo>
                      <a:pt x="225" y="19"/>
                    </a:lnTo>
                    <a:lnTo>
                      <a:pt x="227" y="21"/>
                    </a:lnTo>
                    <a:lnTo>
                      <a:pt x="229" y="21"/>
                    </a:lnTo>
                    <a:lnTo>
                      <a:pt x="232" y="21"/>
                    </a:lnTo>
                    <a:lnTo>
                      <a:pt x="234" y="24"/>
                    </a:lnTo>
                    <a:lnTo>
                      <a:pt x="241" y="26"/>
                    </a:lnTo>
                    <a:lnTo>
                      <a:pt x="244" y="26"/>
                    </a:lnTo>
                    <a:lnTo>
                      <a:pt x="246" y="26"/>
                    </a:lnTo>
                    <a:lnTo>
                      <a:pt x="246" y="28"/>
                    </a:lnTo>
                    <a:lnTo>
                      <a:pt x="244" y="28"/>
                    </a:lnTo>
                    <a:lnTo>
                      <a:pt x="244" y="28"/>
                    </a:lnTo>
                    <a:lnTo>
                      <a:pt x="241" y="26"/>
                    </a:lnTo>
                    <a:lnTo>
                      <a:pt x="237" y="26"/>
                    </a:lnTo>
                    <a:lnTo>
                      <a:pt x="234" y="24"/>
                    </a:lnTo>
                    <a:lnTo>
                      <a:pt x="232" y="24"/>
                    </a:lnTo>
                    <a:lnTo>
                      <a:pt x="229" y="24"/>
                    </a:lnTo>
                    <a:lnTo>
                      <a:pt x="225" y="21"/>
                    </a:lnTo>
                    <a:lnTo>
                      <a:pt x="222" y="21"/>
                    </a:lnTo>
                    <a:lnTo>
                      <a:pt x="218" y="21"/>
                    </a:lnTo>
                    <a:lnTo>
                      <a:pt x="215" y="19"/>
                    </a:lnTo>
                    <a:lnTo>
                      <a:pt x="213" y="19"/>
                    </a:lnTo>
                    <a:lnTo>
                      <a:pt x="211" y="21"/>
                    </a:lnTo>
                    <a:lnTo>
                      <a:pt x="203" y="21"/>
                    </a:lnTo>
                    <a:lnTo>
                      <a:pt x="201" y="21"/>
                    </a:lnTo>
                    <a:lnTo>
                      <a:pt x="199" y="21"/>
                    </a:lnTo>
                    <a:lnTo>
                      <a:pt x="199" y="24"/>
                    </a:lnTo>
                    <a:lnTo>
                      <a:pt x="196" y="24"/>
                    </a:lnTo>
                    <a:lnTo>
                      <a:pt x="196" y="26"/>
                    </a:lnTo>
                    <a:lnTo>
                      <a:pt x="194" y="26"/>
                    </a:lnTo>
                    <a:lnTo>
                      <a:pt x="194" y="28"/>
                    </a:lnTo>
                    <a:lnTo>
                      <a:pt x="189" y="31"/>
                    </a:lnTo>
                    <a:lnTo>
                      <a:pt x="187" y="31"/>
                    </a:lnTo>
                    <a:lnTo>
                      <a:pt x="187" y="31"/>
                    </a:lnTo>
                    <a:lnTo>
                      <a:pt x="184" y="31"/>
                    </a:lnTo>
                    <a:lnTo>
                      <a:pt x="182" y="31"/>
                    </a:lnTo>
                    <a:lnTo>
                      <a:pt x="182" y="31"/>
                    </a:lnTo>
                    <a:lnTo>
                      <a:pt x="180" y="31"/>
                    </a:lnTo>
                    <a:lnTo>
                      <a:pt x="175" y="28"/>
                    </a:lnTo>
                    <a:lnTo>
                      <a:pt x="173" y="28"/>
                    </a:lnTo>
                    <a:lnTo>
                      <a:pt x="170" y="31"/>
                    </a:lnTo>
                    <a:lnTo>
                      <a:pt x="168" y="31"/>
                    </a:lnTo>
                    <a:lnTo>
                      <a:pt x="166" y="31"/>
                    </a:lnTo>
                    <a:lnTo>
                      <a:pt x="166" y="33"/>
                    </a:lnTo>
                    <a:lnTo>
                      <a:pt x="166" y="33"/>
                    </a:lnTo>
                    <a:lnTo>
                      <a:pt x="166" y="33"/>
                    </a:lnTo>
                    <a:lnTo>
                      <a:pt x="163" y="33"/>
                    </a:lnTo>
                    <a:lnTo>
                      <a:pt x="163" y="31"/>
                    </a:lnTo>
                    <a:lnTo>
                      <a:pt x="161" y="31"/>
                    </a:lnTo>
                    <a:lnTo>
                      <a:pt x="158" y="31"/>
                    </a:lnTo>
                    <a:lnTo>
                      <a:pt x="151" y="33"/>
                    </a:lnTo>
                    <a:lnTo>
                      <a:pt x="149" y="33"/>
                    </a:lnTo>
                    <a:lnTo>
                      <a:pt x="142" y="36"/>
                    </a:lnTo>
                    <a:lnTo>
                      <a:pt x="137" y="36"/>
                    </a:lnTo>
                    <a:lnTo>
                      <a:pt x="132" y="38"/>
                    </a:lnTo>
                    <a:lnTo>
                      <a:pt x="130" y="38"/>
                    </a:lnTo>
                    <a:lnTo>
                      <a:pt x="130" y="38"/>
                    </a:lnTo>
                    <a:lnTo>
                      <a:pt x="128" y="38"/>
                    </a:lnTo>
                    <a:lnTo>
                      <a:pt x="123" y="38"/>
                    </a:lnTo>
                    <a:lnTo>
                      <a:pt x="121" y="38"/>
                    </a:lnTo>
                    <a:lnTo>
                      <a:pt x="114" y="40"/>
                    </a:lnTo>
                    <a:lnTo>
                      <a:pt x="114" y="40"/>
                    </a:lnTo>
                    <a:lnTo>
                      <a:pt x="109" y="43"/>
                    </a:lnTo>
                    <a:lnTo>
                      <a:pt x="109" y="43"/>
                    </a:lnTo>
                    <a:lnTo>
                      <a:pt x="109" y="45"/>
                    </a:lnTo>
                    <a:lnTo>
                      <a:pt x="109" y="45"/>
                    </a:lnTo>
                    <a:lnTo>
                      <a:pt x="109" y="45"/>
                    </a:lnTo>
                    <a:lnTo>
                      <a:pt x="111" y="45"/>
                    </a:lnTo>
                    <a:lnTo>
                      <a:pt x="116" y="45"/>
                    </a:lnTo>
                    <a:lnTo>
                      <a:pt x="116" y="45"/>
                    </a:lnTo>
                    <a:lnTo>
                      <a:pt x="121" y="45"/>
                    </a:lnTo>
                    <a:lnTo>
                      <a:pt x="121" y="45"/>
                    </a:lnTo>
                    <a:lnTo>
                      <a:pt x="125" y="45"/>
                    </a:lnTo>
                    <a:lnTo>
                      <a:pt x="128" y="45"/>
                    </a:lnTo>
                    <a:lnTo>
                      <a:pt x="130" y="45"/>
                    </a:lnTo>
                    <a:lnTo>
                      <a:pt x="132" y="45"/>
                    </a:lnTo>
                    <a:lnTo>
                      <a:pt x="135" y="45"/>
                    </a:lnTo>
                    <a:lnTo>
                      <a:pt x="137" y="45"/>
                    </a:lnTo>
                    <a:lnTo>
                      <a:pt x="140" y="45"/>
                    </a:lnTo>
                    <a:lnTo>
                      <a:pt x="140" y="45"/>
                    </a:lnTo>
                    <a:lnTo>
                      <a:pt x="142" y="45"/>
                    </a:lnTo>
                    <a:lnTo>
                      <a:pt x="142" y="45"/>
                    </a:lnTo>
                    <a:lnTo>
                      <a:pt x="137" y="45"/>
                    </a:lnTo>
                    <a:lnTo>
                      <a:pt x="135" y="45"/>
                    </a:lnTo>
                    <a:lnTo>
                      <a:pt x="132" y="47"/>
                    </a:lnTo>
                    <a:lnTo>
                      <a:pt x="132" y="47"/>
                    </a:lnTo>
                    <a:lnTo>
                      <a:pt x="130" y="47"/>
                    </a:lnTo>
                    <a:lnTo>
                      <a:pt x="128" y="50"/>
                    </a:lnTo>
                    <a:lnTo>
                      <a:pt x="123" y="52"/>
                    </a:lnTo>
                    <a:lnTo>
                      <a:pt x="118" y="54"/>
                    </a:lnTo>
                    <a:lnTo>
                      <a:pt x="116" y="57"/>
                    </a:lnTo>
                    <a:lnTo>
                      <a:pt x="114" y="57"/>
                    </a:lnTo>
                    <a:lnTo>
                      <a:pt x="109" y="59"/>
                    </a:lnTo>
                    <a:lnTo>
                      <a:pt x="106" y="59"/>
                    </a:lnTo>
                    <a:lnTo>
                      <a:pt x="104" y="59"/>
                    </a:lnTo>
                    <a:lnTo>
                      <a:pt x="102" y="59"/>
                    </a:lnTo>
                    <a:lnTo>
                      <a:pt x="99" y="59"/>
                    </a:lnTo>
                    <a:lnTo>
                      <a:pt x="90" y="59"/>
                    </a:lnTo>
                    <a:lnTo>
                      <a:pt x="87" y="59"/>
                    </a:lnTo>
                    <a:lnTo>
                      <a:pt x="85" y="59"/>
                    </a:lnTo>
                    <a:lnTo>
                      <a:pt x="83" y="59"/>
                    </a:lnTo>
                    <a:lnTo>
                      <a:pt x="80" y="59"/>
                    </a:lnTo>
                    <a:lnTo>
                      <a:pt x="76" y="62"/>
                    </a:lnTo>
                    <a:lnTo>
                      <a:pt x="71" y="62"/>
                    </a:lnTo>
                    <a:lnTo>
                      <a:pt x="66" y="62"/>
                    </a:lnTo>
                    <a:lnTo>
                      <a:pt x="66" y="62"/>
                    </a:lnTo>
                    <a:lnTo>
                      <a:pt x="69" y="64"/>
                    </a:lnTo>
                    <a:lnTo>
                      <a:pt x="66" y="64"/>
                    </a:lnTo>
                    <a:lnTo>
                      <a:pt x="66" y="64"/>
                    </a:lnTo>
                    <a:lnTo>
                      <a:pt x="54" y="64"/>
                    </a:lnTo>
                    <a:lnTo>
                      <a:pt x="47" y="66"/>
                    </a:lnTo>
                    <a:lnTo>
                      <a:pt x="45" y="66"/>
                    </a:lnTo>
                    <a:lnTo>
                      <a:pt x="43" y="66"/>
                    </a:lnTo>
                    <a:lnTo>
                      <a:pt x="40" y="66"/>
                    </a:lnTo>
                    <a:lnTo>
                      <a:pt x="35" y="66"/>
                    </a:lnTo>
                    <a:lnTo>
                      <a:pt x="33" y="66"/>
                    </a:lnTo>
                    <a:lnTo>
                      <a:pt x="31" y="66"/>
                    </a:lnTo>
                    <a:lnTo>
                      <a:pt x="26" y="69"/>
                    </a:lnTo>
                    <a:lnTo>
                      <a:pt x="21" y="69"/>
                    </a:lnTo>
                    <a:lnTo>
                      <a:pt x="19" y="69"/>
                    </a:lnTo>
                    <a:lnTo>
                      <a:pt x="14" y="71"/>
                    </a:lnTo>
                    <a:lnTo>
                      <a:pt x="14" y="71"/>
                    </a:lnTo>
                    <a:lnTo>
                      <a:pt x="14" y="71"/>
                    </a:lnTo>
                    <a:lnTo>
                      <a:pt x="14" y="71"/>
                    </a:lnTo>
                    <a:lnTo>
                      <a:pt x="14" y="71"/>
                    </a:lnTo>
                    <a:lnTo>
                      <a:pt x="9" y="73"/>
                    </a:lnTo>
                    <a:lnTo>
                      <a:pt x="9" y="73"/>
                    </a:lnTo>
                    <a:lnTo>
                      <a:pt x="12" y="76"/>
                    </a:lnTo>
                    <a:lnTo>
                      <a:pt x="14" y="76"/>
                    </a:lnTo>
                    <a:lnTo>
                      <a:pt x="14" y="78"/>
                    </a:lnTo>
                    <a:lnTo>
                      <a:pt x="14" y="78"/>
                    </a:lnTo>
                    <a:lnTo>
                      <a:pt x="19" y="78"/>
                    </a:lnTo>
                    <a:lnTo>
                      <a:pt x="21" y="78"/>
                    </a:lnTo>
                    <a:lnTo>
                      <a:pt x="21" y="78"/>
                    </a:lnTo>
                    <a:lnTo>
                      <a:pt x="24" y="78"/>
                    </a:lnTo>
                    <a:lnTo>
                      <a:pt x="26" y="81"/>
                    </a:lnTo>
                    <a:lnTo>
                      <a:pt x="28" y="81"/>
                    </a:lnTo>
                    <a:lnTo>
                      <a:pt x="31" y="81"/>
                    </a:lnTo>
                    <a:lnTo>
                      <a:pt x="33" y="78"/>
                    </a:lnTo>
                    <a:lnTo>
                      <a:pt x="38" y="78"/>
                    </a:lnTo>
                    <a:lnTo>
                      <a:pt x="38" y="78"/>
                    </a:lnTo>
                    <a:lnTo>
                      <a:pt x="33" y="81"/>
                    </a:lnTo>
                    <a:lnTo>
                      <a:pt x="28" y="81"/>
                    </a:lnTo>
                    <a:lnTo>
                      <a:pt x="31" y="81"/>
                    </a:lnTo>
                    <a:lnTo>
                      <a:pt x="33" y="81"/>
                    </a:lnTo>
                    <a:lnTo>
                      <a:pt x="33" y="83"/>
                    </a:lnTo>
                    <a:lnTo>
                      <a:pt x="33" y="83"/>
                    </a:lnTo>
                    <a:lnTo>
                      <a:pt x="33" y="83"/>
                    </a:lnTo>
                    <a:lnTo>
                      <a:pt x="40" y="85"/>
                    </a:lnTo>
                    <a:lnTo>
                      <a:pt x="43" y="85"/>
                    </a:lnTo>
                    <a:lnTo>
                      <a:pt x="43" y="85"/>
                    </a:lnTo>
                    <a:lnTo>
                      <a:pt x="45" y="85"/>
                    </a:lnTo>
                    <a:lnTo>
                      <a:pt x="47" y="83"/>
                    </a:lnTo>
                    <a:lnTo>
                      <a:pt x="50" y="83"/>
                    </a:lnTo>
                    <a:lnTo>
                      <a:pt x="52" y="83"/>
                    </a:lnTo>
                    <a:lnTo>
                      <a:pt x="52" y="83"/>
                    </a:lnTo>
                    <a:lnTo>
                      <a:pt x="54" y="83"/>
                    </a:lnTo>
                    <a:lnTo>
                      <a:pt x="57" y="83"/>
                    </a:lnTo>
                    <a:lnTo>
                      <a:pt x="57" y="83"/>
                    </a:lnTo>
                    <a:lnTo>
                      <a:pt x="61" y="83"/>
                    </a:lnTo>
                    <a:lnTo>
                      <a:pt x="64" y="83"/>
                    </a:lnTo>
                    <a:lnTo>
                      <a:pt x="69" y="83"/>
                    </a:lnTo>
                    <a:lnTo>
                      <a:pt x="71" y="81"/>
                    </a:lnTo>
                    <a:lnTo>
                      <a:pt x="73" y="81"/>
                    </a:lnTo>
                    <a:lnTo>
                      <a:pt x="76" y="81"/>
                    </a:lnTo>
                    <a:lnTo>
                      <a:pt x="78" y="83"/>
                    </a:lnTo>
                    <a:lnTo>
                      <a:pt x="78" y="83"/>
                    </a:lnTo>
                    <a:lnTo>
                      <a:pt x="78" y="83"/>
                    </a:lnTo>
                    <a:lnTo>
                      <a:pt x="76" y="85"/>
                    </a:lnTo>
                    <a:lnTo>
                      <a:pt x="73" y="85"/>
                    </a:lnTo>
                    <a:lnTo>
                      <a:pt x="73" y="88"/>
                    </a:lnTo>
                    <a:lnTo>
                      <a:pt x="73" y="88"/>
                    </a:lnTo>
                    <a:lnTo>
                      <a:pt x="73" y="88"/>
                    </a:lnTo>
                    <a:lnTo>
                      <a:pt x="71" y="88"/>
                    </a:lnTo>
                    <a:lnTo>
                      <a:pt x="69" y="85"/>
                    </a:lnTo>
                    <a:lnTo>
                      <a:pt x="61" y="85"/>
                    </a:lnTo>
                    <a:lnTo>
                      <a:pt x="54" y="85"/>
                    </a:lnTo>
                    <a:lnTo>
                      <a:pt x="47" y="88"/>
                    </a:lnTo>
                    <a:lnTo>
                      <a:pt x="45" y="88"/>
                    </a:lnTo>
                    <a:lnTo>
                      <a:pt x="40" y="90"/>
                    </a:lnTo>
                    <a:lnTo>
                      <a:pt x="33" y="88"/>
                    </a:lnTo>
                    <a:lnTo>
                      <a:pt x="21" y="90"/>
                    </a:lnTo>
                    <a:lnTo>
                      <a:pt x="17" y="90"/>
                    </a:lnTo>
                    <a:lnTo>
                      <a:pt x="17" y="90"/>
                    </a:lnTo>
                    <a:lnTo>
                      <a:pt x="14" y="90"/>
                    </a:lnTo>
                    <a:lnTo>
                      <a:pt x="12" y="90"/>
                    </a:lnTo>
                    <a:lnTo>
                      <a:pt x="12" y="92"/>
                    </a:lnTo>
                    <a:lnTo>
                      <a:pt x="12" y="92"/>
                    </a:lnTo>
                    <a:lnTo>
                      <a:pt x="14" y="92"/>
                    </a:lnTo>
                    <a:lnTo>
                      <a:pt x="14" y="92"/>
                    </a:lnTo>
                    <a:lnTo>
                      <a:pt x="14" y="95"/>
                    </a:lnTo>
                    <a:lnTo>
                      <a:pt x="14" y="95"/>
                    </a:lnTo>
                    <a:lnTo>
                      <a:pt x="14" y="95"/>
                    </a:lnTo>
                    <a:lnTo>
                      <a:pt x="14" y="95"/>
                    </a:lnTo>
                    <a:lnTo>
                      <a:pt x="17" y="95"/>
                    </a:lnTo>
                    <a:lnTo>
                      <a:pt x="19" y="95"/>
                    </a:lnTo>
                    <a:lnTo>
                      <a:pt x="28" y="92"/>
                    </a:lnTo>
                    <a:lnTo>
                      <a:pt x="28" y="92"/>
                    </a:lnTo>
                    <a:lnTo>
                      <a:pt x="26" y="92"/>
                    </a:lnTo>
                    <a:lnTo>
                      <a:pt x="24" y="95"/>
                    </a:lnTo>
                    <a:lnTo>
                      <a:pt x="24" y="95"/>
                    </a:lnTo>
                    <a:lnTo>
                      <a:pt x="24" y="95"/>
                    </a:lnTo>
                    <a:lnTo>
                      <a:pt x="24" y="97"/>
                    </a:lnTo>
                    <a:lnTo>
                      <a:pt x="24" y="97"/>
                    </a:lnTo>
                    <a:lnTo>
                      <a:pt x="28" y="97"/>
                    </a:lnTo>
                    <a:lnTo>
                      <a:pt x="35" y="97"/>
                    </a:lnTo>
                    <a:lnTo>
                      <a:pt x="43" y="97"/>
                    </a:lnTo>
                    <a:lnTo>
                      <a:pt x="43" y="97"/>
                    </a:lnTo>
                    <a:lnTo>
                      <a:pt x="43" y="97"/>
                    </a:lnTo>
                    <a:lnTo>
                      <a:pt x="40" y="97"/>
                    </a:lnTo>
                    <a:lnTo>
                      <a:pt x="35" y="99"/>
                    </a:lnTo>
                    <a:lnTo>
                      <a:pt x="33" y="99"/>
                    </a:lnTo>
                    <a:lnTo>
                      <a:pt x="24" y="102"/>
                    </a:lnTo>
                    <a:lnTo>
                      <a:pt x="21" y="102"/>
                    </a:lnTo>
                    <a:lnTo>
                      <a:pt x="21" y="102"/>
                    </a:lnTo>
                    <a:lnTo>
                      <a:pt x="21" y="102"/>
                    </a:lnTo>
                    <a:lnTo>
                      <a:pt x="24" y="104"/>
                    </a:lnTo>
                    <a:lnTo>
                      <a:pt x="28" y="104"/>
                    </a:lnTo>
                    <a:lnTo>
                      <a:pt x="28" y="107"/>
                    </a:lnTo>
                    <a:lnTo>
                      <a:pt x="31" y="107"/>
                    </a:lnTo>
                    <a:lnTo>
                      <a:pt x="33" y="107"/>
                    </a:lnTo>
                    <a:lnTo>
                      <a:pt x="47" y="109"/>
                    </a:lnTo>
                    <a:lnTo>
                      <a:pt x="50" y="109"/>
                    </a:lnTo>
                    <a:lnTo>
                      <a:pt x="50" y="107"/>
                    </a:lnTo>
                    <a:lnTo>
                      <a:pt x="47" y="107"/>
                    </a:lnTo>
                    <a:lnTo>
                      <a:pt x="47" y="104"/>
                    </a:lnTo>
                    <a:lnTo>
                      <a:pt x="50" y="104"/>
                    </a:lnTo>
                    <a:lnTo>
                      <a:pt x="52" y="104"/>
                    </a:lnTo>
                    <a:lnTo>
                      <a:pt x="52" y="107"/>
                    </a:lnTo>
                    <a:lnTo>
                      <a:pt x="54" y="107"/>
                    </a:lnTo>
                    <a:lnTo>
                      <a:pt x="54" y="107"/>
                    </a:lnTo>
                    <a:lnTo>
                      <a:pt x="57" y="107"/>
                    </a:lnTo>
                    <a:lnTo>
                      <a:pt x="61" y="104"/>
                    </a:lnTo>
                    <a:lnTo>
                      <a:pt x="64" y="104"/>
                    </a:lnTo>
                    <a:lnTo>
                      <a:pt x="64" y="104"/>
                    </a:lnTo>
                    <a:lnTo>
                      <a:pt x="64" y="104"/>
                    </a:lnTo>
                    <a:lnTo>
                      <a:pt x="66" y="107"/>
                    </a:lnTo>
                    <a:lnTo>
                      <a:pt x="66" y="107"/>
                    </a:lnTo>
                    <a:lnTo>
                      <a:pt x="69" y="107"/>
                    </a:lnTo>
                    <a:lnTo>
                      <a:pt x="69" y="107"/>
                    </a:lnTo>
                    <a:lnTo>
                      <a:pt x="69" y="107"/>
                    </a:lnTo>
                    <a:lnTo>
                      <a:pt x="73" y="107"/>
                    </a:lnTo>
                    <a:lnTo>
                      <a:pt x="76" y="107"/>
                    </a:lnTo>
                    <a:lnTo>
                      <a:pt x="78" y="104"/>
                    </a:lnTo>
                    <a:lnTo>
                      <a:pt x="80" y="104"/>
                    </a:lnTo>
                    <a:lnTo>
                      <a:pt x="83" y="104"/>
                    </a:lnTo>
                    <a:lnTo>
                      <a:pt x="85" y="104"/>
                    </a:lnTo>
                    <a:lnTo>
                      <a:pt x="85" y="104"/>
                    </a:lnTo>
                    <a:lnTo>
                      <a:pt x="85" y="104"/>
                    </a:lnTo>
                    <a:lnTo>
                      <a:pt x="87" y="104"/>
                    </a:lnTo>
                    <a:lnTo>
                      <a:pt x="87" y="104"/>
                    </a:lnTo>
                    <a:lnTo>
                      <a:pt x="92" y="104"/>
                    </a:lnTo>
                    <a:lnTo>
                      <a:pt x="95" y="102"/>
                    </a:lnTo>
                    <a:lnTo>
                      <a:pt x="97" y="102"/>
                    </a:lnTo>
                    <a:lnTo>
                      <a:pt x="99" y="102"/>
                    </a:lnTo>
                    <a:lnTo>
                      <a:pt x="102" y="104"/>
                    </a:lnTo>
                    <a:lnTo>
                      <a:pt x="102" y="104"/>
                    </a:lnTo>
                    <a:lnTo>
                      <a:pt x="106" y="104"/>
                    </a:lnTo>
                    <a:lnTo>
                      <a:pt x="111" y="104"/>
                    </a:lnTo>
                    <a:lnTo>
                      <a:pt x="116" y="104"/>
                    </a:lnTo>
                    <a:lnTo>
                      <a:pt x="118" y="104"/>
                    </a:lnTo>
                    <a:lnTo>
                      <a:pt x="121" y="107"/>
                    </a:lnTo>
                    <a:lnTo>
                      <a:pt x="123" y="107"/>
                    </a:lnTo>
                    <a:lnTo>
                      <a:pt x="130" y="109"/>
                    </a:lnTo>
                    <a:lnTo>
                      <a:pt x="135" y="109"/>
                    </a:lnTo>
                    <a:lnTo>
                      <a:pt x="137" y="111"/>
                    </a:lnTo>
                    <a:lnTo>
                      <a:pt x="140" y="111"/>
                    </a:lnTo>
                    <a:lnTo>
                      <a:pt x="142" y="111"/>
                    </a:lnTo>
                    <a:lnTo>
                      <a:pt x="144" y="114"/>
                    </a:lnTo>
                    <a:lnTo>
                      <a:pt x="147" y="114"/>
                    </a:lnTo>
                    <a:lnTo>
                      <a:pt x="147" y="114"/>
                    </a:lnTo>
                    <a:lnTo>
                      <a:pt x="149" y="114"/>
                    </a:lnTo>
                    <a:lnTo>
                      <a:pt x="149" y="116"/>
                    </a:lnTo>
                    <a:lnTo>
                      <a:pt x="147" y="116"/>
                    </a:lnTo>
                    <a:lnTo>
                      <a:pt x="142" y="118"/>
                    </a:lnTo>
                    <a:lnTo>
                      <a:pt x="142" y="118"/>
                    </a:lnTo>
                    <a:lnTo>
                      <a:pt x="144" y="121"/>
                    </a:lnTo>
                    <a:lnTo>
                      <a:pt x="147" y="121"/>
                    </a:lnTo>
                    <a:lnTo>
                      <a:pt x="147" y="121"/>
                    </a:lnTo>
                    <a:lnTo>
                      <a:pt x="147" y="123"/>
                    </a:lnTo>
                    <a:lnTo>
                      <a:pt x="147" y="123"/>
                    </a:lnTo>
                    <a:lnTo>
                      <a:pt x="151" y="126"/>
                    </a:lnTo>
                    <a:lnTo>
                      <a:pt x="154" y="126"/>
                    </a:lnTo>
                    <a:lnTo>
                      <a:pt x="154" y="128"/>
                    </a:lnTo>
                    <a:lnTo>
                      <a:pt x="156" y="128"/>
                    </a:lnTo>
                    <a:lnTo>
                      <a:pt x="156" y="128"/>
                    </a:lnTo>
                    <a:lnTo>
                      <a:pt x="156" y="130"/>
                    </a:lnTo>
                    <a:lnTo>
                      <a:pt x="156" y="130"/>
                    </a:lnTo>
                    <a:lnTo>
                      <a:pt x="158" y="130"/>
                    </a:lnTo>
                    <a:lnTo>
                      <a:pt x="161" y="133"/>
                    </a:lnTo>
                    <a:lnTo>
                      <a:pt x="158" y="133"/>
                    </a:lnTo>
                    <a:lnTo>
                      <a:pt x="158" y="133"/>
                    </a:lnTo>
                    <a:lnTo>
                      <a:pt x="156" y="133"/>
                    </a:lnTo>
                    <a:lnTo>
                      <a:pt x="154" y="135"/>
                    </a:lnTo>
                    <a:lnTo>
                      <a:pt x="154" y="135"/>
                    </a:lnTo>
                    <a:lnTo>
                      <a:pt x="154" y="135"/>
                    </a:lnTo>
                    <a:lnTo>
                      <a:pt x="154" y="137"/>
                    </a:lnTo>
                    <a:lnTo>
                      <a:pt x="151" y="137"/>
                    </a:lnTo>
                    <a:lnTo>
                      <a:pt x="149" y="137"/>
                    </a:lnTo>
                    <a:lnTo>
                      <a:pt x="147" y="140"/>
                    </a:lnTo>
                    <a:lnTo>
                      <a:pt x="144" y="140"/>
                    </a:lnTo>
                    <a:lnTo>
                      <a:pt x="144" y="140"/>
                    </a:lnTo>
                    <a:lnTo>
                      <a:pt x="147" y="140"/>
                    </a:lnTo>
                    <a:lnTo>
                      <a:pt x="151" y="140"/>
                    </a:lnTo>
                    <a:lnTo>
                      <a:pt x="154" y="137"/>
                    </a:lnTo>
                    <a:lnTo>
                      <a:pt x="156" y="137"/>
                    </a:lnTo>
                    <a:lnTo>
                      <a:pt x="156" y="137"/>
                    </a:lnTo>
                    <a:lnTo>
                      <a:pt x="156" y="140"/>
                    </a:lnTo>
                    <a:lnTo>
                      <a:pt x="156" y="140"/>
                    </a:lnTo>
                    <a:lnTo>
                      <a:pt x="156" y="142"/>
                    </a:lnTo>
                    <a:lnTo>
                      <a:pt x="158" y="142"/>
                    </a:lnTo>
                    <a:lnTo>
                      <a:pt x="158" y="142"/>
                    </a:lnTo>
                    <a:lnTo>
                      <a:pt x="156" y="142"/>
                    </a:lnTo>
                    <a:lnTo>
                      <a:pt x="158" y="142"/>
                    </a:lnTo>
                    <a:lnTo>
                      <a:pt x="158" y="144"/>
                    </a:lnTo>
                    <a:lnTo>
                      <a:pt x="156" y="144"/>
                    </a:lnTo>
                    <a:lnTo>
                      <a:pt x="156" y="144"/>
                    </a:lnTo>
                    <a:lnTo>
                      <a:pt x="156" y="144"/>
                    </a:lnTo>
                    <a:lnTo>
                      <a:pt x="154" y="147"/>
                    </a:lnTo>
                    <a:lnTo>
                      <a:pt x="151" y="147"/>
                    </a:lnTo>
                    <a:lnTo>
                      <a:pt x="151" y="149"/>
                    </a:lnTo>
                    <a:lnTo>
                      <a:pt x="151" y="149"/>
                    </a:lnTo>
                    <a:lnTo>
                      <a:pt x="154" y="149"/>
                    </a:lnTo>
                    <a:lnTo>
                      <a:pt x="154" y="149"/>
                    </a:lnTo>
                    <a:lnTo>
                      <a:pt x="154" y="149"/>
                    </a:lnTo>
                    <a:lnTo>
                      <a:pt x="154" y="152"/>
                    </a:lnTo>
                    <a:lnTo>
                      <a:pt x="154" y="152"/>
                    </a:lnTo>
                    <a:lnTo>
                      <a:pt x="156" y="152"/>
                    </a:lnTo>
                    <a:lnTo>
                      <a:pt x="158" y="149"/>
                    </a:lnTo>
                    <a:lnTo>
                      <a:pt x="158" y="152"/>
                    </a:lnTo>
                    <a:lnTo>
                      <a:pt x="158" y="152"/>
                    </a:lnTo>
                    <a:lnTo>
                      <a:pt x="158" y="154"/>
                    </a:lnTo>
                    <a:lnTo>
                      <a:pt x="156" y="154"/>
                    </a:lnTo>
                    <a:lnTo>
                      <a:pt x="156" y="156"/>
                    </a:lnTo>
                    <a:lnTo>
                      <a:pt x="154" y="156"/>
                    </a:lnTo>
                    <a:lnTo>
                      <a:pt x="151" y="156"/>
                    </a:lnTo>
                    <a:lnTo>
                      <a:pt x="151" y="156"/>
                    </a:lnTo>
                    <a:lnTo>
                      <a:pt x="151" y="159"/>
                    </a:lnTo>
                    <a:lnTo>
                      <a:pt x="151" y="159"/>
                    </a:lnTo>
                    <a:lnTo>
                      <a:pt x="151" y="159"/>
                    </a:lnTo>
                    <a:lnTo>
                      <a:pt x="154" y="159"/>
                    </a:lnTo>
                    <a:lnTo>
                      <a:pt x="154" y="159"/>
                    </a:lnTo>
                    <a:lnTo>
                      <a:pt x="154" y="159"/>
                    </a:lnTo>
                    <a:lnTo>
                      <a:pt x="156" y="159"/>
                    </a:lnTo>
                    <a:lnTo>
                      <a:pt x="156" y="159"/>
                    </a:lnTo>
                    <a:lnTo>
                      <a:pt x="158" y="159"/>
                    </a:lnTo>
                    <a:lnTo>
                      <a:pt x="161" y="159"/>
                    </a:lnTo>
                    <a:lnTo>
                      <a:pt x="161" y="159"/>
                    </a:lnTo>
                    <a:lnTo>
                      <a:pt x="161" y="161"/>
                    </a:lnTo>
                    <a:lnTo>
                      <a:pt x="161" y="161"/>
                    </a:lnTo>
                    <a:lnTo>
                      <a:pt x="161" y="161"/>
                    </a:lnTo>
                    <a:lnTo>
                      <a:pt x="161" y="163"/>
                    </a:lnTo>
                    <a:lnTo>
                      <a:pt x="158" y="163"/>
                    </a:lnTo>
                    <a:lnTo>
                      <a:pt x="158" y="163"/>
                    </a:lnTo>
                    <a:lnTo>
                      <a:pt x="156" y="166"/>
                    </a:lnTo>
                    <a:lnTo>
                      <a:pt x="154" y="166"/>
                    </a:lnTo>
                    <a:lnTo>
                      <a:pt x="151" y="166"/>
                    </a:lnTo>
                    <a:lnTo>
                      <a:pt x="147" y="166"/>
                    </a:lnTo>
                    <a:lnTo>
                      <a:pt x="144" y="168"/>
                    </a:lnTo>
                    <a:lnTo>
                      <a:pt x="147" y="168"/>
                    </a:lnTo>
                    <a:lnTo>
                      <a:pt x="147" y="168"/>
                    </a:lnTo>
                    <a:lnTo>
                      <a:pt x="149" y="168"/>
                    </a:lnTo>
                    <a:lnTo>
                      <a:pt x="147" y="171"/>
                    </a:lnTo>
                    <a:lnTo>
                      <a:pt x="144" y="171"/>
                    </a:lnTo>
                    <a:lnTo>
                      <a:pt x="144" y="171"/>
                    </a:lnTo>
                    <a:lnTo>
                      <a:pt x="142" y="171"/>
                    </a:lnTo>
                    <a:lnTo>
                      <a:pt x="142" y="173"/>
                    </a:lnTo>
                    <a:lnTo>
                      <a:pt x="147" y="173"/>
                    </a:lnTo>
                    <a:lnTo>
                      <a:pt x="154" y="168"/>
                    </a:lnTo>
                    <a:lnTo>
                      <a:pt x="154" y="168"/>
                    </a:lnTo>
                    <a:lnTo>
                      <a:pt x="154" y="168"/>
                    </a:lnTo>
                    <a:lnTo>
                      <a:pt x="154" y="171"/>
                    </a:lnTo>
                    <a:lnTo>
                      <a:pt x="151" y="171"/>
                    </a:lnTo>
                    <a:lnTo>
                      <a:pt x="144" y="173"/>
                    </a:lnTo>
                    <a:lnTo>
                      <a:pt x="142" y="175"/>
                    </a:lnTo>
                    <a:lnTo>
                      <a:pt x="137" y="180"/>
                    </a:lnTo>
                    <a:lnTo>
                      <a:pt x="137" y="180"/>
                    </a:lnTo>
                    <a:lnTo>
                      <a:pt x="135" y="180"/>
                    </a:lnTo>
                    <a:lnTo>
                      <a:pt x="135" y="182"/>
                    </a:lnTo>
                    <a:lnTo>
                      <a:pt x="135" y="182"/>
                    </a:lnTo>
                    <a:lnTo>
                      <a:pt x="137" y="185"/>
                    </a:lnTo>
                    <a:lnTo>
                      <a:pt x="137" y="185"/>
                    </a:lnTo>
                    <a:lnTo>
                      <a:pt x="142" y="185"/>
                    </a:lnTo>
                    <a:lnTo>
                      <a:pt x="144" y="187"/>
                    </a:lnTo>
                    <a:lnTo>
                      <a:pt x="144" y="187"/>
                    </a:lnTo>
                    <a:lnTo>
                      <a:pt x="151" y="185"/>
                    </a:lnTo>
                    <a:lnTo>
                      <a:pt x="154" y="185"/>
                    </a:lnTo>
                    <a:lnTo>
                      <a:pt x="154" y="185"/>
                    </a:lnTo>
                    <a:lnTo>
                      <a:pt x="156" y="185"/>
                    </a:lnTo>
                    <a:lnTo>
                      <a:pt x="156" y="182"/>
                    </a:lnTo>
                    <a:lnTo>
                      <a:pt x="158" y="182"/>
                    </a:lnTo>
                    <a:lnTo>
                      <a:pt x="156" y="180"/>
                    </a:lnTo>
                    <a:lnTo>
                      <a:pt x="158" y="180"/>
                    </a:lnTo>
                    <a:lnTo>
                      <a:pt x="158" y="182"/>
                    </a:lnTo>
                    <a:lnTo>
                      <a:pt x="161" y="180"/>
                    </a:lnTo>
                    <a:lnTo>
                      <a:pt x="161" y="180"/>
                    </a:lnTo>
                    <a:lnTo>
                      <a:pt x="163" y="180"/>
                    </a:lnTo>
                    <a:lnTo>
                      <a:pt x="166" y="178"/>
                    </a:lnTo>
                    <a:lnTo>
                      <a:pt x="166" y="178"/>
                    </a:lnTo>
                    <a:lnTo>
                      <a:pt x="168" y="178"/>
                    </a:lnTo>
                    <a:lnTo>
                      <a:pt x="168" y="175"/>
                    </a:lnTo>
                    <a:lnTo>
                      <a:pt x="166" y="175"/>
                    </a:lnTo>
                    <a:lnTo>
                      <a:pt x="166" y="173"/>
                    </a:lnTo>
                    <a:lnTo>
                      <a:pt x="166" y="173"/>
                    </a:lnTo>
                    <a:lnTo>
                      <a:pt x="166" y="173"/>
                    </a:lnTo>
                    <a:lnTo>
                      <a:pt x="166" y="171"/>
                    </a:lnTo>
                    <a:lnTo>
                      <a:pt x="166" y="171"/>
                    </a:lnTo>
                    <a:lnTo>
                      <a:pt x="166" y="171"/>
                    </a:lnTo>
                    <a:lnTo>
                      <a:pt x="166" y="171"/>
                    </a:lnTo>
                    <a:lnTo>
                      <a:pt x="170" y="168"/>
                    </a:lnTo>
                    <a:lnTo>
                      <a:pt x="170" y="168"/>
                    </a:lnTo>
                    <a:lnTo>
                      <a:pt x="168" y="171"/>
                    </a:lnTo>
                    <a:lnTo>
                      <a:pt x="168" y="171"/>
                    </a:lnTo>
                    <a:lnTo>
                      <a:pt x="168" y="173"/>
                    </a:lnTo>
                    <a:lnTo>
                      <a:pt x="168" y="173"/>
                    </a:lnTo>
                    <a:lnTo>
                      <a:pt x="168" y="173"/>
                    </a:lnTo>
                    <a:lnTo>
                      <a:pt x="168" y="175"/>
                    </a:lnTo>
                    <a:lnTo>
                      <a:pt x="168" y="175"/>
                    </a:lnTo>
                    <a:lnTo>
                      <a:pt x="168" y="178"/>
                    </a:lnTo>
                    <a:lnTo>
                      <a:pt x="168" y="178"/>
                    </a:lnTo>
                    <a:lnTo>
                      <a:pt x="168" y="180"/>
                    </a:lnTo>
                    <a:lnTo>
                      <a:pt x="170" y="178"/>
                    </a:lnTo>
                    <a:lnTo>
                      <a:pt x="170" y="180"/>
                    </a:lnTo>
                    <a:lnTo>
                      <a:pt x="168" y="180"/>
                    </a:lnTo>
                    <a:lnTo>
                      <a:pt x="168" y="180"/>
                    </a:lnTo>
                    <a:lnTo>
                      <a:pt x="163" y="182"/>
                    </a:lnTo>
                    <a:lnTo>
                      <a:pt x="163" y="182"/>
                    </a:lnTo>
                    <a:lnTo>
                      <a:pt x="163" y="182"/>
                    </a:lnTo>
                    <a:lnTo>
                      <a:pt x="166" y="182"/>
                    </a:lnTo>
                    <a:lnTo>
                      <a:pt x="168" y="182"/>
                    </a:lnTo>
                    <a:lnTo>
                      <a:pt x="170" y="182"/>
                    </a:lnTo>
                    <a:lnTo>
                      <a:pt x="175" y="180"/>
                    </a:lnTo>
                    <a:lnTo>
                      <a:pt x="175" y="180"/>
                    </a:lnTo>
                    <a:lnTo>
                      <a:pt x="180" y="182"/>
                    </a:lnTo>
                    <a:lnTo>
                      <a:pt x="182" y="182"/>
                    </a:lnTo>
                    <a:lnTo>
                      <a:pt x="184" y="180"/>
                    </a:lnTo>
                    <a:lnTo>
                      <a:pt x="187" y="180"/>
                    </a:lnTo>
                    <a:lnTo>
                      <a:pt x="187" y="180"/>
                    </a:lnTo>
                    <a:lnTo>
                      <a:pt x="184" y="182"/>
                    </a:lnTo>
                    <a:lnTo>
                      <a:pt x="173" y="185"/>
                    </a:lnTo>
                    <a:lnTo>
                      <a:pt x="170" y="185"/>
                    </a:lnTo>
                    <a:lnTo>
                      <a:pt x="168" y="185"/>
                    </a:lnTo>
                    <a:lnTo>
                      <a:pt x="168" y="187"/>
                    </a:lnTo>
                    <a:lnTo>
                      <a:pt x="166" y="187"/>
                    </a:lnTo>
                    <a:lnTo>
                      <a:pt x="166" y="187"/>
                    </a:lnTo>
                    <a:lnTo>
                      <a:pt x="166" y="189"/>
                    </a:lnTo>
                    <a:lnTo>
                      <a:pt x="168" y="189"/>
                    </a:lnTo>
                    <a:lnTo>
                      <a:pt x="168" y="189"/>
                    </a:lnTo>
                    <a:lnTo>
                      <a:pt x="173" y="189"/>
                    </a:lnTo>
                    <a:lnTo>
                      <a:pt x="173" y="189"/>
                    </a:lnTo>
                    <a:lnTo>
                      <a:pt x="175" y="189"/>
                    </a:lnTo>
                    <a:lnTo>
                      <a:pt x="177" y="189"/>
                    </a:lnTo>
                    <a:lnTo>
                      <a:pt x="182" y="189"/>
                    </a:lnTo>
                    <a:lnTo>
                      <a:pt x="187" y="189"/>
                    </a:lnTo>
                    <a:lnTo>
                      <a:pt x="189" y="192"/>
                    </a:lnTo>
                    <a:lnTo>
                      <a:pt x="189" y="192"/>
                    </a:lnTo>
                    <a:lnTo>
                      <a:pt x="189" y="192"/>
                    </a:lnTo>
                    <a:lnTo>
                      <a:pt x="189" y="192"/>
                    </a:lnTo>
                    <a:lnTo>
                      <a:pt x="187" y="192"/>
                    </a:lnTo>
                    <a:lnTo>
                      <a:pt x="184" y="192"/>
                    </a:lnTo>
                    <a:lnTo>
                      <a:pt x="182" y="192"/>
                    </a:lnTo>
                    <a:lnTo>
                      <a:pt x="180" y="192"/>
                    </a:lnTo>
                    <a:lnTo>
                      <a:pt x="180" y="192"/>
                    </a:lnTo>
                    <a:lnTo>
                      <a:pt x="182" y="194"/>
                    </a:lnTo>
                    <a:lnTo>
                      <a:pt x="184" y="194"/>
                    </a:lnTo>
                    <a:lnTo>
                      <a:pt x="184" y="194"/>
                    </a:lnTo>
                    <a:lnTo>
                      <a:pt x="184" y="197"/>
                    </a:lnTo>
                    <a:lnTo>
                      <a:pt x="184" y="197"/>
                    </a:lnTo>
                    <a:lnTo>
                      <a:pt x="182" y="199"/>
                    </a:lnTo>
                    <a:lnTo>
                      <a:pt x="182" y="199"/>
                    </a:lnTo>
                    <a:lnTo>
                      <a:pt x="182" y="201"/>
                    </a:lnTo>
                    <a:lnTo>
                      <a:pt x="187" y="201"/>
                    </a:lnTo>
                    <a:lnTo>
                      <a:pt x="189" y="201"/>
                    </a:lnTo>
                    <a:lnTo>
                      <a:pt x="189" y="204"/>
                    </a:lnTo>
                    <a:lnTo>
                      <a:pt x="189" y="204"/>
                    </a:lnTo>
                    <a:lnTo>
                      <a:pt x="184" y="204"/>
                    </a:lnTo>
                    <a:lnTo>
                      <a:pt x="184" y="204"/>
                    </a:lnTo>
                    <a:lnTo>
                      <a:pt x="180" y="201"/>
                    </a:lnTo>
                    <a:lnTo>
                      <a:pt x="177" y="201"/>
                    </a:lnTo>
                    <a:lnTo>
                      <a:pt x="175" y="201"/>
                    </a:lnTo>
                    <a:lnTo>
                      <a:pt x="168" y="199"/>
                    </a:lnTo>
                    <a:lnTo>
                      <a:pt x="166" y="197"/>
                    </a:lnTo>
                    <a:lnTo>
                      <a:pt x="163" y="197"/>
                    </a:lnTo>
                    <a:lnTo>
                      <a:pt x="161" y="197"/>
                    </a:lnTo>
                    <a:lnTo>
                      <a:pt x="156" y="197"/>
                    </a:lnTo>
                    <a:lnTo>
                      <a:pt x="154" y="197"/>
                    </a:lnTo>
                    <a:lnTo>
                      <a:pt x="151" y="197"/>
                    </a:lnTo>
                    <a:lnTo>
                      <a:pt x="151" y="197"/>
                    </a:lnTo>
                    <a:lnTo>
                      <a:pt x="147" y="197"/>
                    </a:lnTo>
                    <a:lnTo>
                      <a:pt x="144" y="197"/>
                    </a:lnTo>
                    <a:lnTo>
                      <a:pt x="142" y="197"/>
                    </a:lnTo>
                    <a:lnTo>
                      <a:pt x="140" y="199"/>
                    </a:lnTo>
                    <a:lnTo>
                      <a:pt x="140" y="199"/>
                    </a:lnTo>
                    <a:lnTo>
                      <a:pt x="142" y="199"/>
                    </a:lnTo>
                    <a:lnTo>
                      <a:pt x="144" y="201"/>
                    </a:lnTo>
                    <a:lnTo>
                      <a:pt x="144" y="204"/>
                    </a:lnTo>
                    <a:lnTo>
                      <a:pt x="147" y="204"/>
                    </a:lnTo>
                    <a:lnTo>
                      <a:pt x="151" y="204"/>
                    </a:lnTo>
                    <a:lnTo>
                      <a:pt x="156" y="204"/>
                    </a:lnTo>
                    <a:lnTo>
                      <a:pt x="158" y="206"/>
                    </a:lnTo>
                    <a:lnTo>
                      <a:pt x="161" y="206"/>
                    </a:lnTo>
                    <a:lnTo>
                      <a:pt x="163" y="208"/>
                    </a:lnTo>
                    <a:lnTo>
                      <a:pt x="163" y="208"/>
                    </a:lnTo>
                    <a:lnTo>
                      <a:pt x="173" y="211"/>
                    </a:lnTo>
                    <a:lnTo>
                      <a:pt x="173" y="211"/>
                    </a:lnTo>
                    <a:lnTo>
                      <a:pt x="175" y="211"/>
                    </a:lnTo>
                    <a:lnTo>
                      <a:pt x="177" y="208"/>
                    </a:lnTo>
                    <a:lnTo>
                      <a:pt x="180" y="208"/>
                    </a:lnTo>
                    <a:lnTo>
                      <a:pt x="182" y="208"/>
                    </a:lnTo>
                    <a:lnTo>
                      <a:pt x="182" y="211"/>
                    </a:lnTo>
                    <a:lnTo>
                      <a:pt x="187" y="211"/>
                    </a:lnTo>
                    <a:lnTo>
                      <a:pt x="189" y="208"/>
                    </a:lnTo>
                    <a:lnTo>
                      <a:pt x="189" y="208"/>
                    </a:lnTo>
                    <a:lnTo>
                      <a:pt x="189" y="211"/>
                    </a:lnTo>
                    <a:lnTo>
                      <a:pt x="189" y="211"/>
                    </a:lnTo>
                    <a:lnTo>
                      <a:pt x="187" y="211"/>
                    </a:lnTo>
                    <a:lnTo>
                      <a:pt x="187" y="211"/>
                    </a:lnTo>
                    <a:lnTo>
                      <a:pt x="187" y="213"/>
                    </a:lnTo>
                    <a:lnTo>
                      <a:pt x="187" y="213"/>
                    </a:lnTo>
                    <a:lnTo>
                      <a:pt x="184" y="213"/>
                    </a:lnTo>
                    <a:lnTo>
                      <a:pt x="182" y="215"/>
                    </a:lnTo>
                    <a:lnTo>
                      <a:pt x="180" y="215"/>
                    </a:lnTo>
                    <a:lnTo>
                      <a:pt x="180" y="218"/>
                    </a:lnTo>
                    <a:lnTo>
                      <a:pt x="177" y="220"/>
                    </a:lnTo>
                    <a:lnTo>
                      <a:pt x="175" y="220"/>
                    </a:lnTo>
                    <a:lnTo>
                      <a:pt x="173" y="223"/>
                    </a:lnTo>
                    <a:lnTo>
                      <a:pt x="173" y="225"/>
                    </a:lnTo>
                    <a:lnTo>
                      <a:pt x="175" y="225"/>
                    </a:lnTo>
                    <a:lnTo>
                      <a:pt x="177" y="223"/>
                    </a:lnTo>
                    <a:lnTo>
                      <a:pt x="180" y="223"/>
                    </a:lnTo>
                    <a:lnTo>
                      <a:pt x="180" y="225"/>
                    </a:lnTo>
                    <a:lnTo>
                      <a:pt x="182" y="225"/>
                    </a:lnTo>
                    <a:lnTo>
                      <a:pt x="182" y="225"/>
                    </a:lnTo>
                    <a:lnTo>
                      <a:pt x="180" y="225"/>
                    </a:lnTo>
                    <a:lnTo>
                      <a:pt x="175" y="225"/>
                    </a:lnTo>
                    <a:lnTo>
                      <a:pt x="170" y="225"/>
                    </a:lnTo>
                    <a:lnTo>
                      <a:pt x="170" y="225"/>
                    </a:lnTo>
                    <a:lnTo>
                      <a:pt x="168" y="230"/>
                    </a:lnTo>
                    <a:lnTo>
                      <a:pt x="166" y="232"/>
                    </a:lnTo>
                    <a:lnTo>
                      <a:pt x="166" y="232"/>
                    </a:lnTo>
                    <a:lnTo>
                      <a:pt x="168" y="232"/>
                    </a:lnTo>
                    <a:lnTo>
                      <a:pt x="170" y="232"/>
                    </a:lnTo>
                    <a:lnTo>
                      <a:pt x="170" y="232"/>
                    </a:lnTo>
                    <a:lnTo>
                      <a:pt x="168" y="234"/>
                    </a:lnTo>
                    <a:lnTo>
                      <a:pt x="166" y="234"/>
                    </a:lnTo>
                    <a:lnTo>
                      <a:pt x="166" y="234"/>
                    </a:lnTo>
                    <a:lnTo>
                      <a:pt x="158" y="237"/>
                    </a:lnTo>
                    <a:lnTo>
                      <a:pt x="158" y="237"/>
                    </a:lnTo>
                    <a:lnTo>
                      <a:pt x="156" y="237"/>
                    </a:lnTo>
                    <a:lnTo>
                      <a:pt x="149" y="232"/>
                    </a:lnTo>
                    <a:lnTo>
                      <a:pt x="147" y="232"/>
                    </a:lnTo>
                    <a:lnTo>
                      <a:pt x="142" y="234"/>
                    </a:lnTo>
                    <a:lnTo>
                      <a:pt x="140" y="234"/>
                    </a:lnTo>
                    <a:lnTo>
                      <a:pt x="135" y="239"/>
                    </a:lnTo>
                    <a:lnTo>
                      <a:pt x="132" y="239"/>
                    </a:lnTo>
                    <a:lnTo>
                      <a:pt x="130" y="239"/>
                    </a:lnTo>
                    <a:lnTo>
                      <a:pt x="132" y="242"/>
                    </a:lnTo>
                    <a:lnTo>
                      <a:pt x="135" y="239"/>
                    </a:lnTo>
                    <a:lnTo>
                      <a:pt x="140" y="239"/>
                    </a:lnTo>
                    <a:lnTo>
                      <a:pt x="140" y="242"/>
                    </a:lnTo>
                    <a:lnTo>
                      <a:pt x="140" y="242"/>
                    </a:lnTo>
                    <a:lnTo>
                      <a:pt x="144" y="242"/>
                    </a:lnTo>
                    <a:lnTo>
                      <a:pt x="147" y="242"/>
                    </a:lnTo>
                    <a:lnTo>
                      <a:pt x="151" y="242"/>
                    </a:lnTo>
                    <a:lnTo>
                      <a:pt x="154" y="242"/>
                    </a:lnTo>
                    <a:lnTo>
                      <a:pt x="158" y="239"/>
                    </a:lnTo>
                    <a:lnTo>
                      <a:pt x="158" y="239"/>
                    </a:lnTo>
                    <a:lnTo>
                      <a:pt x="158" y="239"/>
                    </a:lnTo>
                    <a:lnTo>
                      <a:pt x="161" y="239"/>
                    </a:lnTo>
                    <a:lnTo>
                      <a:pt x="163" y="239"/>
                    </a:lnTo>
                    <a:lnTo>
                      <a:pt x="163" y="239"/>
                    </a:lnTo>
                    <a:lnTo>
                      <a:pt x="161" y="239"/>
                    </a:lnTo>
                    <a:lnTo>
                      <a:pt x="158" y="242"/>
                    </a:lnTo>
                    <a:lnTo>
                      <a:pt x="158" y="242"/>
                    </a:lnTo>
                    <a:lnTo>
                      <a:pt x="156" y="242"/>
                    </a:lnTo>
                    <a:lnTo>
                      <a:pt x="156" y="244"/>
                    </a:lnTo>
                    <a:lnTo>
                      <a:pt x="156" y="244"/>
                    </a:lnTo>
                    <a:lnTo>
                      <a:pt x="154" y="244"/>
                    </a:lnTo>
                    <a:lnTo>
                      <a:pt x="154" y="244"/>
                    </a:lnTo>
                    <a:lnTo>
                      <a:pt x="151" y="244"/>
                    </a:lnTo>
                    <a:lnTo>
                      <a:pt x="147" y="244"/>
                    </a:lnTo>
                    <a:lnTo>
                      <a:pt x="142" y="244"/>
                    </a:lnTo>
                    <a:lnTo>
                      <a:pt x="137" y="242"/>
                    </a:lnTo>
                    <a:lnTo>
                      <a:pt x="135" y="242"/>
                    </a:lnTo>
                    <a:lnTo>
                      <a:pt x="132" y="242"/>
                    </a:lnTo>
                    <a:lnTo>
                      <a:pt x="132" y="244"/>
                    </a:lnTo>
                    <a:lnTo>
                      <a:pt x="128" y="246"/>
                    </a:lnTo>
                    <a:lnTo>
                      <a:pt x="123" y="249"/>
                    </a:lnTo>
                    <a:lnTo>
                      <a:pt x="123" y="251"/>
                    </a:lnTo>
                    <a:lnTo>
                      <a:pt x="123" y="251"/>
                    </a:lnTo>
                    <a:lnTo>
                      <a:pt x="121" y="251"/>
                    </a:lnTo>
                    <a:lnTo>
                      <a:pt x="118" y="253"/>
                    </a:lnTo>
                    <a:lnTo>
                      <a:pt x="121" y="253"/>
                    </a:lnTo>
                    <a:lnTo>
                      <a:pt x="123" y="253"/>
                    </a:lnTo>
                    <a:lnTo>
                      <a:pt x="132" y="251"/>
                    </a:lnTo>
                    <a:lnTo>
                      <a:pt x="132" y="249"/>
                    </a:lnTo>
                    <a:lnTo>
                      <a:pt x="135" y="249"/>
                    </a:lnTo>
                    <a:lnTo>
                      <a:pt x="137" y="249"/>
                    </a:lnTo>
                    <a:lnTo>
                      <a:pt x="142" y="249"/>
                    </a:lnTo>
                    <a:lnTo>
                      <a:pt x="144" y="249"/>
                    </a:lnTo>
                    <a:lnTo>
                      <a:pt x="147" y="251"/>
                    </a:lnTo>
                    <a:lnTo>
                      <a:pt x="149" y="251"/>
                    </a:lnTo>
                    <a:lnTo>
                      <a:pt x="154" y="251"/>
                    </a:lnTo>
                    <a:lnTo>
                      <a:pt x="154" y="249"/>
                    </a:lnTo>
                    <a:lnTo>
                      <a:pt x="158" y="249"/>
                    </a:lnTo>
                    <a:lnTo>
                      <a:pt x="161" y="249"/>
                    </a:lnTo>
                    <a:lnTo>
                      <a:pt x="158" y="251"/>
                    </a:lnTo>
                    <a:lnTo>
                      <a:pt x="156" y="251"/>
                    </a:lnTo>
                    <a:lnTo>
                      <a:pt x="156" y="251"/>
                    </a:lnTo>
                    <a:lnTo>
                      <a:pt x="161" y="253"/>
                    </a:lnTo>
                    <a:lnTo>
                      <a:pt x="161" y="253"/>
                    </a:lnTo>
                    <a:lnTo>
                      <a:pt x="161" y="256"/>
                    </a:lnTo>
                    <a:lnTo>
                      <a:pt x="156" y="253"/>
                    </a:lnTo>
                    <a:lnTo>
                      <a:pt x="151" y="251"/>
                    </a:lnTo>
                    <a:lnTo>
                      <a:pt x="149" y="251"/>
                    </a:lnTo>
                    <a:lnTo>
                      <a:pt x="144" y="251"/>
                    </a:lnTo>
                    <a:lnTo>
                      <a:pt x="140" y="251"/>
                    </a:lnTo>
                    <a:lnTo>
                      <a:pt x="137" y="251"/>
                    </a:lnTo>
                    <a:lnTo>
                      <a:pt x="135" y="251"/>
                    </a:lnTo>
                    <a:lnTo>
                      <a:pt x="130" y="251"/>
                    </a:lnTo>
                    <a:lnTo>
                      <a:pt x="125" y="253"/>
                    </a:lnTo>
                    <a:lnTo>
                      <a:pt x="123" y="253"/>
                    </a:lnTo>
                    <a:lnTo>
                      <a:pt x="121" y="256"/>
                    </a:lnTo>
                    <a:lnTo>
                      <a:pt x="116" y="256"/>
                    </a:lnTo>
                    <a:lnTo>
                      <a:pt x="116" y="258"/>
                    </a:lnTo>
                    <a:lnTo>
                      <a:pt x="114" y="260"/>
                    </a:lnTo>
                    <a:lnTo>
                      <a:pt x="114" y="265"/>
                    </a:lnTo>
                    <a:lnTo>
                      <a:pt x="116" y="265"/>
                    </a:lnTo>
                    <a:lnTo>
                      <a:pt x="116" y="265"/>
                    </a:lnTo>
                    <a:lnTo>
                      <a:pt x="118" y="265"/>
                    </a:lnTo>
                    <a:lnTo>
                      <a:pt x="121" y="265"/>
                    </a:lnTo>
                    <a:lnTo>
                      <a:pt x="123" y="265"/>
                    </a:lnTo>
                    <a:lnTo>
                      <a:pt x="130" y="265"/>
                    </a:lnTo>
                    <a:lnTo>
                      <a:pt x="130" y="265"/>
                    </a:lnTo>
                    <a:lnTo>
                      <a:pt x="130" y="265"/>
                    </a:lnTo>
                    <a:lnTo>
                      <a:pt x="130" y="268"/>
                    </a:lnTo>
                    <a:lnTo>
                      <a:pt x="130" y="268"/>
                    </a:lnTo>
                    <a:lnTo>
                      <a:pt x="128" y="268"/>
                    </a:lnTo>
                    <a:lnTo>
                      <a:pt x="121" y="268"/>
                    </a:lnTo>
                    <a:lnTo>
                      <a:pt x="121" y="268"/>
                    </a:lnTo>
                    <a:lnTo>
                      <a:pt x="118" y="270"/>
                    </a:lnTo>
                    <a:lnTo>
                      <a:pt x="114" y="270"/>
                    </a:lnTo>
                    <a:lnTo>
                      <a:pt x="114" y="270"/>
                    </a:lnTo>
                    <a:lnTo>
                      <a:pt x="114" y="272"/>
                    </a:lnTo>
                    <a:lnTo>
                      <a:pt x="111" y="272"/>
                    </a:lnTo>
                    <a:lnTo>
                      <a:pt x="109" y="275"/>
                    </a:lnTo>
                    <a:lnTo>
                      <a:pt x="109" y="277"/>
                    </a:lnTo>
                    <a:lnTo>
                      <a:pt x="106" y="277"/>
                    </a:lnTo>
                    <a:lnTo>
                      <a:pt x="106" y="279"/>
                    </a:lnTo>
                    <a:lnTo>
                      <a:pt x="109" y="279"/>
                    </a:lnTo>
                    <a:lnTo>
                      <a:pt x="109" y="279"/>
                    </a:lnTo>
                    <a:lnTo>
                      <a:pt x="114" y="279"/>
                    </a:lnTo>
                    <a:lnTo>
                      <a:pt x="116" y="279"/>
                    </a:lnTo>
                    <a:lnTo>
                      <a:pt x="118" y="277"/>
                    </a:lnTo>
                    <a:lnTo>
                      <a:pt x="121" y="277"/>
                    </a:lnTo>
                    <a:lnTo>
                      <a:pt x="123" y="275"/>
                    </a:lnTo>
                    <a:lnTo>
                      <a:pt x="125" y="275"/>
                    </a:lnTo>
                    <a:lnTo>
                      <a:pt x="137" y="270"/>
                    </a:lnTo>
                    <a:lnTo>
                      <a:pt x="140" y="268"/>
                    </a:lnTo>
                    <a:lnTo>
                      <a:pt x="144" y="268"/>
                    </a:lnTo>
                    <a:lnTo>
                      <a:pt x="147" y="265"/>
                    </a:lnTo>
                    <a:lnTo>
                      <a:pt x="147" y="265"/>
                    </a:lnTo>
                    <a:lnTo>
                      <a:pt x="147" y="268"/>
                    </a:lnTo>
                    <a:lnTo>
                      <a:pt x="142" y="268"/>
                    </a:lnTo>
                    <a:lnTo>
                      <a:pt x="140" y="270"/>
                    </a:lnTo>
                    <a:lnTo>
                      <a:pt x="137" y="270"/>
                    </a:lnTo>
                    <a:lnTo>
                      <a:pt x="135" y="270"/>
                    </a:lnTo>
                    <a:lnTo>
                      <a:pt x="135" y="272"/>
                    </a:lnTo>
                    <a:lnTo>
                      <a:pt x="132" y="272"/>
                    </a:lnTo>
                    <a:lnTo>
                      <a:pt x="130" y="275"/>
                    </a:lnTo>
                    <a:lnTo>
                      <a:pt x="128" y="275"/>
                    </a:lnTo>
                    <a:lnTo>
                      <a:pt x="125" y="275"/>
                    </a:lnTo>
                    <a:lnTo>
                      <a:pt x="116" y="279"/>
                    </a:lnTo>
                    <a:lnTo>
                      <a:pt x="109" y="282"/>
                    </a:lnTo>
                    <a:lnTo>
                      <a:pt x="109" y="282"/>
                    </a:lnTo>
                    <a:lnTo>
                      <a:pt x="109" y="282"/>
                    </a:lnTo>
                    <a:lnTo>
                      <a:pt x="111" y="282"/>
                    </a:lnTo>
                    <a:lnTo>
                      <a:pt x="111" y="282"/>
                    </a:lnTo>
                    <a:lnTo>
                      <a:pt x="111" y="282"/>
                    </a:lnTo>
                    <a:lnTo>
                      <a:pt x="109" y="287"/>
                    </a:lnTo>
                    <a:lnTo>
                      <a:pt x="106" y="289"/>
                    </a:lnTo>
                    <a:lnTo>
                      <a:pt x="109" y="289"/>
                    </a:lnTo>
                    <a:lnTo>
                      <a:pt x="109" y="291"/>
                    </a:lnTo>
                    <a:lnTo>
                      <a:pt x="114" y="289"/>
                    </a:lnTo>
                    <a:lnTo>
                      <a:pt x="116" y="291"/>
                    </a:lnTo>
                    <a:lnTo>
                      <a:pt x="118" y="291"/>
                    </a:lnTo>
                    <a:lnTo>
                      <a:pt x="123" y="291"/>
                    </a:lnTo>
                    <a:lnTo>
                      <a:pt x="125" y="289"/>
                    </a:lnTo>
                    <a:lnTo>
                      <a:pt x="128" y="287"/>
                    </a:lnTo>
                    <a:lnTo>
                      <a:pt x="130" y="287"/>
                    </a:lnTo>
                    <a:lnTo>
                      <a:pt x="135" y="287"/>
                    </a:lnTo>
                    <a:lnTo>
                      <a:pt x="137" y="287"/>
                    </a:lnTo>
                    <a:lnTo>
                      <a:pt x="140" y="287"/>
                    </a:lnTo>
                    <a:lnTo>
                      <a:pt x="140" y="287"/>
                    </a:lnTo>
                    <a:lnTo>
                      <a:pt x="137" y="287"/>
                    </a:lnTo>
                    <a:lnTo>
                      <a:pt x="130" y="287"/>
                    </a:lnTo>
                    <a:lnTo>
                      <a:pt x="128" y="289"/>
                    </a:lnTo>
                    <a:lnTo>
                      <a:pt x="123" y="291"/>
                    </a:lnTo>
                    <a:lnTo>
                      <a:pt x="121" y="294"/>
                    </a:lnTo>
                    <a:lnTo>
                      <a:pt x="116" y="294"/>
                    </a:lnTo>
                    <a:lnTo>
                      <a:pt x="116" y="294"/>
                    </a:lnTo>
                    <a:lnTo>
                      <a:pt x="114" y="294"/>
                    </a:lnTo>
                    <a:lnTo>
                      <a:pt x="114" y="296"/>
                    </a:lnTo>
                    <a:lnTo>
                      <a:pt x="114" y="296"/>
                    </a:lnTo>
                    <a:lnTo>
                      <a:pt x="114" y="296"/>
                    </a:lnTo>
                    <a:lnTo>
                      <a:pt x="116" y="298"/>
                    </a:lnTo>
                    <a:lnTo>
                      <a:pt x="116" y="301"/>
                    </a:lnTo>
                    <a:lnTo>
                      <a:pt x="116" y="305"/>
                    </a:lnTo>
                    <a:lnTo>
                      <a:pt x="114" y="305"/>
                    </a:lnTo>
                    <a:lnTo>
                      <a:pt x="114" y="308"/>
                    </a:lnTo>
                    <a:lnTo>
                      <a:pt x="111" y="313"/>
                    </a:lnTo>
                    <a:lnTo>
                      <a:pt x="111" y="313"/>
                    </a:lnTo>
                    <a:lnTo>
                      <a:pt x="111" y="315"/>
                    </a:lnTo>
                    <a:lnTo>
                      <a:pt x="114" y="315"/>
                    </a:lnTo>
                    <a:lnTo>
                      <a:pt x="114" y="315"/>
                    </a:lnTo>
                    <a:lnTo>
                      <a:pt x="116" y="315"/>
                    </a:lnTo>
                    <a:lnTo>
                      <a:pt x="118" y="313"/>
                    </a:lnTo>
                    <a:lnTo>
                      <a:pt x="123" y="310"/>
                    </a:lnTo>
                    <a:lnTo>
                      <a:pt x="123" y="308"/>
                    </a:lnTo>
                    <a:lnTo>
                      <a:pt x="125" y="305"/>
                    </a:lnTo>
                    <a:lnTo>
                      <a:pt x="128" y="305"/>
                    </a:lnTo>
                    <a:lnTo>
                      <a:pt x="128" y="305"/>
                    </a:lnTo>
                    <a:lnTo>
                      <a:pt x="128" y="305"/>
                    </a:lnTo>
                    <a:lnTo>
                      <a:pt x="125" y="308"/>
                    </a:lnTo>
                    <a:lnTo>
                      <a:pt x="130" y="308"/>
                    </a:lnTo>
                    <a:lnTo>
                      <a:pt x="132" y="305"/>
                    </a:lnTo>
                    <a:lnTo>
                      <a:pt x="132" y="305"/>
                    </a:lnTo>
                    <a:lnTo>
                      <a:pt x="135" y="305"/>
                    </a:lnTo>
                    <a:lnTo>
                      <a:pt x="135" y="303"/>
                    </a:lnTo>
                    <a:lnTo>
                      <a:pt x="135" y="301"/>
                    </a:lnTo>
                    <a:lnTo>
                      <a:pt x="135" y="298"/>
                    </a:lnTo>
                    <a:lnTo>
                      <a:pt x="135" y="296"/>
                    </a:lnTo>
                    <a:lnTo>
                      <a:pt x="135" y="296"/>
                    </a:lnTo>
                    <a:lnTo>
                      <a:pt x="135" y="298"/>
                    </a:lnTo>
                    <a:lnTo>
                      <a:pt x="135" y="301"/>
                    </a:lnTo>
                    <a:lnTo>
                      <a:pt x="137" y="303"/>
                    </a:lnTo>
                    <a:lnTo>
                      <a:pt x="137" y="303"/>
                    </a:lnTo>
                    <a:lnTo>
                      <a:pt x="137" y="303"/>
                    </a:lnTo>
                    <a:lnTo>
                      <a:pt x="137" y="305"/>
                    </a:lnTo>
                    <a:lnTo>
                      <a:pt x="140" y="305"/>
                    </a:lnTo>
                    <a:lnTo>
                      <a:pt x="142" y="305"/>
                    </a:lnTo>
                    <a:lnTo>
                      <a:pt x="142" y="305"/>
                    </a:lnTo>
                    <a:lnTo>
                      <a:pt x="142" y="308"/>
                    </a:lnTo>
                    <a:lnTo>
                      <a:pt x="142" y="310"/>
                    </a:lnTo>
                    <a:lnTo>
                      <a:pt x="142" y="310"/>
                    </a:lnTo>
                    <a:lnTo>
                      <a:pt x="140" y="310"/>
                    </a:lnTo>
                    <a:lnTo>
                      <a:pt x="140" y="308"/>
                    </a:lnTo>
                    <a:lnTo>
                      <a:pt x="140" y="305"/>
                    </a:lnTo>
                    <a:lnTo>
                      <a:pt x="137" y="305"/>
                    </a:lnTo>
                    <a:lnTo>
                      <a:pt x="135" y="308"/>
                    </a:lnTo>
                    <a:lnTo>
                      <a:pt x="132" y="308"/>
                    </a:lnTo>
                    <a:lnTo>
                      <a:pt x="132" y="308"/>
                    </a:lnTo>
                    <a:lnTo>
                      <a:pt x="130" y="308"/>
                    </a:lnTo>
                    <a:lnTo>
                      <a:pt x="130" y="308"/>
                    </a:lnTo>
                    <a:lnTo>
                      <a:pt x="128" y="308"/>
                    </a:lnTo>
                    <a:lnTo>
                      <a:pt x="125" y="308"/>
                    </a:lnTo>
                    <a:lnTo>
                      <a:pt x="123" y="310"/>
                    </a:lnTo>
                    <a:lnTo>
                      <a:pt x="118" y="313"/>
                    </a:lnTo>
                    <a:lnTo>
                      <a:pt x="116" y="315"/>
                    </a:lnTo>
                    <a:lnTo>
                      <a:pt x="116" y="317"/>
                    </a:lnTo>
                    <a:lnTo>
                      <a:pt x="116" y="317"/>
                    </a:lnTo>
                    <a:lnTo>
                      <a:pt x="116" y="317"/>
                    </a:lnTo>
                    <a:lnTo>
                      <a:pt x="118" y="317"/>
                    </a:lnTo>
                    <a:lnTo>
                      <a:pt x="118" y="317"/>
                    </a:lnTo>
                    <a:lnTo>
                      <a:pt x="121" y="317"/>
                    </a:lnTo>
                    <a:lnTo>
                      <a:pt x="123" y="317"/>
                    </a:lnTo>
                    <a:lnTo>
                      <a:pt x="130" y="315"/>
                    </a:lnTo>
                    <a:lnTo>
                      <a:pt x="135" y="313"/>
                    </a:lnTo>
                    <a:lnTo>
                      <a:pt x="135" y="313"/>
                    </a:lnTo>
                    <a:lnTo>
                      <a:pt x="135" y="315"/>
                    </a:lnTo>
                    <a:lnTo>
                      <a:pt x="132" y="315"/>
                    </a:lnTo>
                    <a:lnTo>
                      <a:pt x="132" y="315"/>
                    </a:lnTo>
                    <a:lnTo>
                      <a:pt x="135" y="315"/>
                    </a:lnTo>
                    <a:lnTo>
                      <a:pt x="137" y="315"/>
                    </a:lnTo>
                    <a:lnTo>
                      <a:pt x="135" y="317"/>
                    </a:lnTo>
                    <a:lnTo>
                      <a:pt x="130" y="317"/>
                    </a:lnTo>
                    <a:lnTo>
                      <a:pt x="130" y="317"/>
                    </a:lnTo>
                    <a:lnTo>
                      <a:pt x="125" y="317"/>
                    </a:lnTo>
                    <a:lnTo>
                      <a:pt x="121" y="317"/>
                    </a:lnTo>
                    <a:lnTo>
                      <a:pt x="116" y="320"/>
                    </a:lnTo>
                    <a:lnTo>
                      <a:pt x="116" y="322"/>
                    </a:lnTo>
                    <a:lnTo>
                      <a:pt x="114" y="324"/>
                    </a:lnTo>
                    <a:lnTo>
                      <a:pt x="114" y="327"/>
                    </a:lnTo>
                    <a:lnTo>
                      <a:pt x="116" y="329"/>
                    </a:lnTo>
                    <a:lnTo>
                      <a:pt x="116" y="334"/>
                    </a:lnTo>
                    <a:lnTo>
                      <a:pt x="118" y="336"/>
                    </a:lnTo>
                    <a:lnTo>
                      <a:pt x="118" y="336"/>
                    </a:lnTo>
                    <a:lnTo>
                      <a:pt x="118" y="336"/>
                    </a:lnTo>
                    <a:lnTo>
                      <a:pt x="121" y="339"/>
                    </a:lnTo>
                    <a:lnTo>
                      <a:pt x="121" y="339"/>
                    </a:lnTo>
                    <a:lnTo>
                      <a:pt x="121" y="339"/>
                    </a:lnTo>
                    <a:lnTo>
                      <a:pt x="121" y="341"/>
                    </a:lnTo>
                    <a:lnTo>
                      <a:pt x="121" y="341"/>
                    </a:lnTo>
                    <a:lnTo>
                      <a:pt x="123" y="341"/>
                    </a:lnTo>
                    <a:lnTo>
                      <a:pt x="128" y="339"/>
                    </a:lnTo>
                    <a:lnTo>
                      <a:pt x="132" y="336"/>
                    </a:lnTo>
                    <a:lnTo>
                      <a:pt x="128" y="341"/>
                    </a:lnTo>
                    <a:lnTo>
                      <a:pt x="125" y="341"/>
                    </a:lnTo>
                    <a:lnTo>
                      <a:pt x="123" y="343"/>
                    </a:lnTo>
                    <a:lnTo>
                      <a:pt x="123" y="343"/>
                    </a:lnTo>
                    <a:lnTo>
                      <a:pt x="121" y="346"/>
                    </a:lnTo>
                    <a:lnTo>
                      <a:pt x="121" y="348"/>
                    </a:lnTo>
                    <a:lnTo>
                      <a:pt x="121" y="348"/>
                    </a:lnTo>
                    <a:lnTo>
                      <a:pt x="121" y="348"/>
                    </a:lnTo>
                    <a:lnTo>
                      <a:pt x="121" y="350"/>
                    </a:lnTo>
                    <a:lnTo>
                      <a:pt x="123" y="350"/>
                    </a:lnTo>
                    <a:lnTo>
                      <a:pt x="123" y="350"/>
                    </a:lnTo>
                    <a:lnTo>
                      <a:pt x="125" y="353"/>
                    </a:lnTo>
                    <a:lnTo>
                      <a:pt x="128" y="353"/>
                    </a:lnTo>
                    <a:lnTo>
                      <a:pt x="128" y="353"/>
                    </a:lnTo>
                    <a:lnTo>
                      <a:pt x="125" y="355"/>
                    </a:lnTo>
                    <a:lnTo>
                      <a:pt x="125" y="355"/>
                    </a:lnTo>
                    <a:lnTo>
                      <a:pt x="125" y="358"/>
                    </a:lnTo>
                    <a:lnTo>
                      <a:pt x="125" y="358"/>
                    </a:lnTo>
                    <a:lnTo>
                      <a:pt x="130" y="358"/>
                    </a:lnTo>
                    <a:lnTo>
                      <a:pt x="130" y="355"/>
                    </a:lnTo>
                    <a:lnTo>
                      <a:pt x="132" y="355"/>
                    </a:lnTo>
                    <a:lnTo>
                      <a:pt x="135" y="355"/>
                    </a:lnTo>
                    <a:lnTo>
                      <a:pt x="135" y="355"/>
                    </a:lnTo>
                    <a:lnTo>
                      <a:pt x="137" y="355"/>
                    </a:lnTo>
                    <a:lnTo>
                      <a:pt x="135" y="358"/>
                    </a:lnTo>
                    <a:lnTo>
                      <a:pt x="135" y="358"/>
                    </a:lnTo>
                    <a:lnTo>
                      <a:pt x="132" y="358"/>
                    </a:lnTo>
                    <a:lnTo>
                      <a:pt x="130" y="358"/>
                    </a:lnTo>
                    <a:lnTo>
                      <a:pt x="128" y="360"/>
                    </a:lnTo>
                    <a:lnTo>
                      <a:pt x="128" y="360"/>
                    </a:lnTo>
                    <a:lnTo>
                      <a:pt x="128" y="362"/>
                    </a:lnTo>
                    <a:lnTo>
                      <a:pt x="128" y="362"/>
                    </a:lnTo>
                    <a:lnTo>
                      <a:pt x="128" y="362"/>
                    </a:lnTo>
                    <a:lnTo>
                      <a:pt x="130" y="362"/>
                    </a:lnTo>
                    <a:lnTo>
                      <a:pt x="128" y="365"/>
                    </a:lnTo>
                    <a:lnTo>
                      <a:pt x="128" y="365"/>
                    </a:lnTo>
                    <a:lnTo>
                      <a:pt x="128" y="367"/>
                    </a:lnTo>
                    <a:lnTo>
                      <a:pt x="130" y="367"/>
                    </a:lnTo>
                    <a:lnTo>
                      <a:pt x="130" y="367"/>
                    </a:lnTo>
                    <a:lnTo>
                      <a:pt x="130" y="369"/>
                    </a:lnTo>
                    <a:lnTo>
                      <a:pt x="130" y="372"/>
                    </a:lnTo>
                    <a:lnTo>
                      <a:pt x="135" y="372"/>
                    </a:lnTo>
                    <a:lnTo>
                      <a:pt x="135" y="372"/>
                    </a:lnTo>
                    <a:lnTo>
                      <a:pt x="135" y="372"/>
                    </a:lnTo>
                    <a:lnTo>
                      <a:pt x="137" y="372"/>
                    </a:lnTo>
                    <a:lnTo>
                      <a:pt x="137" y="374"/>
                    </a:lnTo>
                    <a:lnTo>
                      <a:pt x="137" y="374"/>
                    </a:lnTo>
                    <a:lnTo>
                      <a:pt x="135" y="377"/>
                    </a:lnTo>
                    <a:lnTo>
                      <a:pt x="137" y="377"/>
                    </a:lnTo>
                    <a:lnTo>
                      <a:pt x="140" y="377"/>
                    </a:lnTo>
                    <a:lnTo>
                      <a:pt x="142" y="377"/>
                    </a:lnTo>
                    <a:lnTo>
                      <a:pt x="144" y="377"/>
                    </a:lnTo>
                    <a:lnTo>
                      <a:pt x="142" y="377"/>
                    </a:lnTo>
                    <a:lnTo>
                      <a:pt x="137" y="379"/>
                    </a:lnTo>
                    <a:lnTo>
                      <a:pt x="135" y="381"/>
                    </a:lnTo>
                    <a:lnTo>
                      <a:pt x="137" y="381"/>
                    </a:lnTo>
                    <a:lnTo>
                      <a:pt x="137" y="381"/>
                    </a:lnTo>
                    <a:lnTo>
                      <a:pt x="137" y="381"/>
                    </a:lnTo>
                    <a:lnTo>
                      <a:pt x="142" y="381"/>
                    </a:lnTo>
                    <a:lnTo>
                      <a:pt x="142" y="381"/>
                    </a:lnTo>
                    <a:lnTo>
                      <a:pt x="142" y="381"/>
                    </a:lnTo>
                    <a:lnTo>
                      <a:pt x="142" y="379"/>
                    </a:lnTo>
                    <a:lnTo>
                      <a:pt x="144" y="379"/>
                    </a:lnTo>
                    <a:lnTo>
                      <a:pt x="147" y="379"/>
                    </a:lnTo>
                    <a:lnTo>
                      <a:pt x="147" y="379"/>
                    </a:lnTo>
                    <a:lnTo>
                      <a:pt x="149" y="381"/>
                    </a:lnTo>
                    <a:lnTo>
                      <a:pt x="151" y="381"/>
                    </a:lnTo>
                    <a:lnTo>
                      <a:pt x="151" y="379"/>
                    </a:lnTo>
                    <a:lnTo>
                      <a:pt x="154" y="379"/>
                    </a:lnTo>
                    <a:lnTo>
                      <a:pt x="156" y="379"/>
                    </a:lnTo>
                    <a:lnTo>
                      <a:pt x="158" y="379"/>
                    </a:lnTo>
                    <a:lnTo>
                      <a:pt x="158" y="379"/>
                    </a:lnTo>
                    <a:lnTo>
                      <a:pt x="161" y="377"/>
                    </a:lnTo>
                    <a:lnTo>
                      <a:pt x="166" y="377"/>
                    </a:lnTo>
                    <a:lnTo>
                      <a:pt x="170" y="374"/>
                    </a:lnTo>
                    <a:lnTo>
                      <a:pt x="173" y="374"/>
                    </a:lnTo>
                    <a:lnTo>
                      <a:pt x="173" y="374"/>
                    </a:lnTo>
                    <a:lnTo>
                      <a:pt x="173" y="372"/>
                    </a:lnTo>
                    <a:lnTo>
                      <a:pt x="175" y="372"/>
                    </a:lnTo>
                    <a:lnTo>
                      <a:pt x="175" y="372"/>
                    </a:lnTo>
                    <a:lnTo>
                      <a:pt x="173" y="374"/>
                    </a:lnTo>
                    <a:lnTo>
                      <a:pt x="173" y="377"/>
                    </a:lnTo>
                    <a:lnTo>
                      <a:pt x="170" y="377"/>
                    </a:lnTo>
                    <a:lnTo>
                      <a:pt x="166" y="381"/>
                    </a:lnTo>
                    <a:lnTo>
                      <a:pt x="166" y="384"/>
                    </a:lnTo>
                    <a:lnTo>
                      <a:pt x="168" y="384"/>
                    </a:lnTo>
                    <a:lnTo>
                      <a:pt x="168" y="384"/>
                    </a:lnTo>
                    <a:lnTo>
                      <a:pt x="170" y="386"/>
                    </a:lnTo>
                    <a:lnTo>
                      <a:pt x="173" y="386"/>
                    </a:lnTo>
                    <a:lnTo>
                      <a:pt x="175" y="386"/>
                    </a:lnTo>
                    <a:lnTo>
                      <a:pt x="175" y="386"/>
                    </a:lnTo>
                    <a:lnTo>
                      <a:pt x="177" y="386"/>
                    </a:lnTo>
                    <a:lnTo>
                      <a:pt x="180" y="386"/>
                    </a:lnTo>
                    <a:lnTo>
                      <a:pt x="187" y="384"/>
                    </a:lnTo>
                    <a:lnTo>
                      <a:pt x="187" y="384"/>
                    </a:lnTo>
                    <a:lnTo>
                      <a:pt x="184" y="386"/>
                    </a:lnTo>
                    <a:lnTo>
                      <a:pt x="182" y="386"/>
                    </a:lnTo>
                    <a:lnTo>
                      <a:pt x="180" y="388"/>
                    </a:lnTo>
                    <a:lnTo>
                      <a:pt x="177" y="388"/>
                    </a:lnTo>
                    <a:lnTo>
                      <a:pt x="175" y="388"/>
                    </a:lnTo>
                    <a:lnTo>
                      <a:pt x="175" y="391"/>
                    </a:lnTo>
                    <a:lnTo>
                      <a:pt x="173" y="391"/>
                    </a:lnTo>
                    <a:lnTo>
                      <a:pt x="180" y="395"/>
                    </a:lnTo>
                    <a:lnTo>
                      <a:pt x="182" y="395"/>
                    </a:lnTo>
                    <a:lnTo>
                      <a:pt x="184" y="395"/>
                    </a:lnTo>
                    <a:lnTo>
                      <a:pt x="187" y="393"/>
                    </a:lnTo>
                    <a:lnTo>
                      <a:pt x="189" y="391"/>
                    </a:lnTo>
                    <a:lnTo>
                      <a:pt x="192" y="391"/>
                    </a:lnTo>
                    <a:lnTo>
                      <a:pt x="192" y="391"/>
                    </a:lnTo>
                    <a:lnTo>
                      <a:pt x="189" y="393"/>
                    </a:lnTo>
                    <a:lnTo>
                      <a:pt x="187" y="395"/>
                    </a:lnTo>
                    <a:lnTo>
                      <a:pt x="184" y="395"/>
                    </a:lnTo>
                    <a:lnTo>
                      <a:pt x="184" y="398"/>
                    </a:lnTo>
                    <a:lnTo>
                      <a:pt x="184" y="398"/>
                    </a:lnTo>
                    <a:lnTo>
                      <a:pt x="187" y="398"/>
                    </a:lnTo>
                    <a:lnTo>
                      <a:pt x="187" y="398"/>
                    </a:lnTo>
                    <a:lnTo>
                      <a:pt x="189" y="398"/>
                    </a:lnTo>
                    <a:lnTo>
                      <a:pt x="192" y="398"/>
                    </a:lnTo>
                    <a:lnTo>
                      <a:pt x="189" y="398"/>
                    </a:lnTo>
                    <a:lnTo>
                      <a:pt x="189" y="398"/>
                    </a:lnTo>
                    <a:lnTo>
                      <a:pt x="192" y="400"/>
                    </a:lnTo>
                    <a:lnTo>
                      <a:pt x="194" y="398"/>
                    </a:lnTo>
                    <a:lnTo>
                      <a:pt x="196" y="398"/>
                    </a:lnTo>
                    <a:lnTo>
                      <a:pt x="196" y="398"/>
                    </a:lnTo>
                    <a:lnTo>
                      <a:pt x="196" y="398"/>
                    </a:lnTo>
                    <a:lnTo>
                      <a:pt x="194" y="395"/>
                    </a:lnTo>
                    <a:lnTo>
                      <a:pt x="194" y="395"/>
                    </a:lnTo>
                    <a:lnTo>
                      <a:pt x="196" y="395"/>
                    </a:lnTo>
                    <a:lnTo>
                      <a:pt x="196" y="398"/>
                    </a:lnTo>
                    <a:lnTo>
                      <a:pt x="201" y="398"/>
                    </a:lnTo>
                    <a:lnTo>
                      <a:pt x="203" y="395"/>
                    </a:lnTo>
                    <a:lnTo>
                      <a:pt x="206" y="395"/>
                    </a:lnTo>
                    <a:lnTo>
                      <a:pt x="206" y="391"/>
                    </a:lnTo>
                    <a:lnTo>
                      <a:pt x="206" y="391"/>
                    </a:lnTo>
                    <a:lnTo>
                      <a:pt x="208" y="388"/>
                    </a:lnTo>
                    <a:lnTo>
                      <a:pt x="206" y="388"/>
                    </a:lnTo>
                    <a:lnTo>
                      <a:pt x="206" y="386"/>
                    </a:lnTo>
                    <a:lnTo>
                      <a:pt x="203" y="386"/>
                    </a:lnTo>
                    <a:lnTo>
                      <a:pt x="201" y="386"/>
                    </a:lnTo>
                    <a:lnTo>
                      <a:pt x="199" y="386"/>
                    </a:lnTo>
                    <a:lnTo>
                      <a:pt x="196" y="384"/>
                    </a:lnTo>
                    <a:lnTo>
                      <a:pt x="199" y="384"/>
                    </a:lnTo>
                    <a:lnTo>
                      <a:pt x="199" y="384"/>
                    </a:lnTo>
                    <a:lnTo>
                      <a:pt x="203" y="384"/>
                    </a:lnTo>
                    <a:lnTo>
                      <a:pt x="206" y="386"/>
                    </a:lnTo>
                    <a:lnTo>
                      <a:pt x="208" y="386"/>
                    </a:lnTo>
                    <a:lnTo>
                      <a:pt x="208" y="386"/>
                    </a:lnTo>
                    <a:lnTo>
                      <a:pt x="211" y="386"/>
                    </a:lnTo>
                    <a:lnTo>
                      <a:pt x="218" y="381"/>
                    </a:lnTo>
                    <a:lnTo>
                      <a:pt x="220" y="374"/>
                    </a:lnTo>
                    <a:lnTo>
                      <a:pt x="225" y="369"/>
                    </a:lnTo>
                    <a:lnTo>
                      <a:pt x="227" y="367"/>
                    </a:lnTo>
                    <a:lnTo>
                      <a:pt x="229" y="365"/>
                    </a:lnTo>
                    <a:lnTo>
                      <a:pt x="229" y="362"/>
                    </a:lnTo>
                    <a:lnTo>
                      <a:pt x="227" y="362"/>
                    </a:lnTo>
                    <a:lnTo>
                      <a:pt x="227" y="362"/>
                    </a:lnTo>
                    <a:lnTo>
                      <a:pt x="229" y="362"/>
                    </a:lnTo>
                    <a:lnTo>
                      <a:pt x="232" y="362"/>
                    </a:lnTo>
                    <a:lnTo>
                      <a:pt x="234" y="360"/>
                    </a:lnTo>
                    <a:lnTo>
                      <a:pt x="234" y="358"/>
                    </a:lnTo>
                    <a:lnTo>
                      <a:pt x="234" y="358"/>
                    </a:lnTo>
                    <a:lnTo>
                      <a:pt x="234" y="355"/>
                    </a:lnTo>
                    <a:lnTo>
                      <a:pt x="234" y="355"/>
                    </a:lnTo>
                    <a:lnTo>
                      <a:pt x="237" y="353"/>
                    </a:lnTo>
                    <a:lnTo>
                      <a:pt x="237" y="350"/>
                    </a:lnTo>
                    <a:lnTo>
                      <a:pt x="237" y="350"/>
                    </a:lnTo>
                    <a:lnTo>
                      <a:pt x="237" y="348"/>
                    </a:lnTo>
                    <a:lnTo>
                      <a:pt x="239" y="348"/>
                    </a:lnTo>
                    <a:lnTo>
                      <a:pt x="239" y="346"/>
                    </a:lnTo>
                    <a:lnTo>
                      <a:pt x="234" y="346"/>
                    </a:lnTo>
                    <a:lnTo>
                      <a:pt x="232" y="346"/>
                    </a:lnTo>
                    <a:lnTo>
                      <a:pt x="229" y="343"/>
                    </a:lnTo>
                    <a:lnTo>
                      <a:pt x="229" y="343"/>
                    </a:lnTo>
                    <a:lnTo>
                      <a:pt x="229" y="343"/>
                    </a:lnTo>
                    <a:lnTo>
                      <a:pt x="232" y="343"/>
                    </a:lnTo>
                    <a:lnTo>
                      <a:pt x="237" y="343"/>
                    </a:lnTo>
                    <a:lnTo>
                      <a:pt x="239" y="343"/>
                    </a:lnTo>
                    <a:lnTo>
                      <a:pt x="241" y="343"/>
                    </a:lnTo>
                    <a:lnTo>
                      <a:pt x="244" y="343"/>
                    </a:lnTo>
                    <a:lnTo>
                      <a:pt x="244" y="343"/>
                    </a:lnTo>
                    <a:lnTo>
                      <a:pt x="248" y="341"/>
                    </a:lnTo>
                    <a:lnTo>
                      <a:pt x="248" y="341"/>
                    </a:lnTo>
                    <a:lnTo>
                      <a:pt x="251" y="339"/>
                    </a:lnTo>
                    <a:lnTo>
                      <a:pt x="246" y="336"/>
                    </a:lnTo>
                    <a:lnTo>
                      <a:pt x="244" y="336"/>
                    </a:lnTo>
                    <a:lnTo>
                      <a:pt x="244" y="336"/>
                    </a:lnTo>
                    <a:lnTo>
                      <a:pt x="244" y="334"/>
                    </a:lnTo>
                    <a:lnTo>
                      <a:pt x="246" y="334"/>
                    </a:lnTo>
                    <a:lnTo>
                      <a:pt x="246" y="336"/>
                    </a:lnTo>
                    <a:lnTo>
                      <a:pt x="248" y="336"/>
                    </a:lnTo>
                    <a:lnTo>
                      <a:pt x="251" y="336"/>
                    </a:lnTo>
                    <a:lnTo>
                      <a:pt x="253" y="336"/>
                    </a:lnTo>
                    <a:lnTo>
                      <a:pt x="253" y="336"/>
                    </a:lnTo>
                    <a:lnTo>
                      <a:pt x="255" y="336"/>
                    </a:lnTo>
                    <a:lnTo>
                      <a:pt x="258" y="334"/>
                    </a:lnTo>
                    <a:lnTo>
                      <a:pt x="260" y="334"/>
                    </a:lnTo>
                    <a:lnTo>
                      <a:pt x="260" y="332"/>
                    </a:lnTo>
                    <a:lnTo>
                      <a:pt x="260" y="332"/>
                    </a:lnTo>
                    <a:lnTo>
                      <a:pt x="263" y="332"/>
                    </a:lnTo>
                    <a:lnTo>
                      <a:pt x="263" y="329"/>
                    </a:lnTo>
                    <a:lnTo>
                      <a:pt x="265" y="329"/>
                    </a:lnTo>
                    <a:lnTo>
                      <a:pt x="267" y="329"/>
                    </a:lnTo>
                    <a:lnTo>
                      <a:pt x="267" y="327"/>
                    </a:lnTo>
                    <a:lnTo>
                      <a:pt x="272" y="324"/>
                    </a:lnTo>
                    <a:lnTo>
                      <a:pt x="272" y="324"/>
                    </a:lnTo>
                    <a:lnTo>
                      <a:pt x="272" y="320"/>
                    </a:lnTo>
                    <a:lnTo>
                      <a:pt x="274" y="317"/>
                    </a:lnTo>
                    <a:lnTo>
                      <a:pt x="270" y="317"/>
                    </a:lnTo>
                    <a:lnTo>
                      <a:pt x="270" y="317"/>
                    </a:lnTo>
                    <a:lnTo>
                      <a:pt x="267" y="317"/>
                    </a:lnTo>
                    <a:lnTo>
                      <a:pt x="265" y="315"/>
                    </a:lnTo>
                    <a:lnTo>
                      <a:pt x="260" y="315"/>
                    </a:lnTo>
                    <a:lnTo>
                      <a:pt x="267" y="315"/>
                    </a:lnTo>
                    <a:lnTo>
                      <a:pt x="267" y="315"/>
                    </a:lnTo>
                    <a:lnTo>
                      <a:pt x="270" y="315"/>
                    </a:lnTo>
                    <a:lnTo>
                      <a:pt x="272" y="315"/>
                    </a:lnTo>
                    <a:lnTo>
                      <a:pt x="274" y="315"/>
                    </a:lnTo>
                    <a:lnTo>
                      <a:pt x="274" y="313"/>
                    </a:lnTo>
                    <a:lnTo>
                      <a:pt x="277" y="313"/>
                    </a:lnTo>
                    <a:lnTo>
                      <a:pt x="281" y="313"/>
                    </a:lnTo>
                    <a:lnTo>
                      <a:pt x="281" y="310"/>
                    </a:lnTo>
                    <a:lnTo>
                      <a:pt x="281" y="310"/>
                    </a:lnTo>
                    <a:lnTo>
                      <a:pt x="281" y="308"/>
                    </a:lnTo>
                    <a:lnTo>
                      <a:pt x="279" y="308"/>
                    </a:lnTo>
                    <a:lnTo>
                      <a:pt x="279" y="303"/>
                    </a:lnTo>
                    <a:lnTo>
                      <a:pt x="279" y="303"/>
                    </a:lnTo>
                    <a:lnTo>
                      <a:pt x="277" y="303"/>
                    </a:lnTo>
                    <a:lnTo>
                      <a:pt x="274" y="303"/>
                    </a:lnTo>
                    <a:lnTo>
                      <a:pt x="274" y="301"/>
                    </a:lnTo>
                    <a:lnTo>
                      <a:pt x="274" y="301"/>
                    </a:lnTo>
                    <a:lnTo>
                      <a:pt x="274" y="298"/>
                    </a:lnTo>
                    <a:lnTo>
                      <a:pt x="277" y="298"/>
                    </a:lnTo>
                    <a:lnTo>
                      <a:pt x="279" y="298"/>
                    </a:lnTo>
                    <a:lnTo>
                      <a:pt x="286" y="301"/>
                    </a:lnTo>
                    <a:lnTo>
                      <a:pt x="289" y="298"/>
                    </a:lnTo>
                    <a:lnTo>
                      <a:pt x="291" y="298"/>
                    </a:lnTo>
                    <a:lnTo>
                      <a:pt x="293" y="296"/>
                    </a:lnTo>
                    <a:lnTo>
                      <a:pt x="296" y="296"/>
                    </a:lnTo>
                    <a:lnTo>
                      <a:pt x="298" y="294"/>
                    </a:lnTo>
                    <a:lnTo>
                      <a:pt x="296" y="294"/>
                    </a:lnTo>
                    <a:lnTo>
                      <a:pt x="291" y="291"/>
                    </a:lnTo>
                    <a:lnTo>
                      <a:pt x="291" y="291"/>
                    </a:lnTo>
                    <a:lnTo>
                      <a:pt x="293" y="291"/>
                    </a:lnTo>
                    <a:lnTo>
                      <a:pt x="300" y="289"/>
                    </a:lnTo>
                    <a:lnTo>
                      <a:pt x="305" y="289"/>
                    </a:lnTo>
                    <a:lnTo>
                      <a:pt x="312" y="289"/>
                    </a:lnTo>
                    <a:lnTo>
                      <a:pt x="319" y="287"/>
                    </a:lnTo>
                    <a:lnTo>
                      <a:pt x="319" y="287"/>
                    </a:lnTo>
                    <a:lnTo>
                      <a:pt x="319" y="284"/>
                    </a:lnTo>
                    <a:lnTo>
                      <a:pt x="317" y="284"/>
                    </a:lnTo>
                    <a:lnTo>
                      <a:pt x="317" y="282"/>
                    </a:lnTo>
                    <a:lnTo>
                      <a:pt x="319" y="282"/>
                    </a:lnTo>
                    <a:lnTo>
                      <a:pt x="322" y="284"/>
                    </a:lnTo>
                    <a:lnTo>
                      <a:pt x="324" y="282"/>
                    </a:lnTo>
                    <a:lnTo>
                      <a:pt x="326" y="279"/>
                    </a:lnTo>
                    <a:lnTo>
                      <a:pt x="329" y="279"/>
                    </a:lnTo>
                    <a:lnTo>
                      <a:pt x="329" y="277"/>
                    </a:lnTo>
                    <a:lnTo>
                      <a:pt x="326" y="277"/>
                    </a:lnTo>
                    <a:lnTo>
                      <a:pt x="324" y="275"/>
                    </a:lnTo>
                    <a:lnTo>
                      <a:pt x="326" y="275"/>
                    </a:lnTo>
                    <a:lnTo>
                      <a:pt x="329" y="275"/>
                    </a:lnTo>
                    <a:lnTo>
                      <a:pt x="334" y="275"/>
                    </a:lnTo>
                    <a:lnTo>
                      <a:pt x="336" y="277"/>
                    </a:lnTo>
                    <a:lnTo>
                      <a:pt x="336" y="277"/>
                    </a:lnTo>
                    <a:lnTo>
                      <a:pt x="334" y="279"/>
                    </a:lnTo>
                    <a:lnTo>
                      <a:pt x="326" y="282"/>
                    </a:lnTo>
                    <a:lnTo>
                      <a:pt x="326" y="284"/>
                    </a:lnTo>
                    <a:lnTo>
                      <a:pt x="326" y="284"/>
                    </a:lnTo>
                    <a:lnTo>
                      <a:pt x="326" y="287"/>
                    </a:lnTo>
                    <a:lnTo>
                      <a:pt x="322" y="287"/>
                    </a:lnTo>
                    <a:lnTo>
                      <a:pt x="322" y="289"/>
                    </a:lnTo>
                    <a:lnTo>
                      <a:pt x="324" y="289"/>
                    </a:lnTo>
                    <a:lnTo>
                      <a:pt x="326" y="289"/>
                    </a:lnTo>
                    <a:lnTo>
                      <a:pt x="329" y="289"/>
                    </a:lnTo>
                    <a:lnTo>
                      <a:pt x="331" y="289"/>
                    </a:lnTo>
                    <a:lnTo>
                      <a:pt x="331" y="287"/>
                    </a:lnTo>
                    <a:lnTo>
                      <a:pt x="334" y="287"/>
                    </a:lnTo>
                    <a:lnTo>
                      <a:pt x="334" y="287"/>
                    </a:lnTo>
                    <a:lnTo>
                      <a:pt x="336" y="284"/>
                    </a:lnTo>
                    <a:lnTo>
                      <a:pt x="336" y="284"/>
                    </a:lnTo>
                    <a:lnTo>
                      <a:pt x="338" y="287"/>
                    </a:lnTo>
                    <a:lnTo>
                      <a:pt x="338" y="287"/>
                    </a:lnTo>
                    <a:lnTo>
                      <a:pt x="341" y="287"/>
                    </a:lnTo>
                    <a:lnTo>
                      <a:pt x="341" y="287"/>
                    </a:lnTo>
                    <a:lnTo>
                      <a:pt x="343" y="287"/>
                    </a:lnTo>
                    <a:lnTo>
                      <a:pt x="345" y="284"/>
                    </a:lnTo>
                    <a:lnTo>
                      <a:pt x="345" y="282"/>
                    </a:lnTo>
                    <a:lnTo>
                      <a:pt x="345" y="282"/>
                    </a:lnTo>
                    <a:lnTo>
                      <a:pt x="348" y="282"/>
                    </a:lnTo>
                    <a:lnTo>
                      <a:pt x="345" y="284"/>
                    </a:lnTo>
                    <a:lnTo>
                      <a:pt x="345" y="284"/>
                    </a:lnTo>
                    <a:lnTo>
                      <a:pt x="348" y="284"/>
                    </a:lnTo>
                    <a:lnTo>
                      <a:pt x="352" y="282"/>
                    </a:lnTo>
                    <a:lnTo>
                      <a:pt x="355" y="282"/>
                    </a:lnTo>
                    <a:lnTo>
                      <a:pt x="357" y="279"/>
                    </a:lnTo>
                    <a:lnTo>
                      <a:pt x="360" y="279"/>
                    </a:lnTo>
                    <a:lnTo>
                      <a:pt x="357" y="277"/>
                    </a:lnTo>
                    <a:lnTo>
                      <a:pt x="357" y="275"/>
                    </a:lnTo>
                    <a:lnTo>
                      <a:pt x="357" y="275"/>
                    </a:lnTo>
                    <a:lnTo>
                      <a:pt x="357" y="275"/>
                    </a:lnTo>
                    <a:lnTo>
                      <a:pt x="357" y="275"/>
                    </a:lnTo>
                    <a:lnTo>
                      <a:pt x="360" y="275"/>
                    </a:lnTo>
                    <a:lnTo>
                      <a:pt x="360" y="277"/>
                    </a:lnTo>
                    <a:lnTo>
                      <a:pt x="362" y="277"/>
                    </a:lnTo>
                    <a:lnTo>
                      <a:pt x="364" y="277"/>
                    </a:lnTo>
                    <a:lnTo>
                      <a:pt x="367" y="277"/>
                    </a:lnTo>
                    <a:lnTo>
                      <a:pt x="367" y="277"/>
                    </a:lnTo>
                    <a:lnTo>
                      <a:pt x="374" y="275"/>
                    </a:lnTo>
                    <a:lnTo>
                      <a:pt x="376" y="275"/>
                    </a:lnTo>
                    <a:lnTo>
                      <a:pt x="376" y="272"/>
                    </a:lnTo>
                    <a:lnTo>
                      <a:pt x="378" y="272"/>
                    </a:lnTo>
                    <a:lnTo>
                      <a:pt x="378" y="270"/>
                    </a:lnTo>
                    <a:lnTo>
                      <a:pt x="381" y="270"/>
                    </a:lnTo>
                    <a:lnTo>
                      <a:pt x="381" y="270"/>
                    </a:lnTo>
                    <a:lnTo>
                      <a:pt x="383" y="270"/>
                    </a:lnTo>
                    <a:lnTo>
                      <a:pt x="383" y="270"/>
                    </a:lnTo>
                    <a:lnTo>
                      <a:pt x="388" y="265"/>
                    </a:lnTo>
                    <a:lnTo>
                      <a:pt x="395" y="260"/>
                    </a:lnTo>
                    <a:lnTo>
                      <a:pt x="395" y="258"/>
                    </a:lnTo>
                    <a:lnTo>
                      <a:pt x="397" y="258"/>
                    </a:lnTo>
                    <a:lnTo>
                      <a:pt x="397" y="258"/>
                    </a:lnTo>
                    <a:lnTo>
                      <a:pt x="397" y="258"/>
                    </a:lnTo>
                    <a:lnTo>
                      <a:pt x="397" y="256"/>
                    </a:lnTo>
                    <a:lnTo>
                      <a:pt x="400" y="256"/>
                    </a:lnTo>
                    <a:lnTo>
                      <a:pt x="400" y="256"/>
                    </a:lnTo>
                    <a:lnTo>
                      <a:pt x="402" y="253"/>
                    </a:lnTo>
                    <a:lnTo>
                      <a:pt x="404" y="251"/>
                    </a:lnTo>
                    <a:lnTo>
                      <a:pt x="404" y="251"/>
                    </a:lnTo>
                    <a:lnTo>
                      <a:pt x="407" y="251"/>
                    </a:lnTo>
                    <a:lnTo>
                      <a:pt x="414" y="249"/>
                    </a:lnTo>
                    <a:lnTo>
                      <a:pt x="416" y="249"/>
                    </a:lnTo>
                    <a:lnTo>
                      <a:pt x="416" y="246"/>
                    </a:lnTo>
                    <a:lnTo>
                      <a:pt x="419" y="246"/>
                    </a:lnTo>
                    <a:lnTo>
                      <a:pt x="421" y="244"/>
                    </a:lnTo>
                    <a:lnTo>
                      <a:pt x="419" y="244"/>
                    </a:lnTo>
                    <a:lnTo>
                      <a:pt x="419" y="242"/>
                    </a:lnTo>
                    <a:lnTo>
                      <a:pt x="419" y="242"/>
                    </a:lnTo>
                    <a:lnTo>
                      <a:pt x="419" y="242"/>
                    </a:lnTo>
                    <a:lnTo>
                      <a:pt x="421" y="242"/>
                    </a:lnTo>
                    <a:lnTo>
                      <a:pt x="421" y="242"/>
                    </a:lnTo>
                    <a:lnTo>
                      <a:pt x="421" y="242"/>
                    </a:lnTo>
                    <a:lnTo>
                      <a:pt x="421" y="239"/>
                    </a:lnTo>
                    <a:lnTo>
                      <a:pt x="421" y="239"/>
                    </a:lnTo>
                    <a:lnTo>
                      <a:pt x="421" y="237"/>
                    </a:lnTo>
                    <a:lnTo>
                      <a:pt x="423" y="239"/>
                    </a:lnTo>
                    <a:lnTo>
                      <a:pt x="426" y="242"/>
                    </a:lnTo>
                    <a:lnTo>
                      <a:pt x="431" y="244"/>
                    </a:lnTo>
                    <a:lnTo>
                      <a:pt x="433" y="244"/>
                    </a:lnTo>
                    <a:lnTo>
                      <a:pt x="435" y="244"/>
                    </a:lnTo>
                    <a:lnTo>
                      <a:pt x="438" y="244"/>
                    </a:lnTo>
                    <a:lnTo>
                      <a:pt x="442" y="244"/>
                    </a:lnTo>
                    <a:lnTo>
                      <a:pt x="442" y="244"/>
                    </a:lnTo>
                    <a:lnTo>
                      <a:pt x="440" y="242"/>
                    </a:lnTo>
                    <a:lnTo>
                      <a:pt x="440" y="242"/>
                    </a:lnTo>
                    <a:lnTo>
                      <a:pt x="447" y="242"/>
                    </a:lnTo>
                    <a:lnTo>
                      <a:pt x="447" y="242"/>
                    </a:lnTo>
                    <a:lnTo>
                      <a:pt x="449" y="242"/>
                    </a:lnTo>
                    <a:lnTo>
                      <a:pt x="452" y="239"/>
                    </a:lnTo>
                    <a:lnTo>
                      <a:pt x="452" y="239"/>
                    </a:lnTo>
                    <a:lnTo>
                      <a:pt x="454" y="239"/>
                    </a:lnTo>
                    <a:lnTo>
                      <a:pt x="459" y="242"/>
                    </a:lnTo>
                    <a:lnTo>
                      <a:pt x="461" y="239"/>
                    </a:lnTo>
                    <a:lnTo>
                      <a:pt x="464" y="239"/>
                    </a:lnTo>
                    <a:lnTo>
                      <a:pt x="466" y="239"/>
                    </a:lnTo>
                    <a:lnTo>
                      <a:pt x="475" y="237"/>
                    </a:lnTo>
                    <a:lnTo>
                      <a:pt x="478" y="237"/>
                    </a:lnTo>
                    <a:lnTo>
                      <a:pt x="483" y="237"/>
                    </a:lnTo>
                    <a:lnTo>
                      <a:pt x="490" y="234"/>
                    </a:lnTo>
                    <a:lnTo>
                      <a:pt x="492" y="234"/>
                    </a:lnTo>
                    <a:lnTo>
                      <a:pt x="497" y="234"/>
                    </a:lnTo>
                    <a:lnTo>
                      <a:pt x="499" y="234"/>
                    </a:lnTo>
                    <a:lnTo>
                      <a:pt x="501" y="234"/>
                    </a:lnTo>
                    <a:lnTo>
                      <a:pt x="504" y="232"/>
                    </a:lnTo>
                    <a:lnTo>
                      <a:pt x="506" y="232"/>
                    </a:lnTo>
                    <a:lnTo>
                      <a:pt x="506" y="232"/>
                    </a:lnTo>
                    <a:lnTo>
                      <a:pt x="509" y="232"/>
                    </a:lnTo>
                    <a:lnTo>
                      <a:pt x="513" y="230"/>
                    </a:lnTo>
                    <a:lnTo>
                      <a:pt x="513" y="230"/>
                    </a:lnTo>
                    <a:lnTo>
                      <a:pt x="516" y="230"/>
                    </a:lnTo>
                    <a:lnTo>
                      <a:pt x="516" y="227"/>
                    </a:lnTo>
                    <a:lnTo>
                      <a:pt x="516" y="227"/>
                    </a:lnTo>
                    <a:lnTo>
                      <a:pt x="520" y="225"/>
                    </a:lnTo>
                    <a:lnTo>
                      <a:pt x="523" y="225"/>
                    </a:lnTo>
                    <a:lnTo>
                      <a:pt x="523" y="225"/>
                    </a:lnTo>
                    <a:lnTo>
                      <a:pt x="523" y="223"/>
                    </a:lnTo>
                    <a:lnTo>
                      <a:pt x="523" y="223"/>
                    </a:lnTo>
                    <a:lnTo>
                      <a:pt x="527" y="223"/>
                    </a:lnTo>
                    <a:lnTo>
                      <a:pt x="527" y="223"/>
                    </a:lnTo>
                    <a:lnTo>
                      <a:pt x="532" y="220"/>
                    </a:lnTo>
                    <a:lnTo>
                      <a:pt x="535" y="220"/>
                    </a:lnTo>
                    <a:lnTo>
                      <a:pt x="537" y="220"/>
                    </a:lnTo>
                    <a:lnTo>
                      <a:pt x="537" y="218"/>
                    </a:lnTo>
                    <a:lnTo>
                      <a:pt x="537" y="218"/>
                    </a:lnTo>
                    <a:lnTo>
                      <a:pt x="537" y="218"/>
                    </a:lnTo>
                    <a:lnTo>
                      <a:pt x="537" y="218"/>
                    </a:lnTo>
                    <a:lnTo>
                      <a:pt x="542" y="218"/>
                    </a:lnTo>
                    <a:lnTo>
                      <a:pt x="542" y="218"/>
                    </a:lnTo>
                    <a:lnTo>
                      <a:pt x="544" y="218"/>
                    </a:lnTo>
                    <a:lnTo>
                      <a:pt x="544" y="215"/>
                    </a:lnTo>
                    <a:lnTo>
                      <a:pt x="544" y="215"/>
                    </a:lnTo>
                    <a:lnTo>
                      <a:pt x="544" y="215"/>
                    </a:lnTo>
                    <a:lnTo>
                      <a:pt x="542" y="215"/>
                    </a:lnTo>
                    <a:lnTo>
                      <a:pt x="544" y="215"/>
                    </a:lnTo>
                    <a:lnTo>
                      <a:pt x="546" y="215"/>
                    </a:lnTo>
                    <a:lnTo>
                      <a:pt x="551" y="213"/>
                    </a:lnTo>
                    <a:lnTo>
                      <a:pt x="554" y="213"/>
                    </a:lnTo>
                    <a:lnTo>
                      <a:pt x="554" y="213"/>
                    </a:lnTo>
                    <a:lnTo>
                      <a:pt x="554" y="213"/>
                    </a:lnTo>
                    <a:lnTo>
                      <a:pt x="556" y="211"/>
                    </a:lnTo>
                    <a:lnTo>
                      <a:pt x="558" y="211"/>
                    </a:lnTo>
                    <a:lnTo>
                      <a:pt x="558" y="211"/>
                    </a:lnTo>
                    <a:lnTo>
                      <a:pt x="561" y="211"/>
                    </a:lnTo>
                    <a:lnTo>
                      <a:pt x="563" y="211"/>
                    </a:lnTo>
                    <a:lnTo>
                      <a:pt x="565" y="208"/>
                    </a:lnTo>
                    <a:lnTo>
                      <a:pt x="565" y="208"/>
                    </a:lnTo>
                    <a:lnTo>
                      <a:pt x="568" y="208"/>
                    </a:lnTo>
                    <a:lnTo>
                      <a:pt x="565" y="208"/>
                    </a:lnTo>
                    <a:lnTo>
                      <a:pt x="554" y="208"/>
                    </a:lnTo>
                    <a:lnTo>
                      <a:pt x="549" y="208"/>
                    </a:lnTo>
                    <a:lnTo>
                      <a:pt x="542" y="206"/>
                    </a:lnTo>
                    <a:lnTo>
                      <a:pt x="535" y="204"/>
                    </a:lnTo>
                    <a:lnTo>
                      <a:pt x="523" y="204"/>
                    </a:lnTo>
                    <a:lnTo>
                      <a:pt x="523" y="204"/>
                    </a:lnTo>
                    <a:lnTo>
                      <a:pt x="516" y="206"/>
                    </a:lnTo>
                    <a:lnTo>
                      <a:pt x="511" y="206"/>
                    </a:lnTo>
                    <a:lnTo>
                      <a:pt x="506" y="206"/>
                    </a:lnTo>
                    <a:lnTo>
                      <a:pt x="504" y="206"/>
                    </a:lnTo>
                    <a:lnTo>
                      <a:pt x="501" y="208"/>
                    </a:lnTo>
                    <a:lnTo>
                      <a:pt x="499" y="208"/>
                    </a:lnTo>
                    <a:lnTo>
                      <a:pt x="497" y="211"/>
                    </a:lnTo>
                    <a:lnTo>
                      <a:pt x="494" y="208"/>
                    </a:lnTo>
                    <a:lnTo>
                      <a:pt x="494" y="208"/>
                    </a:lnTo>
                    <a:lnTo>
                      <a:pt x="499" y="206"/>
                    </a:lnTo>
                    <a:lnTo>
                      <a:pt x="501" y="206"/>
                    </a:lnTo>
                    <a:lnTo>
                      <a:pt x="504" y="206"/>
                    </a:lnTo>
                    <a:lnTo>
                      <a:pt x="506" y="204"/>
                    </a:lnTo>
                    <a:lnTo>
                      <a:pt x="511" y="204"/>
                    </a:lnTo>
                    <a:lnTo>
                      <a:pt x="511" y="204"/>
                    </a:lnTo>
                    <a:lnTo>
                      <a:pt x="511" y="201"/>
                    </a:lnTo>
                    <a:lnTo>
                      <a:pt x="511" y="201"/>
                    </a:lnTo>
                    <a:lnTo>
                      <a:pt x="509" y="201"/>
                    </a:lnTo>
                    <a:lnTo>
                      <a:pt x="509" y="201"/>
                    </a:lnTo>
                    <a:lnTo>
                      <a:pt x="497" y="204"/>
                    </a:lnTo>
                    <a:lnTo>
                      <a:pt x="492" y="204"/>
                    </a:lnTo>
                    <a:lnTo>
                      <a:pt x="485" y="201"/>
                    </a:lnTo>
                    <a:lnTo>
                      <a:pt x="483" y="201"/>
                    </a:lnTo>
                    <a:lnTo>
                      <a:pt x="478" y="201"/>
                    </a:lnTo>
                    <a:lnTo>
                      <a:pt x="478" y="201"/>
                    </a:lnTo>
                    <a:lnTo>
                      <a:pt x="478" y="201"/>
                    </a:lnTo>
                    <a:lnTo>
                      <a:pt x="485" y="201"/>
                    </a:lnTo>
                    <a:lnTo>
                      <a:pt x="487" y="199"/>
                    </a:lnTo>
                    <a:lnTo>
                      <a:pt x="492" y="199"/>
                    </a:lnTo>
                    <a:lnTo>
                      <a:pt x="492" y="199"/>
                    </a:lnTo>
                    <a:lnTo>
                      <a:pt x="492" y="197"/>
                    </a:lnTo>
                    <a:lnTo>
                      <a:pt x="494" y="194"/>
                    </a:lnTo>
                    <a:lnTo>
                      <a:pt x="494" y="194"/>
                    </a:lnTo>
                    <a:lnTo>
                      <a:pt x="492" y="194"/>
                    </a:lnTo>
                    <a:lnTo>
                      <a:pt x="492" y="194"/>
                    </a:lnTo>
                    <a:lnTo>
                      <a:pt x="490" y="192"/>
                    </a:lnTo>
                    <a:lnTo>
                      <a:pt x="492" y="192"/>
                    </a:lnTo>
                    <a:lnTo>
                      <a:pt x="497" y="192"/>
                    </a:lnTo>
                    <a:lnTo>
                      <a:pt x="499" y="192"/>
                    </a:lnTo>
                    <a:lnTo>
                      <a:pt x="504" y="194"/>
                    </a:lnTo>
                    <a:lnTo>
                      <a:pt x="506" y="194"/>
                    </a:lnTo>
                    <a:lnTo>
                      <a:pt x="511" y="194"/>
                    </a:lnTo>
                    <a:lnTo>
                      <a:pt x="513" y="194"/>
                    </a:lnTo>
                    <a:lnTo>
                      <a:pt x="520" y="192"/>
                    </a:lnTo>
                    <a:lnTo>
                      <a:pt x="523" y="192"/>
                    </a:lnTo>
                    <a:lnTo>
                      <a:pt x="525" y="189"/>
                    </a:lnTo>
                    <a:lnTo>
                      <a:pt x="527" y="187"/>
                    </a:lnTo>
                    <a:lnTo>
                      <a:pt x="527" y="187"/>
                    </a:lnTo>
                    <a:lnTo>
                      <a:pt x="527" y="185"/>
                    </a:lnTo>
                    <a:lnTo>
                      <a:pt x="527" y="185"/>
                    </a:lnTo>
                    <a:lnTo>
                      <a:pt x="523" y="185"/>
                    </a:lnTo>
                    <a:lnTo>
                      <a:pt x="518" y="185"/>
                    </a:lnTo>
                    <a:lnTo>
                      <a:pt x="516" y="185"/>
                    </a:lnTo>
                    <a:lnTo>
                      <a:pt x="511" y="182"/>
                    </a:lnTo>
                    <a:lnTo>
                      <a:pt x="511" y="182"/>
                    </a:lnTo>
                    <a:lnTo>
                      <a:pt x="511" y="182"/>
                    </a:lnTo>
                    <a:lnTo>
                      <a:pt x="511" y="182"/>
                    </a:lnTo>
                    <a:lnTo>
                      <a:pt x="516" y="182"/>
                    </a:lnTo>
                    <a:lnTo>
                      <a:pt x="523" y="182"/>
                    </a:lnTo>
                    <a:lnTo>
                      <a:pt x="527" y="182"/>
                    </a:lnTo>
                    <a:lnTo>
                      <a:pt x="530" y="182"/>
                    </a:lnTo>
                    <a:lnTo>
                      <a:pt x="532" y="185"/>
                    </a:lnTo>
                    <a:lnTo>
                      <a:pt x="535" y="185"/>
                    </a:lnTo>
                    <a:lnTo>
                      <a:pt x="537" y="187"/>
                    </a:lnTo>
                    <a:lnTo>
                      <a:pt x="539" y="187"/>
                    </a:lnTo>
                    <a:lnTo>
                      <a:pt x="542" y="189"/>
                    </a:lnTo>
                    <a:lnTo>
                      <a:pt x="544" y="189"/>
                    </a:lnTo>
                    <a:lnTo>
                      <a:pt x="544" y="192"/>
                    </a:lnTo>
                    <a:lnTo>
                      <a:pt x="544" y="194"/>
                    </a:lnTo>
                    <a:lnTo>
                      <a:pt x="544" y="197"/>
                    </a:lnTo>
                    <a:lnTo>
                      <a:pt x="546" y="199"/>
                    </a:lnTo>
                    <a:lnTo>
                      <a:pt x="549" y="201"/>
                    </a:lnTo>
                    <a:lnTo>
                      <a:pt x="554" y="201"/>
                    </a:lnTo>
                    <a:lnTo>
                      <a:pt x="556" y="201"/>
                    </a:lnTo>
                    <a:lnTo>
                      <a:pt x="558" y="201"/>
                    </a:lnTo>
                    <a:lnTo>
                      <a:pt x="563" y="201"/>
                    </a:lnTo>
                    <a:lnTo>
                      <a:pt x="563" y="201"/>
                    </a:lnTo>
                    <a:lnTo>
                      <a:pt x="565" y="197"/>
                    </a:lnTo>
                    <a:lnTo>
                      <a:pt x="565" y="197"/>
                    </a:lnTo>
                    <a:lnTo>
                      <a:pt x="565" y="197"/>
                    </a:lnTo>
                    <a:lnTo>
                      <a:pt x="568" y="194"/>
                    </a:lnTo>
                    <a:lnTo>
                      <a:pt x="568" y="199"/>
                    </a:lnTo>
                    <a:lnTo>
                      <a:pt x="568" y="199"/>
                    </a:lnTo>
                    <a:lnTo>
                      <a:pt x="568" y="199"/>
                    </a:lnTo>
                    <a:lnTo>
                      <a:pt x="568" y="201"/>
                    </a:lnTo>
                    <a:lnTo>
                      <a:pt x="568" y="201"/>
                    </a:lnTo>
                    <a:lnTo>
                      <a:pt x="570" y="201"/>
                    </a:lnTo>
                    <a:lnTo>
                      <a:pt x="572" y="201"/>
                    </a:lnTo>
                    <a:lnTo>
                      <a:pt x="577" y="201"/>
                    </a:lnTo>
                    <a:lnTo>
                      <a:pt x="580" y="201"/>
                    </a:lnTo>
                    <a:lnTo>
                      <a:pt x="577" y="199"/>
                    </a:lnTo>
                    <a:lnTo>
                      <a:pt x="580" y="197"/>
                    </a:lnTo>
                    <a:lnTo>
                      <a:pt x="577" y="194"/>
                    </a:lnTo>
                    <a:lnTo>
                      <a:pt x="580" y="194"/>
                    </a:lnTo>
                    <a:lnTo>
                      <a:pt x="580" y="192"/>
                    </a:lnTo>
                    <a:lnTo>
                      <a:pt x="580" y="189"/>
                    </a:lnTo>
                    <a:lnTo>
                      <a:pt x="580" y="187"/>
                    </a:lnTo>
                    <a:lnTo>
                      <a:pt x="580" y="185"/>
                    </a:lnTo>
                    <a:lnTo>
                      <a:pt x="577" y="185"/>
                    </a:lnTo>
                    <a:lnTo>
                      <a:pt x="575" y="185"/>
                    </a:lnTo>
                    <a:lnTo>
                      <a:pt x="575" y="185"/>
                    </a:lnTo>
                    <a:lnTo>
                      <a:pt x="572" y="185"/>
                    </a:lnTo>
                    <a:lnTo>
                      <a:pt x="572" y="187"/>
                    </a:lnTo>
                    <a:lnTo>
                      <a:pt x="570" y="187"/>
                    </a:lnTo>
                    <a:lnTo>
                      <a:pt x="570" y="185"/>
                    </a:lnTo>
                    <a:lnTo>
                      <a:pt x="570" y="185"/>
                    </a:lnTo>
                    <a:lnTo>
                      <a:pt x="570" y="185"/>
                    </a:lnTo>
                    <a:lnTo>
                      <a:pt x="570" y="182"/>
                    </a:lnTo>
                    <a:lnTo>
                      <a:pt x="572" y="182"/>
                    </a:lnTo>
                    <a:lnTo>
                      <a:pt x="577" y="180"/>
                    </a:lnTo>
                    <a:lnTo>
                      <a:pt x="580" y="180"/>
                    </a:lnTo>
                    <a:lnTo>
                      <a:pt x="575" y="180"/>
                    </a:lnTo>
                    <a:lnTo>
                      <a:pt x="575" y="180"/>
                    </a:lnTo>
                    <a:lnTo>
                      <a:pt x="572" y="178"/>
                    </a:lnTo>
                    <a:lnTo>
                      <a:pt x="572" y="178"/>
                    </a:lnTo>
                    <a:lnTo>
                      <a:pt x="568" y="175"/>
                    </a:lnTo>
                    <a:lnTo>
                      <a:pt x="568" y="175"/>
                    </a:lnTo>
                    <a:lnTo>
                      <a:pt x="563" y="173"/>
                    </a:lnTo>
                    <a:lnTo>
                      <a:pt x="561" y="173"/>
                    </a:lnTo>
                    <a:lnTo>
                      <a:pt x="558" y="173"/>
                    </a:lnTo>
                    <a:lnTo>
                      <a:pt x="554" y="171"/>
                    </a:lnTo>
                    <a:lnTo>
                      <a:pt x="551" y="168"/>
                    </a:lnTo>
                    <a:lnTo>
                      <a:pt x="549" y="168"/>
                    </a:lnTo>
                    <a:lnTo>
                      <a:pt x="549" y="168"/>
                    </a:lnTo>
                    <a:lnTo>
                      <a:pt x="544" y="168"/>
                    </a:lnTo>
                    <a:lnTo>
                      <a:pt x="542" y="168"/>
                    </a:lnTo>
                    <a:lnTo>
                      <a:pt x="539" y="168"/>
                    </a:lnTo>
                    <a:lnTo>
                      <a:pt x="542" y="168"/>
                    </a:lnTo>
                    <a:lnTo>
                      <a:pt x="546" y="168"/>
                    </a:lnTo>
                    <a:lnTo>
                      <a:pt x="549" y="166"/>
                    </a:lnTo>
                    <a:lnTo>
                      <a:pt x="549" y="166"/>
                    </a:lnTo>
                    <a:lnTo>
                      <a:pt x="549" y="161"/>
                    </a:lnTo>
                    <a:lnTo>
                      <a:pt x="549" y="161"/>
                    </a:lnTo>
                    <a:lnTo>
                      <a:pt x="549" y="159"/>
                    </a:lnTo>
                    <a:lnTo>
                      <a:pt x="546" y="161"/>
                    </a:lnTo>
                    <a:lnTo>
                      <a:pt x="542" y="161"/>
                    </a:lnTo>
                    <a:lnTo>
                      <a:pt x="542" y="161"/>
                    </a:lnTo>
                    <a:lnTo>
                      <a:pt x="537" y="161"/>
                    </a:lnTo>
                    <a:lnTo>
                      <a:pt x="530" y="163"/>
                    </a:lnTo>
                    <a:lnTo>
                      <a:pt x="530" y="163"/>
                    </a:lnTo>
                    <a:lnTo>
                      <a:pt x="527" y="163"/>
                    </a:lnTo>
                    <a:lnTo>
                      <a:pt x="525" y="163"/>
                    </a:lnTo>
                    <a:lnTo>
                      <a:pt x="523" y="163"/>
                    </a:lnTo>
                    <a:lnTo>
                      <a:pt x="530" y="161"/>
                    </a:lnTo>
                    <a:lnTo>
                      <a:pt x="532" y="161"/>
                    </a:lnTo>
                    <a:lnTo>
                      <a:pt x="535" y="161"/>
                    </a:lnTo>
                    <a:lnTo>
                      <a:pt x="544" y="159"/>
                    </a:lnTo>
                    <a:lnTo>
                      <a:pt x="544" y="159"/>
                    </a:lnTo>
                    <a:lnTo>
                      <a:pt x="546" y="159"/>
                    </a:lnTo>
                    <a:lnTo>
                      <a:pt x="549" y="156"/>
                    </a:lnTo>
                    <a:lnTo>
                      <a:pt x="551" y="156"/>
                    </a:lnTo>
                    <a:lnTo>
                      <a:pt x="551" y="159"/>
                    </a:lnTo>
                    <a:lnTo>
                      <a:pt x="554" y="163"/>
                    </a:lnTo>
                    <a:lnTo>
                      <a:pt x="556" y="166"/>
                    </a:lnTo>
                    <a:lnTo>
                      <a:pt x="558" y="168"/>
                    </a:lnTo>
                    <a:lnTo>
                      <a:pt x="561" y="168"/>
                    </a:lnTo>
                    <a:lnTo>
                      <a:pt x="565" y="171"/>
                    </a:lnTo>
                    <a:lnTo>
                      <a:pt x="572" y="171"/>
                    </a:lnTo>
                    <a:lnTo>
                      <a:pt x="575" y="173"/>
                    </a:lnTo>
                    <a:lnTo>
                      <a:pt x="577" y="173"/>
                    </a:lnTo>
                    <a:lnTo>
                      <a:pt x="577" y="171"/>
                    </a:lnTo>
                    <a:lnTo>
                      <a:pt x="577" y="168"/>
                    </a:lnTo>
                    <a:lnTo>
                      <a:pt x="582" y="168"/>
                    </a:lnTo>
                    <a:lnTo>
                      <a:pt x="584" y="163"/>
                    </a:lnTo>
                    <a:lnTo>
                      <a:pt x="584" y="163"/>
                    </a:lnTo>
                    <a:lnTo>
                      <a:pt x="584" y="159"/>
                    </a:lnTo>
                    <a:lnTo>
                      <a:pt x="582" y="159"/>
                    </a:lnTo>
                    <a:lnTo>
                      <a:pt x="580" y="159"/>
                    </a:lnTo>
                    <a:lnTo>
                      <a:pt x="575" y="156"/>
                    </a:lnTo>
                    <a:lnTo>
                      <a:pt x="572" y="156"/>
                    </a:lnTo>
                    <a:lnTo>
                      <a:pt x="570" y="154"/>
                    </a:lnTo>
                    <a:lnTo>
                      <a:pt x="568" y="154"/>
                    </a:lnTo>
                    <a:lnTo>
                      <a:pt x="565" y="152"/>
                    </a:lnTo>
                    <a:lnTo>
                      <a:pt x="563" y="152"/>
                    </a:lnTo>
                    <a:lnTo>
                      <a:pt x="561" y="152"/>
                    </a:lnTo>
                    <a:lnTo>
                      <a:pt x="554" y="152"/>
                    </a:lnTo>
                    <a:lnTo>
                      <a:pt x="549" y="152"/>
                    </a:lnTo>
                    <a:lnTo>
                      <a:pt x="546" y="152"/>
                    </a:lnTo>
                    <a:lnTo>
                      <a:pt x="544" y="154"/>
                    </a:lnTo>
                    <a:lnTo>
                      <a:pt x="535" y="154"/>
                    </a:lnTo>
                    <a:lnTo>
                      <a:pt x="532" y="154"/>
                    </a:lnTo>
                    <a:lnTo>
                      <a:pt x="530" y="156"/>
                    </a:lnTo>
                    <a:lnTo>
                      <a:pt x="525" y="156"/>
                    </a:lnTo>
                    <a:lnTo>
                      <a:pt x="520" y="156"/>
                    </a:lnTo>
                    <a:lnTo>
                      <a:pt x="520" y="156"/>
                    </a:lnTo>
                    <a:lnTo>
                      <a:pt x="518" y="156"/>
                    </a:lnTo>
                    <a:lnTo>
                      <a:pt x="516" y="156"/>
                    </a:lnTo>
                    <a:lnTo>
                      <a:pt x="516" y="156"/>
                    </a:lnTo>
                    <a:lnTo>
                      <a:pt x="516" y="156"/>
                    </a:lnTo>
                    <a:lnTo>
                      <a:pt x="516" y="156"/>
                    </a:lnTo>
                    <a:lnTo>
                      <a:pt x="516" y="156"/>
                    </a:lnTo>
                    <a:lnTo>
                      <a:pt x="518" y="156"/>
                    </a:lnTo>
                    <a:lnTo>
                      <a:pt x="520" y="154"/>
                    </a:lnTo>
                    <a:lnTo>
                      <a:pt x="523" y="156"/>
                    </a:lnTo>
                    <a:lnTo>
                      <a:pt x="525" y="156"/>
                    </a:lnTo>
                    <a:lnTo>
                      <a:pt x="527" y="154"/>
                    </a:lnTo>
                    <a:lnTo>
                      <a:pt x="527" y="154"/>
                    </a:lnTo>
                    <a:lnTo>
                      <a:pt x="527" y="154"/>
                    </a:lnTo>
                    <a:lnTo>
                      <a:pt x="520" y="152"/>
                    </a:lnTo>
                    <a:lnTo>
                      <a:pt x="520" y="152"/>
                    </a:lnTo>
                    <a:lnTo>
                      <a:pt x="523" y="152"/>
                    </a:lnTo>
                    <a:lnTo>
                      <a:pt x="525" y="152"/>
                    </a:lnTo>
                    <a:lnTo>
                      <a:pt x="530" y="154"/>
                    </a:lnTo>
                    <a:lnTo>
                      <a:pt x="532" y="154"/>
                    </a:lnTo>
                    <a:lnTo>
                      <a:pt x="535" y="154"/>
                    </a:lnTo>
                    <a:lnTo>
                      <a:pt x="539" y="154"/>
                    </a:lnTo>
                    <a:lnTo>
                      <a:pt x="539" y="154"/>
                    </a:lnTo>
                    <a:lnTo>
                      <a:pt x="544" y="152"/>
                    </a:lnTo>
                    <a:lnTo>
                      <a:pt x="546" y="152"/>
                    </a:lnTo>
                    <a:lnTo>
                      <a:pt x="549" y="149"/>
                    </a:lnTo>
                    <a:lnTo>
                      <a:pt x="554" y="149"/>
                    </a:lnTo>
                    <a:lnTo>
                      <a:pt x="554" y="149"/>
                    </a:lnTo>
                    <a:lnTo>
                      <a:pt x="551" y="149"/>
                    </a:lnTo>
                    <a:lnTo>
                      <a:pt x="549" y="144"/>
                    </a:lnTo>
                    <a:lnTo>
                      <a:pt x="546" y="144"/>
                    </a:lnTo>
                    <a:lnTo>
                      <a:pt x="546" y="144"/>
                    </a:lnTo>
                    <a:lnTo>
                      <a:pt x="546" y="144"/>
                    </a:lnTo>
                    <a:lnTo>
                      <a:pt x="546" y="144"/>
                    </a:lnTo>
                    <a:lnTo>
                      <a:pt x="549" y="147"/>
                    </a:lnTo>
                    <a:lnTo>
                      <a:pt x="551" y="147"/>
                    </a:lnTo>
                    <a:lnTo>
                      <a:pt x="554" y="147"/>
                    </a:lnTo>
                    <a:lnTo>
                      <a:pt x="554" y="147"/>
                    </a:lnTo>
                    <a:lnTo>
                      <a:pt x="556" y="147"/>
                    </a:lnTo>
                    <a:lnTo>
                      <a:pt x="558" y="147"/>
                    </a:lnTo>
                    <a:lnTo>
                      <a:pt x="558" y="147"/>
                    </a:lnTo>
                    <a:lnTo>
                      <a:pt x="563" y="144"/>
                    </a:lnTo>
                    <a:lnTo>
                      <a:pt x="565" y="149"/>
                    </a:lnTo>
                    <a:lnTo>
                      <a:pt x="572" y="152"/>
                    </a:lnTo>
                    <a:lnTo>
                      <a:pt x="575" y="152"/>
                    </a:lnTo>
                    <a:lnTo>
                      <a:pt x="582" y="154"/>
                    </a:lnTo>
                    <a:lnTo>
                      <a:pt x="584" y="154"/>
                    </a:lnTo>
                    <a:lnTo>
                      <a:pt x="589" y="152"/>
                    </a:lnTo>
                    <a:lnTo>
                      <a:pt x="594" y="152"/>
                    </a:lnTo>
                    <a:lnTo>
                      <a:pt x="596" y="152"/>
                    </a:lnTo>
                    <a:lnTo>
                      <a:pt x="606" y="149"/>
                    </a:lnTo>
                    <a:lnTo>
                      <a:pt x="608" y="149"/>
                    </a:lnTo>
                    <a:lnTo>
                      <a:pt x="608" y="147"/>
                    </a:lnTo>
                    <a:lnTo>
                      <a:pt x="610" y="144"/>
                    </a:lnTo>
                    <a:lnTo>
                      <a:pt x="610" y="144"/>
                    </a:lnTo>
                    <a:lnTo>
                      <a:pt x="603" y="142"/>
                    </a:lnTo>
                    <a:lnTo>
                      <a:pt x="601" y="142"/>
                    </a:lnTo>
                    <a:lnTo>
                      <a:pt x="591" y="142"/>
                    </a:lnTo>
                    <a:lnTo>
                      <a:pt x="589" y="142"/>
                    </a:lnTo>
                    <a:lnTo>
                      <a:pt x="589" y="140"/>
                    </a:lnTo>
                    <a:lnTo>
                      <a:pt x="587" y="140"/>
                    </a:lnTo>
                    <a:lnTo>
                      <a:pt x="587" y="140"/>
                    </a:lnTo>
                    <a:lnTo>
                      <a:pt x="589" y="140"/>
                    </a:lnTo>
                    <a:lnTo>
                      <a:pt x="589" y="137"/>
                    </a:lnTo>
                    <a:lnTo>
                      <a:pt x="589" y="137"/>
                    </a:lnTo>
                    <a:lnTo>
                      <a:pt x="589" y="137"/>
                    </a:lnTo>
                    <a:lnTo>
                      <a:pt x="589" y="137"/>
                    </a:lnTo>
                    <a:lnTo>
                      <a:pt x="589" y="137"/>
                    </a:lnTo>
                    <a:lnTo>
                      <a:pt x="589" y="137"/>
                    </a:lnTo>
                    <a:lnTo>
                      <a:pt x="591" y="135"/>
                    </a:lnTo>
                    <a:lnTo>
                      <a:pt x="594" y="135"/>
                    </a:lnTo>
                    <a:lnTo>
                      <a:pt x="594" y="135"/>
                    </a:lnTo>
                    <a:lnTo>
                      <a:pt x="594" y="133"/>
                    </a:lnTo>
                    <a:lnTo>
                      <a:pt x="596" y="133"/>
                    </a:lnTo>
                    <a:lnTo>
                      <a:pt x="596" y="133"/>
                    </a:lnTo>
                    <a:lnTo>
                      <a:pt x="596" y="135"/>
                    </a:lnTo>
                    <a:lnTo>
                      <a:pt x="594" y="137"/>
                    </a:lnTo>
                    <a:lnTo>
                      <a:pt x="598" y="137"/>
                    </a:lnTo>
                    <a:lnTo>
                      <a:pt x="603" y="140"/>
                    </a:lnTo>
                    <a:lnTo>
                      <a:pt x="610" y="140"/>
                    </a:lnTo>
                    <a:lnTo>
                      <a:pt x="615" y="137"/>
                    </a:lnTo>
                    <a:lnTo>
                      <a:pt x="615" y="137"/>
                    </a:lnTo>
                    <a:lnTo>
                      <a:pt x="617" y="137"/>
                    </a:lnTo>
                    <a:lnTo>
                      <a:pt x="622" y="137"/>
                    </a:lnTo>
                    <a:lnTo>
                      <a:pt x="624" y="137"/>
                    </a:lnTo>
                    <a:lnTo>
                      <a:pt x="627" y="137"/>
                    </a:lnTo>
                    <a:lnTo>
                      <a:pt x="627" y="135"/>
                    </a:lnTo>
                    <a:lnTo>
                      <a:pt x="627" y="135"/>
                    </a:lnTo>
                    <a:lnTo>
                      <a:pt x="629" y="135"/>
                    </a:lnTo>
                    <a:lnTo>
                      <a:pt x="629" y="133"/>
                    </a:lnTo>
                    <a:lnTo>
                      <a:pt x="629" y="133"/>
                    </a:lnTo>
                    <a:lnTo>
                      <a:pt x="627" y="130"/>
                    </a:lnTo>
                    <a:lnTo>
                      <a:pt x="627" y="130"/>
                    </a:lnTo>
                    <a:lnTo>
                      <a:pt x="624" y="128"/>
                    </a:lnTo>
                    <a:lnTo>
                      <a:pt x="622" y="126"/>
                    </a:lnTo>
                    <a:lnTo>
                      <a:pt x="620" y="123"/>
                    </a:lnTo>
                    <a:lnTo>
                      <a:pt x="617" y="126"/>
                    </a:lnTo>
                    <a:lnTo>
                      <a:pt x="615" y="128"/>
                    </a:lnTo>
                    <a:lnTo>
                      <a:pt x="613" y="130"/>
                    </a:lnTo>
                    <a:lnTo>
                      <a:pt x="610" y="130"/>
                    </a:lnTo>
                    <a:lnTo>
                      <a:pt x="608" y="130"/>
                    </a:lnTo>
                    <a:lnTo>
                      <a:pt x="608" y="130"/>
                    </a:lnTo>
                    <a:lnTo>
                      <a:pt x="608" y="130"/>
                    </a:lnTo>
                    <a:lnTo>
                      <a:pt x="610" y="128"/>
                    </a:lnTo>
                    <a:lnTo>
                      <a:pt x="610" y="128"/>
                    </a:lnTo>
                    <a:lnTo>
                      <a:pt x="613" y="126"/>
                    </a:lnTo>
                    <a:lnTo>
                      <a:pt x="610" y="126"/>
                    </a:lnTo>
                    <a:lnTo>
                      <a:pt x="610" y="123"/>
                    </a:lnTo>
                    <a:lnTo>
                      <a:pt x="610" y="123"/>
                    </a:lnTo>
                    <a:lnTo>
                      <a:pt x="610" y="123"/>
                    </a:lnTo>
                    <a:lnTo>
                      <a:pt x="608" y="123"/>
                    </a:lnTo>
                    <a:lnTo>
                      <a:pt x="603" y="126"/>
                    </a:lnTo>
                    <a:lnTo>
                      <a:pt x="603" y="126"/>
                    </a:lnTo>
                    <a:lnTo>
                      <a:pt x="601" y="126"/>
                    </a:lnTo>
                    <a:lnTo>
                      <a:pt x="601" y="126"/>
                    </a:lnTo>
                    <a:lnTo>
                      <a:pt x="598" y="126"/>
                    </a:lnTo>
                    <a:lnTo>
                      <a:pt x="596" y="123"/>
                    </a:lnTo>
                    <a:lnTo>
                      <a:pt x="596" y="123"/>
                    </a:lnTo>
                    <a:lnTo>
                      <a:pt x="598" y="123"/>
                    </a:lnTo>
                    <a:lnTo>
                      <a:pt x="601" y="123"/>
                    </a:lnTo>
                    <a:lnTo>
                      <a:pt x="606" y="123"/>
                    </a:lnTo>
                    <a:lnTo>
                      <a:pt x="608" y="123"/>
                    </a:lnTo>
                    <a:lnTo>
                      <a:pt x="610" y="123"/>
                    </a:lnTo>
                    <a:lnTo>
                      <a:pt x="613" y="123"/>
                    </a:lnTo>
                    <a:lnTo>
                      <a:pt x="617" y="118"/>
                    </a:lnTo>
                    <a:lnTo>
                      <a:pt x="622" y="118"/>
                    </a:lnTo>
                    <a:lnTo>
                      <a:pt x="624" y="121"/>
                    </a:lnTo>
                    <a:lnTo>
                      <a:pt x="624" y="121"/>
                    </a:lnTo>
                    <a:lnTo>
                      <a:pt x="627" y="123"/>
                    </a:lnTo>
                    <a:lnTo>
                      <a:pt x="627" y="123"/>
                    </a:lnTo>
                    <a:lnTo>
                      <a:pt x="629" y="121"/>
                    </a:lnTo>
                    <a:lnTo>
                      <a:pt x="632" y="121"/>
                    </a:lnTo>
                    <a:lnTo>
                      <a:pt x="632" y="121"/>
                    </a:lnTo>
                    <a:lnTo>
                      <a:pt x="632" y="118"/>
                    </a:lnTo>
                    <a:lnTo>
                      <a:pt x="632" y="116"/>
                    </a:lnTo>
                    <a:lnTo>
                      <a:pt x="632" y="116"/>
                    </a:lnTo>
                    <a:lnTo>
                      <a:pt x="632" y="114"/>
                    </a:lnTo>
                    <a:lnTo>
                      <a:pt x="632" y="114"/>
                    </a:lnTo>
                    <a:lnTo>
                      <a:pt x="632" y="114"/>
                    </a:lnTo>
                    <a:lnTo>
                      <a:pt x="634" y="111"/>
                    </a:lnTo>
                    <a:lnTo>
                      <a:pt x="632" y="111"/>
                    </a:lnTo>
                    <a:lnTo>
                      <a:pt x="629" y="109"/>
                    </a:lnTo>
                    <a:lnTo>
                      <a:pt x="629" y="109"/>
                    </a:lnTo>
                    <a:lnTo>
                      <a:pt x="632" y="107"/>
                    </a:lnTo>
                    <a:lnTo>
                      <a:pt x="629" y="104"/>
                    </a:lnTo>
                    <a:lnTo>
                      <a:pt x="627" y="104"/>
                    </a:lnTo>
                    <a:lnTo>
                      <a:pt x="624" y="104"/>
                    </a:lnTo>
                    <a:lnTo>
                      <a:pt x="622" y="104"/>
                    </a:lnTo>
                    <a:lnTo>
                      <a:pt x="620" y="104"/>
                    </a:lnTo>
                    <a:lnTo>
                      <a:pt x="620" y="104"/>
                    </a:lnTo>
                    <a:lnTo>
                      <a:pt x="615" y="104"/>
                    </a:lnTo>
                    <a:lnTo>
                      <a:pt x="613" y="104"/>
                    </a:lnTo>
                    <a:lnTo>
                      <a:pt x="610" y="104"/>
                    </a:lnTo>
                    <a:lnTo>
                      <a:pt x="610" y="104"/>
                    </a:lnTo>
                    <a:lnTo>
                      <a:pt x="608" y="102"/>
                    </a:lnTo>
                    <a:lnTo>
                      <a:pt x="608" y="99"/>
                    </a:lnTo>
                    <a:lnTo>
                      <a:pt x="608" y="99"/>
                    </a:lnTo>
                    <a:lnTo>
                      <a:pt x="603" y="99"/>
                    </a:lnTo>
                    <a:lnTo>
                      <a:pt x="603" y="99"/>
                    </a:lnTo>
                    <a:lnTo>
                      <a:pt x="601" y="97"/>
                    </a:lnTo>
                    <a:lnTo>
                      <a:pt x="601" y="97"/>
                    </a:lnTo>
                    <a:lnTo>
                      <a:pt x="601" y="97"/>
                    </a:lnTo>
                    <a:lnTo>
                      <a:pt x="601" y="97"/>
                    </a:lnTo>
                    <a:lnTo>
                      <a:pt x="603" y="95"/>
                    </a:lnTo>
                    <a:lnTo>
                      <a:pt x="606" y="95"/>
                    </a:lnTo>
                    <a:lnTo>
                      <a:pt x="608" y="97"/>
                    </a:lnTo>
                    <a:lnTo>
                      <a:pt x="610" y="97"/>
                    </a:lnTo>
                    <a:lnTo>
                      <a:pt x="613" y="97"/>
                    </a:lnTo>
                    <a:lnTo>
                      <a:pt x="622" y="95"/>
                    </a:lnTo>
                    <a:lnTo>
                      <a:pt x="622" y="95"/>
                    </a:lnTo>
                    <a:lnTo>
                      <a:pt x="627" y="92"/>
                    </a:lnTo>
                    <a:lnTo>
                      <a:pt x="634" y="92"/>
                    </a:lnTo>
                    <a:lnTo>
                      <a:pt x="636" y="92"/>
                    </a:lnTo>
                    <a:lnTo>
                      <a:pt x="639" y="95"/>
                    </a:lnTo>
                    <a:lnTo>
                      <a:pt x="643" y="95"/>
                    </a:lnTo>
                    <a:lnTo>
                      <a:pt x="646" y="95"/>
                    </a:lnTo>
                    <a:lnTo>
                      <a:pt x="646" y="95"/>
                    </a:lnTo>
                    <a:lnTo>
                      <a:pt x="648" y="95"/>
                    </a:lnTo>
                    <a:lnTo>
                      <a:pt x="650" y="95"/>
                    </a:lnTo>
                    <a:lnTo>
                      <a:pt x="650" y="95"/>
                    </a:lnTo>
                    <a:lnTo>
                      <a:pt x="653" y="95"/>
                    </a:lnTo>
                    <a:lnTo>
                      <a:pt x="653" y="92"/>
                    </a:lnTo>
                    <a:lnTo>
                      <a:pt x="655" y="92"/>
                    </a:lnTo>
                    <a:lnTo>
                      <a:pt x="655" y="90"/>
                    </a:lnTo>
                    <a:lnTo>
                      <a:pt x="655" y="88"/>
                    </a:lnTo>
                    <a:lnTo>
                      <a:pt x="655" y="88"/>
                    </a:lnTo>
                    <a:lnTo>
                      <a:pt x="653" y="88"/>
                    </a:lnTo>
                    <a:lnTo>
                      <a:pt x="648" y="88"/>
                    </a:lnTo>
                    <a:lnTo>
                      <a:pt x="646" y="88"/>
                    </a:lnTo>
                    <a:lnTo>
                      <a:pt x="643" y="88"/>
                    </a:lnTo>
                    <a:lnTo>
                      <a:pt x="643" y="88"/>
                    </a:lnTo>
                    <a:lnTo>
                      <a:pt x="641" y="88"/>
                    </a:lnTo>
                    <a:lnTo>
                      <a:pt x="639" y="88"/>
                    </a:lnTo>
                    <a:lnTo>
                      <a:pt x="634" y="85"/>
                    </a:lnTo>
                    <a:lnTo>
                      <a:pt x="632" y="85"/>
                    </a:lnTo>
                    <a:lnTo>
                      <a:pt x="629" y="83"/>
                    </a:lnTo>
                    <a:lnTo>
                      <a:pt x="634" y="81"/>
                    </a:lnTo>
                    <a:lnTo>
                      <a:pt x="636" y="81"/>
                    </a:lnTo>
                    <a:lnTo>
                      <a:pt x="639" y="81"/>
                    </a:lnTo>
                    <a:lnTo>
                      <a:pt x="643" y="83"/>
                    </a:lnTo>
                    <a:lnTo>
                      <a:pt x="643" y="83"/>
                    </a:lnTo>
                    <a:lnTo>
                      <a:pt x="646" y="83"/>
                    </a:lnTo>
                    <a:lnTo>
                      <a:pt x="646" y="83"/>
                    </a:lnTo>
                    <a:lnTo>
                      <a:pt x="646" y="81"/>
                    </a:lnTo>
                    <a:lnTo>
                      <a:pt x="646" y="81"/>
                    </a:lnTo>
                    <a:lnTo>
                      <a:pt x="641" y="81"/>
                    </a:lnTo>
                    <a:lnTo>
                      <a:pt x="639" y="81"/>
                    </a:lnTo>
                    <a:lnTo>
                      <a:pt x="636" y="78"/>
                    </a:lnTo>
                    <a:lnTo>
                      <a:pt x="632" y="78"/>
                    </a:lnTo>
                    <a:lnTo>
                      <a:pt x="629" y="78"/>
                    </a:lnTo>
                    <a:lnTo>
                      <a:pt x="624" y="78"/>
                    </a:lnTo>
                    <a:lnTo>
                      <a:pt x="622" y="81"/>
                    </a:lnTo>
                    <a:lnTo>
                      <a:pt x="620" y="83"/>
                    </a:lnTo>
                    <a:lnTo>
                      <a:pt x="617" y="81"/>
                    </a:lnTo>
                    <a:lnTo>
                      <a:pt x="617" y="81"/>
                    </a:lnTo>
                    <a:lnTo>
                      <a:pt x="620" y="78"/>
                    </a:lnTo>
                    <a:lnTo>
                      <a:pt x="622" y="76"/>
                    </a:lnTo>
                    <a:lnTo>
                      <a:pt x="624" y="76"/>
                    </a:lnTo>
                    <a:lnTo>
                      <a:pt x="624" y="73"/>
                    </a:lnTo>
                    <a:lnTo>
                      <a:pt x="627" y="71"/>
                    </a:lnTo>
                    <a:lnTo>
                      <a:pt x="629" y="71"/>
                    </a:lnTo>
                    <a:lnTo>
                      <a:pt x="632" y="69"/>
                    </a:lnTo>
                    <a:lnTo>
                      <a:pt x="632" y="66"/>
                    </a:lnTo>
                    <a:lnTo>
                      <a:pt x="632" y="66"/>
                    </a:lnTo>
                    <a:lnTo>
                      <a:pt x="632" y="66"/>
                    </a:lnTo>
                    <a:lnTo>
                      <a:pt x="639" y="64"/>
                    </a:lnTo>
                    <a:lnTo>
                      <a:pt x="641" y="64"/>
                    </a:lnTo>
                    <a:lnTo>
                      <a:pt x="643" y="64"/>
                    </a:lnTo>
                    <a:lnTo>
                      <a:pt x="646" y="64"/>
                    </a:lnTo>
                    <a:lnTo>
                      <a:pt x="646" y="64"/>
                    </a:lnTo>
                    <a:lnTo>
                      <a:pt x="648" y="62"/>
                    </a:lnTo>
                    <a:lnTo>
                      <a:pt x="648" y="62"/>
                    </a:lnTo>
                    <a:lnTo>
                      <a:pt x="648" y="62"/>
                    </a:lnTo>
                    <a:lnTo>
                      <a:pt x="648" y="62"/>
                    </a:lnTo>
                    <a:lnTo>
                      <a:pt x="650" y="59"/>
                    </a:lnTo>
                    <a:lnTo>
                      <a:pt x="655" y="59"/>
                    </a:lnTo>
                    <a:lnTo>
                      <a:pt x="658" y="59"/>
                    </a:lnTo>
                    <a:lnTo>
                      <a:pt x="660" y="59"/>
                    </a:lnTo>
                    <a:lnTo>
                      <a:pt x="660" y="57"/>
                    </a:lnTo>
                    <a:lnTo>
                      <a:pt x="660" y="57"/>
                    </a:lnTo>
                    <a:lnTo>
                      <a:pt x="660" y="57"/>
                    </a:lnTo>
                    <a:lnTo>
                      <a:pt x="658" y="57"/>
                    </a:lnTo>
                    <a:lnTo>
                      <a:pt x="658" y="57"/>
                    </a:lnTo>
                    <a:lnTo>
                      <a:pt x="658" y="57"/>
                    </a:lnTo>
                    <a:lnTo>
                      <a:pt x="655" y="57"/>
                    </a:lnTo>
                    <a:lnTo>
                      <a:pt x="655" y="54"/>
                    </a:lnTo>
                    <a:lnTo>
                      <a:pt x="655" y="54"/>
                    </a:lnTo>
                    <a:lnTo>
                      <a:pt x="658" y="52"/>
                    </a:lnTo>
                    <a:lnTo>
                      <a:pt x="658" y="52"/>
                    </a:lnTo>
                    <a:lnTo>
                      <a:pt x="658" y="52"/>
                    </a:lnTo>
                    <a:lnTo>
                      <a:pt x="658" y="50"/>
                    </a:lnTo>
                    <a:lnTo>
                      <a:pt x="658" y="50"/>
                    </a:lnTo>
                    <a:lnTo>
                      <a:pt x="658" y="50"/>
                    </a:lnTo>
                    <a:lnTo>
                      <a:pt x="653" y="50"/>
                    </a:lnTo>
                    <a:lnTo>
                      <a:pt x="650" y="50"/>
                    </a:lnTo>
                    <a:lnTo>
                      <a:pt x="650" y="50"/>
                    </a:lnTo>
                    <a:lnTo>
                      <a:pt x="650" y="50"/>
                    </a:lnTo>
                    <a:lnTo>
                      <a:pt x="650" y="50"/>
                    </a:lnTo>
                    <a:lnTo>
                      <a:pt x="650" y="47"/>
                    </a:lnTo>
                    <a:lnTo>
                      <a:pt x="650" y="47"/>
                    </a:lnTo>
                    <a:lnTo>
                      <a:pt x="653" y="45"/>
                    </a:lnTo>
                    <a:lnTo>
                      <a:pt x="655" y="45"/>
                    </a:lnTo>
                    <a:lnTo>
                      <a:pt x="660" y="43"/>
                    </a:lnTo>
                    <a:lnTo>
                      <a:pt x="660" y="43"/>
                    </a:lnTo>
                    <a:lnTo>
                      <a:pt x="662" y="43"/>
                    </a:lnTo>
                    <a:lnTo>
                      <a:pt x="665" y="43"/>
                    </a:lnTo>
                    <a:lnTo>
                      <a:pt x="669" y="43"/>
                    </a:lnTo>
                    <a:lnTo>
                      <a:pt x="677" y="45"/>
                    </a:lnTo>
                    <a:lnTo>
                      <a:pt x="679" y="45"/>
                    </a:lnTo>
                    <a:lnTo>
                      <a:pt x="684" y="43"/>
                    </a:lnTo>
                    <a:lnTo>
                      <a:pt x="686" y="43"/>
                    </a:lnTo>
                    <a:lnTo>
                      <a:pt x="688" y="43"/>
                    </a:lnTo>
                    <a:lnTo>
                      <a:pt x="691" y="43"/>
                    </a:lnTo>
                    <a:lnTo>
                      <a:pt x="695" y="43"/>
                    </a:lnTo>
                    <a:lnTo>
                      <a:pt x="698" y="43"/>
                    </a:lnTo>
                    <a:lnTo>
                      <a:pt x="703" y="40"/>
                    </a:lnTo>
                    <a:lnTo>
                      <a:pt x="703" y="40"/>
                    </a:lnTo>
                    <a:lnTo>
                      <a:pt x="695" y="40"/>
                    </a:lnTo>
                    <a:lnTo>
                      <a:pt x="695" y="40"/>
                    </a:lnTo>
                    <a:lnTo>
                      <a:pt x="693" y="38"/>
                    </a:lnTo>
                    <a:lnTo>
                      <a:pt x="698" y="38"/>
                    </a:lnTo>
                    <a:lnTo>
                      <a:pt x="703" y="38"/>
                    </a:lnTo>
                    <a:lnTo>
                      <a:pt x="707" y="38"/>
                    </a:lnTo>
                    <a:lnTo>
                      <a:pt x="712" y="36"/>
                    </a:lnTo>
                    <a:lnTo>
                      <a:pt x="719" y="36"/>
                    </a:lnTo>
                    <a:lnTo>
                      <a:pt x="721" y="36"/>
                    </a:lnTo>
                    <a:lnTo>
                      <a:pt x="724" y="36"/>
                    </a:lnTo>
                    <a:lnTo>
                      <a:pt x="724" y="33"/>
                    </a:lnTo>
                    <a:lnTo>
                      <a:pt x="724" y="33"/>
                    </a:lnTo>
                    <a:lnTo>
                      <a:pt x="721" y="33"/>
                    </a:lnTo>
                    <a:lnTo>
                      <a:pt x="721" y="33"/>
                    </a:lnTo>
                    <a:lnTo>
                      <a:pt x="724" y="33"/>
                    </a:lnTo>
                    <a:lnTo>
                      <a:pt x="729" y="33"/>
                    </a:lnTo>
                    <a:lnTo>
                      <a:pt x="733" y="33"/>
                    </a:lnTo>
                    <a:lnTo>
                      <a:pt x="738" y="31"/>
                    </a:lnTo>
                    <a:lnTo>
                      <a:pt x="745" y="28"/>
                    </a:lnTo>
                    <a:lnTo>
                      <a:pt x="747" y="28"/>
                    </a:lnTo>
                    <a:lnTo>
                      <a:pt x="757" y="26"/>
                    </a:lnTo>
                    <a:lnTo>
                      <a:pt x="757" y="26"/>
                    </a:lnTo>
                    <a:lnTo>
                      <a:pt x="757" y="26"/>
                    </a:lnTo>
                    <a:lnTo>
                      <a:pt x="757" y="26"/>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Freeform 147"/>
              <p:cNvSpPr>
                <a:spLocks noEditPoints="1"/>
              </p:cNvSpPr>
              <p:nvPr/>
            </p:nvSpPr>
            <p:spPr bwMode="auto">
              <a:xfrm>
                <a:off x="3103" y="1919"/>
                <a:ext cx="152" cy="142"/>
              </a:xfrm>
              <a:custGeom>
                <a:avLst/>
                <a:gdLst>
                  <a:gd name="T0" fmla="*/ 93 w 152"/>
                  <a:gd name="T1" fmla="*/ 133 h 142"/>
                  <a:gd name="T2" fmla="*/ 81 w 152"/>
                  <a:gd name="T3" fmla="*/ 128 h 142"/>
                  <a:gd name="T4" fmla="*/ 71 w 152"/>
                  <a:gd name="T5" fmla="*/ 135 h 142"/>
                  <a:gd name="T6" fmla="*/ 112 w 152"/>
                  <a:gd name="T7" fmla="*/ 140 h 142"/>
                  <a:gd name="T8" fmla="*/ 133 w 152"/>
                  <a:gd name="T9" fmla="*/ 128 h 142"/>
                  <a:gd name="T10" fmla="*/ 62 w 152"/>
                  <a:gd name="T11" fmla="*/ 114 h 142"/>
                  <a:gd name="T12" fmla="*/ 145 w 152"/>
                  <a:gd name="T13" fmla="*/ 121 h 142"/>
                  <a:gd name="T14" fmla="*/ 105 w 152"/>
                  <a:gd name="T15" fmla="*/ 111 h 142"/>
                  <a:gd name="T16" fmla="*/ 145 w 152"/>
                  <a:gd name="T17" fmla="*/ 107 h 142"/>
                  <a:gd name="T18" fmla="*/ 102 w 152"/>
                  <a:gd name="T19" fmla="*/ 104 h 142"/>
                  <a:gd name="T20" fmla="*/ 135 w 152"/>
                  <a:gd name="T21" fmla="*/ 102 h 142"/>
                  <a:gd name="T22" fmla="*/ 90 w 152"/>
                  <a:gd name="T23" fmla="*/ 97 h 142"/>
                  <a:gd name="T24" fmla="*/ 131 w 152"/>
                  <a:gd name="T25" fmla="*/ 100 h 142"/>
                  <a:gd name="T26" fmla="*/ 102 w 152"/>
                  <a:gd name="T27" fmla="*/ 100 h 142"/>
                  <a:gd name="T28" fmla="*/ 86 w 152"/>
                  <a:gd name="T29" fmla="*/ 88 h 142"/>
                  <a:gd name="T30" fmla="*/ 102 w 152"/>
                  <a:gd name="T31" fmla="*/ 90 h 142"/>
                  <a:gd name="T32" fmla="*/ 95 w 152"/>
                  <a:gd name="T33" fmla="*/ 85 h 142"/>
                  <a:gd name="T34" fmla="*/ 81 w 152"/>
                  <a:gd name="T35" fmla="*/ 88 h 142"/>
                  <a:gd name="T36" fmla="*/ 131 w 152"/>
                  <a:gd name="T37" fmla="*/ 83 h 142"/>
                  <a:gd name="T38" fmla="*/ 93 w 152"/>
                  <a:gd name="T39" fmla="*/ 78 h 142"/>
                  <a:gd name="T40" fmla="*/ 67 w 152"/>
                  <a:gd name="T41" fmla="*/ 78 h 142"/>
                  <a:gd name="T42" fmla="*/ 15 w 152"/>
                  <a:gd name="T43" fmla="*/ 69 h 142"/>
                  <a:gd name="T44" fmla="*/ 19 w 152"/>
                  <a:gd name="T45" fmla="*/ 74 h 142"/>
                  <a:gd name="T46" fmla="*/ 107 w 152"/>
                  <a:gd name="T47" fmla="*/ 66 h 142"/>
                  <a:gd name="T48" fmla="*/ 19 w 152"/>
                  <a:gd name="T49" fmla="*/ 59 h 142"/>
                  <a:gd name="T50" fmla="*/ 83 w 152"/>
                  <a:gd name="T51" fmla="*/ 57 h 142"/>
                  <a:gd name="T52" fmla="*/ 57 w 152"/>
                  <a:gd name="T53" fmla="*/ 59 h 142"/>
                  <a:gd name="T54" fmla="*/ 76 w 152"/>
                  <a:gd name="T55" fmla="*/ 69 h 142"/>
                  <a:gd name="T56" fmla="*/ 86 w 152"/>
                  <a:gd name="T57" fmla="*/ 74 h 142"/>
                  <a:gd name="T58" fmla="*/ 67 w 152"/>
                  <a:gd name="T59" fmla="*/ 59 h 142"/>
                  <a:gd name="T60" fmla="*/ 112 w 152"/>
                  <a:gd name="T61" fmla="*/ 48 h 142"/>
                  <a:gd name="T62" fmla="*/ 119 w 152"/>
                  <a:gd name="T63" fmla="*/ 55 h 142"/>
                  <a:gd name="T64" fmla="*/ 3 w 152"/>
                  <a:gd name="T65" fmla="*/ 40 h 142"/>
                  <a:gd name="T66" fmla="*/ 95 w 152"/>
                  <a:gd name="T67" fmla="*/ 38 h 142"/>
                  <a:gd name="T68" fmla="*/ 93 w 152"/>
                  <a:gd name="T69" fmla="*/ 36 h 142"/>
                  <a:gd name="T70" fmla="*/ 100 w 152"/>
                  <a:gd name="T71" fmla="*/ 26 h 142"/>
                  <a:gd name="T72" fmla="*/ 76 w 152"/>
                  <a:gd name="T73" fmla="*/ 83 h 142"/>
                  <a:gd name="T74" fmla="*/ 55 w 152"/>
                  <a:gd name="T75" fmla="*/ 59 h 142"/>
                  <a:gd name="T76" fmla="*/ 60 w 152"/>
                  <a:gd name="T77" fmla="*/ 50 h 142"/>
                  <a:gd name="T78" fmla="*/ 50 w 152"/>
                  <a:gd name="T79" fmla="*/ 29 h 142"/>
                  <a:gd name="T80" fmla="*/ 69 w 152"/>
                  <a:gd name="T81" fmla="*/ 36 h 142"/>
                  <a:gd name="T82" fmla="*/ 71 w 152"/>
                  <a:gd name="T83" fmla="*/ 29 h 142"/>
                  <a:gd name="T84" fmla="*/ 71 w 152"/>
                  <a:gd name="T85" fmla="*/ 19 h 142"/>
                  <a:gd name="T86" fmla="*/ 109 w 152"/>
                  <a:gd name="T87" fmla="*/ 22 h 142"/>
                  <a:gd name="T88" fmla="*/ 116 w 152"/>
                  <a:gd name="T89" fmla="*/ 5 h 142"/>
                  <a:gd name="T90" fmla="*/ 109 w 152"/>
                  <a:gd name="T91" fmla="*/ 7 h 142"/>
                  <a:gd name="T92" fmla="*/ 83 w 152"/>
                  <a:gd name="T93" fmla="*/ 5 h 142"/>
                  <a:gd name="T94" fmla="*/ 62 w 152"/>
                  <a:gd name="T95" fmla="*/ 7 h 142"/>
                  <a:gd name="T96" fmla="*/ 41 w 152"/>
                  <a:gd name="T97" fmla="*/ 12 h 142"/>
                  <a:gd name="T98" fmla="*/ 22 w 152"/>
                  <a:gd name="T99" fmla="*/ 24 h 142"/>
                  <a:gd name="T100" fmla="*/ 12 w 152"/>
                  <a:gd name="T101" fmla="*/ 36 h 142"/>
                  <a:gd name="T102" fmla="*/ 8 w 152"/>
                  <a:gd name="T103" fmla="*/ 40 h 142"/>
                  <a:gd name="T104" fmla="*/ 26 w 152"/>
                  <a:gd name="T105" fmla="*/ 55 h 142"/>
                  <a:gd name="T106" fmla="*/ 29 w 152"/>
                  <a:gd name="T107" fmla="*/ 66 h 142"/>
                  <a:gd name="T108" fmla="*/ 55 w 152"/>
                  <a:gd name="T109" fmla="*/ 71 h 142"/>
                  <a:gd name="T110" fmla="*/ 55 w 152"/>
                  <a:gd name="T111" fmla="*/ 76 h 142"/>
                  <a:gd name="T112" fmla="*/ 29 w 152"/>
                  <a:gd name="T113" fmla="*/ 81 h 142"/>
                  <a:gd name="T114" fmla="*/ 43 w 152"/>
                  <a:gd name="T115" fmla="*/ 97 h 142"/>
                  <a:gd name="T116" fmla="*/ 62 w 152"/>
                  <a:gd name="T117" fmla="*/ 109 h 142"/>
                  <a:gd name="T118" fmla="*/ 62 w 152"/>
                  <a:gd name="T119" fmla="*/ 88 h 142"/>
                  <a:gd name="T120" fmla="*/ 62 w 152"/>
                  <a:gd name="T121" fmla="*/ 8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2" h="142">
                    <a:moveTo>
                      <a:pt x="116" y="138"/>
                    </a:moveTo>
                    <a:lnTo>
                      <a:pt x="114" y="138"/>
                    </a:lnTo>
                    <a:lnTo>
                      <a:pt x="112" y="138"/>
                    </a:lnTo>
                    <a:lnTo>
                      <a:pt x="112" y="138"/>
                    </a:lnTo>
                    <a:lnTo>
                      <a:pt x="112" y="138"/>
                    </a:lnTo>
                    <a:lnTo>
                      <a:pt x="109" y="138"/>
                    </a:lnTo>
                    <a:lnTo>
                      <a:pt x="109" y="138"/>
                    </a:lnTo>
                    <a:lnTo>
                      <a:pt x="109" y="135"/>
                    </a:lnTo>
                    <a:lnTo>
                      <a:pt x="109" y="133"/>
                    </a:lnTo>
                    <a:lnTo>
                      <a:pt x="107" y="135"/>
                    </a:lnTo>
                    <a:lnTo>
                      <a:pt x="105" y="135"/>
                    </a:lnTo>
                    <a:lnTo>
                      <a:pt x="102" y="133"/>
                    </a:lnTo>
                    <a:lnTo>
                      <a:pt x="97" y="133"/>
                    </a:lnTo>
                    <a:lnTo>
                      <a:pt x="97" y="133"/>
                    </a:lnTo>
                    <a:lnTo>
                      <a:pt x="93" y="133"/>
                    </a:lnTo>
                    <a:lnTo>
                      <a:pt x="90" y="133"/>
                    </a:lnTo>
                    <a:lnTo>
                      <a:pt x="88" y="133"/>
                    </a:lnTo>
                    <a:lnTo>
                      <a:pt x="88" y="133"/>
                    </a:lnTo>
                    <a:lnTo>
                      <a:pt x="86" y="133"/>
                    </a:lnTo>
                    <a:lnTo>
                      <a:pt x="86" y="133"/>
                    </a:lnTo>
                    <a:lnTo>
                      <a:pt x="83" y="133"/>
                    </a:lnTo>
                    <a:lnTo>
                      <a:pt x="83" y="133"/>
                    </a:lnTo>
                    <a:lnTo>
                      <a:pt x="83" y="130"/>
                    </a:lnTo>
                    <a:lnTo>
                      <a:pt x="83" y="130"/>
                    </a:lnTo>
                    <a:lnTo>
                      <a:pt x="81" y="130"/>
                    </a:lnTo>
                    <a:lnTo>
                      <a:pt x="81" y="130"/>
                    </a:lnTo>
                    <a:lnTo>
                      <a:pt x="81" y="130"/>
                    </a:lnTo>
                    <a:lnTo>
                      <a:pt x="83" y="130"/>
                    </a:lnTo>
                    <a:lnTo>
                      <a:pt x="81" y="128"/>
                    </a:lnTo>
                    <a:lnTo>
                      <a:pt x="81" y="128"/>
                    </a:lnTo>
                    <a:lnTo>
                      <a:pt x="79" y="130"/>
                    </a:lnTo>
                    <a:lnTo>
                      <a:pt x="79" y="130"/>
                    </a:lnTo>
                    <a:lnTo>
                      <a:pt x="79" y="130"/>
                    </a:lnTo>
                    <a:lnTo>
                      <a:pt x="76" y="130"/>
                    </a:lnTo>
                    <a:lnTo>
                      <a:pt x="76" y="130"/>
                    </a:lnTo>
                    <a:lnTo>
                      <a:pt x="74" y="128"/>
                    </a:lnTo>
                    <a:lnTo>
                      <a:pt x="74" y="128"/>
                    </a:lnTo>
                    <a:lnTo>
                      <a:pt x="74" y="128"/>
                    </a:lnTo>
                    <a:lnTo>
                      <a:pt x="74" y="130"/>
                    </a:lnTo>
                    <a:lnTo>
                      <a:pt x="74" y="130"/>
                    </a:lnTo>
                    <a:lnTo>
                      <a:pt x="71" y="130"/>
                    </a:lnTo>
                    <a:lnTo>
                      <a:pt x="71" y="128"/>
                    </a:lnTo>
                    <a:lnTo>
                      <a:pt x="71" y="130"/>
                    </a:lnTo>
                    <a:lnTo>
                      <a:pt x="71" y="133"/>
                    </a:lnTo>
                    <a:lnTo>
                      <a:pt x="71" y="135"/>
                    </a:lnTo>
                    <a:lnTo>
                      <a:pt x="71" y="135"/>
                    </a:lnTo>
                    <a:lnTo>
                      <a:pt x="74" y="135"/>
                    </a:lnTo>
                    <a:lnTo>
                      <a:pt x="74" y="135"/>
                    </a:lnTo>
                    <a:lnTo>
                      <a:pt x="76" y="135"/>
                    </a:lnTo>
                    <a:lnTo>
                      <a:pt x="79" y="138"/>
                    </a:lnTo>
                    <a:lnTo>
                      <a:pt x="88" y="138"/>
                    </a:lnTo>
                    <a:lnTo>
                      <a:pt x="90" y="138"/>
                    </a:lnTo>
                    <a:lnTo>
                      <a:pt x="93" y="140"/>
                    </a:lnTo>
                    <a:lnTo>
                      <a:pt x="93" y="140"/>
                    </a:lnTo>
                    <a:lnTo>
                      <a:pt x="93" y="140"/>
                    </a:lnTo>
                    <a:lnTo>
                      <a:pt x="93" y="142"/>
                    </a:lnTo>
                    <a:lnTo>
                      <a:pt x="93" y="142"/>
                    </a:lnTo>
                    <a:lnTo>
                      <a:pt x="100" y="142"/>
                    </a:lnTo>
                    <a:lnTo>
                      <a:pt x="107" y="140"/>
                    </a:lnTo>
                    <a:lnTo>
                      <a:pt x="112" y="140"/>
                    </a:lnTo>
                    <a:lnTo>
                      <a:pt x="116" y="140"/>
                    </a:lnTo>
                    <a:lnTo>
                      <a:pt x="116" y="140"/>
                    </a:lnTo>
                    <a:lnTo>
                      <a:pt x="119" y="140"/>
                    </a:lnTo>
                    <a:lnTo>
                      <a:pt x="119" y="140"/>
                    </a:lnTo>
                    <a:lnTo>
                      <a:pt x="119" y="138"/>
                    </a:lnTo>
                    <a:lnTo>
                      <a:pt x="119" y="135"/>
                    </a:lnTo>
                    <a:lnTo>
                      <a:pt x="121" y="135"/>
                    </a:lnTo>
                    <a:lnTo>
                      <a:pt x="119" y="135"/>
                    </a:lnTo>
                    <a:lnTo>
                      <a:pt x="116" y="138"/>
                    </a:lnTo>
                    <a:close/>
                    <a:moveTo>
                      <a:pt x="135" y="128"/>
                    </a:moveTo>
                    <a:lnTo>
                      <a:pt x="135" y="126"/>
                    </a:lnTo>
                    <a:lnTo>
                      <a:pt x="135" y="123"/>
                    </a:lnTo>
                    <a:lnTo>
                      <a:pt x="133" y="123"/>
                    </a:lnTo>
                    <a:lnTo>
                      <a:pt x="135" y="126"/>
                    </a:lnTo>
                    <a:lnTo>
                      <a:pt x="133" y="128"/>
                    </a:lnTo>
                    <a:lnTo>
                      <a:pt x="133" y="130"/>
                    </a:lnTo>
                    <a:lnTo>
                      <a:pt x="133" y="130"/>
                    </a:lnTo>
                    <a:lnTo>
                      <a:pt x="135" y="133"/>
                    </a:lnTo>
                    <a:lnTo>
                      <a:pt x="135" y="130"/>
                    </a:lnTo>
                    <a:lnTo>
                      <a:pt x="135" y="130"/>
                    </a:lnTo>
                    <a:lnTo>
                      <a:pt x="135" y="128"/>
                    </a:lnTo>
                    <a:lnTo>
                      <a:pt x="135" y="128"/>
                    </a:lnTo>
                    <a:close/>
                    <a:moveTo>
                      <a:pt x="60" y="111"/>
                    </a:moveTo>
                    <a:lnTo>
                      <a:pt x="60" y="111"/>
                    </a:lnTo>
                    <a:lnTo>
                      <a:pt x="60" y="114"/>
                    </a:lnTo>
                    <a:lnTo>
                      <a:pt x="60" y="114"/>
                    </a:lnTo>
                    <a:lnTo>
                      <a:pt x="60" y="116"/>
                    </a:lnTo>
                    <a:lnTo>
                      <a:pt x="62" y="116"/>
                    </a:lnTo>
                    <a:lnTo>
                      <a:pt x="62" y="116"/>
                    </a:lnTo>
                    <a:lnTo>
                      <a:pt x="62" y="114"/>
                    </a:lnTo>
                    <a:lnTo>
                      <a:pt x="60" y="111"/>
                    </a:lnTo>
                    <a:lnTo>
                      <a:pt x="60" y="111"/>
                    </a:lnTo>
                    <a:close/>
                    <a:moveTo>
                      <a:pt x="152" y="111"/>
                    </a:moveTo>
                    <a:lnTo>
                      <a:pt x="152" y="111"/>
                    </a:lnTo>
                    <a:lnTo>
                      <a:pt x="152" y="111"/>
                    </a:lnTo>
                    <a:lnTo>
                      <a:pt x="147" y="111"/>
                    </a:lnTo>
                    <a:lnTo>
                      <a:pt x="145" y="114"/>
                    </a:lnTo>
                    <a:lnTo>
                      <a:pt x="145" y="116"/>
                    </a:lnTo>
                    <a:lnTo>
                      <a:pt x="142" y="116"/>
                    </a:lnTo>
                    <a:lnTo>
                      <a:pt x="142" y="116"/>
                    </a:lnTo>
                    <a:lnTo>
                      <a:pt x="145" y="119"/>
                    </a:lnTo>
                    <a:lnTo>
                      <a:pt x="145" y="121"/>
                    </a:lnTo>
                    <a:lnTo>
                      <a:pt x="145" y="121"/>
                    </a:lnTo>
                    <a:lnTo>
                      <a:pt x="145" y="121"/>
                    </a:lnTo>
                    <a:lnTo>
                      <a:pt x="145" y="121"/>
                    </a:lnTo>
                    <a:lnTo>
                      <a:pt x="147" y="119"/>
                    </a:lnTo>
                    <a:lnTo>
                      <a:pt x="149" y="119"/>
                    </a:lnTo>
                    <a:lnTo>
                      <a:pt x="149" y="116"/>
                    </a:lnTo>
                    <a:lnTo>
                      <a:pt x="152" y="116"/>
                    </a:lnTo>
                    <a:lnTo>
                      <a:pt x="152" y="111"/>
                    </a:lnTo>
                    <a:close/>
                    <a:moveTo>
                      <a:pt x="105" y="111"/>
                    </a:moveTo>
                    <a:lnTo>
                      <a:pt x="105" y="111"/>
                    </a:lnTo>
                    <a:lnTo>
                      <a:pt x="102" y="109"/>
                    </a:lnTo>
                    <a:lnTo>
                      <a:pt x="102" y="109"/>
                    </a:lnTo>
                    <a:lnTo>
                      <a:pt x="102" y="109"/>
                    </a:lnTo>
                    <a:lnTo>
                      <a:pt x="102" y="111"/>
                    </a:lnTo>
                    <a:lnTo>
                      <a:pt x="102" y="111"/>
                    </a:lnTo>
                    <a:lnTo>
                      <a:pt x="102" y="111"/>
                    </a:lnTo>
                    <a:lnTo>
                      <a:pt x="102" y="111"/>
                    </a:lnTo>
                    <a:lnTo>
                      <a:pt x="105" y="111"/>
                    </a:lnTo>
                    <a:close/>
                    <a:moveTo>
                      <a:pt x="119" y="107"/>
                    </a:moveTo>
                    <a:lnTo>
                      <a:pt x="119" y="107"/>
                    </a:lnTo>
                    <a:lnTo>
                      <a:pt x="119" y="107"/>
                    </a:lnTo>
                    <a:lnTo>
                      <a:pt x="119" y="107"/>
                    </a:lnTo>
                    <a:lnTo>
                      <a:pt x="119" y="107"/>
                    </a:lnTo>
                    <a:lnTo>
                      <a:pt x="119" y="109"/>
                    </a:lnTo>
                    <a:lnTo>
                      <a:pt x="119" y="107"/>
                    </a:lnTo>
                    <a:lnTo>
                      <a:pt x="121" y="107"/>
                    </a:lnTo>
                    <a:lnTo>
                      <a:pt x="121" y="107"/>
                    </a:lnTo>
                    <a:lnTo>
                      <a:pt x="119" y="107"/>
                    </a:lnTo>
                    <a:close/>
                    <a:moveTo>
                      <a:pt x="145" y="109"/>
                    </a:moveTo>
                    <a:lnTo>
                      <a:pt x="145" y="107"/>
                    </a:lnTo>
                    <a:lnTo>
                      <a:pt x="145" y="107"/>
                    </a:lnTo>
                    <a:lnTo>
                      <a:pt x="145" y="107"/>
                    </a:lnTo>
                    <a:lnTo>
                      <a:pt x="145" y="107"/>
                    </a:lnTo>
                    <a:lnTo>
                      <a:pt x="145" y="107"/>
                    </a:lnTo>
                    <a:lnTo>
                      <a:pt x="145" y="107"/>
                    </a:lnTo>
                    <a:lnTo>
                      <a:pt x="145" y="107"/>
                    </a:lnTo>
                    <a:lnTo>
                      <a:pt x="145" y="109"/>
                    </a:lnTo>
                    <a:close/>
                    <a:moveTo>
                      <a:pt x="88" y="104"/>
                    </a:moveTo>
                    <a:lnTo>
                      <a:pt x="88" y="104"/>
                    </a:lnTo>
                    <a:lnTo>
                      <a:pt x="86" y="104"/>
                    </a:lnTo>
                    <a:lnTo>
                      <a:pt x="86" y="104"/>
                    </a:lnTo>
                    <a:lnTo>
                      <a:pt x="86" y="104"/>
                    </a:lnTo>
                    <a:lnTo>
                      <a:pt x="83" y="104"/>
                    </a:lnTo>
                    <a:lnTo>
                      <a:pt x="83" y="104"/>
                    </a:lnTo>
                    <a:lnTo>
                      <a:pt x="83" y="107"/>
                    </a:lnTo>
                    <a:lnTo>
                      <a:pt x="88" y="104"/>
                    </a:lnTo>
                    <a:lnTo>
                      <a:pt x="88" y="104"/>
                    </a:lnTo>
                    <a:close/>
                    <a:moveTo>
                      <a:pt x="102" y="104"/>
                    </a:moveTo>
                    <a:lnTo>
                      <a:pt x="102" y="104"/>
                    </a:lnTo>
                    <a:lnTo>
                      <a:pt x="102" y="104"/>
                    </a:lnTo>
                    <a:lnTo>
                      <a:pt x="100" y="102"/>
                    </a:lnTo>
                    <a:lnTo>
                      <a:pt x="100" y="104"/>
                    </a:lnTo>
                    <a:lnTo>
                      <a:pt x="100" y="104"/>
                    </a:lnTo>
                    <a:lnTo>
                      <a:pt x="102" y="104"/>
                    </a:lnTo>
                    <a:close/>
                    <a:moveTo>
                      <a:pt x="133" y="100"/>
                    </a:moveTo>
                    <a:lnTo>
                      <a:pt x="131" y="102"/>
                    </a:lnTo>
                    <a:lnTo>
                      <a:pt x="128" y="102"/>
                    </a:lnTo>
                    <a:lnTo>
                      <a:pt x="128" y="104"/>
                    </a:lnTo>
                    <a:lnTo>
                      <a:pt x="128" y="104"/>
                    </a:lnTo>
                    <a:lnTo>
                      <a:pt x="131" y="102"/>
                    </a:lnTo>
                    <a:lnTo>
                      <a:pt x="133" y="102"/>
                    </a:lnTo>
                    <a:lnTo>
                      <a:pt x="133" y="102"/>
                    </a:lnTo>
                    <a:lnTo>
                      <a:pt x="135" y="102"/>
                    </a:lnTo>
                    <a:lnTo>
                      <a:pt x="135" y="100"/>
                    </a:lnTo>
                    <a:lnTo>
                      <a:pt x="133" y="100"/>
                    </a:lnTo>
                    <a:close/>
                    <a:moveTo>
                      <a:pt x="109" y="102"/>
                    </a:moveTo>
                    <a:lnTo>
                      <a:pt x="112" y="100"/>
                    </a:lnTo>
                    <a:lnTo>
                      <a:pt x="114" y="100"/>
                    </a:lnTo>
                    <a:lnTo>
                      <a:pt x="112" y="100"/>
                    </a:lnTo>
                    <a:lnTo>
                      <a:pt x="112" y="100"/>
                    </a:lnTo>
                    <a:lnTo>
                      <a:pt x="109" y="102"/>
                    </a:lnTo>
                    <a:lnTo>
                      <a:pt x="109" y="102"/>
                    </a:lnTo>
                    <a:lnTo>
                      <a:pt x="109" y="102"/>
                    </a:lnTo>
                    <a:lnTo>
                      <a:pt x="109" y="102"/>
                    </a:lnTo>
                    <a:lnTo>
                      <a:pt x="109" y="102"/>
                    </a:lnTo>
                    <a:lnTo>
                      <a:pt x="109" y="102"/>
                    </a:lnTo>
                    <a:close/>
                    <a:moveTo>
                      <a:pt x="90" y="97"/>
                    </a:moveTo>
                    <a:lnTo>
                      <a:pt x="90" y="97"/>
                    </a:lnTo>
                    <a:lnTo>
                      <a:pt x="90" y="100"/>
                    </a:lnTo>
                    <a:lnTo>
                      <a:pt x="90" y="100"/>
                    </a:lnTo>
                    <a:lnTo>
                      <a:pt x="90" y="100"/>
                    </a:lnTo>
                    <a:lnTo>
                      <a:pt x="90" y="100"/>
                    </a:lnTo>
                    <a:lnTo>
                      <a:pt x="90" y="97"/>
                    </a:lnTo>
                    <a:lnTo>
                      <a:pt x="90" y="97"/>
                    </a:lnTo>
                    <a:close/>
                    <a:moveTo>
                      <a:pt x="131" y="100"/>
                    </a:moveTo>
                    <a:lnTo>
                      <a:pt x="131" y="100"/>
                    </a:lnTo>
                    <a:lnTo>
                      <a:pt x="131" y="97"/>
                    </a:lnTo>
                    <a:lnTo>
                      <a:pt x="131" y="97"/>
                    </a:lnTo>
                    <a:lnTo>
                      <a:pt x="128" y="97"/>
                    </a:lnTo>
                    <a:lnTo>
                      <a:pt x="128" y="97"/>
                    </a:lnTo>
                    <a:lnTo>
                      <a:pt x="128" y="97"/>
                    </a:lnTo>
                    <a:lnTo>
                      <a:pt x="128" y="100"/>
                    </a:lnTo>
                    <a:lnTo>
                      <a:pt x="131" y="100"/>
                    </a:lnTo>
                    <a:close/>
                    <a:moveTo>
                      <a:pt x="97" y="97"/>
                    </a:moveTo>
                    <a:lnTo>
                      <a:pt x="100" y="97"/>
                    </a:lnTo>
                    <a:lnTo>
                      <a:pt x="100" y="97"/>
                    </a:lnTo>
                    <a:lnTo>
                      <a:pt x="100" y="95"/>
                    </a:lnTo>
                    <a:lnTo>
                      <a:pt x="100" y="95"/>
                    </a:lnTo>
                    <a:lnTo>
                      <a:pt x="97" y="95"/>
                    </a:lnTo>
                    <a:lnTo>
                      <a:pt x="97" y="97"/>
                    </a:lnTo>
                    <a:lnTo>
                      <a:pt x="97" y="97"/>
                    </a:lnTo>
                    <a:lnTo>
                      <a:pt x="97" y="97"/>
                    </a:lnTo>
                    <a:close/>
                    <a:moveTo>
                      <a:pt x="105" y="97"/>
                    </a:moveTo>
                    <a:lnTo>
                      <a:pt x="105" y="95"/>
                    </a:lnTo>
                    <a:lnTo>
                      <a:pt x="105" y="95"/>
                    </a:lnTo>
                    <a:lnTo>
                      <a:pt x="105" y="95"/>
                    </a:lnTo>
                    <a:lnTo>
                      <a:pt x="102" y="97"/>
                    </a:lnTo>
                    <a:lnTo>
                      <a:pt x="102" y="100"/>
                    </a:lnTo>
                    <a:lnTo>
                      <a:pt x="102" y="100"/>
                    </a:lnTo>
                    <a:lnTo>
                      <a:pt x="105" y="100"/>
                    </a:lnTo>
                    <a:lnTo>
                      <a:pt x="105" y="97"/>
                    </a:lnTo>
                    <a:close/>
                    <a:moveTo>
                      <a:pt x="86" y="95"/>
                    </a:moveTo>
                    <a:lnTo>
                      <a:pt x="86" y="95"/>
                    </a:lnTo>
                    <a:lnTo>
                      <a:pt x="86" y="95"/>
                    </a:lnTo>
                    <a:lnTo>
                      <a:pt x="86" y="95"/>
                    </a:lnTo>
                    <a:lnTo>
                      <a:pt x="86" y="95"/>
                    </a:lnTo>
                    <a:lnTo>
                      <a:pt x="86" y="95"/>
                    </a:lnTo>
                    <a:lnTo>
                      <a:pt x="86" y="93"/>
                    </a:lnTo>
                    <a:lnTo>
                      <a:pt x="86" y="95"/>
                    </a:lnTo>
                    <a:close/>
                    <a:moveTo>
                      <a:pt x="83" y="93"/>
                    </a:moveTo>
                    <a:lnTo>
                      <a:pt x="86" y="90"/>
                    </a:lnTo>
                    <a:lnTo>
                      <a:pt x="86" y="90"/>
                    </a:lnTo>
                    <a:lnTo>
                      <a:pt x="86" y="88"/>
                    </a:lnTo>
                    <a:lnTo>
                      <a:pt x="86" y="88"/>
                    </a:lnTo>
                    <a:lnTo>
                      <a:pt x="83" y="88"/>
                    </a:lnTo>
                    <a:lnTo>
                      <a:pt x="83" y="90"/>
                    </a:lnTo>
                    <a:lnTo>
                      <a:pt x="83" y="90"/>
                    </a:lnTo>
                    <a:lnTo>
                      <a:pt x="83" y="93"/>
                    </a:lnTo>
                    <a:close/>
                    <a:moveTo>
                      <a:pt x="93" y="88"/>
                    </a:moveTo>
                    <a:lnTo>
                      <a:pt x="93" y="90"/>
                    </a:lnTo>
                    <a:lnTo>
                      <a:pt x="93" y="90"/>
                    </a:lnTo>
                    <a:lnTo>
                      <a:pt x="93" y="90"/>
                    </a:lnTo>
                    <a:lnTo>
                      <a:pt x="93" y="88"/>
                    </a:lnTo>
                    <a:lnTo>
                      <a:pt x="93" y="88"/>
                    </a:lnTo>
                    <a:lnTo>
                      <a:pt x="93" y="88"/>
                    </a:lnTo>
                    <a:close/>
                    <a:moveTo>
                      <a:pt x="100" y="88"/>
                    </a:moveTo>
                    <a:lnTo>
                      <a:pt x="100" y="90"/>
                    </a:lnTo>
                    <a:lnTo>
                      <a:pt x="102" y="90"/>
                    </a:lnTo>
                    <a:lnTo>
                      <a:pt x="102" y="88"/>
                    </a:lnTo>
                    <a:lnTo>
                      <a:pt x="102" y="88"/>
                    </a:lnTo>
                    <a:lnTo>
                      <a:pt x="100" y="88"/>
                    </a:lnTo>
                    <a:lnTo>
                      <a:pt x="100" y="88"/>
                    </a:lnTo>
                    <a:close/>
                    <a:moveTo>
                      <a:pt x="116" y="85"/>
                    </a:moveTo>
                    <a:lnTo>
                      <a:pt x="119" y="83"/>
                    </a:lnTo>
                    <a:lnTo>
                      <a:pt x="116" y="83"/>
                    </a:lnTo>
                    <a:lnTo>
                      <a:pt x="116" y="85"/>
                    </a:lnTo>
                    <a:lnTo>
                      <a:pt x="114" y="85"/>
                    </a:lnTo>
                    <a:lnTo>
                      <a:pt x="112" y="85"/>
                    </a:lnTo>
                    <a:lnTo>
                      <a:pt x="112" y="88"/>
                    </a:lnTo>
                    <a:lnTo>
                      <a:pt x="112" y="88"/>
                    </a:lnTo>
                    <a:lnTo>
                      <a:pt x="116" y="85"/>
                    </a:lnTo>
                    <a:lnTo>
                      <a:pt x="116" y="85"/>
                    </a:lnTo>
                    <a:close/>
                    <a:moveTo>
                      <a:pt x="95" y="85"/>
                    </a:moveTo>
                    <a:lnTo>
                      <a:pt x="97" y="85"/>
                    </a:lnTo>
                    <a:lnTo>
                      <a:pt x="97" y="88"/>
                    </a:lnTo>
                    <a:lnTo>
                      <a:pt x="100" y="85"/>
                    </a:lnTo>
                    <a:lnTo>
                      <a:pt x="97" y="85"/>
                    </a:lnTo>
                    <a:lnTo>
                      <a:pt x="95" y="83"/>
                    </a:lnTo>
                    <a:lnTo>
                      <a:pt x="95" y="83"/>
                    </a:lnTo>
                    <a:lnTo>
                      <a:pt x="95" y="83"/>
                    </a:lnTo>
                    <a:lnTo>
                      <a:pt x="95" y="83"/>
                    </a:lnTo>
                    <a:lnTo>
                      <a:pt x="95" y="85"/>
                    </a:lnTo>
                    <a:close/>
                    <a:moveTo>
                      <a:pt x="83" y="85"/>
                    </a:moveTo>
                    <a:lnTo>
                      <a:pt x="83" y="83"/>
                    </a:lnTo>
                    <a:lnTo>
                      <a:pt x="83" y="83"/>
                    </a:lnTo>
                    <a:lnTo>
                      <a:pt x="83" y="83"/>
                    </a:lnTo>
                    <a:lnTo>
                      <a:pt x="81" y="85"/>
                    </a:lnTo>
                    <a:lnTo>
                      <a:pt x="81" y="88"/>
                    </a:lnTo>
                    <a:lnTo>
                      <a:pt x="83" y="85"/>
                    </a:lnTo>
                    <a:close/>
                    <a:moveTo>
                      <a:pt x="131" y="83"/>
                    </a:moveTo>
                    <a:lnTo>
                      <a:pt x="131" y="81"/>
                    </a:lnTo>
                    <a:lnTo>
                      <a:pt x="128" y="81"/>
                    </a:lnTo>
                    <a:lnTo>
                      <a:pt x="128" y="81"/>
                    </a:lnTo>
                    <a:lnTo>
                      <a:pt x="126" y="81"/>
                    </a:lnTo>
                    <a:lnTo>
                      <a:pt x="123" y="81"/>
                    </a:lnTo>
                    <a:lnTo>
                      <a:pt x="123" y="81"/>
                    </a:lnTo>
                    <a:lnTo>
                      <a:pt x="121" y="83"/>
                    </a:lnTo>
                    <a:lnTo>
                      <a:pt x="121" y="83"/>
                    </a:lnTo>
                    <a:lnTo>
                      <a:pt x="123" y="83"/>
                    </a:lnTo>
                    <a:lnTo>
                      <a:pt x="126" y="83"/>
                    </a:lnTo>
                    <a:lnTo>
                      <a:pt x="126" y="85"/>
                    </a:lnTo>
                    <a:lnTo>
                      <a:pt x="128" y="83"/>
                    </a:lnTo>
                    <a:lnTo>
                      <a:pt x="131" y="83"/>
                    </a:lnTo>
                    <a:close/>
                    <a:moveTo>
                      <a:pt x="22" y="81"/>
                    </a:moveTo>
                    <a:lnTo>
                      <a:pt x="19" y="81"/>
                    </a:lnTo>
                    <a:lnTo>
                      <a:pt x="19" y="78"/>
                    </a:lnTo>
                    <a:lnTo>
                      <a:pt x="17" y="81"/>
                    </a:lnTo>
                    <a:lnTo>
                      <a:pt x="19" y="81"/>
                    </a:lnTo>
                    <a:lnTo>
                      <a:pt x="19" y="83"/>
                    </a:lnTo>
                    <a:lnTo>
                      <a:pt x="22" y="83"/>
                    </a:lnTo>
                    <a:lnTo>
                      <a:pt x="24" y="83"/>
                    </a:lnTo>
                    <a:lnTo>
                      <a:pt x="24" y="83"/>
                    </a:lnTo>
                    <a:lnTo>
                      <a:pt x="22" y="81"/>
                    </a:lnTo>
                    <a:lnTo>
                      <a:pt x="22" y="81"/>
                    </a:lnTo>
                    <a:close/>
                    <a:moveTo>
                      <a:pt x="95" y="81"/>
                    </a:moveTo>
                    <a:lnTo>
                      <a:pt x="93" y="81"/>
                    </a:lnTo>
                    <a:lnTo>
                      <a:pt x="93" y="81"/>
                    </a:lnTo>
                    <a:lnTo>
                      <a:pt x="93" y="78"/>
                    </a:lnTo>
                    <a:lnTo>
                      <a:pt x="90" y="78"/>
                    </a:lnTo>
                    <a:lnTo>
                      <a:pt x="90" y="76"/>
                    </a:lnTo>
                    <a:lnTo>
                      <a:pt x="90" y="76"/>
                    </a:lnTo>
                    <a:lnTo>
                      <a:pt x="88" y="78"/>
                    </a:lnTo>
                    <a:lnTo>
                      <a:pt x="88" y="78"/>
                    </a:lnTo>
                    <a:lnTo>
                      <a:pt x="90" y="78"/>
                    </a:lnTo>
                    <a:lnTo>
                      <a:pt x="90" y="81"/>
                    </a:lnTo>
                    <a:lnTo>
                      <a:pt x="93" y="81"/>
                    </a:lnTo>
                    <a:lnTo>
                      <a:pt x="93" y="83"/>
                    </a:lnTo>
                    <a:lnTo>
                      <a:pt x="95" y="81"/>
                    </a:lnTo>
                    <a:close/>
                    <a:moveTo>
                      <a:pt x="67" y="76"/>
                    </a:moveTo>
                    <a:lnTo>
                      <a:pt x="67" y="76"/>
                    </a:lnTo>
                    <a:lnTo>
                      <a:pt x="67" y="78"/>
                    </a:lnTo>
                    <a:lnTo>
                      <a:pt x="67" y="78"/>
                    </a:lnTo>
                    <a:lnTo>
                      <a:pt x="67" y="78"/>
                    </a:lnTo>
                    <a:lnTo>
                      <a:pt x="67" y="78"/>
                    </a:lnTo>
                    <a:lnTo>
                      <a:pt x="69" y="78"/>
                    </a:lnTo>
                    <a:lnTo>
                      <a:pt x="69" y="78"/>
                    </a:lnTo>
                    <a:lnTo>
                      <a:pt x="69" y="78"/>
                    </a:lnTo>
                    <a:lnTo>
                      <a:pt x="69" y="76"/>
                    </a:lnTo>
                    <a:lnTo>
                      <a:pt x="67" y="76"/>
                    </a:lnTo>
                    <a:close/>
                    <a:moveTo>
                      <a:pt x="19" y="74"/>
                    </a:moveTo>
                    <a:lnTo>
                      <a:pt x="22" y="74"/>
                    </a:lnTo>
                    <a:lnTo>
                      <a:pt x="19" y="71"/>
                    </a:lnTo>
                    <a:lnTo>
                      <a:pt x="17" y="71"/>
                    </a:lnTo>
                    <a:lnTo>
                      <a:pt x="17" y="69"/>
                    </a:lnTo>
                    <a:lnTo>
                      <a:pt x="17" y="66"/>
                    </a:lnTo>
                    <a:lnTo>
                      <a:pt x="17" y="66"/>
                    </a:lnTo>
                    <a:lnTo>
                      <a:pt x="17" y="69"/>
                    </a:lnTo>
                    <a:lnTo>
                      <a:pt x="15" y="69"/>
                    </a:lnTo>
                    <a:lnTo>
                      <a:pt x="15" y="69"/>
                    </a:lnTo>
                    <a:lnTo>
                      <a:pt x="15" y="69"/>
                    </a:lnTo>
                    <a:lnTo>
                      <a:pt x="15" y="69"/>
                    </a:lnTo>
                    <a:lnTo>
                      <a:pt x="12" y="71"/>
                    </a:lnTo>
                    <a:lnTo>
                      <a:pt x="12" y="74"/>
                    </a:lnTo>
                    <a:lnTo>
                      <a:pt x="15" y="74"/>
                    </a:lnTo>
                    <a:lnTo>
                      <a:pt x="15" y="71"/>
                    </a:lnTo>
                    <a:lnTo>
                      <a:pt x="15" y="71"/>
                    </a:lnTo>
                    <a:lnTo>
                      <a:pt x="15" y="74"/>
                    </a:lnTo>
                    <a:lnTo>
                      <a:pt x="15" y="74"/>
                    </a:lnTo>
                    <a:lnTo>
                      <a:pt x="17" y="74"/>
                    </a:lnTo>
                    <a:lnTo>
                      <a:pt x="17" y="74"/>
                    </a:lnTo>
                    <a:lnTo>
                      <a:pt x="17" y="74"/>
                    </a:lnTo>
                    <a:lnTo>
                      <a:pt x="19" y="76"/>
                    </a:lnTo>
                    <a:lnTo>
                      <a:pt x="19" y="74"/>
                    </a:lnTo>
                    <a:close/>
                    <a:moveTo>
                      <a:pt x="19" y="66"/>
                    </a:moveTo>
                    <a:lnTo>
                      <a:pt x="17" y="66"/>
                    </a:lnTo>
                    <a:lnTo>
                      <a:pt x="17" y="66"/>
                    </a:lnTo>
                    <a:lnTo>
                      <a:pt x="17" y="69"/>
                    </a:lnTo>
                    <a:lnTo>
                      <a:pt x="19" y="69"/>
                    </a:lnTo>
                    <a:lnTo>
                      <a:pt x="19" y="69"/>
                    </a:lnTo>
                    <a:lnTo>
                      <a:pt x="19" y="69"/>
                    </a:lnTo>
                    <a:lnTo>
                      <a:pt x="19" y="69"/>
                    </a:lnTo>
                    <a:lnTo>
                      <a:pt x="19" y="66"/>
                    </a:lnTo>
                    <a:lnTo>
                      <a:pt x="19" y="66"/>
                    </a:lnTo>
                    <a:lnTo>
                      <a:pt x="19" y="66"/>
                    </a:lnTo>
                    <a:close/>
                    <a:moveTo>
                      <a:pt x="112" y="64"/>
                    </a:moveTo>
                    <a:lnTo>
                      <a:pt x="112" y="64"/>
                    </a:lnTo>
                    <a:lnTo>
                      <a:pt x="107" y="64"/>
                    </a:lnTo>
                    <a:lnTo>
                      <a:pt x="107" y="66"/>
                    </a:lnTo>
                    <a:lnTo>
                      <a:pt x="109" y="69"/>
                    </a:lnTo>
                    <a:lnTo>
                      <a:pt x="112" y="69"/>
                    </a:lnTo>
                    <a:lnTo>
                      <a:pt x="109" y="71"/>
                    </a:lnTo>
                    <a:lnTo>
                      <a:pt x="109" y="71"/>
                    </a:lnTo>
                    <a:lnTo>
                      <a:pt x="109" y="71"/>
                    </a:lnTo>
                    <a:lnTo>
                      <a:pt x="112" y="74"/>
                    </a:lnTo>
                    <a:lnTo>
                      <a:pt x="112" y="71"/>
                    </a:lnTo>
                    <a:lnTo>
                      <a:pt x="112" y="71"/>
                    </a:lnTo>
                    <a:lnTo>
                      <a:pt x="114" y="71"/>
                    </a:lnTo>
                    <a:lnTo>
                      <a:pt x="114" y="71"/>
                    </a:lnTo>
                    <a:lnTo>
                      <a:pt x="114" y="66"/>
                    </a:lnTo>
                    <a:lnTo>
                      <a:pt x="114" y="66"/>
                    </a:lnTo>
                    <a:lnTo>
                      <a:pt x="114" y="64"/>
                    </a:lnTo>
                    <a:lnTo>
                      <a:pt x="112" y="64"/>
                    </a:lnTo>
                    <a:close/>
                    <a:moveTo>
                      <a:pt x="19" y="59"/>
                    </a:moveTo>
                    <a:lnTo>
                      <a:pt x="17" y="59"/>
                    </a:lnTo>
                    <a:lnTo>
                      <a:pt x="17" y="59"/>
                    </a:lnTo>
                    <a:lnTo>
                      <a:pt x="17" y="62"/>
                    </a:lnTo>
                    <a:lnTo>
                      <a:pt x="17" y="64"/>
                    </a:lnTo>
                    <a:lnTo>
                      <a:pt x="17" y="64"/>
                    </a:lnTo>
                    <a:lnTo>
                      <a:pt x="17" y="64"/>
                    </a:lnTo>
                    <a:lnTo>
                      <a:pt x="17" y="64"/>
                    </a:lnTo>
                    <a:lnTo>
                      <a:pt x="19" y="64"/>
                    </a:lnTo>
                    <a:lnTo>
                      <a:pt x="19" y="64"/>
                    </a:lnTo>
                    <a:lnTo>
                      <a:pt x="19" y="59"/>
                    </a:lnTo>
                    <a:lnTo>
                      <a:pt x="19" y="59"/>
                    </a:lnTo>
                    <a:close/>
                    <a:moveTo>
                      <a:pt x="86" y="57"/>
                    </a:moveTo>
                    <a:lnTo>
                      <a:pt x="86" y="57"/>
                    </a:lnTo>
                    <a:lnTo>
                      <a:pt x="83" y="55"/>
                    </a:lnTo>
                    <a:lnTo>
                      <a:pt x="83" y="57"/>
                    </a:lnTo>
                    <a:lnTo>
                      <a:pt x="83" y="57"/>
                    </a:lnTo>
                    <a:lnTo>
                      <a:pt x="86" y="59"/>
                    </a:lnTo>
                    <a:lnTo>
                      <a:pt x="86" y="59"/>
                    </a:lnTo>
                    <a:lnTo>
                      <a:pt x="86" y="59"/>
                    </a:lnTo>
                    <a:lnTo>
                      <a:pt x="86" y="59"/>
                    </a:lnTo>
                    <a:lnTo>
                      <a:pt x="88" y="59"/>
                    </a:lnTo>
                    <a:lnTo>
                      <a:pt x="86" y="57"/>
                    </a:lnTo>
                    <a:close/>
                    <a:moveTo>
                      <a:pt x="67" y="59"/>
                    </a:moveTo>
                    <a:lnTo>
                      <a:pt x="64" y="57"/>
                    </a:lnTo>
                    <a:lnTo>
                      <a:pt x="64" y="55"/>
                    </a:lnTo>
                    <a:lnTo>
                      <a:pt x="62" y="55"/>
                    </a:lnTo>
                    <a:lnTo>
                      <a:pt x="60" y="55"/>
                    </a:lnTo>
                    <a:lnTo>
                      <a:pt x="57" y="57"/>
                    </a:lnTo>
                    <a:lnTo>
                      <a:pt x="57" y="57"/>
                    </a:lnTo>
                    <a:lnTo>
                      <a:pt x="57" y="59"/>
                    </a:lnTo>
                    <a:lnTo>
                      <a:pt x="57" y="59"/>
                    </a:lnTo>
                    <a:lnTo>
                      <a:pt x="60" y="57"/>
                    </a:lnTo>
                    <a:lnTo>
                      <a:pt x="62" y="59"/>
                    </a:lnTo>
                    <a:lnTo>
                      <a:pt x="62" y="59"/>
                    </a:lnTo>
                    <a:lnTo>
                      <a:pt x="64" y="62"/>
                    </a:lnTo>
                    <a:lnTo>
                      <a:pt x="67" y="62"/>
                    </a:lnTo>
                    <a:lnTo>
                      <a:pt x="67" y="64"/>
                    </a:lnTo>
                    <a:lnTo>
                      <a:pt x="69" y="64"/>
                    </a:lnTo>
                    <a:lnTo>
                      <a:pt x="69" y="64"/>
                    </a:lnTo>
                    <a:lnTo>
                      <a:pt x="69" y="66"/>
                    </a:lnTo>
                    <a:lnTo>
                      <a:pt x="71" y="69"/>
                    </a:lnTo>
                    <a:lnTo>
                      <a:pt x="74" y="69"/>
                    </a:lnTo>
                    <a:lnTo>
                      <a:pt x="76" y="69"/>
                    </a:lnTo>
                    <a:lnTo>
                      <a:pt x="76" y="69"/>
                    </a:lnTo>
                    <a:lnTo>
                      <a:pt x="76" y="69"/>
                    </a:lnTo>
                    <a:lnTo>
                      <a:pt x="79" y="69"/>
                    </a:lnTo>
                    <a:lnTo>
                      <a:pt x="79" y="71"/>
                    </a:lnTo>
                    <a:lnTo>
                      <a:pt x="79" y="71"/>
                    </a:lnTo>
                    <a:lnTo>
                      <a:pt x="81" y="74"/>
                    </a:lnTo>
                    <a:lnTo>
                      <a:pt x="81" y="74"/>
                    </a:lnTo>
                    <a:lnTo>
                      <a:pt x="81" y="76"/>
                    </a:lnTo>
                    <a:lnTo>
                      <a:pt x="83" y="76"/>
                    </a:lnTo>
                    <a:lnTo>
                      <a:pt x="83" y="76"/>
                    </a:lnTo>
                    <a:lnTo>
                      <a:pt x="83" y="76"/>
                    </a:lnTo>
                    <a:lnTo>
                      <a:pt x="86" y="76"/>
                    </a:lnTo>
                    <a:lnTo>
                      <a:pt x="86" y="78"/>
                    </a:lnTo>
                    <a:lnTo>
                      <a:pt x="86" y="76"/>
                    </a:lnTo>
                    <a:lnTo>
                      <a:pt x="86" y="76"/>
                    </a:lnTo>
                    <a:lnTo>
                      <a:pt x="86" y="74"/>
                    </a:lnTo>
                    <a:lnTo>
                      <a:pt x="86" y="74"/>
                    </a:lnTo>
                    <a:lnTo>
                      <a:pt x="83" y="74"/>
                    </a:lnTo>
                    <a:lnTo>
                      <a:pt x="83" y="74"/>
                    </a:lnTo>
                    <a:lnTo>
                      <a:pt x="81" y="71"/>
                    </a:lnTo>
                    <a:lnTo>
                      <a:pt x="81" y="69"/>
                    </a:lnTo>
                    <a:lnTo>
                      <a:pt x="79" y="66"/>
                    </a:lnTo>
                    <a:lnTo>
                      <a:pt x="79" y="66"/>
                    </a:lnTo>
                    <a:lnTo>
                      <a:pt x="79" y="64"/>
                    </a:lnTo>
                    <a:lnTo>
                      <a:pt x="79" y="64"/>
                    </a:lnTo>
                    <a:lnTo>
                      <a:pt x="79" y="62"/>
                    </a:lnTo>
                    <a:lnTo>
                      <a:pt x="79" y="62"/>
                    </a:lnTo>
                    <a:lnTo>
                      <a:pt x="74" y="62"/>
                    </a:lnTo>
                    <a:lnTo>
                      <a:pt x="71" y="59"/>
                    </a:lnTo>
                    <a:lnTo>
                      <a:pt x="69" y="59"/>
                    </a:lnTo>
                    <a:lnTo>
                      <a:pt x="67" y="59"/>
                    </a:lnTo>
                    <a:lnTo>
                      <a:pt x="67" y="59"/>
                    </a:lnTo>
                    <a:close/>
                    <a:moveTo>
                      <a:pt x="71" y="55"/>
                    </a:moveTo>
                    <a:lnTo>
                      <a:pt x="71" y="52"/>
                    </a:lnTo>
                    <a:lnTo>
                      <a:pt x="69" y="50"/>
                    </a:lnTo>
                    <a:lnTo>
                      <a:pt x="69" y="52"/>
                    </a:lnTo>
                    <a:lnTo>
                      <a:pt x="71" y="55"/>
                    </a:lnTo>
                    <a:close/>
                    <a:moveTo>
                      <a:pt x="74" y="50"/>
                    </a:moveTo>
                    <a:lnTo>
                      <a:pt x="74" y="50"/>
                    </a:lnTo>
                    <a:lnTo>
                      <a:pt x="71" y="52"/>
                    </a:lnTo>
                    <a:lnTo>
                      <a:pt x="74" y="52"/>
                    </a:lnTo>
                    <a:lnTo>
                      <a:pt x="74" y="50"/>
                    </a:lnTo>
                    <a:lnTo>
                      <a:pt x="74" y="50"/>
                    </a:lnTo>
                    <a:close/>
                    <a:moveTo>
                      <a:pt x="116" y="48"/>
                    </a:moveTo>
                    <a:lnTo>
                      <a:pt x="116" y="48"/>
                    </a:lnTo>
                    <a:lnTo>
                      <a:pt x="112" y="48"/>
                    </a:lnTo>
                    <a:lnTo>
                      <a:pt x="112" y="48"/>
                    </a:lnTo>
                    <a:lnTo>
                      <a:pt x="112" y="50"/>
                    </a:lnTo>
                    <a:lnTo>
                      <a:pt x="109" y="50"/>
                    </a:lnTo>
                    <a:lnTo>
                      <a:pt x="109" y="50"/>
                    </a:lnTo>
                    <a:lnTo>
                      <a:pt x="107" y="50"/>
                    </a:lnTo>
                    <a:lnTo>
                      <a:pt x="107" y="52"/>
                    </a:lnTo>
                    <a:lnTo>
                      <a:pt x="109" y="52"/>
                    </a:lnTo>
                    <a:lnTo>
                      <a:pt x="112" y="52"/>
                    </a:lnTo>
                    <a:lnTo>
                      <a:pt x="112" y="52"/>
                    </a:lnTo>
                    <a:lnTo>
                      <a:pt x="114" y="50"/>
                    </a:lnTo>
                    <a:lnTo>
                      <a:pt x="114" y="52"/>
                    </a:lnTo>
                    <a:lnTo>
                      <a:pt x="112" y="55"/>
                    </a:lnTo>
                    <a:lnTo>
                      <a:pt x="112" y="55"/>
                    </a:lnTo>
                    <a:lnTo>
                      <a:pt x="116" y="55"/>
                    </a:lnTo>
                    <a:lnTo>
                      <a:pt x="119" y="55"/>
                    </a:lnTo>
                    <a:lnTo>
                      <a:pt x="119" y="55"/>
                    </a:lnTo>
                    <a:lnTo>
                      <a:pt x="119" y="55"/>
                    </a:lnTo>
                    <a:lnTo>
                      <a:pt x="119" y="55"/>
                    </a:lnTo>
                    <a:lnTo>
                      <a:pt x="119" y="55"/>
                    </a:lnTo>
                    <a:lnTo>
                      <a:pt x="121" y="55"/>
                    </a:lnTo>
                    <a:lnTo>
                      <a:pt x="121" y="55"/>
                    </a:lnTo>
                    <a:lnTo>
                      <a:pt x="119" y="52"/>
                    </a:lnTo>
                    <a:lnTo>
                      <a:pt x="119" y="52"/>
                    </a:lnTo>
                    <a:lnTo>
                      <a:pt x="116" y="50"/>
                    </a:lnTo>
                    <a:lnTo>
                      <a:pt x="116" y="48"/>
                    </a:lnTo>
                    <a:close/>
                    <a:moveTo>
                      <a:pt x="8" y="45"/>
                    </a:moveTo>
                    <a:lnTo>
                      <a:pt x="5" y="45"/>
                    </a:lnTo>
                    <a:lnTo>
                      <a:pt x="5" y="45"/>
                    </a:lnTo>
                    <a:lnTo>
                      <a:pt x="5" y="43"/>
                    </a:lnTo>
                    <a:lnTo>
                      <a:pt x="5" y="43"/>
                    </a:lnTo>
                    <a:lnTo>
                      <a:pt x="3" y="40"/>
                    </a:lnTo>
                    <a:lnTo>
                      <a:pt x="3" y="40"/>
                    </a:lnTo>
                    <a:lnTo>
                      <a:pt x="5" y="40"/>
                    </a:lnTo>
                    <a:lnTo>
                      <a:pt x="5" y="38"/>
                    </a:lnTo>
                    <a:lnTo>
                      <a:pt x="3" y="38"/>
                    </a:lnTo>
                    <a:lnTo>
                      <a:pt x="3" y="38"/>
                    </a:lnTo>
                    <a:lnTo>
                      <a:pt x="0" y="38"/>
                    </a:lnTo>
                    <a:lnTo>
                      <a:pt x="0" y="38"/>
                    </a:lnTo>
                    <a:lnTo>
                      <a:pt x="0" y="40"/>
                    </a:lnTo>
                    <a:lnTo>
                      <a:pt x="3" y="43"/>
                    </a:lnTo>
                    <a:lnTo>
                      <a:pt x="3" y="45"/>
                    </a:lnTo>
                    <a:lnTo>
                      <a:pt x="5" y="48"/>
                    </a:lnTo>
                    <a:lnTo>
                      <a:pt x="8" y="48"/>
                    </a:lnTo>
                    <a:lnTo>
                      <a:pt x="8" y="45"/>
                    </a:lnTo>
                    <a:lnTo>
                      <a:pt x="8" y="45"/>
                    </a:lnTo>
                    <a:close/>
                    <a:moveTo>
                      <a:pt x="95" y="38"/>
                    </a:moveTo>
                    <a:lnTo>
                      <a:pt x="95" y="36"/>
                    </a:lnTo>
                    <a:lnTo>
                      <a:pt x="95" y="36"/>
                    </a:lnTo>
                    <a:lnTo>
                      <a:pt x="95" y="38"/>
                    </a:lnTo>
                    <a:lnTo>
                      <a:pt x="97" y="38"/>
                    </a:lnTo>
                    <a:lnTo>
                      <a:pt x="97" y="38"/>
                    </a:lnTo>
                    <a:lnTo>
                      <a:pt x="97" y="38"/>
                    </a:lnTo>
                    <a:lnTo>
                      <a:pt x="97" y="36"/>
                    </a:lnTo>
                    <a:lnTo>
                      <a:pt x="97" y="36"/>
                    </a:lnTo>
                    <a:lnTo>
                      <a:pt x="97" y="36"/>
                    </a:lnTo>
                    <a:lnTo>
                      <a:pt x="97" y="33"/>
                    </a:lnTo>
                    <a:lnTo>
                      <a:pt x="97" y="36"/>
                    </a:lnTo>
                    <a:lnTo>
                      <a:pt x="95" y="36"/>
                    </a:lnTo>
                    <a:lnTo>
                      <a:pt x="93" y="33"/>
                    </a:lnTo>
                    <a:lnTo>
                      <a:pt x="93" y="36"/>
                    </a:lnTo>
                    <a:lnTo>
                      <a:pt x="93" y="36"/>
                    </a:lnTo>
                    <a:lnTo>
                      <a:pt x="93" y="38"/>
                    </a:lnTo>
                    <a:lnTo>
                      <a:pt x="95" y="38"/>
                    </a:lnTo>
                    <a:lnTo>
                      <a:pt x="95" y="38"/>
                    </a:lnTo>
                    <a:lnTo>
                      <a:pt x="95" y="38"/>
                    </a:lnTo>
                    <a:close/>
                    <a:moveTo>
                      <a:pt x="100" y="33"/>
                    </a:moveTo>
                    <a:lnTo>
                      <a:pt x="97" y="36"/>
                    </a:lnTo>
                    <a:lnTo>
                      <a:pt x="97" y="36"/>
                    </a:lnTo>
                    <a:lnTo>
                      <a:pt x="100" y="36"/>
                    </a:lnTo>
                    <a:lnTo>
                      <a:pt x="100" y="33"/>
                    </a:lnTo>
                    <a:close/>
                    <a:moveTo>
                      <a:pt x="102" y="26"/>
                    </a:moveTo>
                    <a:lnTo>
                      <a:pt x="102" y="26"/>
                    </a:lnTo>
                    <a:lnTo>
                      <a:pt x="102" y="26"/>
                    </a:lnTo>
                    <a:lnTo>
                      <a:pt x="100" y="24"/>
                    </a:lnTo>
                    <a:lnTo>
                      <a:pt x="100" y="26"/>
                    </a:lnTo>
                    <a:lnTo>
                      <a:pt x="100" y="26"/>
                    </a:lnTo>
                    <a:lnTo>
                      <a:pt x="102" y="26"/>
                    </a:lnTo>
                    <a:close/>
                    <a:moveTo>
                      <a:pt x="86" y="22"/>
                    </a:moveTo>
                    <a:lnTo>
                      <a:pt x="86" y="19"/>
                    </a:lnTo>
                    <a:lnTo>
                      <a:pt x="83" y="19"/>
                    </a:lnTo>
                    <a:lnTo>
                      <a:pt x="83" y="19"/>
                    </a:lnTo>
                    <a:lnTo>
                      <a:pt x="83" y="22"/>
                    </a:lnTo>
                    <a:lnTo>
                      <a:pt x="83" y="22"/>
                    </a:lnTo>
                    <a:lnTo>
                      <a:pt x="86" y="24"/>
                    </a:lnTo>
                    <a:lnTo>
                      <a:pt x="88" y="24"/>
                    </a:lnTo>
                    <a:lnTo>
                      <a:pt x="86" y="22"/>
                    </a:lnTo>
                    <a:lnTo>
                      <a:pt x="88" y="22"/>
                    </a:lnTo>
                    <a:lnTo>
                      <a:pt x="86" y="22"/>
                    </a:lnTo>
                    <a:close/>
                    <a:moveTo>
                      <a:pt x="74" y="81"/>
                    </a:moveTo>
                    <a:lnTo>
                      <a:pt x="76" y="83"/>
                    </a:lnTo>
                    <a:lnTo>
                      <a:pt x="76" y="83"/>
                    </a:lnTo>
                    <a:lnTo>
                      <a:pt x="79" y="83"/>
                    </a:lnTo>
                    <a:lnTo>
                      <a:pt x="79" y="81"/>
                    </a:lnTo>
                    <a:lnTo>
                      <a:pt x="79" y="81"/>
                    </a:lnTo>
                    <a:lnTo>
                      <a:pt x="76" y="78"/>
                    </a:lnTo>
                    <a:lnTo>
                      <a:pt x="76" y="74"/>
                    </a:lnTo>
                    <a:lnTo>
                      <a:pt x="76" y="71"/>
                    </a:lnTo>
                    <a:lnTo>
                      <a:pt x="76" y="71"/>
                    </a:lnTo>
                    <a:lnTo>
                      <a:pt x="74" y="69"/>
                    </a:lnTo>
                    <a:lnTo>
                      <a:pt x="71" y="69"/>
                    </a:lnTo>
                    <a:lnTo>
                      <a:pt x="69" y="66"/>
                    </a:lnTo>
                    <a:lnTo>
                      <a:pt x="64" y="66"/>
                    </a:lnTo>
                    <a:lnTo>
                      <a:pt x="62" y="62"/>
                    </a:lnTo>
                    <a:lnTo>
                      <a:pt x="62" y="62"/>
                    </a:lnTo>
                    <a:lnTo>
                      <a:pt x="60" y="62"/>
                    </a:lnTo>
                    <a:lnTo>
                      <a:pt x="55" y="59"/>
                    </a:lnTo>
                    <a:lnTo>
                      <a:pt x="52" y="59"/>
                    </a:lnTo>
                    <a:lnTo>
                      <a:pt x="52" y="59"/>
                    </a:lnTo>
                    <a:lnTo>
                      <a:pt x="50" y="57"/>
                    </a:lnTo>
                    <a:lnTo>
                      <a:pt x="50" y="57"/>
                    </a:lnTo>
                    <a:lnTo>
                      <a:pt x="52" y="57"/>
                    </a:lnTo>
                    <a:lnTo>
                      <a:pt x="55" y="57"/>
                    </a:lnTo>
                    <a:lnTo>
                      <a:pt x="57" y="57"/>
                    </a:lnTo>
                    <a:lnTo>
                      <a:pt x="60" y="55"/>
                    </a:lnTo>
                    <a:lnTo>
                      <a:pt x="57" y="55"/>
                    </a:lnTo>
                    <a:lnTo>
                      <a:pt x="57" y="52"/>
                    </a:lnTo>
                    <a:lnTo>
                      <a:pt x="55" y="52"/>
                    </a:lnTo>
                    <a:lnTo>
                      <a:pt x="55" y="50"/>
                    </a:lnTo>
                    <a:lnTo>
                      <a:pt x="57" y="50"/>
                    </a:lnTo>
                    <a:lnTo>
                      <a:pt x="57" y="48"/>
                    </a:lnTo>
                    <a:lnTo>
                      <a:pt x="60" y="50"/>
                    </a:lnTo>
                    <a:lnTo>
                      <a:pt x="62" y="50"/>
                    </a:lnTo>
                    <a:lnTo>
                      <a:pt x="60" y="52"/>
                    </a:lnTo>
                    <a:lnTo>
                      <a:pt x="60" y="52"/>
                    </a:lnTo>
                    <a:lnTo>
                      <a:pt x="62" y="52"/>
                    </a:lnTo>
                    <a:lnTo>
                      <a:pt x="64" y="52"/>
                    </a:lnTo>
                    <a:lnTo>
                      <a:pt x="62" y="50"/>
                    </a:lnTo>
                    <a:lnTo>
                      <a:pt x="62" y="48"/>
                    </a:lnTo>
                    <a:lnTo>
                      <a:pt x="60" y="45"/>
                    </a:lnTo>
                    <a:lnTo>
                      <a:pt x="57" y="43"/>
                    </a:lnTo>
                    <a:lnTo>
                      <a:pt x="57" y="43"/>
                    </a:lnTo>
                    <a:lnTo>
                      <a:pt x="55" y="38"/>
                    </a:lnTo>
                    <a:lnTo>
                      <a:pt x="50" y="36"/>
                    </a:lnTo>
                    <a:lnTo>
                      <a:pt x="50" y="33"/>
                    </a:lnTo>
                    <a:lnTo>
                      <a:pt x="50" y="31"/>
                    </a:lnTo>
                    <a:lnTo>
                      <a:pt x="50" y="29"/>
                    </a:lnTo>
                    <a:lnTo>
                      <a:pt x="50" y="26"/>
                    </a:lnTo>
                    <a:lnTo>
                      <a:pt x="50" y="26"/>
                    </a:lnTo>
                    <a:lnTo>
                      <a:pt x="52" y="24"/>
                    </a:lnTo>
                    <a:lnTo>
                      <a:pt x="52" y="24"/>
                    </a:lnTo>
                    <a:lnTo>
                      <a:pt x="55" y="24"/>
                    </a:lnTo>
                    <a:lnTo>
                      <a:pt x="55" y="24"/>
                    </a:lnTo>
                    <a:lnTo>
                      <a:pt x="55" y="26"/>
                    </a:lnTo>
                    <a:lnTo>
                      <a:pt x="55" y="29"/>
                    </a:lnTo>
                    <a:lnTo>
                      <a:pt x="60" y="29"/>
                    </a:lnTo>
                    <a:lnTo>
                      <a:pt x="62" y="31"/>
                    </a:lnTo>
                    <a:lnTo>
                      <a:pt x="62" y="33"/>
                    </a:lnTo>
                    <a:lnTo>
                      <a:pt x="64" y="33"/>
                    </a:lnTo>
                    <a:lnTo>
                      <a:pt x="69" y="36"/>
                    </a:lnTo>
                    <a:lnTo>
                      <a:pt x="69" y="36"/>
                    </a:lnTo>
                    <a:lnTo>
                      <a:pt x="69" y="36"/>
                    </a:lnTo>
                    <a:lnTo>
                      <a:pt x="64" y="33"/>
                    </a:lnTo>
                    <a:lnTo>
                      <a:pt x="64" y="33"/>
                    </a:lnTo>
                    <a:lnTo>
                      <a:pt x="64" y="31"/>
                    </a:lnTo>
                    <a:lnTo>
                      <a:pt x="64" y="31"/>
                    </a:lnTo>
                    <a:lnTo>
                      <a:pt x="69" y="31"/>
                    </a:lnTo>
                    <a:lnTo>
                      <a:pt x="71" y="36"/>
                    </a:lnTo>
                    <a:lnTo>
                      <a:pt x="74" y="36"/>
                    </a:lnTo>
                    <a:lnTo>
                      <a:pt x="74" y="33"/>
                    </a:lnTo>
                    <a:lnTo>
                      <a:pt x="74" y="33"/>
                    </a:lnTo>
                    <a:lnTo>
                      <a:pt x="74" y="33"/>
                    </a:lnTo>
                    <a:lnTo>
                      <a:pt x="71" y="31"/>
                    </a:lnTo>
                    <a:lnTo>
                      <a:pt x="69" y="31"/>
                    </a:lnTo>
                    <a:lnTo>
                      <a:pt x="69" y="29"/>
                    </a:lnTo>
                    <a:lnTo>
                      <a:pt x="71" y="29"/>
                    </a:lnTo>
                    <a:lnTo>
                      <a:pt x="71" y="29"/>
                    </a:lnTo>
                    <a:lnTo>
                      <a:pt x="74" y="29"/>
                    </a:lnTo>
                    <a:lnTo>
                      <a:pt x="76" y="31"/>
                    </a:lnTo>
                    <a:lnTo>
                      <a:pt x="79" y="31"/>
                    </a:lnTo>
                    <a:lnTo>
                      <a:pt x="81" y="33"/>
                    </a:lnTo>
                    <a:lnTo>
                      <a:pt x="79" y="31"/>
                    </a:lnTo>
                    <a:lnTo>
                      <a:pt x="79" y="29"/>
                    </a:lnTo>
                    <a:lnTo>
                      <a:pt x="74" y="26"/>
                    </a:lnTo>
                    <a:lnTo>
                      <a:pt x="74" y="26"/>
                    </a:lnTo>
                    <a:lnTo>
                      <a:pt x="71" y="26"/>
                    </a:lnTo>
                    <a:lnTo>
                      <a:pt x="71" y="26"/>
                    </a:lnTo>
                    <a:lnTo>
                      <a:pt x="71" y="24"/>
                    </a:lnTo>
                    <a:lnTo>
                      <a:pt x="69" y="22"/>
                    </a:lnTo>
                    <a:lnTo>
                      <a:pt x="69" y="22"/>
                    </a:lnTo>
                    <a:lnTo>
                      <a:pt x="69" y="19"/>
                    </a:lnTo>
                    <a:lnTo>
                      <a:pt x="71" y="19"/>
                    </a:lnTo>
                    <a:lnTo>
                      <a:pt x="74" y="22"/>
                    </a:lnTo>
                    <a:lnTo>
                      <a:pt x="79" y="19"/>
                    </a:lnTo>
                    <a:lnTo>
                      <a:pt x="81" y="17"/>
                    </a:lnTo>
                    <a:lnTo>
                      <a:pt x="81" y="17"/>
                    </a:lnTo>
                    <a:lnTo>
                      <a:pt x="83" y="17"/>
                    </a:lnTo>
                    <a:lnTo>
                      <a:pt x="86" y="17"/>
                    </a:lnTo>
                    <a:lnTo>
                      <a:pt x="88" y="17"/>
                    </a:lnTo>
                    <a:lnTo>
                      <a:pt x="90" y="17"/>
                    </a:lnTo>
                    <a:lnTo>
                      <a:pt x="93" y="14"/>
                    </a:lnTo>
                    <a:lnTo>
                      <a:pt x="95" y="17"/>
                    </a:lnTo>
                    <a:lnTo>
                      <a:pt x="95" y="17"/>
                    </a:lnTo>
                    <a:lnTo>
                      <a:pt x="100" y="17"/>
                    </a:lnTo>
                    <a:lnTo>
                      <a:pt x="105" y="19"/>
                    </a:lnTo>
                    <a:lnTo>
                      <a:pt x="107" y="19"/>
                    </a:lnTo>
                    <a:lnTo>
                      <a:pt x="109" y="22"/>
                    </a:lnTo>
                    <a:lnTo>
                      <a:pt x="109" y="22"/>
                    </a:lnTo>
                    <a:lnTo>
                      <a:pt x="109" y="19"/>
                    </a:lnTo>
                    <a:lnTo>
                      <a:pt x="112" y="19"/>
                    </a:lnTo>
                    <a:lnTo>
                      <a:pt x="112" y="17"/>
                    </a:lnTo>
                    <a:lnTo>
                      <a:pt x="114" y="17"/>
                    </a:lnTo>
                    <a:lnTo>
                      <a:pt x="114" y="14"/>
                    </a:lnTo>
                    <a:lnTo>
                      <a:pt x="114" y="14"/>
                    </a:lnTo>
                    <a:lnTo>
                      <a:pt x="114" y="14"/>
                    </a:lnTo>
                    <a:lnTo>
                      <a:pt x="114" y="12"/>
                    </a:lnTo>
                    <a:lnTo>
                      <a:pt x="112" y="12"/>
                    </a:lnTo>
                    <a:lnTo>
                      <a:pt x="112" y="10"/>
                    </a:lnTo>
                    <a:lnTo>
                      <a:pt x="116" y="7"/>
                    </a:lnTo>
                    <a:lnTo>
                      <a:pt x="116" y="7"/>
                    </a:lnTo>
                    <a:lnTo>
                      <a:pt x="116" y="7"/>
                    </a:lnTo>
                    <a:lnTo>
                      <a:pt x="116" y="5"/>
                    </a:lnTo>
                    <a:lnTo>
                      <a:pt x="116" y="3"/>
                    </a:lnTo>
                    <a:lnTo>
                      <a:pt x="116" y="3"/>
                    </a:lnTo>
                    <a:lnTo>
                      <a:pt x="114" y="3"/>
                    </a:lnTo>
                    <a:lnTo>
                      <a:pt x="114" y="0"/>
                    </a:lnTo>
                    <a:lnTo>
                      <a:pt x="114" y="0"/>
                    </a:lnTo>
                    <a:lnTo>
                      <a:pt x="112" y="0"/>
                    </a:lnTo>
                    <a:lnTo>
                      <a:pt x="109" y="0"/>
                    </a:lnTo>
                    <a:lnTo>
                      <a:pt x="109" y="0"/>
                    </a:lnTo>
                    <a:lnTo>
                      <a:pt x="107" y="0"/>
                    </a:lnTo>
                    <a:lnTo>
                      <a:pt x="107" y="0"/>
                    </a:lnTo>
                    <a:lnTo>
                      <a:pt x="107" y="3"/>
                    </a:lnTo>
                    <a:lnTo>
                      <a:pt x="109" y="3"/>
                    </a:lnTo>
                    <a:lnTo>
                      <a:pt x="109" y="5"/>
                    </a:lnTo>
                    <a:lnTo>
                      <a:pt x="109" y="5"/>
                    </a:lnTo>
                    <a:lnTo>
                      <a:pt x="109" y="7"/>
                    </a:lnTo>
                    <a:lnTo>
                      <a:pt x="107" y="7"/>
                    </a:lnTo>
                    <a:lnTo>
                      <a:pt x="105" y="10"/>
                    </a:lnTo>
                    <a:lnTo>
                      <a:pt x="102" y="7"/>
                    </a:lnTo>
                    <a:lnTo>
                      <a:pt x="102" y="7"/>
                    </a:lnTo>
                    <a:lnTo>
                      <a:pt x="100" y="10"/>
                    </a:lnTo>
                    <a:lnTo>
                      <a:pt x="100" y="10"/>
                    </a:lnTo>
                    <a:lnTo>
                      <a:pt x="97" y="10"/>
                    </a:lnTo>
                    <a:lnTo>
                      <a:pt x="95" y="10"/>
                    </a:lnTo>
                    <a:lnTo>
                      <a:pt x="93" y="7"/>
                    </a:lnTo>
                    <a:lnTo>
                      <a:pt x="90" y="7"/>
                    </a:lnTo>
                    <a:lnTo>
                      <a:pt x="88" y="7"/>
                    </a:lnTo>
                    <a:lnTo>
                      <a:pt x="86" y="7"/>
                    </a:lnTo>
                    <a:lnTo>
                      <a:pt x="86" y="7"/>
                    </a:lnTo>
                    <a:lnTo>
                      <a:pt x="83" y="7"/>
                    </a:lnTo>
                    <a:lnTo>
                      <a:pt x="83" y="5"/>
                    </a:lnTo>
                    <a:lnTo>
                      <a:pt x="83" y="5"/>
                    </a:lnTo>
                    <a:lnTo>
                      <a:pt x="81" y="3"/>
                    </a:lnTo>
                    <a:lnTo>
                      <a:pt x="81" y="3"/>
                    </a:lnTo>
                    <a:lnTo>
                      <a:pt x="79" y="5"/>
                    </a:lnTo>
                    <a:lnTo>
                      <a:pt x="79" y="5"/>
                    </a:lnTo>
                    <a:lnTo>
                      <a:pt x="76" y="5"/>
                    </a:lnTo>
                    <a:lnTo>
                      <a:pt x="74" y="5"/>
                    </a:lnTo>
                    <a:lnTo>
                      <a:pt x="74" y="5"/>
                    </a:lnTo>
                    <a:lnTo>
                      <a:pt x="74" y="5"/>
                    </a:lnTo>
                    <a:lnTo>
                      <a:pt x="71" y="5"/>
                    </a:lnTo>
                    <a:lnTo>
                      <a:pt x="71" y="5"/>
                    </a:lnTo>
                    <a:lnTo>
                      <a:pt x="69" y="7"/>
                    </a:lnTo>
                    <a:lnTo>
                      <a:pt x="67" y="7"/>
                    </a:lnTo>
                    <a:lnTo>
                      <a:pt x="64" y="7"/>
                    </a:lnTo>
                    <a:lnTo>
                      <a:pt x="62" y="7"/>
                    </a:lnTo>
                    <a:lnTo>
                      <a:pt x="62" y="7"/>
                    </a:lnTo>
                    <a:lnTo>
                      <a:pt x="60" y="7"/>
                    </a:lnTo>
                    <a:lnTo>
                      <a:pt x="57" y="7"/>
                    </a:lnTo>
                    <a:lnTo>
                      <a:pt x="57" y="7"/>
                    </a:lnTo>
                    <a:lnTo>
                      <a:pt x="55" y="7"/>
                    </a:lnTo>
                    <a:lnTo>
                      <a:pt x="52" y="7"/>
                    </a:lnTo>
                    <a:lnTo>
                      <a:pt x="52" y="7"/>
                    </a:lnTo>
                    <a:lnTo>
                      <a:pt x="52" y="10"/>
                    </a:lnTo>
                    <a:lnTo>
                      <a:pt x="50" y="12"/>
                    </a:lnTo>
                    <a:lnTo>
                      <a:pt x="50" y="12"/>
                    </a:lnTo>
                    <a:lnTo>
                      <a:pt x="48" y="12"/>
                    </a:lnTo>
                    <a:lnTo>
                      <a:pt x="45" y="12"/>
                    </a:lnTo>
                    <a:lnTo>
                      <a:pt x="43" y="12"/>
                    </a:lnTo>
                    <a:lnTo>
                      <a:pt x="43" y="12"/>
                    </a:lnTo>
                    <a:lnTo>
                      <a:pt x="41" y="12"/>
                    </a:lnTo>
                    <a:lnTo>
                      <a:pt x="38" y="12"/>
                    </a:lnTo>
                    <a:lnTo>
                      <a:pt x="38" y="12"/>
                    </a:lnTo>
                    <a:lnTo>
                      <a:pt x="36" y="17"/>
                    </a:lnTo>
                    <a:lnTo>
                      <a:pt x="34" y="17"/>
                    </a:lnTo>
                    <a:lnTo>
                      <a:pt x="31" y="17"/>
                    </a:lnTo>
                    <a:lnTo>
                      <a:pt x="29" y="17"/>
                    </a:lnTo>
                    <a:lnTo>
                      <a:pt x="29" y="17"/>
                    </a:lnTo>
                    <a:lnTo>
                      <a:pt x="26" y="17"/>
                    </a:lnTo>
                    <a:lnTo>
                      <a:pt x="24" y="17"/>
                    </a:lnTo>
                    <a:lnTo>
                      <a:pt x="24" y="17"/>
                    </a:lnTo>
                    <a:lnTo>
                      <a:pt x="22" y="19"/>
                    </a:lnTo>
                    <a:lnTo>
                      <a:pt x="22" y="19"/>
                    </a:lnTo>
                    <a:lnTo>
                      <a:pt x="22" y="22"/>
                    </a:lnTo>
                    <a:lnTo>
                      <a:pt x="22" y="22"/>
                    </a:lnTo>
                    <a:lnTo>
                      <a:pt x="22" y="24"/>
                    </a:lnTo>
                    <a:lnTo>
                      <a:pt x="22" y="24"/>
                    </a:lnTo>
                    <a:lnTo>
                      <a:pt x="22" y="26"/>
                    </a:lnTo>
                    <a:lnTo>
                      <a:pt x="19" y="26"/>
                    </a:lnTo>
                    <a:lnTo>
                      <a:pt x="19" y="26"/>
                    </a:lnTo>
                    <a:lnTo>
                      <a:pt x="19" y="29"/>
                    </a:lnTo>
                    <a:lnTo>
                      <a:pt x="17" y="29"/>
                    </a:lnTo>
                    <a:lnTo>
                      <a:pt x="17" y="29"/>
                    </a:lnTo>
                    <a:lnTo>
                      <a:pt x="17" y="31"/>
                    </a:lnTo>
                    <a:lnTo>
                      <a:pt x="17" y="33"/>
                    </a:lnTo>
                    <a:lnTo>
                      <a:pt x="17" y="33"/>
                    </a:lnTo>
                    <a:lnTo>
                      <a:pt x="17" y="33"/>
                    </a:lnTo>
                    <a:lnTo>
                      <a:pt x="15" y="33"/>
                    </a:lnTo>
                    <a:lnTo>
                      <a:pt x="12" y="33"/>
                    </a:lnTo>
                    <a:lnTo>
                      <a:pt x="12" y="36"/>
                    </a:lnTo>
                    <a:lnTo>
                      <a:pt x="12" y="36"/>
                    </a:lnTo>
                    <a:lnTo>
                      <a:pt x="12" y="33"/>
                    </a:lnTo>
                    <a:lnTo>
                      <a:pt x="10" y="36"/>
                    </a:lnTo>
                    <a:lnTo>
                      <a:pt x="10" y="36"/>
                    </a:lnTo>
                    <a:lnTo>
                      <a:pt x="12" y="36"/>
                    </a:lnTo>
                    <a:lnTo>
                      <a:pt x="12" y="38"/>
                    </a:lnTo>
                    <a:lnTo>
                      <a:pt x="12" y="38"/>
                    </a:lnTo>
                    <a:lnTo>
                      <a:pt x="12" y="38"/>
                    </a:lnTo>
                    <a:lnTo>
                      <a:pt x="10" y="38"/>
                    </a:lnTo>
                    <a:lnTo>
                      <a:pt x="10" y="38"/>
                    </a:lnTo>
                    <a:lnTo>
                      <a:pt x="10" y="40"/>
                    </a:lnTo>
                    <a:lnTo>
                      <a:pt x="10" y="40"/>
                    </a:lnTo>
                    <a:lnTo>
                      <a:pt x="10" y="40"/>
                    </a:lnTo>
                    <a:lnTo>
                      <a:pt x="10" y="40"/>
                    </a:lnTo>
                    <a:lnTo>
                      <a:pt x="8" y="40"/>
                    </a:lnTo>
                    <a:lnTo>
                      <a:pt x="8" y="40"/>
                    </a:lnTo>
                    <a:lnTo>
                      <a:pt x="5" y="40"/>
                    </a:lnTo>
                    <a:lnTo>
                      <a:pt x="5" y="40"/>
                    </a:lnTo>
                    <a:lnTo>
                      <a:pt x="8" y="43"/>
                    </a:lnTo>
                    <a:lnTo>
                      <a:pt x="10" y="43"/>
                    </a:lnTo>
                    <a:lnTo>
                      <a:pt x="12" y="48"/>
                    </a:lnTo>
                    <a:lnTo>
                      <a:pt x="15" y="50"/>
                    </a:lnTo>
                    <a:lnTo>
                      <a:pt x="17" y="52"/>
                    </a:lnTo>
                    <a:lnTo>
                      <a:pt x="19" y="55"/>
                    </a:lnTo>
                    <a:lnTo>
                      <a:pt x="19" y="55"/>
                    </a:lnTo>
                    <a:lnTo>
                      <a:pt x="19" y="55"/>
                    </a:lnTo>
                    <a:lnTo>
                      <a:pt x="22" y="55"/>
                    </a:lnTo>
                    <a:lnTo>
                      <a:pt x="24" y="55"/>
                    </a:lnTo>
                    <a:lnTo>
                      <a:pt x="24" y="55"/>
                    </a:lnTo>
                    <a:lnTo>
                      <a:pt x="26" y="55"/>
                    </a:lnTo>
                    <a:lnTo>
                      <a:pt x="26" y="55"/>
                    </a:lnTo>
                    <a:lnTo>
                      <a:pt x="26" y="57"/>
                    </a:lnTo>
                    <a:lnTo>
                      <a:pt x="26" y="57"/>
                    </a:lnTo>
                    <a:lnTo>
                      <a:pt x="24" y="57"/>
                    </a:lnTo>
                    <a:lnTo>
                      <a:pt x="22" y="57"/>
                    </a:lnTo>
                    <a:lnTo>
                      <a:pt x="19" y="57"/>
                    </a:lnTo>
                    <a:lnTo>
                      <a:pt x="19" y="57"/>
                    </a:lnTo>
                    <a:lnTo>
                      <a:pt x="19" y="59"/>
                    </a:lnTo>
                    <a:lnTo>
                      <a:pt x="22" y="59"/>
                    </a:lnTo>
                    <a:lnTo>
                      <a:pt x="24" y="62"/>
                    </a:lnTo>
                    <a:lnTo>
                      <a:pt x="24" y="66"/>
                    </a:lnTo>
                    <a:lnTo>
                      <a:pt x="26" y="69"/>
                    </a:lnTo>
                    <a:lnTo>
                      <a:pt x="26" y="69"/>
                    </a:lnTo>
                    <a:lnTo>
                      <a:pt x="29" y="69"/>
                    </a:lnTo>
                    <a:lnTo>
                      <a:pt x="29" y="66"/>
                    </a:lnTo>
                    <a:lnTo>
                      <a:pt x="29" y="66"/>
                    </a:lnTo>
                    <a:lnTo>
                      <a:pt x="31" y="66"/>
                    </a:lnTo>
                    <a:lnTo>
                      <a:pt x="31" y="69"/>
                    </a:lnTo>
                    <a:lnTo>
                      <a:pt x="31" y="69"/>
                    </a:lnTo>
                    <a:lnTo>
                      <a:pt x="34" y="69"/>
                    </a:lnTo>
                    <a:lnTo>
                      <a:pt x="36" y="69"/>
                    </a:lnTo>
                    <a:lnTo>
                      <a:pt x="36" y="69"/>
                    </a:lnTo>
                    <a:lnTo>
                      <a:pt x="38" y="69"/>
                    </a:lnTo>
                    <a:lnTo>
                      <a:pt x="41" y="69"/>
                    </a:lnTo>
                    <a:lnTo>
                      <a:pt x="45" y="69"/>
                    </a:lnTo>
                    <a:lnTo>
                      <a:pt x="48" y="69"/>
                    </a:lnTo>
                    <a:lnTo>
                      <a:pt x="48" y="69"/>
                    </a:lnTo>
                    <a:lnTo>
                      <a:pt x="48" y="66"/>
                    </a:lnTo>
                    <a:lnTo>
                      <a:pt x="52" y="69"/>
                    </a:lnTo>
                    <a:lnTo>
                      <a:pt x="55" y="71"/>
                    </a:lnTo>
                    <a:lnTo>
                      <a:pt x="55" y="71"/>
                    </a:lnTo>
                    <a:lnTo>
                      <a:pt x="57" y="71"/>
                    </a:lnTo>
                    <a:lnTo>
                      <a:pt x="57" y="71"/>
                    </a:lnTo>
                    <a:lnTo>
                      <a:pt x="60" y="71"/>
                    </a:lnTo>
                    <a:lnTo>
                      <a:pt x="60" y="71"/>
                    </a:lnTo>
                    <a:lnTo>
                      <a:pt x="60" y="74"/>
                    </a:lnTo>
                    <a:lnTo>
                      <a:pt x="62" y="74"/>
                    </a:lnTo>
                    <a:lnTo>
                      <a:pt x="62" y="74"/>
                    </a:lnTo>
                    <a:lnTo>
                      <a:pt x="62" y="74"/>
                    </a:lnTo>
                    <a:lnTo>
                      <a:pt x="62" y="76"/>
                    </a:lnTo>
                    <a:lnTo>
                      <a:pt x="57" y="76"/>
                    </a:lnTo>
                    <a:lnTo>
                      <a:pt x="57" y="76"/>
                    </a:lnTo>
                    <a:lnTo>
                      <a:pt x="57" y="76"/>
                    </a:lnTo>
                    <a:lnTo>
                      <a:pt x="57" y="78"/>
                    </a:lnTo>
                    <a:lnTo>
                      <a:pt x="57" y="78"/>
                    </a:lnTo>
                    <a:lnTo>
                      <a:pt x="55" y="76"/>
                    </a:lnTo>
                    <a:lnTo>
                      <a:pt x="55" y="76"/>
                    </a:lnTo>
                    <a:lnTo>
                      <a:pt x="52" y="74"/>
                    </a:lnTo>
                    <a:lnTo>
                      <a:pt x="45" y="74"/>
                    </a:lnTo>
                    <a:lnTo>
                      <a:pt x="41" y="69"/>
                    </a:lnTo>
                    <a:lnTo>
                      <a:pt x="38" y="69"/>
                    </a:lnTo>
                    <a:lnTo>
                      <a:pt x="38" y="71"/>
                    </a:lnTo>
                    <a:lnTo>
                      <a:pt x="36" y="74"/>
                    </a:lnTo>
                    <a:lnTo>
                      <a:pt x="34" y="74"/>
                    </a:lnTo>
                    <a:lnTo>
                      <a:pt x="31" y="71"/>
                    </a:lnTo>
                    <a:lnTo>
                      <a:pt x="31" y="74"/>
                    </a:lnTo>
                    <a:lnTo>
                      <a:pt x="29" y="76"/>
                    </a:lnTo>
                    <a:lnTo>
                      <a:pt x="26" y="78"/>
                    </a:lnTo>
                    <a:lnTo>
                      <a:pt x="26" y="78"/>
                    </a:lnTo>
                    <a:lnTo>
                      <a:pt x="26" y="81"/>
                    </a:lnTo>
                    <a:lnTo>
                      <a:pt x="29" y="81"/>
                    </a:lnTo>
                    <a:lnTo>
                      <a:pt x="29" y="81"/>
                    </a:lnTo>
                    <a:lnTo>
                      <a:pt x="31" y="83"/>
                    </a:lnTo>
                    <a:lnTo>
                      <a:pt x="31" y="85"/>
                    </a:lnTo>
                    <a:lnTo>
                      <a:pt x="34" y="85"/>
                    </a:lnTo>
                    <a:lnTo>
                      <a:pt x="36" y="90"/>
                    </a:lnTo>
                    <a:lnTo>
                      <a:pt x="36" y="93"/>
                    </a:lnTo>
                    <a:lnTo>
                      <a:pt x="36" y="95"/>
                    </a:lnTo>
                    <a:lnTo>
                      <a:pt x="36" y="97"/>
                    </a:lnTo>
                    <a:lnTo>
                      <a:pt x="38" y="102"/>
                    </a:lnTo>
                    <a:lnTo>
                      <a:pt x="41" y="104"/>
                    </a:lnTo>
                    <a:lnTo>
                      <a:pt x="41" y="102"/>
                    </a:lnTo>
                    <a:lnTo>
                      <a:pt x="41" y="100"/>
                    </a:lnTo>
                    <a:lnTo>
                      <a:pt x="43" y="97"/>
                    </a:lnTo>
                    <a:lnTo>
                      <a:pt x="43" y="97"/>
                    </a:lnTo>
                    <a:lnTo>
                      <a:pt x="43" y="97"/>
                    </a:lnTo>
                    <a:lnTo>
                      <a:pt x="45" y="100"/>
                    </a:lnTo>
                    <a:lnTo>
                      <a:pt x="45" y="100"/>
                    </a:lnTo>
                    <a:lnTo>
                      <a:pt x="48" y="100"/>
                    </a:lnTo>
                    <a:lnTo>
                      <a:pt x="50" y="104"/>
                    </a:lnTo>
                    <a:lnTo>
                      <a:pt x="50" y="107"/>
                    </a:lnTo>
                    <a:lnTo>
                      <a:pt x="50" y="109"/>
                    </a:lnTo>
                    <a:lnTo>
                      <a:pt x="50" y="109"/>
                    </a:lnTo>
                    <a:lnTo>
                      <a:pt x="52" y="109"/>
                    </a:lnTo>
                    <a:lnTo>
                      <a:pt x="52" y="107"/>
                    </a:lnTo>
                    <a:lnTo>
                      <a:pt x="52" y="102"/>
                    </a:lnTo>
                    <a:lnTo>
                      <a:pt x="55" y="102"/>
                    </a:lnTo>
                    <a:lnTo>
                      <a:pt x="57" y="102"/>
                    </a:lnTo>
                    <a:lnTo>
                      <a:pt x="57" y="104"/>
                    </a:lnTo>
                    <a:lnTo>
                      <a:pt x="60" y="109"/>
                    </a:lnTo>
                    <a:lnTo>
                      <a:pt x="62" y="109"/>
                    </a:lnTo>
                    <a:lnTo>
                      <a:pt x="62" y="109"/>
                    </a:lnTo>
                    <a:lnTo>
                      <a:pt x="64" y="109"/>
                    </a:lnTo>
                    <a:lnTo>
                      <a:pt x="62" y="107"/>
                    </a:lnTo>
                    <a:lnTo>
                      <a:pt x="62" y="107"/>
                    </a:lnTo>
                    <a:lnTo>
                      <a:pt x="62" y="102"/>
                    </a:lnTo>
                    <a:lnTo>
                      <a:pt x="62" y="102"/>
                    </a:lnTo>
                    <a:lnTo>
                      <a:pt x="60" y="97"/>
                    </a:lnTo>
                    <a:lnTo>
                      <a:pt x="57" y="93"/>
                    </a:lnTo>
                    <a:lnTo>
                      <a:pt x="55" y="90"/>
                    </a:lnTo>
                    <a:lnTo>
                      <a:pt x="55" y="85"/>
                    </a:lnTo>
                    <a:lnTo>
                      <a:pt x="55" y="85"/>
                    </a:lnTo>
                    <a:lnTo>
                      <a:pt x="57" y="88"/>
                    </a:lnTo>
                    <a:lnTo>
                      <a:pt x="60" y="88"/>
                    </a:lnTo>
                    <a:lnTo>
                      <a:pt x="60" y="88"/>
                    </a:lnTo>
                    <a:lnTo>
                      <a:pt x="62" y="88"/>
                    </a:lnTo>
                    <a:lnTo>
                      <a:pt x="62" y="90"/>
                    </a:lnTo>
                    <a:lnTo>
                      <a:pt x="62" y="90"/>
                    </a:lnTo>
                    <a:lnTo>
                      <a:pt x="64" y="90"/>
                    </a:lnTo>
                    <a:lnTo>
                      <a:pt x="64" y="90"/>
                    </a:lnTo>
                    <a:lnTo>
                      <a:pt x="69" y="88"/>
                    </a:lnTo>
                    <a:lnTo>
                      <a:pt x="69" y="88"/>
                    </a:lnTo>
                    <a:lnTo>
                      <a:pt x="67" y="88"/>
                    </a:lnTo>
                    <a:lnTo>
                      <a:pt x="67" y="85"/>
                    </a:lnTo>
                    <a:lnTo>
                      <a:pt x="67" y="85"/>
                    </a:lnTo>
                    <a:lnTo>
                      <a:pt x="67" y="85"/>
                    </a:lnTo>
                    <a:lnTo>
                      <a:pt x="64" y="85"/>
                    </a:lnTo>
                    <a:lnTo>
                      <a:pt x="62" y="85"/>
                    </a:lnTo>
                    <a:lnTo>
                      <a:pt x="62" y="83"/>
                    </a:lnTo>
                    <a:lnTo>
                      <a:pt x="62" y="81"/>
                    </a:lnTo>
                    <a:lnTo>
                      <a:pt x="62" y="81"/>
                    </a:lnTo>
                    <a:lnTo>
                      <a:pt x="60" y="78"/>
                    </a:lnTo>
                    <a:lnTo>
                      <a:pt x="60" y="78"/>
                    </a:lnTo>
                    <a:lnTo>
                      <a:pt x="60" y="78"/>
                    </a:lnTo>
                    <a:lnTo>
                      <a:pt x="62" y="78"/>
                    </a:lnTo>
                    <a:lnTo>
                      <a:pt x="67" y="76"/>
                    </a:lnTo>
                    <a:lnTo>
                      <a:pt x="67" y="76"/>
                    </a:lnTo>
                    <a:lnTo>
                      <a:pt x="69" y="76"/>
                    </a:lnTo>
                    <a:lnTo>
                      <a:pt x="69" y="76"/>
                    </a:lnTo>
                    <a:lnTo>
                      <a:pt x="71" y="78"/>
                    </a:lnTo>
                    <a:lnTo>
                      <a:pt x="74" y="81"/>
                    </a:lnTo>
                    <a:close/>
                    <a:moveTo>
                      <a:pt x="74" y="33"/>
                    </a:moveTo>
                    <a:lnTo>
                      <a:pt x="74" y="33"/>
                    </a:lnTo>
                    <a:lnTo>
                      <a:pt x="74" y="36"/>
                    </a:lnTo>
                    <a:lnTo>
                      <a:pt x="74" y="33"/>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148"/>
              <p:cNvSpPr>
                <a:spLocks/>
              </p:cNvSpPr>
              <p:nvPr/>
            </p:nvSpPr>
            <p:spPr bwMode="auto">
              <a:xfrm>
                <a:off x="1604" y="2542"/>
                <a:ext cx="4" cy="5"/>
              </a:xfrm>
              <a:custGeom>
                <a:avLst/>
                <a:gdLst>
                  <a:gd name="T0" fmla="*/ 2 w 4"/>
                  <a:gd name="T1" fmla="*/ 0 h 5"/>
                  <a:gd name="T2" fmla="*/ 2 w 4"/>
                  <a:gd name="T3" fmla="*/ 0 h 5"/>
                  <a:gd name="T4" fmla="*/ 2 w 4"/>
                  <a:gd name="T5" fmla="*/ 2 h 5"/>
                  <a:gd name="T6" fmla="*/ 0 w 4"/>
                  <a:gd name="T7" fmla="*/ 2 h 5"/>
                  <a:gd name="T8" fmla="*/ 0 w 4"/>
                  <a:gd name="T9" fmla="*/ 5 h 5"/>
                  <a:gd name="T10" fmla="*/ 2 w 4"/>
                  <a:gd name="T11" fmla="*/ 5 h 5"/>
                  <a:gd name="T12" fmla="*/ 2 w 4"/>
                  <a:gd name="T13" fmla="*/ 2 h 5"/>
                  <a:gd name="T14" fmla="*/ 4 w 4"/>
                  <a:gd name="T15" fmla="*/ 0 h 5"/>
                  <a:gd name="T16" fmla="*/ 2 w 4"/>
                  <a:gd name="T1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5">
                    <a:moveTo>
                      <a:pt x="2" y="0"/>
                    </a:moveTo>
                    <a:lnTo>
                      <a:pt x="2" y="0"/>
                    </a:lnTo>
                    <a:lnTo>
                      <a:pt x="2" y="2"/>
                    </a:lnTo>
                    <a:lnTo>
                      <a:pt x="0" y="2"/>
                    </a:lnTo>
                    <a:lnTo>
                      <a:pt x="0" y="5"/>
                    </a:lnTo>
                    <a:lnTo>
                      <a:pt x="2" y="5"/>
                    </a:lnTo>
                    <a:lnTo>
                      <a:pt x="2" y="2"/>
                    </a:lnTo>
                    <a:lnTo>
                      <a:pt x="4" y="0"/>
                    </a:lnTo>
                    <a:lnTo>
                      <a:pt x="2" y="0"/>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149"/>
              <p:cNvSpPr>
                <a:spLocks/>
              </p:cNvSpPr>
              <p:nvPr/>
            </p:nvSpPr>
            <p:spPr bwMode="auto">
              <a:xfrm>
                <a:off x="2689" y="2563"/>
                <a:ext cx="81" cy="138"/>
              </a:xfrm>
              <a:custGeom>
                <a:avLst/>
                <a:gdLst>
                  <a:gd name="T0" fmla="*/ 79 w 81"/>
                  <a:gd name="T1" fmla="*/ 107 h 138"/>
                  <a:gd name="T2" fmla="*/ 76 w 81"/>
                  <a:gd name="T3" fmla="*/ 102 h 138"/>
                  <a:gd name="T4" fmla="*/ 74 w 81"/>
                  <a:gd name="T5" fmla="*/ 97 h 138"/>
                  <a:gd name="T6" fmla="*/ 69 w 81"/>
                  <a:gd name="T7" fmla="*/ 93 h 138"/>
                  <a:gd name="T8" fmla="*/ 71 w 81"/>
                  <a:gd name="T9" fmla="*/ 88 h 138"/>
                  <a:gd name="T10" fmla="*/ 71 w 81"/>
                  <a:gd name="T11" fmla="*/ 81 h 138"/>
                  <a:gd name="T12" fmla="*/ 69 w 81"/>
                  <a:gd name="T13" fmla="*/ 78 h 138"/>
                  <a:gd name="T14" fmla="*/ 71 w 81"/>
                  <a:gd name="T15" fmla="*/ 64 h 138"/>
                  <a:gd name="T16" fmla="*/ 71 w 81"/>
                  <a:gd name="T17" fmla="*/ 57 h 138"/>
                  <a:gd name="T18" fmla="*/ 67 w 81"/>
                  <a:gd name="T19" fmla="*/ 52 h 138"/>
                  <a:gd name="T20" fmla="*/ 69 w 81"/>
                  <a:gd name="T21" fmla="*/ 48 h 138"/>
                  <a:gd name="T22" fmla="*/ 69 w 81"/>
                  <a:gd name="T23" fmla="*/ 38 h 138"/>
                  <a:gd name="T24" fmla="*/ 67 w 81"/>
                  <a:gd name="T25" fmla="*/ 38 h 138"/>
                  <a:gd name="T26" fmla="*/ 64 w 81"/>
                  <a:gd name="T27" fmla="*/ 36 h 138"/>
                  <a:gd name="T28" fmla="*/ 67 w 81"/>
                  <a:gd name="T29" fmla="*/ 33 h 138"/>
                  <a:gd name="T30" fmla="*/ 67 w 81"/>
                  <a:gd name="T31" fmla="*/ 33 h 138"/>
                  <a:gd name="T32" fmla="*/ 67 w 81"/>
                  <a:gd name="T33" fmla="*/ 29 h 138"/>
                  <a:gd name="T34" fmla="*/ 67 w 81"/>
                  <a:gd name="T35" fmla="*/ 19 h 138"/>
                  <a:gd name="T36" fmla="*/ 62 w 81"/>
                  <a:gd name="T37" fmla="*/ 14 h 138"/>
                  <a:gd name="T38" fmla="*/ 60 w 81"/>
                  <a:gd name="T39" fmla="*/ 10 h 138"/>
                  <a:gd name="T40" fmla="*/ 60 w 81"/>
                  <a:gd name="T41" fmla="*/ 3 h 138"/>
                  <a:gd name="T42" fmla="*/ 55 w 81"/>
                  <a:gd name="T43" fmla="*/ 3 h 138"/>
                  <a:gd name="T44" fmla="*/ 53 w 81"/>
                  <a:gd name="T45" fmla="*/ 5 h 138"/>
                  <a:gd name="T46" fmla="*/ 48 w 81"/>
                  <a:gd name="T47" fmla="*/ 5 h 138"/>
                  <a:gd name="T48" fmla="*/ 43 w 81"/>
                  <a:gd name="T49" fmla="*/ 5 h 138"/>
                  <a:gd name="T50" fmla="*/ 31 w 81"/>
                  <a:gd name="T51" fmla="*/ 5 h 138"/>
                  <a:gd name="T52" fmla="*/ 15 w 81"/>
                  <a:gd name="T53" fmla="*/ 5 h 138"/>
                  <a:gd name="T54" fmla="*/ 8 w 81"/>
                  <a:gd name="T55" fmla="*/ 5 h 138"/>
                  <a:gd name="T56" fmla="*/ 8 w 81"/>
                  <a:gd name="T57" fmla="*/ 17 h 138"/>
                  <a:gd name="T58" fmla="*/ 8 w 81"/>
                  <a:gd name="T59" fmla="*/ 19 h 138"/>
                  <a:gd name="T60" fmla="*/ 8 w 81"/>
                  <a:gd name="T61" fmla="*/ 24 h 138"/>
                  <a:gd name="T62" fmla="*/ 10 w 81"/>
                  <a:gd name="T63" fmla="*/ 33 h 138"/>
                  <a:gd name="T64" fmla="*/ 10 w 81"/>
                  <a:gd name="T65" fmla="*/ 40 h 138"/>
                  <a:gd name="T66" fmla="*/ 10 w 81"/>
                  <a:gd name="T67" fmla="*/ 45 h 138"/>
                  <a:gd name="T68" fmla="*/ 12 w 81"/>
                  <a:gd name="T69" fmla="*/ 50 h 138"/>
                  <a:gd name="T70" fmla="*/ 15 w 81"/>
                  <a:gd name="T71" fmla="*/ 64 h 138"/>
                  <a:gd name="T72" fmla="*/ 12 w 81"/>
                  <a:gd name="T73" fmla="*/ 67 h 138"/>
                  <a:gd name="T74" fmla="*/ 8 w 81"/>
                  <a:gd name="T75" fmla="*/ 69 h 138"/>
                  <a:gd name="T76" fmla="*/ 5 w 81"/>
                  <a:gd name="T77" fmla="*/ 74 h 138"/>
                  <a:gd name="T78" fmla="*/ 3 w 81"/>
                  <a:gd name="T79" fmla="*/ 85 h 138"/>
                  <a:gd name="T80" fmla="*/ 0 w 81"/>
                  <a:gd name="T81" fmla="*/ 95 h 138"/>
                  <a:gd name="T82" fmla="*/ 0 w 81"/>
                  <a:gd name="T83" fmla="*/ 102 h 138"/>
                  <a:gd name="T84" fmla="*/ 3 w 81"/>
                  <a:gd name="T85" fmla="*/ 114 h 138"/>
                  <a:gd name="T86" fmla="*/ 8 w 81"/>
                  <a:gd name="T87" fmla="*/ 119 h 138"/>
                  <a:gd name="T88" fmla="*/ 8 w 81"/>
                  <a:gd name="T89" fmla="*/ 123 h 138"/>
                  <a:gd name="T90" fmla="*/ 5 w 81"/>
                  <a:gd name="T91" fmla="*/ 128 h 138"/>
                  <a:gd name="T92" fmla="*/ 3 w 81"/>
                  <a:gd name="T93" fmla="*/ 130 h 138"/>
                  <a:gd name="T94" fmla="*/ 15 w 81"/>
                  <a:gd name="T95" fmla="*/ 133 h 138"/>
                  <a:gd name="T96" fmla="*/ 27 w 81"/>
                  <a:gd name="T97" fmla="*/ 133 h 138"/>
                  <a:gd name="T98" fmla="*/ 45 w 81"/>
                  <a:gd name="T99" fmla="*/ 126 h 138"/>
                  <a:gd name="T100" fmla="*/ 57 w 81"/>
                  <a:gd name="T101" fmla="*/ 119 h 138"/>
                  <a:gd name="T102" fmla="*/ 79 w 81"/>
                  <a:gd name="T103" fmla="*/ 114 h 138"/>
                  <a:gd name="T104" fmla="*/ 81 w 81"/>
                  <a:gd name="T105" fmla="*/ 109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1" h="138">
                    <a:moveTo>
                      <a:pt x="81" y="107"/>
                    </a:moveTo>
                    <a:lnTo>
                      <a:pt x="81" y="107"/>
                    </a:lnTo>
                    <a:lnTo>
                      <a:pt x="81" y="107"/>
                    </a:lnTo>
                    <a:lnTo>
                      <a:pt x="79" y="107"/>
                    </a:lnTo>
                    <a:lnTo>
                      <a:pt x="79" y="104"/>
                    </a:lnTo>
                    <a:lnTo>
                      <a:pt x="79" y="104"/>
                    </a:lnTo>
                    <a:lnTo>
                      <a:pt x="76" y="104"/>
                    </a:lnTo>
                    <a:lnTo>
                      <a:pt x="76" y="102"/>
                    </a:lnTo>
                    <a:lnTo>
                      <a:pt x="74" y="100"/>
                    </a:lnTo>
                    <a:lnTo>
                      <a:pt x="74" y="100"/>
                    </a:lnTo>
                    <a:lnTo>
                      <a:pt x="74" y="100"/>
                    </a:lnTo>
                    <a:lnTo>
                      <a:pt x="74" y="97"/>
                    </a:lnTo>
                    <a:lnTo>
                      <a:pt x="71" y="97"/>
                    </a:lnTo>
                    <a:lnTo>
                      <a:pt x="71" y="95"/>
                    </a:lnTo>
                    <a:lnTo>
                      <a:pt x="69" y="93"/>
                    </a:lnTo>
                    <a:lnTo>
                      <a:pt x="69" y="93"/>
                    </a:lnTo>
                    <a:lnTo>
                      <a:pt x="69" y="93"/>
                    </a:lnTo>
                    <a:lnTo>
                      <a:pt x="69" y="90"/>
                    </a:lnTo>
                    <a:lnTo>
                      <a:pt x="69" y="90"/>
                    </a:lnTo>
                    <a:lnTo>
                      <a:pt x="71" y="88"/>
                    </a:lnTo>
                    <a:lnTo>
                      <a:pt x="71" y="88"/>
                    </a:lnTo>
                    <a:lnTo>
                      <a:pt x="71" y="88"/>
                    </a:lnTo>
                    <a:lnTo>
                      <a:pt x="71" y="85"/>
                    </a:lnTo>
                    <a:lnTo>
                      <a:pt x="71" y="81"/>
                    </a:lnTo>
                    <a:lnTo>
                      <a:pt x="71" y="81"/>
                    </a:lnTo>
                    <a:lnTo>
                      <a:pt x="69" y="81"/>
                    </a:lnTo>
                    <a:lnTo>
                      <a:pt x="69" y="81"/>
                    </a:lnTo>
                    <a:lnTo>
                      <a:pt x="69" y="78"/>
                    </a:lnTo>
                    <a:lnTo>
                      <a:pt x="69" y="78"/>
                    </a:lnTo>
                    <a:lnTo>
                      <a:pt x="71" y="74"/>
                    </a:lnTo>
                    <a:lnTo>
                      <a:pt x="71" y="64"/>
                    </a:lnTo>
                    <a:lnTo>
                      <a:pt x="71" y="64"/>
                    </a:lnTo>
                    <a:lnTo>
                      <a:pt x="71" y="62"/>
                    </a:lnTo>
                    <a:lnTo>
                      <a:pt x="74" y="62"/>
                    </a:lnTo>
                    <a:lnTo>
                      <a:pt x="74" y="59"/>
                    </a:lnTo>
                    <a:lnTo>
                      <a:pt x="71" y="57"/>
                    </a:lnTo>
                    <a:lnTo>
                      <a:pt x="69" y="55"/>
                    </a:lnTo>
                    <a:lnTo>
                      <a:pt x="69" y="55"/>
                    </a:lnTo>
                    <a:lnTo>
                      <a:pt x="67" y="52"/>
                    </a:lnTo>
                    <a:lnTo>
                      <a:pt x="67" y="52"/>
                    </a:lnTo>
                    <a:lnTo>
                      <a:pt x="69" y="50"/>
                    </a:lnTo>
                    <a:lnTo>
                      <a:pt x="69" y="50"/>
                    </a:lnTo>
                    <a:lnTo>
                      <a:pt x="69" y="50"/>
                    </a:lnTo>
                    <a:lnTo>
                      <a:pt x="69" y="48"/>
                    </a:lnTo>
                    <a:lnTo>
                      <a:pt x="69" y="45"/>
                    </a:lnTo>
                    <a:lnTo>
                      <a:pt x="69" y="43"/>
                    </a:lnTo>
                    <a:lnTo>
                      <a:pt x="69" y="38"/>
                    </a:lnTo>
                    <a:lnTo>
                      <a:pt x="69" y="38"/>
                    </a:lnTo>
                    <a:lnTo>
                      <a:pt x="69" y="36"/>
                    </a:lnTo>
                    <a:lnTo>
                      <a:pt x="67" y="36"/>
                    </a:lnTo>
                    <a:lnTo>
                      <a:pt x="67" y="36"/>
                    </a:lnTo>
                    <a:lnTo>
                      <a:pt x="67" y="38"/>
                    </a:lnTo>
                    <a:lnTo>
                      <a:pt x="64" y="38"/>
                    </a:lnTo>
                    <a:lnTo>
                      <a:pt x="64" y="38"/>
                    </a:lnTo>
                    <a:lnTo>
                      <a:pt x="64" y="38"/>
                    </a:lnTo>
                    <a:lnTo>
                      <a:pt x="64" y="36"/>
                    </a:lnTo>
                    <a:lnTo>
                      <a:pt x="64" y="36"/>
                    </a:lnTo>
                    <a:lnTo>
                      <a:pt x="64" y="36"/>
                    </a:lnTo>
                    <a:lnTo>
                      <a:pt x="67" y="33"/>
                    </a:lnTo>
                    <a:lnTo>
                      <a:pt x="67" y="33"/>
                    </a:lnTo>
                    <a:lnTo>
                      <a:pt x="64" y="33"/>
                    </a:lnTo>
                    <a:lnTo>
                      <a:pt x="64" y="33"/>
                    </a:lnTo>
                    <a:lnTo>
                      <a:pt x="64" y="33"/>
                    </a:lnTo>
                    <a:lnTo>
                      <a:pt x="67" y="33"/>
                    </a:lnTo>
                    <a:lnTo>
                      <a:pt x="67" y="33"/>
                    </a:lnTo>
                    <a:lnTo>
                      <a:pt x="67" y="33"/>
                    </a:lnTo>
                    <a:lnTo>
                      <a:pt x="67" y="29"/>
                    </a:lnTo>
                    <a:lnTo>
                      <a:pt x="67" y="29"/>
                    </a:lnTo>
                    <a:lnTo>
                      <a:pt x="67" y="26"/>
                    </a:lnTo>
                    <a:lnTo>
                      <a:pt x="67" y="22"/>
                    </a:lnTo>
                    <a:lnTo>
                      <a:pt x="67" y="19"/>
                    </a:lnTo>
                    <a:lnTo>
                      <a:pt x="67" y="19"/>
                    </a:lnTo>
                    <a:lnTo>
                      <a:pt x="67" y="19"/>
                    </a:lnTo>
                    <a:lnTo>
                      <a:pt x="64" y="17"/>
                    </a:lnTo>
                    <a:lnTo>
                      <a:pt x="64" y="17"/>
                    </a:lnTo>
                    <a:lnTo>
                      <a:pt x="62" y="14"/>
                    </a:lnTo>
                    <a:lnTo>
                      <a:pt x="62" y="14"/>
                    </a:lnTo>
                    <a:lnTo>
                      <a:pt x="60" y="12"/>
                    </a:lnTo>
                    <a:lnTo>
                      <a:pt x="60" y="12"/>
                    </a:lnTo>
                    <a:lnTo>
                      <a:pt x="60" y="10"/>
                    </a:lnTo>
                    <a:lnTo>
                      <a:pt x="60" y="10"/>
                    </a:lnTo>
                    <a:lnTo>
                      <a:pt x="60" y="7"/>
                    </a:lnTo>
                    <a:lnTo>
                      <a:pt x="60" y="5"/>
                    </a:lnTo>
                    <a:lnTo>
                      <a:pt x="60" y="3"/>
                    </a:lnTo>
                    <a:lnTo>
                      <a:pt x="60" y="3"/>
                    </a:lnTo>
                    <a:lnTo>
                      <a:pt x="55" y="0"/>
                    </a:lnTo>
                    <a:lnTo>
                      <a:pt x="55" y="3"/>
                    </a:lnTo>
                    <a:lnTo>
                      <a:pt x="55" y="3"/>
                    </a:lnTo>
                    <a:lnTo>
                      <a:pt x="53" y="3"/>
                    </a:lnTo>
                    <a:lnTo>
                      <a:pt x="53" y="3"/>
                    </a:lnTo>
                    <a:lnTo>
                      <a:pt x="53" y="3"/>
                    </a:lnTo>
                    <a:lnTo>
                      <a:pt x="53" y="5"/>
                    </a:lnTo>
                    <a:lnTo>
                      <a:pt x="50" y="5"/>
                    </a:lnTo>
                    <a:lnTo>
                      <a:pt x="50" y="5"/>
                    </a:lnTo>
                    <a:lnTo>
                      <a:pt x="48" y="5"/>
                    </a:lnTo>
                    <a:lnTo>
                      <a:pt x="48" y="5"/>
                    </a:lnTo>
                    <a:lnTo>
                      <a:pt x="48" y="5"/>
                    </a:lnTo>
                    <a:lnTo>
                      <a:pt x="45" y="5"/>
                    </a:lnTo>
                    <a:lnTo>
                      <a:pt x="43" y="5"/>
                    </a:lnTo>
                    <a:lnTo>
                      <a:pt x="43" y="5"/>
                    </a:lnTo>
                    <a:lnTo>
                      <a:pt x="41" y="5"/>
                    </a:lnTo>
                    <a:lnTo>
                      <a:pt x="38" y="5"/>
                    </a:lnTo>
                    <a:lnTo>
                      <a:pt x="31" y="5"/>
                    </a:lnTo>
                    <a:lnTo>
                      <a:pt x="31" y="5"/>
                    </a:lnTo>
                    <a:lnTo>
                      <a:pt x="31" y="5"/>
                    </a:lnTo>
                    <a:lnTo>
                      <a:pt x="27" y="5"/>
                    </a:lnTo>
                    <a:lnTo>
                      <a:pt x="19" y="5"/>
                    </a:lnTo>
                    <a:lnTo>
                      <a:pt x="15" y="5"/>
                    </a:lnTo>
                    <a:lnTo>
                      <a:pt x="10" y="5"/>
                    </a:lnTo>
                    <a:lnTo>
                      <a:pt x="10" y="5"/>
                    </a:lnTo>
                    <a:lnTo>
                      <a:pt x="8" y="5"/>
                    </a:lnTo>
                    <a:lnTo>
                      <a:pt x="8" y="5"/>
                    </a:lnTo>
                    <a:lnTo>
                      <a:pt x="8" y="10"/>
                    </a:lnTo>
                    <a:lnTo>
                      <a:pt x="8" y="12"/>
                    </a:lnTo>
                    <a:lnTo>
                      <a:pt x="8" y="14"/>
                    </a:lnTo>
                    <a:lnTo>
                      <a:pt x="8" y="17"/>
                    </a:lnTo>
                    <a:lnTo>
                      <a:pt x="8" y="17"/>
                    </a:lnTo>
                    <a:lnTo>
                      <a:pt x="8" y="17"/>
                    </a:lnTo>
                    <a:lnTo>
                      <a:pt x="8" y="19"/>
                    </a:lnTo>
                    <a:lnTo>
                      <a:pt x="8" y="19"/>
                    </a:lnTo>
                    <a:lnTo>
                      <a:pt x="10" y="19"/>
                    </a:lnTo>
                    <a:lnTo>
                      <a:pt x="10" y="22"/>
                    </a:lnTo>
                    <a:lnTo>
                      <a:pt x="8" y="22"/>
                    </a:lnTo>
                    <a:lnTo>
                      <a:pt x="8" y="24"/>
                    </a:lnTo>
                    <a:lnTo>
                      <a:pt x="10" y="29"/>
                    </a:lnTo>
                    <a:lnTo>
                      <a:pt x="10" y="31"/>
                    </a:lnTo>
                    <a:lnTo>
                      <a:pt x="8" y="31"/>
                    </a:lnTo>
                    <a:lnTo>
                      <a:pt x="10" y="33"/>
                    </a:lnTo>
                    <a:lnTo>
                      <a:pt x="10" y="36"/>
                    </a:lnTo>
                    <a:lnTo>
                      <a:pt x="10" y="36"/>
                    </a:lnTo>
                    <a:lnTo>
                      <a:pt x="10" y="38"/>
                    </a:lnTo>
                    <a:lnTo>
                      <a:pt x="10" y="40"/>
                    </a:lnTo>
                    <a:lnTo>
                      <a:pt x="10" y="40"/>
                    </a:lnTo>
                    <a:lnTo>
                      <a:pt x="10" y="40"/>
                    </a:lnTo>
                    <a:lnTo>
                      <a:pt x="10" y="43"/>
                    </a:lnTo>
                    <a:lnTo>
                      <a:pt x="10" y="45"/>
                    </a:lnTo>
                    <a:lnTo>
                      <a:pt x="10" y="45"/>
                    </a:lnTo>
                    <a:lnTo>
                      <a:pt x="10" y="45"/>
                    </a:lnTo>
                    <a:lnTo>
                      <a:pt x="10" y="48"/>
                    </a:lnTo>
                    <a:lnTo>
                      <a:pt x="12" y="50"/>
                    </a:lnTo>
                    <a:lnTo>
                      <a:pt x="12" y="50"/>
                    </a:lnTo>
                    <a:lnTo>
                      <a:pt x="12" y="52"/>
                    </a:lnTo>
                    <a:lnTo>
                      <a:pt x="12" y="57"/>
                    </a:lnTo>
                    <a:lnTo>
                      <a:pt x="15" y="64"/>
                    </a:lnTo>
                    <a:lnTo>
                      <a:pt x="12" y="64"/>
                    </a:lnTo>
                    <a:lnTo>
                      <a:pt x="12" y="64"/>
                    </a:lnTo>
                    <a:lnTo>
                      <a:pt x="12" y="64"/>
                    </a:lnTo>
                    <a:lnTo>
                      <a:pt x="12" y="67"/>
                    </a:lnTo>
                    <a:lnTo>
                      <a:pt x="12" y="67"/>
                    </a:lnTo>
                    <a:lnTo>
                      <a:pt x="12" y="67"/>
                    </a:lnTo>
                    <a:lnTo>
                      <a:pt x="10" y="67"/>
                    </a:lnTo>
                    <a:lnTo>
                      <a:pt x="8" y="69"/>
                    </a:lnTo>
                    <a:lnTo>
                      <a:pt x="8" y="71"/>
                    </a:lnTo>
                    <a:lnTo>
                      <a:pt x="8" y="71"/>
                    </a:lnTo>
                    <a:lnTo>
                      <a:pt x="8" y="74"/>
                    </a:lnTo>
                    <a:lnTo>
                      <a:pt x="5" y="74"/>
                    </a:lnTo>
                    <a:lnTo>
                      <a:pt x="5" y="78"/>
                    </a:lnTo>
                    <a:lnTo>
                      <a:pt x="5" y="83"/>
                    </a:lnTo>
                    <a:lnTo>
                      <a:pt x="5" y="85"/>
                    </a:lnTo>
                    <a:lnTo>
                      <a:pt x="3" y="85"/>
                    </a:lnTo>
                    <a:lnTo>
                      <a:pt x="3" y="88"/>
                    </a:lnTo>
                    <a:lnTo>
                      <a:pt x="0" y="90"/>
                    </a:lnTo>
                    <a:lnTo>
                      <a:pt x="0" y="93"/>
                    </a:lnTo>
                    <a:lnTo>
                      <a:pt x="0" y="95"/>
                    </a:lnTo>
                    <a:lnTo>
                      <a:pt x="0" y="95"/>
                    </a:lnTo>
                    <a:lnTo>
                      <a:pt x="0" y="97"/>
                    </a:lnTo>
                    <a:lnTo>
                      <a:pt x="0" y="100"/>
                    </a:lnTo>
                    <a:lnTo>
                      <a:pt x="0" y="102"/>
                    </a:lnTo>
                    <a:lnTo>
                      <a:pt x="0" y="102"/>
                    </a:lnTo>
                    <a:lnTo>
                      <a:pt x="3" y="109"/>
                    </a:lnTo>
                    <a:lnTo>
                      <a:pt x="3" y="112"/>
                    </a:lnTo>
                    <a:lnTo>
                      <a:pt x="3" y="114"/>
                    </a:lnTo>
                    <a:lnTo>
                      <a:pt x="3" y="116"/>
                    </a:lnTo>
                    <a:lnTo>
                      <a:pt x="5" y="116"/>
                    </a:lnTo>
                    <a:lnTo>
                      <a:pt x="5" y="119"/>
                    </a:lnTo>
                    <a:lnTo>
                      <a:pt x="8" y="119"/>
                    </a:lnTo>
                    <a:lnTo>
                      <a:pt x="8" y="119"/>
                    </a:lnTo>
                    <a:lnTo>
                      <a:pt x="8" y="123"/>
                    </a:lnTo>
                    <a:lnTo>
                      <a:pt x="8" y="123"/>
                    </a:lnTo>
                    <a:lnTo>
                      <a:pt x="8" y="123"/>
                    </a:lnTo>
                    <a:lnTo>
                      <a:pt x="8" y="126"/>
                    </a:lnTo>
                    <a:lnTo>
                      <a:pt x="8" y="128"/>
                    </a:lnTo>
                    <a:lnTo>
                      <a:pt x="8" y="128"/>
                    </a:lnTo>
                    <a:lnTo>
                      <a:pt x="5" y="128"/>
                    </a:lnTo>
                    <a:lnTo>
                      <a:pt x="5" y="128"/>
                    </a:lnTo>
                    <a:lnTo>
                      <a:pt x="3" y="128"/>
                    </a:lnTo>
                    <a:lnTo>
                      <a:pt x="3" y="128"/>
                    </a:lnTo>
                    <a:lnTo>
                      <a:pt x="3" y="130"/>
                    </a:lnTo>
                    <a:lnTo>
                      <a:pt x="3" y="130"/>
                    </a:lnTo>
                    <a:lnTo>
                      <a:pt x="5" y="130"/>
                    </a:lnTo>
                    <a:lnTo>
                      <a:pt x="10" y="130"/>
                    </a:lnTo>
                    <a:lnTo>
                      <a:pt x="15" y="133"/>
                    </a:lnTo>
                    <a:lnTo>
                      <a:pt x="17" y="135"/>
                    </a:lnTo>
                    <a:lnTo>
                      <a:pt x="22" y="135"/>
                    </a:lnTo>
                    <a:lnTo>
                      <a:pt x="22" y="138"/>
                    </a:lnTo>
                    <a:lnTo>
                      <a:pt x="27" y="133"/>
                    </a:lnTo>
                    <a:lnTo>
                      <a:pt x="29" y="133"/>
                    </a:lnTo>
                    <a:lnTo>
                      <a:pt x="31" y="130"/>
                    </a:lnTo>
                    <a:lnTo>
                      <a:pt x="41" y="128"/>
                    </a:lnTo>
                    <a:lnTo>
                      <a:pt x="45" y="126"/>
                    </a:lnTo>
                    <a:lnTo>
                      <a:pt x="48" y="126"/>
                    </a:lnTo>
                    <a:lnTo>
                      <a:pt x="50" y="123"/>
                    </a:lnTo>
                    <a:lnTo>
                      <a:pt x="53" y="121"/>
                    </a:lnTo>
                    <a:lnTo>
                      <a:pt x="57" y="119"/>
                    </a:lnTo>
                    <a:lnTo>
                      <a:pt x="64" y="116"/>
                    </a:lnTo>
                    <a:lnTo>
                      <a:pt x="71" y="116"/>
                    </a:lnTo>
                    <a:lnTo>
                      <a:pt x="74" y="116"/>
                    </a:lnTo>
                    <a:lnTo>
                      <a:pt x="79" y="114"/>
                    </a:lnTo>
                    <a:lnTo>
                      <a:pt x="79" y="112"/>
                    </a:lnTo>
                    <a:lnTo>
                      <a:pt x="79" y="112"/>
                    </a:lnTo>
                    <a:lnTo>
                      <a:pt x="81" y="109"/>
                    </a:lnTo>
                    <a:lnTo>
                      <a:pt x="81" y="109"/>
                    </a:lnTo>
                    <a:lnTo>
                      <a:pt x="81" y="107"/>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150"/>
              <p:cNvSpPr>
                <a:spLocks noEditPoints="1"/>
              </p:cNvSpPr>
              <p:nvPr/>
            </p:nvSpPr>
            <p:spPr bwMode="auto">
              <a:xfrm>
                <a:off x="2872" y="1645"/>
                <a:ext cx="146" cy="158"/>
              </a:xfrm>
              <a:custGeom>
                <a:avLst/>
                <a:gdLst>
                  <a:gd name="T0" fmla="*/ 132 w 146"/>
                  <a:gd name="T1" fmla="*/ 23 h 158"/>
                  <a:gd name="T2" fmla="*/ 85 w 146"/>
                  <a:gd name="T3" fmla="*/ 11 h 158"/>
                  <a:gd name="T4" fmla="*/ 120 w 146"/>
                  <a:gd name="T5" fmla="*/ 16 h 158"/>
                  <a:gd name="T6" fmla="*/ 123 w 146"/>
                  <a:gd name="T7" fmla="*/ 11 h 158"/>
                  <a:gd name="T8" fmla="*/ 116 w 146"/>
                  <a:gd name="T9" fmla="*/ 9 h 158"/>
                  <a:gd name="T10" fmla="*/ 45 w 146"/>
                  <a:gd name="T11" fmla="*/ 7 h 158"/>
                  <a:gd name="T12" fmla="*/ 142 w 146"/>
                  <a:gd name="T13" fmla="*/ 68 h 158"/>
                  <a:gd name="T14" fmla="*/ 142 w 146"/>
                  <a:gd name="T15" fmla="*/ 59 h 158"/>
                  <a:gd name="T16" fmla="*/ 139 w 146"/>
                  <a:gd name="T17" fmla="*/ 52 h 158"/>
                  <a:gd name="T18" fmla="*/ 137 w 146"/>
                  <a:gd name="T19" fmla="*/ 37 h 158"/>
                  <a:gd name="T20" fmla="*/ 127 w 146"/>
                  <a:gd name="T21" fmla="*/ 23 h 158"/>
                  <a:gd name="T22" fmla="*/ 104 w 146"/>
                  <a:gd name="T23" fmla="*/ 14 h 158"/>
                  <a:gd name="T24" fmla="*/ 80 w 146"/>
                  <a:gd name="T25" fmla="*/ 21 h 158"/>
                  <a:gd name="T26" fmla="*/ 71 w 146"/>
                  <a:gd name="T27" fmla="*/ 14 h 158"/>
                  <a:gd name="T28" fmla="*/ 61 w 146"/>
                  <a:gd name="T29" fmla="*/ 4 h 158"/>
                  <a:gd name="T30" fmla="*/ 49 w 146"/>
                  <a:gd name="T31" fmla="*/ 4 h 158"/>
                  <a:gd name="T32" fmla="*/ 47 w 146"/>
                  <a:gd name="T33" fmla="*/ 11 h 158"/>
                  <a:gd name="T34" fmla="*/ 49 w 146"/>
                  <a:gd name="T35" fmla="*/ 21 h 158"/>
                  <a:gd name="T36" fmla="*/ 56 w 146"/>
                  <a:gd name="T37" fmla="*/ 26 h 158"/>
                  <a:gd name="T38" fmla="*/ 42 w 146"/>
                  <a:gd name="T39" fmla="*/ 30 h 158"/>
                  <a:gd name="T40" fmla="*/ 35 w 146"/>
                  <a:gd name="T41" fmla="*/ 28 h 158"/>
                  <a:gd name="T42" fmla="*/ 21 w 146"/>
                  <a:gd name="T43" fmla="*/ 37 h 158"/>
                  <a:gd name="T44" fmla="*/ 14 w 146"/>
                  <a:gd name="T45" fmla="*/ 49 h 158"/>
                  <a:gd name="T46" fmla="*/ 19 w 146"/>
                  <a:gd name="T47" fmla="*/ 54 h 158"/>
                  <a:gd name="T48" fmla="*/ 14 w 146"/>
                  <a:gd name="T49" fmla="*/ 61 h 158"/>
                  <a:gd name="T50" fmla="*/ 7 w 146"/>
                  <a:gd name="T51" fmla="*/ 66 h 158"/>
                  <a:gd name="T52" fmla="*/ 2 w 146"/>
                  <a:gd name="T53" fmla="*/ 68 h 158"/>
                  <a:gd name="T54" fmla="*/ 2 w 146"/>
                  <a:gd name="T55" fmla="*/ 78 h 158"/>
                  <a:gd name="T56" fmla="*/ 0 w 146"/>
                  <a:gd name="T57" fmla="*/ 82 h 158"/>
                  <a:gd name="T58" fmla="*/ 4 w 146"/>
                  <a:gd name="T59" fmla="*/ 92 h 158"/>
                  <a:gd name="T60" fmla="*/ 2 w 146"/>
                  <a:gd name="T61" fmla="*/ 99 h 158"/>
                  <a:gd name="T62" fmla="*/ 9 w 146"/>
                  <a:gd name="T63" fmla="*/ 106 h 158"/>
                  <a:gd name="T64" fmla="*/ 9 w 146"/>
                  <a:gd name="T65" fmla="*/ 116 h 158"/>
                  <a:gd name="T66" fmla="*/ 16 w 146"/>
                  <a:gd name="T67" fmla="*/ 118 h 158"/>
                  <a:gd name="T68" fmla="*/ 23 w 146"/>
                  <a:gd name="T69" fmla="*/ 120 h 158"/>
                  <a:gd name="T70" fmla="*/ 30 w 146"/>
                  <a:gd name="T71" fmla="*/ 130 h 158"/>
                  <a:gd name="T72" fmla="*/ 26 w 146"/>
                  <a:gd name="T73" fmla="*/ 149 h 158"/>
                  <a:gd name="T74" fmla="*/ 40 w 146"/>
                  <a:gd name="T75" fmla="*/ 151 h 158"/>
                  <a:gd name="T76" fmla="*/ 40 w 146"/>
                  <a:gd name="T77" fmla="*/ 151 h 158"/>
                  <a:gd name="T78" fmla="*/ 45 w 146"/>
                  <a:gd name="T79" fmla="*/ 149 h 158"/>
                  <a:gd name="T80" fmla="*/ 59 w 146"/>
                  <a:gd name="T81" fmla="*/ 153 h 158"/>
                  <a:gd name="T82" fmla="*/ 66 w 146"/>
                  <a:gd name="T83" fmla="*/ 156 h 158"/>
                  <a:gd name="T84" fmla="*/ 73 w 146"/>
                  <a:gd name="T85" fmla="*/ 153 h 158"/>
                  <a:gd name="T86" fmla="*/ 82 w 146"/>
                  <a:gd name="T87" fmla="*/ 156 h 158"/>
                  <a:gd name="T88" fmla="*/ 92 w 146"/>
                  <a:gd name="T89" fmla="*/ 153 h 158"/>
                  <a:gd name="T90" fmla="*/ 106 w 146"/>
                  <a:gd name="T91" fmla="*/ 151 h 158"/>
                  <a:gd name="T92" fmla="*/ 113 w 146"/>
                  <a:gd name="T93" fmla="*/ 153 h 158"/>
                  <a:gd name="T94" fmla="*/ 113 w 146"/>
                  <a:gd name="T95" fmla="*/ 149 h 158"/>
                  <a:gd name="T96" fmla="*/ 116 w 146"/>
                  <a:gd name="T97" fmla="*/ 137 h 158"/>
                  <a:gd name="T98" fmla="*/ 125 w 146"/>
                  <a:gd name="T99" fmla="*/ 132 h 158"/>
                  <a:gd name="T100" fmla="*/ 125 w 146"/>
                  <a:gd name="T101" fmla="*/ 125 h 158"/>
                  <a:gd name="T102" fmla="*/ 116 w 146"/>
                  <a:gd name="T103" fmla="*/ 118 h 158"/>
                  <a:gd name="T104" fmla="*/ 104 w 146"/>
                  <a:gd name="T105" fmla="*/ 108 h 158"/>
                  <a:gd name="T106" fmla="*/ 101 w 146"/>
                  <a:gd name="T107" fmla="*/ 101 h 158"/>
                  <a:gd name="T108" fmla="*/ 101 w 146"/>
                  <a:gd name="T109" fmla="*/ 97 h 158"/>
                  <a:gd name="T110" fmla="*/ 111 w 146"/>
                  <a:gd name="T111" fmla="*/ 94 h 158"/>
                  <a:gd name="T112" fmla="*/ 118 w 146"/>
                  <a:gd name="T113" fmla="*/ 90 h 158"/>
                  <a:gd name="T114" fmla="*/ 127 w 146"/>
                  <a:gd name="T115" fmla="*/ 87 h 158"/>
                  <a:gd name="T116" fmla="*/ 134 w 146"/>
                  <a:gd name="T117" fmla="*/ 80 h 158"/>
                  <a:gd name="T118" fmla="*/ 142 w 146"/>
                  <a:gd name="T119" fmla="*/ 85 h 158"/>
                  <a:gd name="T120" fmla="*/ 146 w 146"/>
                  <a:gd name="T121" fmla="*/ 73 h 158"/>
                  <a:gd name="T122" fmla="*/ 42 w 146"/>
                  <a:gd name="T123"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6" h="158">
                    <a:moveTo>
                      <a:pt x="127" y="21"/>
                    </a:moveTo>
                    <a:lnTo>
                      <a:pt x="127" y="21"/>
                    </a:lnTo>
                    <a:lnTo>
                      <a:pt x="127" y="23"/>
                    </a:lnTo>
                    <a:lnTo>
                      <a:pt x="127" y="23"/>
                    </a:lnTo>
                    <a:lnTo>
                      <a:pt x="130" y="23"/>
                    </a:lnTo>
                    <a:lnTo>
                      <a:pt x="132" y="23"/>
                    </a:lnTo>
                    <a:lnTo>
                      <a:pt x="132" y="23"/>
                    </a:lnTo>
                    <a:lnTo>
                      <a:pt x="132" y="23"/>
                    </a:lnTo>
                    <a:lnTo>
                      <a:pt x="132" y="23"/>
                    </a:lnTo>
                    <a:lnTo>
                      <a:pt x="130" y="21"/>
                    </a:lnTo>
                    <a:lnTo>
                      <a:pt x="125" y="18"/>
                    </a:lnTo>
                    <a:lnTo>
                      <a:pt x="125" y="18"/>
                    </a:lnTo>
                    <a:lnTo>
                      <a:pt x="125" y="21"/>
                    </a:lnTo>
                    <a:lnTo>
                      <a:pt x="127" y="21"/>
                    </a:lnTo>
                    <a:close/>
                    <a:moveTo>
                      <a:pt x="85" y="14"/>
                    </a:moveTo>
                    <a:lnTo>
                      <a:pt x="87" y="14"/>
                    </a:lnTo>
                    <a:lnTo>
                      <a:pt x="87" y="11"/>
                    </a:lnTo>
                    <a:lnTo>
                      <a:pt x="85" y="11"/>
                    </a:lnTo>
                    <a:lnTo>
                      <a:pt x="82" y="11"/>
                    </a:lnTo>
                    <a:lnTo>
                      <a:pt x="82" y="11"/>
                    </a:lnTo>
                    <a:lnTo>
                      <a:pt x="82" y="11"/>
                    </a:lnTo>
                    <a:lnTo>
                      <a:pt x="82" y="11"/>
                    </a:lnTo>
                    <a:lnTo>
                      <a:pt x="85" y="14"/>
                    </a:lnTo>
                    <a:close/>
                    <a:moveTo>
                      <a:pt x="116" y="14"/>
                    </a:moveTo>
                    <a:lnTo>
                      <a:pt x="116" y="14"/>
                    </a:lnTo>
                    <a:lnTo>
                      <a:pt x="118" y="16"/>
                    </a:lnTo>
                    <a:lnTo>
                      <a:pt x="120" y="16"/>
                    </a:lnTo>
                    <a:lnTo>
                      <a:pt x="120" y="14"/>
                    </a:lnTo>
                    <a:lnTo>
                      <a:pt x="123" y="14"/>
                    </a:lnTo>
                    <a:lnTo>
                      <a:pt x="125" y="16"/>
                    </a:lnTo>
                    <a:lnTo>
                      <a:pt x="125" y="14"/>
                    </a:lnTo>
                    <a:lnTo>
                      <a:pt x="125" y="14"/>
                    </a:lnTo>
                    <a:lnTo>
                      <a:pt x="123" y="11"/>
                    </a:lnTo>
                    <a:lnTo>
                      <a:pt x="123" y="11"/>
                    </a:lnTo>
                    <a:lnTo>
                      <a:pt x="123" y="11"/>
                    </a:lnTo>
                    <a:lnTo>
                      <a:pt x="123" y="11"/>
                    </a:lnTo>
                    <a:lnTo>
                      <a:pt x="123" y="9"/>
                    </a:lnTo>
                    <a:lnTo>
                      <a:pt x="123" y="9"/>
                    </a:lnTo>
                    <a:lnTo>
                      <a:pt x="120" y="9"/>
                    </a:lnTo>
                    <a:lnTo>
                      <a:pt x="120" y="9"/>
                    </a:lnTo>
                    <a:lnTo>
                      <a:pt x="120" y="7"/>
                    </a:lnTo>
                    <a:lnTo>
                      <a:pt x="118" y="7"/>
                    </a:lnTo>
                    <a:lnTo>
                      <a:pt x="118" y="9"/>
                    </a:lnTo>
                    <a:lnTo>
                      <a:pt x="116" y="9"/>
                    </a:lnTo>
                    <a:lnTo>
                      <a:pt x="116" y="9"/>
                    </a:lnTo>
                    <a:lnTo>
                      <a:pt x="116" y="11"/>
                    </a:lnTo>
                    <a:lnTo>
                      <a:pt x="116" y="14"/>
                    </a:lnTo>
                    <a:lnTo>
                      <a:pt x="116" y="14"/>
                    </a:lnTo>
                    <a:close/>
                    <a:moveTo>
                      <a:pt x="42" y="7"/>
                    </a:moveTo>
                    <a:lnTo>
                      <a:pt x="42" y="7"/>
                    </a:lnTo>
                    <a:lnTo>
                      <a:pt x="42" y="7"/>
                    </a:lnTo>
                    <a:lnTo>
                      <a:pt x="42" y="7"/>
                    </a:lnTo>
                    <a:lnTo>
                      <a:pt x="45" y="7"/>
                    </a:lnTo>
                    <a:lnTo>
                      <a:pt x="45" y="7"/>
                    </a:lnTo>
                    <a:lnTo>
                      <a:pt x="45" y="7"/>
                    </a:lnTo>
                    <a:lnTo>
                      <a:pt x="42" y="7"/>
                    </a:lnTo>
                    <a:lnTo>
                      <a:pt x="42" y="7"/>
                    </a:lnTo>
                    <a:close/>
                    <a:moveTo>
                      <a:pt x="146" y="73"/>
                    </a:moveTo>
                    <a:lnTo>
                      <a:pt x="144" y="73"/>
                    </a:lnTo>
                    <a:lnTo>
                      <a:pt x="144" y="73"/>
                    </a:lnTo>
                    <a:lnTo>
                      <a:pt x="142" y="71"/>
                    </a:lnTo>
                    <a:lnTo>
                      <a:pt x="142" y="71"/>
                    </a:lnTo>
                    <a:lnTo>
                      <a:pt x="142" y="68"/>
                    </a:lnTo>
                    <a:lnTo>
                      <a:pt x="142" y="68"/>
                    </a:lnTo>
                    <a:lnTo>
                      <a:pt x="142" y="68"/>
                    </a:lnTo>
                    <a:lnTo>
                      <a:pt x="139" y="66"/>
                    </a:lnTo>
                    <a:lnTo>
                      <a:pt x="139" y="66"/>
                    </a:lnTo>
                    <a:lnTo>
                      <a:pt x="142" y="63"/>
                    </a:lnTo>
                    <a:lnTo>
                      <a:pt x="142" y="61"/>
                    </a:lnTo>
                    <a:lnTo>
                      <a:pt x="142" y="61"/>
                    </a:lnTo>
                    <a:lnTo>
                      <a:pt x="142" y="61"/>
                    </a:lnTo>
                    <a:lnTo>
                      <a:pt x="142" y="59"/>
                    </a:lnTo>
                    <a:lnTo>
                      <a:pt x="142" y="59"/>
                    </a:lnTo>
                    <a:lnTo>
                      <a:pt x="142" y="59"/>
                    </a:lnTo>
                    <a:lnTo>
                      <a:pt x="142" y="56"/>
                    </a:lnTo>
                    <a:lnTo>
                      <a:pt x="142" y="56"/>
                    </a:lnTo>
                    <a:lnTo>
                      <a:pt x="139" y="56"/>
                    </a:lnTo>
                    <a:lnTo>
                      <a:pt x="139" y="54"/>
                    </a:lnTo>
                    <a:lnTo>
                      <a:pt x="139" y="54"/>
                    </a:lnTo>
                    <a:lnTo>
                      <a:pt x="139" y="52"/>
                    </a:lnTo>
                    <a:lnTo>
                      <a:pt x="139" y="52"/>
                    </a:lnTo>
                    <a:lnTo>
                      <a:pt x="137" y="49"/>
                    </a:lnTo>
                    <a:lnTo>
                      <a:pt x="134" y="45"/>
                    </a:lnTo>
                    <a:lnTo>
                      <a:pt x="132" y="45"/>
                    </a:lnTo>
                    <a:lnTo>
                      <a:pt x="132" y="42"/>
                    </a:lnTo>
                    <a:lnTo>
                      <a:pt x="132" y="42"/>
                    </a:lnTo>
                    <a:lnTo>
                      <a:pt x="134" y="40"/>
                    </a:lnTo>
                    <a:lnTo>
                      <a:pt x="134" y="40"/>
                    </a:lnTo>
                    <a:lnTo>
                      <a:pt x="137" y="37"/>
                    </a:lnTo>
                    <a:lnTo>
                      <a:pt x="137" y="37"/>
                    </a:lnTo>
                    <a:lnTo>
                      <a:pt x="137" y="35"/>
                    </a:lnTo>
                    <a:lnTo>
                      <a:pt x="134" y="30"/>
                    </a:lnTo>
                    <a:lnTo>
                      <a:pt x="134" y="28"/>
                    </a:lnTo>
                    <a:lnTo>
                      <a:pt x="132" y="28"/>
                    </a:lnTo>
                    <a:lnTo>
                      <a:pt x="132" y="26"/>
                    </a:lnTo>
                    <a:lnTo>
                      <a:pt x="132" y="26"/>
                    </a:lnTo>
                    <a:lnTo>
                      <a:pt x="130" y="26"/>
                    </a:lnTo>
                    <a:lnTo>
                      <a:pt x="127" y="26"/>
                    </a:lnTo>
                    <a:lnTo>
                      <a:pt x="127" y="23"/>
                    </a:lnTo>
                    <a:lnTo>
                      <a:pt x="125" y="21"/>
                    </a:lnTo>
                    <a:lnTo>
                      <a:pt x="125" y="18"/>
                    </a:lnTo>
                    <a:lnTo>
                      <a:pt x="120" y="18"/>
                    </a:lnTo>
                    <a:lnTo>
                      <a:pt x="116" y="16"/>
                    </a:lnTo>
                    <a:lnTo>
                      <a:pt x="113" y="14"/>
                    </a:lnTo>
                    <a:lnTo>
                      <a:pt x="111" y="14"/>
                    </a:lnTo>
                    <a:lnTo>
                      <a:pt x="108" y="11"/>
                    </a:lnTo>
                    <a:lnTo>
                      <a:pt x="106" y="11"/>
                    </a:lnTo>
                    <a:lnTo>
                      <a:pt x="104" y="14"/>
                    </a:lnTo>
                    <a:lnTo>
                      <a:pt x="101" y="16"/>
                    </a:lnTo>
                    <a:lnTo>
                      <a:pt x="99" y="16"/>
                    </a:lnTo>
                    <a:lnTo>
                      <a:pt x="99" y="18"/>
                    </a:lnTo>
                    <a:lnTo>
                      <a:pt x="94" y="18"/>
                    </a:lnTo>
                    <a:lnTo>
                      <a:pt x="92" y="18"/>
                    </a:lnTo>
                    <a:lnTo>
                      <a:pt x="90" y="21"/>
                    </a:lnTo>
                    <a:lnTo>
                      <a:pt x="87" y="23"/>
                    </a:lnTo>
                    <a:lnTo>
                      <a:pt x="82" y="21"/>
                    </a:lnTo>
                    <a:lnTo>
                      <a:pt x="80" y="21"/>
                    </a:lnTo>
                    <a:lnTo>
                      <a:pt x="80" y="21"/>
                    </a:lnTo>
                    <a:lnTo>
                      <a:pt x="78" y="18"/>
                    </a:lnTo>
                    <a:lnTo>
                      <a:pt x="82" y="18"/>
                    </a:lnTo>
                    <a:lnTo>
                      <a:pt x="82" y="16"/>
                    </a:lnTo>
                    <a:lnTo>
                      <a:pt x="82" y="14"/>
                    </a:lnTo>
                    <a:lnTo>
                      <a:pt x="80" y="14"/>
                    </a:lnTo>
                    <a:lnTo>
                      <a:pt x="78" y="14"/>
                    </a:lnTo>
                    <a:lnTo>
                      <a:pt x="71" y="11"/>
                    </a:lnTo>
                    <a:lnTo>
                      <a:pt x="71" y="14"/>
                    </a:lnTo>
                    <a:lnTo>
                      <a:pt x="68" y="11"/>
                    </a:lnTo>
                    <a:lnTo>
                      <a:pt x="68" y="11"/>
                    </a:lnTo>
                    <a:lnTo>
                      <a:pt x="64" y="11"/>
                    </a:lnTo>
                    <a:lnTo>
                      <a:pt x="66" y="11"/>
                    </a:lnTo>
                    <a:lnTo>
                      <a:pt x="66" y="9"/>
                    </a:lnTo>
                    <a:lnTo>
                      <a:pt x="66" y="7"/>
                    </a:lnTo>
                    <a:lnTo>
                      <a:pt x="66" y="7"/>
                    </a:lnTo>
                    <a:lnTo>
                      <a:pt x="64" y="4"/>
                    </a:lnTo>
                    <a:lnTo>
                      <a:pt x="61" y="4"/>
                    </a:lnTo>
                    <a:lnTo>
                      <a:pt x="61" y="4"/>
                    </a:lnTo>
                    <a:lnTo>
                      <a:pt x="61" y="4"/>
                    </a:lnTo>
                    <a:lnTo>
                      <a:pt x="61" y="4"/>
                    </a:lnTo>
                    <a:lnTo>
                      <a:pt x="61" y="4"/>
                    </a:lnTo>
                    <a:lnTo>
                      <a:pt x="59" y="4"/>
                    </a:lnTo>
                    <a:lnTo>
                      <a:pt x="56" y="4"/>
                    </a:lnTo>
                    <a:lnTo>
                      <a:pt x="54" y="4"/>
                    </a:lnTo>
                    <a:lnTo>
                      <a:pt x="54" y="4"/>
                    </a:lnTo>
                    <a:lnTo>
                      <a:pt x="49" y="4"/>
                    </a:lnTo>
                    <a:lnTo>
                      <a:pt x="49" y="2"/>
                    </a:lnTo>
                    <a:lnTo>
                      <a:pt x="45" y="2"/>
                    </a:lnTo>
                    <a:lnTo>
                      <a:pt x="45" y="2"/>
                    </a:lnTo>
                    <a:lnTo>
                      <a:pt x="45" y="4"/>
                    </a:lnTo>
                    <a:lnTo>
                      <a:pt x="47" y="7"/>
                    </a:lnTo>
                    <a:lnTo>
                      <a:pt x="49" y="9"/>
                    </a:lnTo>
                    <a:lnTo>
                      <a:pt x="49" y="11"/>
                    </a:lnTo>
                    <a:lnTo>
                      <a:pt x="49" y="11"/>
                    </a:lnTo>
                    <a:lnTo>
                      <a:pt x="47" y="11"/>
                    </a:lnTo>
                    <a:lnTo>
                      <a:pt x="45" y="14"/>
                    </a:lnTo>
                    <a:lnTo>
                      <a:pt x="45" y="14"/>
                    </a:lnTo>
                    <a:lnTo>
                      <a:pt x="45" y="16"/>
                    </a:lnTo>
                    <a:lnTo>
                      <a:pt x="47" y="16"/>
                    </a:lnTo>
                    <a:lnTo>
                      <a:pt x="47" y="14"/>
                    </a:lnTo>
                    <a:lnTo>
                      <a:pt x="47" y="16"/>
                    </a:lnTo>
                    <a:lnTo>
                      <a:pt x="49" y="16"/>
                    </a:lnTo>
                    <a:lnTo>
                      <a:pt x="49" y="21"/>
                    </a:lnTo>
                    <a:lnTo>
                      <a:pt x="49" y="21"/>
                    </a:lnTo>
                    <a:lnTo>
                      <a:pt x="49" y="23"/>
                    </a:lnTo>
                    <a:lnTo>
                      <a:pt x="52" y="23"/>
                    </a:lnTo>
                    <a:lnTo>
                      <a:pt x="54" y="23"/>
                    </a:lnTo>
                    <a:lnTo>
                      <a:pt x="54" y="23"/>
                    </a:lnTo>
                    <a:lnTo>
                      <a:pt x="61" y="28"/>
                    </a:lnTo>
                    <a:lnTo>
                      <a:pt x="64" y="30"/>
                    </a:lnTo>
                    <a:lnTo>
                      <a:pt x="61" y="30"/>
                    </a:lnTo>
                    <a:lnTo>
                      <a:pt x="59" y="28"/>
                    </a:lnTo>
                    <a:lnTo>
                      <a:pt x="56" y="26"/>
                    </a:lnTo>
                    <a:lnTo>
                      <a:pt x="54" y="23"/>
                    </a:lnTo>
                    <a:lnTo>
                      <a:pt x="49" y="23"/>
                    </a:lnTo>
                    <a:lnTo>
                      <a:pt x="45" y="23"/>
                    </a:lnTo>
                    <a:lnTo>
                      <a:pt x="45" y="23"/>
                    </a:lnTo>
                    <a:lnTo>
                      <a:pt x="42" y="26"/>
                    </a:lnTo>
                    <a:lnTo>
                      <a:pt x="42" y="28"/>
                    </a:lnTo>
                    <a:lnTo>
                      <a:pt x="42" y="30"/>
                    </a:lnTo>
                    <a:lnTo>
                      <a:pt x="42" y="33"/>
                    </a:lnTo>
                    <a:lnTo>
                      <a:pt x="42" y="30"/>
                    </a:lnTo>
                    <a:lnTo>
                      <a:pt x="42" y="30"/>
                    </a:lnTo>
                    <a:lnTo>
                      <a:pt x="40" y="28"/>
                    </a:lnTo>
                    <a:lnTo>
                      <a:pt x="40" y="30"/>
                    </a:lnTo>
                    <a:lnTo>
                      <a:pt x="40" y="30"/>
                    </a:lnTo>
                    <a:lnTo>
                      <a:pt x="37" y="33"/>
                    </a:lnTo>
                    <a:lnTo>
                      <a:pt x="37" y="33"/>
                    </a:lnTo>
                    <a:lnTo>
                      <a:pt x="35" y="33"/>
                    </a:lnTo>
                    <a:lnTo>
                      <a:pt x="37" y="30"/>
                    </a:lnTo>
                    <a:lnTo>
                      <a:pt x="35" y="28"/>
                    </a:lnTo>
                    <a:lnTo>
                      <a:pt x="28" y="28"/>
                    </a:lnTo>
                    <a:lnTo>
                      <a:pt x="23" y="28"/>
                    </a:lnTo>
                    <a:lnTo>
                      <a:pt x="21" y="28"/>
                    </a:lnTo>
                    <a:lnTo>
                      <a:pt x="21" y="30"/>
                    </a:lnTo>
                    <a:lnTo>
                      <a:pt x="21" y="33"/>
                    </a:lnTo>
                    <a:lnTo>
                      <a:pt x="19" y="33"/>
                    </a:lnTo>
                    <a:lnTo>
                      <a:pt x="21" y="35"/>
                    </a:lnTo>
                    <a:lnTo>
                      <a:pt x="21" y="35"/>
                    </a:lnTo>
                    <a:lnTo>
                      <a:pt x="21" y="37"/>
                    </a:lnTo>
                    <a:lnTo>
                      <a:pt x="21" y="42"/>
                    </a:lnTo>
                    <a:lnTo>
                      <a:pt x="21" y="42"/>
                    </a:lnTo>
                    <a:lnTo>
                      <a:pt x="21" y="45"/>
                    </a:lnTo>
                    <a:lnTo>
                      <a:pt x="19" y="47"/>
                    </a:lnTo>
                    <a:lnTo>
                      <a:pt x="19" y="49"/>
                    </a:lnTo>
                    <a:lnTo>
                      <a:pt x="19" y="49"/>
                    </a:lnTo>
                    <a:lnTo>
                      <a:pt x="14" y="49"/>
                    </a:lnTo>
                    <a:lnTo>
                      <a:pt x="14" y="49"/>
                    </a:lnTo>
                    <a:lnTo>
                      <a:pt x="14" y="49"/>
                    </a:lnTo>
                    <a:lnTo>
                      <a:pt x="14" y="49"/>
                    </a:lnTo>
                    <a:lnTo>
                      <a:pt x="14" y="49"/>
                    </a:lnTo>
                    <a:lnTo>
                      <a:pt x="14" y="52"/>
                    </a:lnTo>
                    <a:lnTo>
                      <a:pt x="14" y="52"/>
                    </a:lnTo>
                    <a:lnTo>
                      <a:pt x="14" y="52"/>
                    </a:lnTo>
                    <a:lnTo>
                      <a:pt x="16" y="52"/>
                    </a:lnTo>
                    <a:lnTo>
                      <a:pt x="16" y="52"/>
                    </a:lnTo>
                    <a:lnTo>
                      <a:pt x="19" y="52"/>
                    </a:lnTo>
                    <a:lnTo>
                      <a:pt x="19" y="54"/>
                    </a:lnTo>
                    <a:lnTo>
                      <a:pt x="19" y="54"/>
                    </a:lnTo>
                    <a:lnTo>
                      <a:pt x="19" y="54"/>
                    </a:lnTo>
                    <a:lnTo>
                      <a:pt x="19" y="56"/>
                    </a:lnTo>
                    <a:lnTo>
                      <a:pt x="19" y="56"/>
                    </a:lnTo>
                    <a:lnTo>
                      <a:pt x="16" y="59"/>
                    </a:lnTo>
                    <a:lnTo>
                      <a:pt x="14" y="59"/>
                    </a:lnTo>
                    <a:lnTo>
                      <a:pt x="14" y="59"/>
                    </a:lnTo>
                    <a:lnTo>
                      <a:pt x="14" y="59"/>
                    </a:lnTo>
                    <a:lnTo>
                      <a:pt x="14" y="61"/>
                    </a:lnTo>
                    <a:lnTo>
                      <a:pt x="14" y="61"/>
                    </a:lnTo>
                    <a:lnTo>
                      <a:pt x="14" y="61"/>
                    </a:lnTo>
                    <a:lnTo>
                      <a:pt x="14" y="61"/>
                    </a:lnTo>
                    <a:lnTo>
                      <a:pt x="14" y="63"/>
                    </a:lnTo>
                    <a:lnTo>
                      <a:pt x="14" y="63"/>
                    </a:lnTo>
                    <a:lnTo>
                      <a:pt x="9" y="63"/>
                    </a:lnTo>
                    <a:lnTo>
                      <a:pt x="9" y="63"/>
                    </a:lnTo>
                    <a:lnTo>
                      <a:pt x="7" y="66"/>
                    </a:lnTo>
                    <a:lnTo>
                      <a:pt x="7" y="66"/>
                    </a:lnTo>
                    <a:lnTo>
                      <a:pt x="7" y="63"/>
                    </a:lnTo>
                    <a:lnTo>
                      <a:pt x="4" y="63"/>
                    </a:lnTo>
                    <a:lnTo>
                      <a:pt x="4" y="63"/>
                    </a:lnTo>
                    <a:lnTo>
                      <a:pt x="4" y="63"/>
                    </a:lnTo>
                    <a:lnTo>
                      <a:pt x="2" y="66"/>
                    </a:lnTo>
                    <a:lnTo>
                      <a:pt x="2" y="66"/>
                    </a:lnTo>
                    <a:lnTo>
                      <a:pt x="2" y="66"/>
                    </a:lnTo>
                    <a:lnTo>
                      <a:pt x="2" y="68"/>
                    </a:lnTo>
                    <a:lnTo>
                      <a:pt x="2" y="68"/>
                    </a:lnTo>
                    <a:lnTo>
                      <a:pt x="2" y="71"/>
                    </a:lnTo>
                    <a:lnTo>
                      <a:pt x="4" y="71"/>
                    </a:lnTo>
                    <a:lnTo>
                      <a:pt x="4" y="71"/>
                    </a:lnTo>
                    <a:lnTo>
                      <a:pt x="4" y="73"/>
                    </a:lnTo>
                    <a:lnTo>
                      <a:pt x="4" y="73"/>
                    </a:lnTo>
                    <a:lnTo>
                      <a:pt x="4" y="75"/>
                    </a:lnTo>
                    <a:lnTo>
                      <a:pt x="2" y="78"/>
                    </a:lnTo>
                    <a:lnTo>
                      <a:pt x="2" y="78"/>
                    </a:lnTo>
                    <a:lnTo>
                      <a:pt x="2" y="78"/>
                    </a:lnTo>
                    <a:lnTo>
                      <a:pt x="4" y="78"/>
                    </a:lnTo>
                    <a:lnTo>
                      <a:pt x="4" y="78"/>
                    </a:lnTo>
                    <a:lnTo>
                      <a:pt x="4" y="78"/>
                    </a:lnTo>
                    <a:lnTo>
                      <a:pt x="0" y="80"/>
                    </a:lnTo>
                    <a:lnTo>
                      <a:pt x="0" y="80"/>
                    </a:lnTo>
                    <a:lnTo>
                      <a:pt x="0" y="80"/>
                    </a:lnTo>
                    <a:lnTo>
                      <a:pt x="0" y="80"/>
                    </a:lnTo>
                    <a:lnTo>
                      <a:pt x="0" y="82"/>
                    </a:lnTo>
                    <a:lnTo>
                      <a:pt x="0" y="82"/>
                    </a:lnTo>
                    <a:lnTo>
                      <a:pt x="0" y="82"/>
                    </a:lnTo>
                    <a:lnTo>
                      <a:pt x="2" y="82"/>
                    </a:lnTo>
                    <a:lnTo>
                      <a:pt x="2" y="85"/>
                    </a:lnTo>
                    <a:lnTo>
                      <a:pt x="2" y="87"/>
                    </a:lnTo>
                    <a:lnTo>
                      <a:pt x="2" y="87"/>
                    </a:lnTo>
                    <a:lnTo>
                      <a:pt x="2" y="87"/>
                    </a:lnTo>
                    <a:lnTo>
                      <a:pt x="4" y="90"/>
                    </a:lnTo>
                    <a:lnTo>
                      <a:pt x="4" y="90"/>
                    </a:lnTo>
                    <a:lnTo>
                      <a:pt x="4" y="92"/>
                    </a:lnTo>
                    <a:lnTo>
                      <a:pt x="4" y="92"/>
                    </a:lnTo>
                    <a:lnTo>
                      <a:pt x="4" y="92"/>
                    </a:lnTo>
                    <a:lnTo>
                      <a:pt x="7" y="92"/>
                    </a:lnTo>
                    <a:lnTo>
                      <a:pt x="7" y="92"/>
                    </a:lnTo>
                    <a:lnTo>
                      <a:pt x="7" y="94"/>
                    </a:lnTo>
                    <a:lnTo>
                      <a:pt x="7" y="97"/>
                    </a:lnTo>
                    <a:lnTo>
                      <a:pt x="4" y="97"/>
                    </a:lnTo>
                    <a:lnTo>
                      <a:pt x="2" y="99"/>
                    </a:lnTo>
                    <a:lnTo>
                      <a:pt x="2" y="99"/>
                    </a:lnTo>
                    <a:lnTo>
                      <a:pt x="2" y="101"/>
                    </a:lnTo>
                    <a:lnTo>
                      <a:pt x="2" y="101"/>
                    </a:lnTo>
                    <a:lnTo>
                      <a:pt x="2" y="104"/>
                    </a:lnTo>
                    <a:lnTo>
                      <a:pt x="4" y="104"/>
                    </a:lnTo>
                    <a:lnTo>
                      <a:pt x="4" y="104"/>
                    </a:lnTo>
                    <a:lnTo>
                      <a:pt x="7" y="106"/>
                    </a:lnTo>
                    <a:lnTo>
                      <a:pt x="7" y="106"/>
                    </a:lnTo>
                    <a:lnTo>
                      <a:pt x="9" y="106"/>
                    </a:lnTo>
                    <a:lnTo>
                      <a:pt x="9" y="106"/>
                    </a:lnTo>
                    <a:lnTo>
                      <a:pt x="9" y="108"/>
                    </a:lnTo>
                    <a:lnTo>
                      <a:pt x="7" y="108"/>
                    </a:lnTo>
                    <a:lnTo>
                      <a:pt x="7" y="108"/>
                    </a:lnTo>
                    <a:lnTo>
                      <a:pt x="7" y="111"/>
                    </a:lnTo>
                    <a:lnTo>
                      <a:pt x="7" y="113"/>
                    </a:lnTo>
                    <a:lnTo>
                      <a:pt x="7" y="113"/>
                    </a:lnTo>
                    <a:lnTo>
                      <a:pt x="7" y="113"/>
                    </a:lnTo>
                    <a:lnTo>
                      <a:pt x="9" y="113"/>
                    </a:lnTo>
                    <a:lnTo>
                      <a:pt x="9" y="116"/>
                    </a:lnTo>
                    <a:lnTo>
                      <a:pt x="9" y="116"/>
                    </a:lnTo>
                    <a:lnTo>
                      <a:pt x="9" y="116"/>
                    </a:lnTo>
                    <a:lnTo>
                      <a:pt x="9" y="118"/>
                    </a:lnTo>
                    <a:lnTo>
                      <a:pt x="11" y="120"/>
                    </a:lnTo>
                    <a:lnTo>
                      <a:pt x="14" y="120"/>
                    </a:lnTo>
                    <a:lnTo>
                      <a:pt x="14" y="120"/>
                    </a:lnTo>
                    <a:lnTo>
                      <a:pt x="14" y="118"/>
                    </a:lnTo>
                    <a:lnTo>
                      <a:pt x="14" y="118"/>
                    </a:lnTo>
                    <a:lnTo>
                      <a:pt x="16" y="118"/>
                    </a:lnTo>
                    <a:lnTo>
                      <a:pt x="16" y="118"/>
                    </a:lnTo>
                    <a:lnTo>
                      <a:pt x="16" y="120"/>
                    </a:lnTo>
                    <a:lnTo>
                      <a:pt x="16" y="120"/>
                    </a:lnTo>
                    <a:lnTo>
                      <a:pt x="19" y="120"/>
                    </a:lnTo>
                    <a:lnTo>
                      <a:pt x="19" y="120"/>
                    </a:lnTo>
                    <a:lnTo>
                      <a:pt x="21" y="120"/>
                    </a:lnTo>
                    <a:lnTo>
                      <a:pt x="21" y="120"/>
                    </a:lnTo>
                    <a:lnTo>
                      <a:pt x="23" y="120"/>
                    </a:lnTo>
                    <a:lnTo>
                      <a:pt x="23" y="120"/>
                    </a:lnTo>
                    <a:lnTo>
                      <a:pt x="26" y="120"/>
                    </a:lnTo>
                    <a:lnTo>
                      <a:pt x="26" y="120"/>
                    </a:lnTo>
                    <a:lnTo>
                      <a:pt x="30" y="123"/>
                    </a:lnTo>
                    <a:lnTo>
                      <a:pt x="33" y="123"/>
                    </a:lnTo>
                    <a:lnTo>
                      <a:pt x="35" y="123"/>
                    </a:lnTo>
                    <a:lnTo>
                      <a:pt x="35" y="123"/>
                    </a:lnTo>
                    <a:lnTo>
                      <a:pt x="35" y="125"/>
                    </a:lnTo>
                    <a:lnTo>
                      <a:pt x="35" y="125"/>
                    </a:lnTo>
                    <a:lnTo>
                      <a:pt x="30" y="130"/>
                    </a:lnTo>
                    <a:lnTo>
                      <a:pt x="30" y="130"/>
                    </a:lnTo>
                    <a:lnTo>
                      <a:pt x="30" y="132"/>
                    </a:lnTo>
                    <a:lnTo>
                      <a:pt x="28" y="134"/>
                    </a:lnTo>
                    <a:lnTo>
                      <a:pt x="28" y="137"/>
                    </a:lnTo>
                    <a:lnTo>
                      <a:pt x="26" y="139"/>
                    </a:lnTo>
                    <a:lnTo>
                      <a:pt x="26" y="142"/>
                    </a:lnTo>
                    <a:lnTo>
                      <a:pt x="26" y="144"/>
                    </a:lnTo>
                    <a:lnTo>
                      <a:pt x="26" y="146"/>
                    </a:lnTo>
                    <a:lnTo>
                      <a:pt x="26" y="149"/>
                    </a:lnTo>
                    <a:lnTo>
                      <a:pt x="26" y="151"/>
                    </a:lnTo>
                    <a:lnTo>
                      <a:pt x="26" y="151"/>
                    </a:lnTo>
                    <a:lnTo>
                      <a:pt x="26" y="151"/>
                    </a:lnTo>
                    <a:lnTo>
                      <a:pt x="28" y="153"/>
                    </a:lnTo>
                    <a:lnTo>
                      <a:pt x="30" y="153"/>
                    </a:lnTo>
                    <a:lnTo>
                      <a:pt x="33" y="151"/>
                    </a:lnTo>
                    <a:lnTo>
                      <a:pt x="35" y="151"/>
                    </a:lnTo>
                    <a:lnTo>
                      <a:pt x="37" y="151"/>
                    </a:lnTo>
                    <a:lnTo>
                      <a:pt x="40" y="151"/>
                    </a:lnTo>
                    <a:lnTo>
                      <a:pt x="40" y="151"/>
                    </a:lnTo>
                    <a:lnTo>
                      <a:pt x="40" y="151"/>
                    </a:lnTo>
                    <a:lnTo>
                      <a:pt x="40" y="151"/>
                    </a:lnTo>
                    <a:lnTo>
                      <a:pt x="42" y="151"/>
                    </a:lnTo>
                    <a:lnTo>
                      <a:pt x="42" y="151"/>
                    </a:lnTo>
                    <a:lnTo>
                      <a:pt x="42" y="151"/>
                    </a:lnTo>
                    <a:lnTo>
                      <a:pt x="42" y="151"/>
                    </a:lnTo>
                    <a:lnTo>
                      <a:pt x="40" y="151"/>
                    </a:lnTo>
                    <a:lnTo>
                      <a:pt x="40" y="151"/>
                    </a:lnTo>
                    <a:lnTo>
                      <a:pt x="40" y="149"/>
                    </a:lnTo>
                    <a:lnTo>
                      <a:pt x="40" y="149"/>
                    </a:lnTo>
                    <a:lnTo>
                      <a:pt x="40" y="149"/>
                    </a:lnTo>
                    <a:lnTo>
                      <a:pt x="42" y="149"/>
                    </a:lnTo>
                    <a:lnTo>
                      <a:pt x="42" y="149"/>
                    </a:lnTo>
                    <a:lnTo>
                      <a:pt x="45" y="149"/>
                    </a:lnTo>
                    <a:lnTo>
                      <a:pt x="45" y="149"/>
                    </a:lnTo>
                    <a:lnTo>
                      <a:pt x="45" y="149"/>
                    </a:lnTo>
                    <a:lnTo>
                      <a:pt x="45" y="149"/>
                    </a:lnTo>
                    <a:lnTo>
                      <a:pt x="47" y="149"/>
                    </a:lnTo>
                    <a:lnTo>
                      <a:pt x="47" y="151"/>
                    </a:lnTo>
                    <a:lnTo>
                      <a:pt x="47" y="151"/>
                    </a:lnTo>
                    <a:lnTo>
                      <a:pt x="52" y="151"/>
                    </a:lnTo>
                    <a:lnTo>
                      <a:pt x="52" y="151"/>
                    </a:lnTo>
                    <a:lnTo>
                      <a:pt x="54" y="151"/>
                    </a:lnTo>
                    <a:lnTo>
                      <a:pt x="56" y="153"/>
                    </a:lnTo>
                    <a:lnTo>
                      <a:pt x="59" y="153"/>
                    </a:lnTo>
                    <a:lnTo>
                      <a:pt x="59" y="153"/>
                    </a:lnTo>
                    <a:lnTo>
                      <a:pt x="61" y="153"/>
                    </a:lnTo>
                    <a:lnTo>
                      <a:pt x="61" y="151"/>
                    </a:lnTo>
                    <a:lnTo>
                      <a:pt x="64" y="153"/>
                    </a:lnTo>
                    <a:lnTo>
                      <a:pt x="66" y="153"/>
                    </a:lnTo>
                    <a:lnTo>
                      <a:pt x="66" y="153"/>
                    </a:lnTo>
                    <a:lnTo>
                      <a:pt x="66" y="156"/>
                    </a:lnTo>
                    <a:lnTo>
                      <a:pt x="66" y="156"/>
                    </a:lnTo>
                    <a:lnTo>
                      <a:pt x="66" y="156"/>
                    </a:lnTo>
                    <a:lnTo>
                      <a:pt x="66" y="156"/>
                    </a:lnTo>
                    <a:lnTo>
                      <a:pt x="68" y="156"/>
                    </a:lnTo>
                    <a:lnTo>
                      <a:pt x="68" y="156"/>
                    </a:lnTo>
                    <a:lnTo>
                      <a:pt x="68" y="158"/>
                    </a:lnTo>
                    <a:lnTo>
                      <a:pt x="68" y="158"/>
                    </a:lnTo>
                    <a:lnTo>
                      <a:pt x="68" y="158"/>
                    </a:lnTo>
                    <a:lnTo>
                      <a:pt x="71" y="158"/>
                    </a:lnTo>
                    <a:lnTo>
                      <a:pt x="71" y="156"/>
                    </a:lnTo>
                    <a:lnTo>
                      <a:pt x="73" y="156"/>
                    </a:lnTo>
                    <a:lnTo>
                      <a:pt x="73" y="153"/>
                    </a:lnTo>
                    <a:lnTo>
                      <a:pt x="73" y="153"/>
                    </a:lnTo>
                    <a:lnTo>
                      <a:pt x="73" y="153"/>
                    </a:lnTo>
                    <a:lnTo>
                      <a:pt x="75" y="153"/>
                    </a:lnTo>
                    <a:lnTo>
                      <a:pt x="78" y="153"/>
                    </a:lnTo>
                    <a:lnTo>
                      <a:pt x="80" y="153"/>
                    </a:lnTo>
                    <a:lnTo>
                      <a:pt x="80" y="153"/>
                    </a:lnTo>
                    <a:lnTo>
                      <a:pt x="80" y="153"/>
                    </a:lnTo>
                    <a:lnTo>
                      <a:pt x="80" y="156"/>
                    </a:lnTo>
                    <a:lnTo>
                      <a:pt x="82" y="156"/>
                    </a:lnTo>
                    <a:lnTo>
                      <a:pt x="82" y="156"/>
                    </a:lnTo>
                    <a:lnTo>
                      <a:pt x="85" y="156"/>
                    </a:lnTo>
                    <a:lnTo>
                      <a:pt x="85" y="156"/>
                    </a:lnTo>
                    <a:lnTo>
                      <a:pt x="85" y="156"/>
                    </a:lnTo>
                    <a:lnTo>
                      <a:pt x="87" y="156"/>
                    </a:lnTo>
                    <a:lnTo>
                      <a:pt x="87" y="153"/>
                    </a:lnTo>
                    <a:lnTo>
                      <a:pt x="87" y="153"/>
                    </a:lnTo>
                    <a:lnTo>
                      <a:pt x="90" y="153"/>
                    </a:lnTo>
                    <a:lnTo>
                      <a:pt x="92" y="153"/>
                    </a:lnTo>
                    <a:lnTo>
                      <a:pt x="94" y="151"/>
                    </a:lnTo>
                    <a:lnTo>
                      <a:pt x="101" y="151"/>
                    </a:lnTo>
                    <a:lnTo>
                      <a:pt x="101" y="151"/>
                    </a:lnTo>
                    <a:lnTo>
                      <a:pt x="101" y="149"/>
                    </a:lnTo>
                    <a:lnTo>
                      <a:pt x="101" y="149"/>
                    </a:lnTo>
                    <a:lnTo>
                      <a:pt x="104" y="149"/>
                    </a:lnTo>
                    <a:lnTo>
                      <a:pt x="104" y="149"/>
                    </a:lnTo>
                    <a:lnTo>
                      <a:pt x="106" y="151"/>
                    </a:lnTo>
                    <a:lnTo>
                      <a:pt x="106" y="151"/>
                    </a:lnTo>
                    <a:lnTo>
                      <a:pt x="106" y="151"/>
                    </a:lnTo>
                    <a:lnTo>
                      <a:pt x="108" y="151"/>
                    </a:lnTo>
                    <a:lnTo>
                      <a:pt x="108" y="151"/>
                    </a:lnTo>
                    <a:lnTo>
                      <a:pt x="111" y="151"/>
                    </a:lnTo>
                    <a:lnTo>
                      <a:pt x="111" y="151"/>
                    </a:lnTo>
                    <a:lnTo>
                      <a:pt x="111" y="151"/>
                    </a:lnTo>
                    <a:lnTo>
                      <a:pt x="111" y="153"/>
                    </a:lnTo>
                    <a:lnTo>
                      <a:pt x="111" y="153"/>
                    </a:lnTo>
                    <a:lnTo>
                      <a:pt x="113" y="153"/>
                    </a:lnTo>
                    <a:lnTo>
                      <a:pt x="113" y="153"/>
                    </a:lnTo>
                    <a:lnTo>
                      <a:pt x="116" y="153"/>
                    </a:lnTo>
                    <a:lnTo>
                      <a:pt x="116" y="153"/>
                    </a:lnTo>
                    <a:lnTo>
                      <a:pt x="116" y="151"/>
                    </a:lnTo>
                    <a:lnTo>
                      <a:pt x="116" y="151"/>
                    </a:lnTo>
                    <a:lnTo>
                      <a:pt x="116" y="149"/>
                    </a:lnTo>
                    <a:lnTo>
                      <a:pt x="116" y="149"/>
                    </a:lnTo>
                    <a:lnTo>
                      <a:pt x="113" y="149"/>
                    </a:lnTo>
                    <a:lnTo>
                      <a:pt x="113" y="149"/>
                    </a:lnTo>
                    <a:lnTo>
                      <a:pt x="113" y="149"/>
                    </a:lnTo>
                    <a:lnTo>
                      <a:pt x="113" y="146"/>
                    </a:lnTo>
                    <a:lnTo>
                      <a:pt x="113" y="146"/>
                    </a:lnTo>
                    <a:lnTo>
                      <a:pt x="113" y="144"/>
                    </a:lnTo>
                    <a:lnTo>
                      <a:pt x="111" y="142"/>
                    </a:lnTo>
                    <a:lnTo>
                      <a:pt x="111" y="142"/>
                    </a:lnTo>
                    <a:lnTo>
                      <a:pt x="111" y="139"/>
                    </a:lnTo>
                    <a:lnTo>
                      <a:pt x="113" y="139"/>
                    </a:lnTo>
                    <a:lnTo>
                      <a:pt x="116" y="137"/>
                    </a:lnTo>
                    <a:lnTo>
                      <a:pt x="118" y="137"/>
                    </a:lnTo>
                    <a:lnTo>
                      <a:pt x="118" y="137"/>
                    </a:lnTo>
                    <a:lnTo>
                      <a:pt x="120" y="137"/>
                    </a:lnTo>
                    <a:lnTo>
                      <a:pt x="120" y="137"/>
                    </a:lnTo>
                    <a:lnTo>
                      <a:pt x="120" y="134"/>
                    </a:lnTo>
                    <a:lnTo>
                      <a:pt x="123" y="132"/>
                    </a:lnTo>
                    <a:lnTo>
                      <a:pt x="123" y="132"/>
                    </a:lnTo>
                    <a:lnTo>
                      <a:pt x="123" y="132"/>
                    </a:lnTo>
                    <a:lnTo>
                      <a:pt x="125" y="132"/>
                    </a:lnTo>
                    <a:lnTo>
                      <a:pt x="125" y="132"/>
                    </a:lnTo>
                    <a:lnTo>
                      <a:pt x="127" y="132"/>
                    </a:lnTo>
                    <a:lnTo>
                      <a:pt x="127" y="132"/>
                    </a:lnTo>
                    <a:lnTo>
                      <a:pt x="127" y="130"/>
                    </a:lnTo>
                    <a:lnTo>
                      <a:pt x="127" y="130"/>
                    </a:lnTo>
                    <a:lnTo>
                      <a:pt x="127" y="127"/>
                    </a:lnTo>
                    <a:lnTo>
                      <a:pt x="127" y="127"/>
                    </a:lnTo>
                    <a:lnTo>
                      <a:pt x="127" y="127"/>
                    </a:lnTo>
                    <a:lnTo>
                      <a:pt x="125" y="125"/>
                    </a:lnTo>
                    <a:lnTo>
                      <a:pt x="123" y="123"/>
                    </a:lnTo>
                    <a:lnTo>
                      <a:pt x="123" y="123"/>
                    </a:lnTo>
                    <a:lnTo>
                      <a:pt x="120" y="123"/>
                    </a:lnTo>
                    <a:lnTo>
                      <a:pt x="120" y="123"/>
                    </a:lnTo>
                    <a:lnTo>
                      <a:pt x="120" y="123"/>
                    </a:lnTo>
                    <a:lnTo>
                      <a:pt x="118" y="120"/>
                    </a:lnTo>
                    <a:lnTo>
                      <a:pt x="118" y="120"/>
                    </a:lnTo>
                    <a:lnTo>
                      <a:pt x="116" y="120"/>
                    </a:lnTo>
                    <a:lnTo>
                      <a:pt x="116" y="118"/>
                    </a:lnTo>
                    <a:lnTo>
                      <a:pt x="113" y="116"/>
                    </a:lnTo>
                    <a:lnTo>
                      <a:pt x="111" y="116"/>
                    </a:lnTo>
                    <a:lnTo>
                      <a:pt x="111" y="116"/>
                    </a:lnTo>
                    <a:lnTo>
                      <a:pt x="108" y="113"/>
                    </a:lnTo>
                    <a:lnTo>
                      <a:pt x="108" y="113"/>
                    </a:lnTo>
                    <a:lnTo>
                      <a:pt x="106" y="111"/>
                    </a:lnTo>
                    <a:lnTo>
                      <a:pt x="106" y="108"/>
                    </a:lnTo>
                    <a:lnTo>
                      <a:pt x="106" y="108"/>
                    </a:lnTo>
                    <a:lnTo>
                      <a:pt x="104" y="108"/>
                    </a:lnTo>
                    <a:lnTo>
                      <a:pt x="104" y="108"/>
                    </a:lnTo>
                    <a:lnTo>
                      <a:pt x="106" y="106"/>
                    </a:lnTo>
                    <a:lnTo>
                      <a:pt x="106" y="106"/>
                    </a:lnTo>
                    <a:lnTo>
                      <a:pt x="106" y="106"/>
                    </a:lnTo>
                    <a:lnTo>
                      <a:pt x="106" y="104"/>
                    </a:lnTo>
                    <a:lnTo>
                      <a:pt x="106" y="104"/>
                    </a:lnTo>
                    <a:lnTo>
                      <a:pt x="106" y="104"/>
                    </a:lnTo>
                    <a:lnTo>
                      <a:pt x="104" y="101"/>
                    </a:lnTo>
                    <a:lnTo>
                      <a:pt x="101" y="101"/>
                    </a:lnTo>
                    <a:lnTo>
                      <a:pt x="101" y="99"/>
                    </a:lnTo>
                    <a:lnTo>
                      <a:pt x="101" y="99"/>
                    </a:lnTo>
                    <a:lnTo>
                      <a:pt x="101" y="99"/>
                    </a:lnTo>
                    <a:lnTo>
                      <a:pt x="99" y="97"/>
                    </a:lnTo>
                    <a:lnTo>
                      <a:pt x="99" y="97"/>
                    </a:lnTo>
                    <a:lnTo>
                      <a:pt x="99" y="97"/>
                    </a:lnTo>
                    <a:lnTo>
                      <a:pt x="99" y="97"/>
                    </a:lnTo>
                    <a:lnTo>
                      <a:pt x="99" y="97"/>
                    </a:lnTo>
                    <a:lnTo>
                      <a:pt x="101" y="97"/>
                    </a:lnTo>
                    <a:lnTo>
                      <a:pt x="101" y="97"/>
                    </a:lnTo>
                    <a:lnTo>
                      <a:pt x="101" y="99"/>
                    </a:lnTo>
                    <a:lnTo>
                      <a:pt x="104" y="99"/>
                    </a:lnTo>
                    <a:lnTo>
                      <a:pt x="104" y="97"/>
                    </a:lnTo>
                    <a:lnTo>
                      <a:pt x="106" y="94"/>
                    </a:lnTo>
                    <a:lnTo>
                      <a:pt x="106" y="94"/>
                    </a:lnTo>
                    <a:lnTo>
                      <a:pt x="108" y="94"/>
                    </a:lnTo>
                    <a:lnTo>
                      <a:pt x="108" y="94"/>
                    </a:lnTo>
                    <a:lnTo>
                      <a:pt x="111" y="94"/>
                    </a:lnTo>
                    <a:lnTo>
                      <a:pt x="111" y="94"/>
                    </a:lnTo>
                    <a:lnTo>
                      <a:pt x="113" y="94"/>
                    </a:lnTo>
                    <a:lnTo>
                      <a:pt x="113" y="94"/>
                    </a:lnTo>
                    <a:lnTo>
                      <a:pt x="113" y="92"/>
                    </a:lnTo>
                    <a:lnTo>
                      <a:pt x="113" y="92"/>
                    </a:lnTo>
                    <a:lnTo>
                      <a:pt x="118" y="92"/>
                    </a:lnTo>
                    <a:lnTo>
                      <a:pt x="118" y="90"/>
                    </a:lnTo>
                    <a:lnTo>
                      <a:pt x="118" y="90"/>
                    </a:lnTo>
                    <a:lnTo>
                      <a:pt x="118" y="90"/>
                    </a:lnTo>
                    <a:lnTo>
                      <a:pt x="120" y="90"/>
                    </a:lnTo>
                    <a:lnTo>
                      <a:pt x="120" y="90"/>
                    </a:lnTo>
                    <a:lnTo>
                      <a:pt x="120" y="90"/>
                    </a:lnTo>
                    <a:lnTo>
                      <a:pt x="120" y="90"/>
                    </a:lnTo>
                    <a:lnTo>
                      <a:pt x="123" y="90"/>
                    </a:lnTo>
                    <a:lnTo>
                      <a:pt x="123" y="87"/>
                    </a:lnTo>
                    <a:lnTo>
                      <a:pt x="123" y="87"/>
                    </a:lnTo>
                    <a:lnTo>
                      <a:pt x="125" y="87"/>
                    </a:lnTo>
                    <a:lnTo>
                      <a:pt x="127" y="87"/>
                    </a:lnTo>
                    <a:lnTo>
                      <a:pt x="130" y="85"/>
                    </a:lnTo>
                    <a:lnTo>
                      <a:pt x="132" y="85"/>
                    </a:lnTo>
                    <a:lnTo>
                      <a:pt x="134" y="85"/>
                    </a:lnTo>
                    <a:lnTo>
                      <a:pt x="137" y="85"/>
                    </a:lnTo>
                    <a:lnTo>
                      <a:pt x="137" y="82"/>
                    </a:lnTo>
                    <a:lnTo>
                      <a:pt x="134" y="82"/>
                    </a:lnTo>
                    <a:lnTo>
                      <a:pt x="134" y="82"/>
                    </a:lnTo>
                    <a:lnTo>
                      <a:pt x="134" y="82"/>
                    </a:lnTo>
                    <a:lnTo>
                      <a:pt x="134" y="80"/>
                    </a:lnTo>
                    <a:lnTo>
                      <a:pt x="134" y="80"/>
                    </a:lnTo>
                    <a:lnTo>
                      <a:pt x="137" y="80"/>
                    </a:lnTo>
                    <a:lnTo>
                      <a:pt x="139" y="82"/>
                    </a:lnTo>
                    <a:lnTo>
                      <a:pt x="139" y="82"/>
                    </a:lnTo>
                    <a:lnTo>
                      <a:pt x="139" y="82"/>
                    </a:lnTo>
                    <a:lnTo>
                      <a:pt x="139" y="82"/>
                    </a:lnTo>
                    <a:lnTo>
                      <a:pt x="139" y="82"/>
                    </a:lnTo>
                    <a:lnTo>
                      <a:pt x="139" y="85"/>
                    </a:lnTo>
                    <a:lnTo>
                      <a:pt x="142" y="85"/>
                    </a:lnTo>
                    <a:lnTo>
                      <a:pt x="142" y="85"/>
                    </a:lnTo>
                    <a:lnTo>
                      <a:pt x="142" y="85"/>
                    </a:lnTo>
                    <a:lnTo>
                      <a:pt x="144" y="85"/>
                    </a:lnTo>
                    <a:lnTo>
                      <a:pt x="144" y="85"/>
                    </a:lnTo>
                    <a:lnTo>
                      <a:pt x="144" y="85"/>
                    </a:lnTo>
                    <a:lnTo>
                      <a:pt x="144" y="82"/>
                    </a:lnTo>
                    <a:lnTo>
                      <a:pt x="146" y="80"/>
                    </a:lnTo>
                    <a:lnTo>
                      <a:pt x="146" y="78"/>
                    </a:lnTo>
                    <a:lnTo>
                      <a:pt x="146" y="73"/>
                    </a:lnTo>
                    <a:close/>
                    <a:moveTo>
                      <a:pt x="40" y="4"/>
                    </a:moveTo>
                    <a:lnTo>
                      <a:pt x="45" y="4"/>
                    </a:lnTo>
                    <a:lnTo>
                      <a:pt x="45" y="4"/>
                    </a:lnTo>
                    <a:lnTo>
                      <a:pt x="40" y="2"/>
                    </a:lnTo>
                    <a:lnTo>
                      <a:pt x="40" y="2"/>
                    </a:lnTo>
                    <a:lnTo>
                      <a:pt x="42" y="2"/>
                    </a:lnTo>
                    <a:lnTo>
                      <a:pt x="42" y="2"/>
                    </a:lnTo>
                    <a:lnTo>
                      <a:pt x="42" y="0"/>
                    </a:lnTo>
                    <a:lnTo>
                      <a:pt x="42" y="0"/>
                    </a:lnTo>
                    <a:lnTo>
                      <a:pt x="40" y="2"/>
                    </a:lnTo>
                    <a:lnTo>
                      <a:pt x="40" y="7"/>
                    </a:lnTo>
                    <a:lnTo>
                      <a:pt x="40" y="4"/>
                    </a:lnTo>
                    <a:lnTo>
                      <a:pt x="40" y="4"/>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151"/>
              <p:cNvSpPr>
                <a:spLocks/>
              </p:cNvSpPr>
              <p:nvPr/>
            </p:nvSpPr>
            <p:spPr bwMode="auto">
              <a:xfrm>
                <a:off x="3444" y="1881"/>
                <a:ext cx="118" cy="52"/>
              </a:xfrm>
              <a:custGeom>
                <a:avLst/>
                <a:gdLst>
                  <a:gd name="T0" fmla="*/ 114 w 118"/>
                  <a:gd name="T1" fmla="*/ 43 h 52"/>
                  <a:gd name="T2" fmla="*/ 111 w 118"/>
                  <a:gd name="T3" fmla="*/ 41 h 52"/>
                  <a:gd name="T4" fmla="*/ 109 w 118"/>
                  <a:gd name="T5" fmla="*/ 38 h 52"/>
                  <a:gd name="T6" fmla="*/ 111 w 118"/>
                  <a:gd name="T7" fmla="*/ 38 h 52"/>
                  <a:gd name="T8" fmla="*/ 114 w 118"/>
                  <a:gd name="T9" fmla="*/ 33 h 52"/>
                  <a:gd name="T10" fmla="*/ 109 w 118"/>
                  <a:gd name="T11" fmla="*/ 33 h 52"/>
                  <a:gd name="T12" fmla="*/ 104 w 118"/>
                  <a:gd name="T13" fmla="*/ 31 h 52"/>
                  <a:gd name="T14" fmla="*/ 99 w 118"/>
                  <a:gd name="T15" fmla="*/ 29 h 52"/>
                  <a:gd name="T16" fmla="*/ 99 w 118"/>
                  <a:gd name="T17" fmla="*/ 24 h 52"/>
                  <a:gd name="T18" fmla="*/ 97 w 118"/>
                  <a:gd name="T19" fmla="*/ 22 h 52"/>
                  <a:gd name="T20" fmla="*/ 90 w 118"/>
                  <a:gd name="T21" fmla="*/ 19 h 52"/>
                  <a:gd name="T22" fmla="*/ 85 w 118"/>
                  <a:gd name="T23" fmla="*/ 17 h 52"/>
                  <a:gd name="T24" fmla="*/ 83 w 118"/>
                  <a:gd name="T25" fmla="*/ 19 h 52"/>
                  <a:gd name="T26" fmla="*/ 78 w 118"/>
                  <a:gd name="T27" fmla="*/ 17 h 52"/>
                  <a:gd name="T28" fmla="*/ 73 w 118"/>
                  <a:gd name="T29" fmla="*/ 19 h 52"/>
                  <a:gd name="T30" fmla="*/ 69 w 118"/>
                  <a:gd name="T31" fmla="*/ 22 h 52"/>
                  <a:gd name="T32" fmla="*/ 64 w 118"/>
                  <a:gd name="T33" fmla="*/ 19 h 52"/>
                  <a:gd name="T34" fmla="*/ 66 w 118"/>
                  <a:gd name="T35" fmla="*/ 17 h 52"/>
                  <a:gd name="T36" fmla="*/ 62 w 118"/>
                  <a:gd name="T37" fmla="*/ 15 h 52"/>
                  <a:gd name="T38" fmla="*/ 52 w 118"/>
                  <a:gd name="T39" fmla="*/ 10 h 52"/>
                  <a:gd name="T40" fmla="*/ 47 w 118"/>
                  <a:gd name="T41" fmla="*/ 7 h 52"/>
                  <a:gd name="T42" fmla="*/ 40 w 118"/>
                  <a:gd name="T43" fmla="*/ 7 h 52"/>
                  <a:gd name="T44" fmla="*/ 36 w 118"/>
                  <a:gd name="T45" fmla="*/ 7 h 52"/>
                  <a:gd name="T46" fmla="*/ 24 w 118"/>
                  <a:gd name="T47" fmla="*/ 7 h 52"/>
                  <a:gd name="T48" fmla="*/ 14 w 118"/>
                  <a:gd name="T49" fmla="*/ 3 h 52"/>
                  <a:gd name="T50" fmla="*/ 7 w 118"/>
                  <a:gd name="T51" fmla="*/ 0 h 52"/>
                  <a:gd name="T52" fmla="*/ 0 w 118"/>
                  <a:gd name="T53" fmla="*/ 0 h 52"/>
                  <a:gd name="T54" fmla="*/ 2 w 118"/>
                  <a:gd name="T55" fmla="*/ 5 h 52"/>
                  <a:gd name="T56" fmla="*/ 14 w 118"/>
                  <a:gd name="T57" fmla="*/ 10 h 52"/>
                  <a:gd name="T58" fmla="*/ 26 w 118"/>
                  <a:gd name="T59" fmla="*/ 17 h 52"/>
                  <a:gd name="T60" fmla="*/ 31 w 118"/>
                  <a:gd name="T61" fmla="*/ 29 h 52"/>
                  <a:gd name="T62" fmla="*/ 33 w 118"/>
                  <a:gd name="T63" fmla="*/ 36 h 52"/>
                  <a:gd name="T64" fmla="*/ 31 w 118"/>
                  <a:gd name="T65" fmla="*/ 43 h 52"/>
                  <a:gd name="T66" fmla="*/ 36 w 118"/>
                  <a:gd name="T67" fmla="*/ 43 h 52"/>
                  <a:gd name="T68" fmla="*/ 43 w 118"/>
                  <a:gd name="T69" fmla="*/ 43 h 52"/>
                  <a:gd name="T70" fmla="*/ 47 w 118"/>
                  <a:gd name="T71" fmla="*/ 43 h 52"/>
                  <a:gd name="T72" fmla="*/ 50 w 118"/>
                  <a:gd name="T73" fmla="*/ 41 h 52"/>
                  <a:gd name="T74" fmla="*/ 52 w 118"/>
                  <a:gd name="T75" fmla="*/ 41 h 52"/>
                  <a:gd name="T76" fmla="*/ 54 w 118"/>
                  <a:gd name="T77" fmla="*/ 43 h 52"/>
                  <a:gd name="T78" fmla="*/ 59 w 118"/>
                  <a:gd name="T79" fmla="*/ 48 h 52"/>
                  <a:gd name="T80" fmla="*/ 59 w 118"/>
                  <a:gd name="T81" fmla="*/ 48 h 52"/>
                  <a:gd name="T82" fmla="*/ 64 w 118"/>
                  <a:gd name="T83" fmla="*/ 50 h 52"/>
                  <a:gd name="T84" fmla="*/ 64 w 118"/>
                  <a:gd name="T85" fmla="*/ 50 h 52"/>
                  <a:gd name="T86" fmla="*/ 71 w 118"/>
                  <a:gd name="T87" fmla="*/ 50 h 52"/>
                  <a:gd name="T88" fmla="*/ 76 w 118"/>
                  <a:gd name="T89" fmla="*/ 48 h 52"/>
                  <a:gd name="T90" fmla="*/ 83 w 118"/>
                  <a:gd name="T91" fmla="*/ 48 h 52"/>
                  <a:gd name="T92" fmla="*/ 88 w 118"/>
                  <a:gd name="T93" fmla="*/ 48 h 52"/>
                  <a:gd name="T94" fmla="*/ 90 w 118"/>
                  <a:gd name="T95" fmla="*/ 48 h 52"/>
                  <a:gd name="T96" fmla="*/ 97 w 118"/>
                  <a:gd name="T97" fmla="*/ 45 h 52"/>
                  <a:gd name="T98" fmla="*/ 104 w 118"/>
                  <a:gd name="T99" fmla="*/ 48 h 52"/>
                  <a:gd name="T100" fmla="*/ 109 w 118"/>
                  <a:gd name="T101" fmla="*/ 50 h 52"/>
                  <a:gd name="T102" fmla="*/ 114 w 118"/>
                  <a:gd name="T103" fmla="*/ 50 h 52"/>
                  <a:gd name="T104" fmla="*/ 116 w 118"/>
                  <a:gd name="T105" fmla="*/ 52 h 52"/>
                  <a:gd name="T106" fmla="*/ 118 w 118"/>
                  <a:gd name="T107" fmla="*/ 4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8" h="52">
                    <a:moveTo>
                      <a:pt x="118" y="45"/>
                    </a:moveTo>
                    <a:lnTo>
                      <a:pt x="116" y="45"/>
                    </a:lnTo>
                    <a:lnTo>
                      <a:pt x="114" y="43"/>
                    </a:lnTo>
                    <a:lnTo>
                      <a:pt x="111" y="43"/>
                    </a:lnTo>
                    <a:lnTo>
                      <a:pt x="111" y="41"/>
                    </a:lnTo>
                    <a:lnTo>
                      <a:pt x="111" y="41"/>
                    </a:lnTo>
                    <a:lnTo>
                      <a:pt x="109" y="41"/>
                    </a:lnTo>
                    <a:lnTo>
                      <a:pt x="109" y="41"/>
                    </a:lnTo>
                    <a:lnTo>
                      <a:pt x="109" y="38"/>
                    </a:lnTo>
                    <a:lnTo>
                      <a:pt x="109" y="38"/>
                    </a:lnTo>
                    <a:lnTo>
                      <a:pt x="111" y="38"/>
                    </a:lnTo>
                    <a:lnTo>
                      <a:pt x="111" y="38"/>
                    </a:lnTo>
                    <a:lnTo>
                      <a:pt x="111" y="36"/>
                    </a:lnTo>
                    <a:lnTo>
                      <a:pt x="114" y="36"/>
                    </a:lnTo>
                    <a:lnTo>
                      <a:pt x="114" y="33"/>
                    </a:lnTo>
                    <a:lnTo>
                      <a:pt x="114" y="33"/>
                    </a:lnTo>
                    <a:lnTo>
                      <a:pt x="109" y="33"/>
                    </a:lnTo>
                    <a:lnTo>
                      <a:pt x="109" y="33"/>
                    </a:lnTo>
                    <a:lnTo>
                      <a:pt x="109" y="33"/>
                    </a:lnTo>
                    <a:lnTo>
                      <a:pt x="107" y="31"/>
                    </a:lnTo>
                    <a:lnTo>
                      <a:pt x="104" y="31"/>
                    </a:lnTo>
                    <a:lnTo>
                      <a:pt x="104" y="31"/>
                    </a:lnTo>
                    <a:lnTo>
                      <a:pt x="102" y="31"/>
                    </a:lnTo>
                    <a:lnTo>
                      <a:pt x="99" y="29"/>
                    </a:lnTo>
                    <a:lnTo>
                      <a:pt x="99" y="29"/>
                    </a:lnTo>
                    <a:lnTo>
                      <a:pt x="99" y="26"/>
                    </a:lnTo>
                    <a:lnTo>
                      <a:pt x="99" y="24"/>
                    </a:lnTo>
                    <a:lnTo>
                      <a:pt x="99" y="22"/>
                    </a:lnTo>
                    <a:lnTo>
                      <a:pt x="99" y="22"/>
                    </a:lnTo>
                    <a:lnTo>
                      <a:pt x="97" y="22"/>
                    </a:lnTo>
                    <a:lnTo>
                      <a:pt x="97" y="22"/>
                    </a:lnTo>
                    <a:lnTo>
                      <a:pt x="92" y="22"/>
                    </a:lnTo>
                    <a:lnTo>
                      <a:pt x="90" y="19"/>
                    </a:lnTo>
                    <a:lnTo>
                      <a:pt x="90" y="19"/>
                    </a:lnTo>
                    <a:lnTo>
                      <a:pt x="88" y="19"/>
                    </a:lnTo>
                    <a:lnTo>
                      <a:pt x="85" y="17"/>
                    </a:lnTo>
                    <a:lnTo>
                      <a:pt x="83" y="17"/>
                    </a:lnTo>
                    <a:lnTo>
                      <a:pt x="83" y="17"/>
                    </a:lnTo>
                    <a:lnTo>
                      <a:pt x="83" y="19"/>
                    </a:lnTo>
                    <a:lnTo>
                      <a:pt x="81" y="17"/>
                    </a:lnTo>
                    <a:lnTo>
                      <a:pt x="81" y="17"/>
                    </a:lnTo>
                    <a:lnTo>
                      <a:pt x="78" y="17"/>
                    </a:lnTo>
                    <a:lnTo>
                      <a:pt x="78" y="17"/>
                    </a:lnTo>
                    <a:lnTo>
                      <a:pt x="76" y="17"/>
                    </a:lnTo>
                    <a:lnTo>
                      <a:pt x="73" y="19"/>
                    </a:lnTo>
                    <a:lnTo>
                      <a:pt x="71" y="19"/>
                    </a:lnTo>
                    <a:lnTo>
                      <a:pt x="69" y="19"/>
                    </a:lnTo>
                    <a:lnTo>
                      <a:pt x="69" y="22"/>
                    </a:lnTo>
                    <a:lnTo>
                      <a:pt x="66" y="22"/>
                    </a:lnTo>
                    <a:lnTo>
                      <a:pt x="66" y="19"/>
                    </a:lnTo>
                    <a:lnTo>
                      <a:pt x="64" y="19"/>
                    </a:lnTo>
                    <a:lnTo>
                      <a:pt x="64" y="19"/>
                    </a:lnTo>
                    <a:lnTo>
                      <a:pt x="66" y="17"/>
                    </a:lnTo>
                    <a:lnTo>
                      <a:pt x="66" y="17"/>
                    </a:lnTo>
                    <a:lnTo>
                      <a:pt x="66" y="17"/>
                    </a:lnTo>
                    <a:lnTo>
                      <a:pt x="62" y="17"/>
                    </a:lnTo>
                    <a:lnTo>
                      <a:pt x="62" y="15"/>
                    </a:lnTo>
                    <a:lnTo>
                      <a:pt x="57" y="15"/>
                    </a:lnTo>
                    <a:lnTo>
                      <a:pt x="52" y="12"/>
                    </a:lnTo>
                    <a:lnTo>
                      <a:pt x="52" y="10"/>
                    </a:lnTo>
                    <a:lnTo>
                      <a:pt x="50" y="10"/>
                    </a:lnTo>
                    <a:lnTo>
                      <a:pt x="50" y="10"/>
                    </a:lnTo>
                    <a:lnTo>
                      <a:pt x="47" y="7"/>
                    </a:lnTo>
                    <a:lnTo>
                      <a:pt x="45" y="10"/>
                    </a:lnTo>
                    <a:lnTo>
                      <a:pt x="43" y="10"/>
                    </a:lnTo>
                    <a:lnTo>
                      <a:pt x="40" y="7"/>
                    </a:lnTo>
                    <a:lnTo>
                      <a:pt x="38" y="7"/>
                    </a:lnTo>
                    <a:lnTo>
                      <a:pt x="36" y="7"/>
                    </a:lnTo>
                    <a:lnTo>
                      <a:pt x="36" y="7"/>
                    </a:lnTo>
                    <a:lnTo>
                      <a:pt x="36" y="7"/>
                    </a:lnTo>
                    <a:lnTo>
                      <a:pt x="26" y="7"/>
                    </a:lnTo>
                    <a:lnTo>
                      <a:pt x="24" y="7"/>
                    </a:lnTo>
                    <a:lnTo>
                      <a:pt x="21" y="5"/>
                    </a:lnTo>
                    <a:lnTo>
                      <a:pt x="17" y="5"/>
                    </a:lnTo>
                    <a:lnTo>
                      <a:pt x="14" y="3"/>
                    </a:lnTo>
                    <a:lnTo>
                      <a:pt x="12" y="3"/>
                    </a:lnTo>
                    <a:lnTo>
                      <a:pt x="10" y="0"/>
                    </a:lnTo>
                    <a:lnTo>
                      <a:pt x="7" y="0"/>
                    </a:lnTo>
                    <a:lnTo>
                      <a:pt x="5" y="0"/>
                    </a:lnTo>
                    <a:lnTo>
                      <a:pt x="2" y="0"/>
                    </a:lnTo>
                    <a:lnTo>
                      <a:pt x="0" y="0"/>
                    </a:lnTo>
                    <a:lnTo>
                      <a:pt x="0" y="3"/>
                    </a:lnTo>
                    <a:lnTo>
                      <a:pt x="0" y="3"/>
                    </a:lnTo>
                    <a:lnTo>
                      <a:pt x="2" y="5"/>
                    </a:lnTo>
                    <a:lnTo>
                      <a:pt x="7" y="10"/>
                    </a:lnTo>
                    <a:lnTo>
                      <a:pt x="10" y="10"/>
                    </a:lnTo>
                    <a:lnTo>
                      <a:pt x="14" y="10"/>
                    </a:lnTo>
                    <a:lnTo>
                      <a:pt x="19" y="12"/>
                    </a:lnTo>
                    <a:lnTo>
                      <a:pt x="19" y="15"/>
                    </a:lnTo>
                    <a:lnTo>
                      <a:pt x="26" y="17"/>
                    </a:lnTo>
                    <a:lnTo>
                      <a:pt x="26" y="19"/>
                    </a:lnTo>
                    <a:lnTo>
                      <a:pt x="28" y="24"/>
                    </a:lnTo>
                    <a:lnTo>
                      <a:pt x="31" y="29"/>
                    </a:lnTo>
                    <a:lnTo>
                      <a:pt x="33" y="33"/>
                    </a:lnTo>
                    <a:lnTo>
                      <a:pt x="33" y="36"/>
                    </a:lnTo>
                    <a:lnTo>
                      <a:pt x="33" y="36"/>
                    </a:lnTo>
                    <a:lnTo>
                      <a:pt x="33" y="38"/>
                    </a:lnTo>
                    <a:lnTo>
                      <a:pt x="31" y="43"/>
                    </a:lnTo>
                    <a:lnTo>
                      <a:pt x="31" y="43"/>
                    </a:lnTo>
                    <a:lnTo>
                      <a:pt x="33" y="43"/>
                    </a:lnTo>
                    <a:lnTo>
                      <a:pt x="36" y="43"/>
                    </a:lnTo>
                    <a:lnTo>
                      <a:pt x="36" y="43"/>
                    </a:lnTo>
                    <a:lnTo>
                      <a:pt x="38" y="43"/>
                    </a:lnTo>
                    <a:lnTo>
                      <a:pt x="40" y="43"/>
                    </a:lnTo>
                    <a:lnTo>
                      <a:pt x="43" y="43"/>
                    </a:lnTo>
                    <a:lnTo>
                      <a:pt x="43" y="43"/>
                    </a:lnTo>
                    <a:lnTo>
                      <a:pt x="45" y="43"/>
                    </a:lnTo>
                    <a:lnTo>
                      <a:pt x="47" y="43"/>
                    </a:lnTo>
                    <a:lnTo>
                      <a:pt x="47" y="43"/>
                    </a:lnTo>
                    <a:lnTo>
                      <a:pt x="47" y="41"/>
                    </a:lnTo>
                    <a:lnTo>
                      <a:pt x="50" y="41"/>
                    </a:lnTo>
                    <a:lnTo>
                      <a:pt x="50" y="41"/>
                    </a:lnTo>
                    <a:lnTo>
                      <a:pt x="50" y="41"/>
                    </a:lnTo>
                    <a:lnTo>
                      <a:pt x="52" y="41"/>
                    </a:lnTo>
                    <a:lnTo>
                      <a:pt x="52" y="41"/>
                    </a:lnTo>
                    <a:lnTo>
                      <a:pt x="52" y="43"/>
                    </a:lnTo>
                    <a:lnTo>
                      <a:pt x="54" y="43"/>
                    </a:lnTo>
                    <a:lnTo>
                      <a:pt x="57" y="45"/>
                    </a:lnTo>
                    <a:lnTo>
                      <a:pt x="59" y="48"/>
                    </a:lnTo>
                    <a:lnTo>
                      <a:pt x="59" y="48"/>
                    </a:lnTo>
                    <a:lnTo>
                      <a:pt x="59" y="48"/>
                    </a:lnTo>
                    <a:lnTo>
                      <a:pt x="59" y="48"/>
                    </a:lnTo>
                    <a:lnTo>
                      <a:pt x="59" y="48"/>
                    </a:lnTo>
                    <a:lnTo>
                      <a:pt x="62" y="50"/>
                    </a:lnTo>
                    <a:lnTo>
                      <a:pt x="64" y="50"/>
                    </a:lnTo>
                    <a:lnTo>
                      <a:pt x="64" y="50"/>
                    </a:lnTo>
                    <a:lnTo>
                      <a:pt x="64" y="50"/>
                    </a:lnTo>
                    <a:lnTo>
                      <a:pt x="64" y="50"/>
                    </a:lnTo>
                    <a:lnTo>
                      <a:pt x="64" y="50"/>
                    </a:lnTo>
                    <a:lnTo>
                      <a:pt x="66" y="50"/>
                    </a:lnTo>
                    <a:lnTo>
                      <a:pt x="69" y="50"/>
                    </a:lnTo>
                    <a:lnTo>
                      <a:pt x="71" y="50"/>
                    </a:lnTo>
                    <a:lnTo>
                      <a:pt x="73" y="50"/>
                    </a:lnTo>
                    <a:lnTo>
                      <a:pt x="76" y="50"/>
                    </a:lnTo>
                    <a:lnTo>
                      <a:pt x="76" y="48"/>
                    </a:lnTo>
                    <a:lnTo>
                      <a:pt x="78" y="48"/>
                    </a:lnTo>
                    <a:lnTo>
                      <a:pt x="83" y="50"/>
                    </a:lnTo>
                    <a:lnTo>
                      <a:pt x="83" y="48"/>
                    </a:lnTo>
                    <a:lnTo>
                      <a:pt x="88" y="48"/>
                    </a:lnTo>
                    <a:lnTo>
                      <a:pt x="88" y="48"/>
                    </a:lnTo>
                    <a:lnTo>
                      <a:pt x="88" y="48"/>
                    </a:lnTo>
                    <a:lnTo>
                      <a:pt x="88" y="48"/>
                    </a:lnTo>
                    <a:lnTo>
                      <a:pt x="90" y="48"/>
                    </a:lnTo>
                    <a:lnTo>
                      <a:pt x="90" y="48"/>
                    </a:lnTo>
                    <a:lnTo>
                      <a:pt x="95" y="45"/>
                    </a:lnTo>
                    <a:lnTo>
                      <a:pt x="95" y="43"/>
                    </a:lnTo>
                    <a:lnTo>
                      <a:pt x="97" y="45"/>
                    </a:lnTo>
                    <a:lnTo>
                      <a:pt x="102" y="45"/>
                    </a:lnTo>
                    <a:lnTo>
                      <a:pt x="102" y="48"/>
                    </a:lnTo>
                    <a:lnTo>
                      <a:pt x="104" y="48"/>
                    </a:lnTo>
                    <a:lnTo>
                      <a:pt x="104" y="48"/>
                    </a:lnTo>
                    <a:lnTo>
                      <a:pt x="107" y="50"/>
                    </a:lnTo>
                    <a:lnTo>
                      <a:pt x="109" y="50"/>
                    </a:lnTo>
                    <a:lnTo>
                      <a:pt x="109" y="50"/>
                    </a:lnTo>
                    <a:lnTo>
                      <a:pt x="111" y="50"/>
                    </a:lnTo>
                    <a:lnTo>
                      <a:pt x="114" y="50"/>
                    </a:lnTo>
                    <a:lnTo>
                      <a:pt x="114" y="50"/>
                    </a:lnTo>
                    <a:lnTo>
                      <a:pt x="116" y="52"/>
                    </a:lnTo>
                    <a:lnTo>
                      <a:pt x="116" y="52"/>
                    </a:lnTo>
                    <a:lnTo>
                      <a:pt x="118" y="50"/>
                    </a:lnTo>
                    <a:lnTo>
                      <a:pt x="118" y="50"/>
                    </a:lnTo>
                    <a:lnTo>
                      <a:pt x="118" y="48"/>
                    </a:lnTo>
                    <a:lnTo>
                      <a:pt x="118" y="48"/>
                    </a:lnTo>
                    <a:lnTo>
                      <a:pt x="118" y="45"/>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Freeform 152"/>
              <p:cNvSpPr>
                <a:spLocks/>
              </p:cNvSpPr>
              <p:nvPr/>
            </p:nvSpPr>
            <p:spPr bwMode="auto">
              <a:xfrm>
                <a:off x="2439" y="2509"/>
                <a:ext cx="54" cy="14"/>
              </a:xfrm>
              <a:custGeom>
                <a:avLst/>
                <a:gdLst>
                  <a:gd name="T0" fmla="*/ 52 w 54"/>
                  <a:gd name="T1" fmla="*/ 5 h 14"/>
                  <a:gd name="T2" fmla="*/ 49 w 54"/>
                  <a:gd name="T3" fmla="*/ 5 h 14"/>
                  <a:gd name="T4" fmla="*/ 47 w 54"/>
                  <a:gd name="T5" fmla="*/ 7 h 14"/>
                  <a:gd name="T6" fmla="*/ 42 w 54"/>
                  <a:gd name="T7" fmla="*/ 5 h 14"/>
                  <a:gd name="T8" fmla="*/ 40 w 54"/>
                  <a:gd name="T9" fmla="*/ 2 h 14"/>
                  <a:gd name="T10" fmla="*/ 35 w 54"/>
                  <a:gd name="T11" fmla="*/ 0 h 14"/>
                  <a:gd name="T12" fmla="*/ 30 w 54"/>
                  <a:gd name="T13" fmla="*/ 0 h 14"/>
                  <a:gd name="T14" fmla="*/ 26 w 54"/>
                  <a:gd name="T15" fmla="*/ 0 h 14"/>
                  <a:gd name="T16" fmla="*/ 21 w 54"/>
                  <a:gd name="T17" fmla="*/ 5 h 14"/>
                  <a:gd name="T18" fmla="*/ 9 w 54"/>
                  <a:gd name="T19" fmla="*/ 5 h 14"/>
                  <a:gd name="T20" fmla="*/ 4 w 54"/>
                  <a:gd name="T21" fmla="*/ 7 h 14"/>
                  <a:gd name="T22" fmla="*/ 9 w 54"/>
                  <a:gd name="T23" fmla="*/ 9 h 14"/>
                  <a:gd name="T24" fmla="*/ 19 w 54"/>
                  <a:gd name="T25" fmla="*/ 7 h 14"/>
                  <a:gd name="T26" fmla="*/ 26 w 54"/>
                  <a:gd name="T27" fmla="*/ 7 h 14"/>
                  <a:gd name="T28" fmla="*/ 26 w 54"/>
                  <a:gd name="T29" fmla="*/ 7 h 14"/>
                  <a:gd name="T30" fmla="*/ 19 w 54"/>
                  <a:gd name="T31" fmla="*/ 7 h 14"/>
                  <a:gd name="T32" fmla="*/ 12 w 54"/>
                  <a:gd name="T33" fmla="*/ 9 h 14"/>
                  <a:gd name="T34" fmla="*/ 12 w 54"/>
                  <a:gd name="T35" fmla="*/ 9 h 14"/>
                  <a:gd name="T36" fmla="*/ 7 w 54"/>
                  <a:gd name="T37" fmla="*/ 12 h 14"/>
                  <a:gd name="T38" fmla="*/ 4 w 54"/>
                  <a:gd name="T39" fmla="*/ 9 h 14"/>
                  <a:gd name="T40" fmla="*/ 2 w 54"/>
                  <a:gd name="T41" fmla="*/ 7 h 14"/>
                  <a:gd name="T42" fmla="*/ 0 w 54"/>
                  <a:gd name="T43" fmla="*/ 9 h 14"/>
                  <a:gd name="T44" fmla="*/ 0 w 54"/>
                  <a:gd name="T45" fmla="*/ 14 h 14"/>
                  <a:gd name="T46" fmla="*/ 2 w 54"/>
                  <a:gd name="T47" fmla="*/ 14 h 14"/>
                  <a:gd name="T48" fmla="*/ 12 w 54"/>
                  <a:gd name="T49" fmla="*/ 14 h 14"/>
                  <a:gd name="T50" fmla="*/ 19 w 54"/>
                  <a:gd name="T51" fmla="*/ 14 h 14"/>
                  <a:gd name="T52" fmla="*/ 19 w 54"/>
                  <a:gd name="T53" fmla="*/ 9 h 14"/>
                  <a:gd name="T54" fmla="*/ 23 w 54"/>
                  <a:gd name="T55" fmla="*/ 9 h 14"/>
                  <a:gd name="T56" fmla="*/ 28 w 54"/>
                  <a:gd name="T57" fmla="*/ 7 h 14"/>
                  <a:gd name="T58" fmla="*/ 30 w 54"/>
                  <a:gd name="T59" fmla="*/ 5 h 14"/>
                  <a:gd name="T60" fmla="*/ 33 w 54"/>
                  <a:gd name="T61" fmla="*/ 5 h 14"/>
                  <a:gd name="T62" fmla="*/ 35 w 54"/>
                  <a:gd name="T63" fmla="*/ 7 h 14"/>
                  <a:gd name="T64" fmla="*/ 38 w 54"/>
                  <a:gd name="T65" fmla="*/ 7 h 14"/>
                  <a:gd name="T66" fmla="*/ 45 w 54"/>
                  <a:gd name="T67" fmla="*/ 12 h 14"/>
                  <a:gd name="T68" fmla="*/ 52 w 54"/>
                  <a:gd name="T69" fmla="*/ 9 h 14"/>
                  <a:gd name="T70" fmla="*/ 54 w 54"/>
                  <a:gd name="T71" fmla="*/ 7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4" h="14">
                    <a:moveTo>
                      <a:pt x="54" y="7"/>
                    </a:moveTo>
                    <a:lnTo>
                      <a:pt x="52" y="5"/>
                    </a:lnTo>
                    <a:lnTo>
                      <a:pt x="49" y="5"/>
                    </a:lnTo>
                    <a:lnTo>
                      <a:pt x="49" y="5"/>
                    </a:lnTo>
                    <a:lnTo>
                      <a:pt x="47" y="7"/>
                    </a:lnTo>
                    <a:lnTo>
                      <a:pt x="47" y="7"/>
                    </a:lnTo>
                    <a:lnTo>
                      <a:pt x="45" y="5"/>
                    </a:lnTo>
                    <a:lnTo>
                      <a:pt x="42" y="5"/>
                    </a:lnTo>
                    <a:lnTo>
                      <a:pt x="42" y="2"/>
                    </a:lnTo>
                    <a:lnTo>
                      <a:pt x="40" y="2"/>
                    </a:lnTo>
                    <a:lnTo>
                      <a:pt x="38" y="2"/>
                    </a:lnTo>
                    <a:lnTo>
                      <a:pt x="35" y="0"/>
                    </a:lnTo>
                    <a:lnTo>
                      <a:pt x="33" y="0"/>
                    </a:lnTo>
                    <a:lnTo>
                      <a:pt x="30" y="0"/>
                    </a:lnTo>
                    <a:lnTo>
                      <a:pt x="28" y="0"/>
                    </a:lnTo>
                    <a:lnTo>
                      <a:pt x="26" y="0"/>
                    </a:lnTo>
                    <a:lnTo>
                      <a:pt x="23" y="5"/>
                    </a:lnTo>
                    <a:lnTo>
                      <a:pt x="21" y="5"/>
                    </a:lnTo>
                    <a:lnTo>
                      <a:pt x="14" y="5"/>
                    </a:lnTo>
                    <a:lnTo>
                      <a:pt x="9" y="5"/>
                    </a:lnTo>
                    <a:lnTo>
                      <a:pt x="4" y="5"/>
                    </a:lnTo>
                    <a:lnTo>
                      <a:pt x="4" y="7"/>
                    </a:lnTo>
                    <a:lnTo>
                      <a:pt x="7" y="9"/>
                    </a:lnTo>
                    <a:lnTo>
                      <a:pt x="9" y="9"/>
                    </a:lnTo>
                    <a:lnTo>
                      <a:pt x="12" y="7"/>
                    </a:lnTo>
                    <a:lnTo>
                      <a:pt x="19" y="7"/>
                    </a:lnTo>
                    <a:lnTo>
                      <a:pt x="23" y="5"/>
                    </a:lnTo>
                    <a:lnTo>
                      <a:pt x="26" y="7"/>
                    </a:lnTo>
                    <a:lnTo>
                      <a:pt x="26" y="7"/>
                    </a:lnTo>
                    <a:lnTo>
                      <a:pt x="26" y="7"/>
                    </a:lnTo>
                    <a:lnTo>
                      <a:pt x="21" y="7"/>
                    </a:lnTo>
                    <a:lnTo>
                      <a:pt x="19" y="7"/>
                    </a:lnTo>
                    <a:lnTo>
                      <a:pt x="16" y="7"/>
                    </a:lnTo>
                    <a:lnTo>
                      <a:pt x="12" y="9"/>
                    </a:lnTo>
                    <a:lnTo>
                      <a:pt x="12" y="9"/>
                    </a:lnTo>
                    <a:lnTo>
                      <a:pt x="12" y="9"/>
                    </a:lnTo>
                    <a:lnTo>
                      <a:pt x="9" y="9"/>
                    </a:lnTo>
                    <a:lnTo>
                      <a:pt x="7" y="12"/>
                    </a:lnTo>
                    <a:lnTo>
                      <a:pt x="4" y="9"/>
                    </a:lnTo>
                    <a:lnTo>
                      <a:pt x="4" y="9"/>
                    </a:lnTo>
                    <a:lnTo>
                      <a:pt x="4" y="7"/>
                    </a:lnTo>
                    <a:lnTo>
                      <a:pt x="2" y="7"/>
                    </a:lnTo>
                    <a:lnTo>
                      <a:pt x="2" y="7"/>
                    </a:lnTo>
                    <a:lnTo>
                      <a:pt x="0" y="9"/>
                    </a:lnTo>
                    <a:lnTo>
                      <a:pt x="0" y="14"/>
                    </a:lnTo>
                    <a:lnTo>
                      <a:pt x="0" y="14"/>
                    </a:lnTo>
                    <a:lnTo>
                      <a:pt x="2" y="14"/>
                    </a:lnTo>
                    <a:lnTo>
                      <a:pt x="2" y="14"/>
                    </a:lnTo>
                    <a:lnTo>
                      <a:pt x="7" y="14"/>
                    </a:lnTo>
                    <a:lnTo>
                      <a:pt x="12" y="14"/>
                    </a:lnTo>
                    <a:lnTo>
                      <a:pt x="14" y="14"/>
                    </a:lnTo>
                    <a:lnTo>
                      <a:pt x="19" y="14"/>
                    </a:lnTo>
                    <a:lnTo>
                      <a:pt x="19" y="9"/>
                    </a:lnTo>
                    <a:lnTo>
                      <a:pt x="19" y="9"/>
                    </a:lnTo>
                    <a:lnTo>
                      <a:pt x="21" y="9"/>
                    </a:lnTo>
                    <a:lnTo>
                      <a:pt x="23" y="9"/>
                    </a:lnTo>
                    <a:lnTo>
                      <a:pt x="28" y="7"/>
                    </a:lnTo>
                    <a:lnTo>
                      <a:pt x="28" y="7"/>
                    </a:lnTo>
                    <a:lnTo>
                      <a:pt x="30" y="7"/>
                    </a:lnTo>
                    <a:lnTo>
                      <a:pt x="30" y="5"/>
                    </a:lnTo>
                    <a:lnTo>
                      <a:pt x="30" y="5"/>
                    </a:lnTo>
                    <a:lnTo>
                      <a:pt x="33" y="5"/>
                    </a:lnTo>
                    <a:lnTo>
                      <a:pt x="33" y="5"/>
                    </a:lnTo>
                    <a:lnTo>
                      <a:pt x="35" y="7"/>
                    </a:lnTo>
                    <a:lnTo>
                      <a:pt x="35" y="7"/>
                    </a:lnTo>
                    <a:lnTo>
                      <a:pt x="38" y="7"/>
                    </a:lnTo>
                    <a:lnTo>
                      <a:pt x="40" y="9"/>
                    </a:lnTo>
                    <a:lnTo>
                      <a:pt x="45" y="12"/>
                    </a:lnTo>
                    <a:lnTo>
                      <a:pt x="47" y="12"/>
                    </a:lnTo>
                    <a:lnTo>
                      <a:pt x="52" y="9"/>
                    </a:lnTo>
                    <a:lnTo>
                      <a:pt x="54" y="9"/>
                    </a:lnTo>
                    <a:lnTo>
                      <a:pt x="54" y="7"/>
                    </a:lnTo>
                    <a:lnTo>
                      <a:pt x="54" y="7"/>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Freeform 153"/>
              <p:cNvSpPr>
                <a:spLocks/>
              </p:cNvSpPr>
              <p:nvPr/>
            </p:nvSpPr>
            <p:spPr bwMode="auto">
              <a:xfrm>
                <a:off x="2912" y="2750"/>
                <a:ext cx="106" cy="133"/>
              </a:xfrm>
              <a:custGeom>
                <a:avLst/>
                <a:gdLst>
                  <a:gd name="T0" fmla="*/ 106 w 106"/>
                  <a:gd name="T1" fmla="*/ 62 h 133"/>
                  <a:gd name="T2" fmla="*/ 99 w 106"/>
                  <a:gd name="T3" fmla="*/ 57 h 133"/>
                  <a:gd name="T4" fmla="*/ 97 w 106"/>
                  <a:gd name="T5" fmla="*/ 48 h 133"/>
                  <a:gd name="T6" fmla="*/ 99 w 106"/>
                  <a:gd name="T7" fmla="*/ 38 h 133"/>
                  <a:gd name="T8" fmla="*/ 104 w 106"/>
                  <a:gd name="T9" fmla="*/ 36 h 133"/>
                  <a:gd name="T10" fmla="*/ 104 w 106"/>
                  <a:gd name="T11" fmla="*/ 29 h 133"/>
                  <a:gd name="T12" fmla="*/ 99 w 106"/>
                  <a:gd name="T13" fmla="*/ 22 h 133"/>
                  <a:gd name="T14" fmla="*/ 85 w 106"/>
                  <a:gd name="T15" fmla="*/ 24 h 133"/>
                  <a:gd name="T16" fmla="*/ 83 w 106"/>
                  <a:gd name="T17" fmla="*/ 19 h 133"/>
                  <a:gd name="T18" fmla="*/ 85 w 106"/>
                  <a:gd name="T19" fmla="*/ 5 h 133"/>
                  <a:gd name="T20" fmla="*/ 76 w 106"/>
                  <a:gd name="T21" fmla="*/ 3 h 133"/>
                  <a:gd name="T22" fmla="*/ 64 w 106"/>
                  <a:gd name="T23" fmla="*/ 3 h 133"/>
                  <a:gd name="T24" fmla="*/ 50 w 106"/>
                  <a:gd name="T25" fmla="*/ 3 h 133"/>
                  <a:gd name="T26" fmla="*/ 47 w 106"/>
                  <a:gd name="T27" fmla="*/ 17 h 133"/>
                  <a:gd name="T28" fmla="*/ 40 w 106"/>
                  <a:gd name="T29" fmla="*/ 29 h 133"/>
                  <a:gd name="T30" fmla="*/ 24 w 106"/>
                  <a:gd name="T31" fmla="*/ 29 h 133"/>
                  <a:gd name="T32" fmla="*/ 19 w 106"/>
                  <a:gd name="T33" fmla="*/ 29 h 133"/>
                  <a:gd name="T34" fmla="*/ 16 w 106"/>
                  <a:gd name="T35" fmla="*/ 29 h 133"/>
                  <a:gd name="T36" fmla="*/ 16 w 106"/>
                  <a:gd name="T37" fmla="*/ 38 h 133"/>
                  <a:gd name="T38" fmla="*/ 12 w 106"/>
                  <a:gd name="T39" fmla="*/ 38 h 133"/>
                  <a:gd name="T40" fmla="*/ 21 w 106"/>
                  <a:gd name="T41" fmla="*/ 45 h 133"/>
                  <a:gd name="T42" fmla="*/ 14 w 106"/>
                  <a:gd name="T43" fmla="*/ 48 h 133"/>
                  <a:gd name="T44" fmla="*/ 12 w 106"/>
                  <a:gd name="T45" fmla="*/ 43 h 133"/>
                  <a:gd name="T46" fmla="*/ 7 w 106"/>
                  <a:gd name="T47" fmla="*/ 62 h 133"/>
                  <a:gd name="T48" fmla="*/ 2 w 106"/>
                  <a:gd name="T49" fmla="*/ 64 h 133"/>
                  <a:gd name="T50" fmla="*/ 2 w 106"/>
                  <a:gd name="T51" fmla="*/ 71 h 133"/>
                  <a:gd name="T52" fmla="*/ 9 w 106"/>
                  <a:gd name="T53" fmla="*/ 78 h 133"/>
                  <a:gd name="T54" fmla="*/ 12 w 106"/>
                  <a:gd name="T55" fmla="*/ 83 h 133"/>
                  <a:gd name="T56" fmla="*/ 12 w 106"/>
                  <a:gd name="T57" fmla="*/ 86 h 133"/>
                  <a:gd name="T58" fmla="*/ 7 w 106"/>
                  <a:gd name="T59" fmla="*/ 83 h 133"/>
                  <a:gd name="T60" fmla="*/ 14 w 106"/>
                  <a:gd name="T61" fmla="*/ 90 h 133"/>
                  <a:gd name="T62" fmla="*/ 12 w 106"/>
                  <a:gd name="T63" fmla="*/ 93 h 133"/>
                  <a:gd name="T64" fmla="*/ 16 w 106"/>
                  <a:gd name="T65" fmla="*/ 100 h 133"/>
                  <a:gd name="T66" fmla="*/ 24 w 106"/>
                  <a:gd name="T67" fmla="*/ 104 h 133"/>
                  <a:gd name="T68" fmla="*/ 19 w 106"/>
                  <a:gd name="T69" fmla="*/ 104 h 133"/>
                  <a:gd name="T70" fmla="*/ 40 w 106"/>
                  <a:gd name="T71" fmla="*/ 126 h 133"/>
                  <a:gd name="T72" fmla="*/ 47 w 106"/>
                  <a:gd name="T73" fmla="*/ 128 h 133"/>
                  <a:gd name="T74" fmla="*/ 54 w 106"/>
                  <a:gd name="T75" fmla="*/ 128 h 133"/>
                  <a:gd name="T76" fmla="*/ 57 w 106"/>
                  <a:gd name="T77" fmla="*/ 126 h 133"/>
                  <a:gd name="T78" fmla="*/ 59 w 106"/>
                  <a:gd name="T79" fmla="*/ 121 h 133"/>
                  <a:gd name="T80" fmla="*/ 54 w 106"/>
                  <a:gd name="T81" fmla="*/ 114 h 133"/>
                  <a:gd name="T82" fmla="*/ 54 w 106"/>
                  <a:gd name="T83" fmla="*/ 112 h 133"/>
                  <a:gd name="T84" fmla="*/ 52 w 106"/>
                  <a:gd name="T85" fmla="*/ 100 h 133"/>
                  <a:gd name="T86" fmla="*/ 59 w 106"/>
                  <a:gd name="T87" fmla="*/ 100 h 133"/>
                  <a:gd name="T88" fmla="*/ 68 w 106"/>
                  <a:gd name="T89" fmla="*/ 97 h 133"/>
                  <a:gd name="T90" fmla="*/ 68 w 106"/>
                  <a:gd name="T91" fmla="*/ 93 h 133"/>
                  <a:gd name="T92" fmla="*/ 73 w 106"/>
                  <a:gd name="T93" fmla="*/ 90 h 133"/>
                  <a:gd name="T94" fmla="*/ 83 w 106"/>
                  <a:gd name="T95" fmla="*/ 100 h 133"/>
                  <a:gd name="T96" fmla="*/ 92 w 106"/>
                  <a:gd name="T97" fmla="*/ 95 h 133"/>
                  <a:gd name="T98" fmla="*/ 94 w 106"/>
                  <a:gd name="T99" fmla="*/ 102 h 133"/>
                  <a:gd name="T100" fmla="*/ 102 w 106"/>
                  <a:gd name="T101" fmla="*/ 100 h 133"/>
                  <a:gd name="T102" fmla="*/ 102 w 106"/>
                  <a:gd name="T103" fmla="*/ 95 h 133"/>
                  <a:gd name="T104" fmla="*/ 106 w 106"/>
                  <a:gd name="T105" fmla="*/ 86 h 133"/>
                  <a:gd name="T106" fmla="*/ 106 w 106"/>
                  <a:gd name="T107" fmla="*/ 76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6" h="133">
                    <a:moveTo>
                      <a:pt x="106" y="74"/>
                    </a:moveTo>
                    <a:lnTo>
                      <a:pt x="106" y="71"/>
                    </a:lnTo>
                    <a:lnTo>
                      <a:pt x="106" y="67"/>
                    </a:lnTo>
                    <a:lnTo>
                      <a:pt x="106" y="64"/>
                    </a:lnTo>
                    <a:lnTo>
                      <a:pt x="106" y="62"/>
                    </a:lnTo>
                    <a:lnTo>
                      <a:pt x="106" y="62"/>
                    </a:lnTo>
                    <a:lnTo>
                      <a:pt x="104" y="59"/>
                    </a:lnTo>
                    <a:lnTo>
                      <a:pt x="102" y="59"/>
                    </a:lnTo>
                    <a:lnTo>
                      <a:pt x="102" y="57"/>
                    </a:lnTo>
                    <a:lnTo>
                      <a:pt x="99" y="57"/>
                    </a:lnTo>
                    <a:lnTo>
                      <a:pt x="99" y="55"/>
                    </a:lnTo>
                    <a:lnTo>
                      <a:pt x="97" y="55"/>
                    </a:lnTo>
                    <a:lnTo>
                      <a:pt x="94" y="55"/>
                    </a:lnTo>
                    <a:lnTo>
                      <a:pt x="94" y="52"/>
                    </a:lnTo>
                    <a:lnTo>
                      <a:pt x="97" y="48"/>
                    </a:lnTo>
                    <a:lnTo>
                      <a:pt x="94" y="45"/>
                    </a:lnTo>
                    <a:lnTo>
                      <a:pt x="97" y="43"/>
                    </a:lnTo>
                    <a:lnTo>
                      <a:pt x="97" y="43"/>
                    </a:lnTo>
                    <a:lnTo>
                      <a:pt x="99" y="41"/>
                    </a:lnTo>
                    <a:lnTo>
                      <a:pt x="99" y="38"/>
                    </a:lnTo>
                    <a:lnTo>
                      <a:pt x="99" y="38"/>
                    </a:lnTo>
                    <a:lnTo>
                      <a:pt x="102" y="38"/>
                    </a:lnTo>
                    <a:lnTo>
                      <a:pt x="104" y="38"/>
                    </a:lnTo>
                    <a:lnTo>
                      <a:pt x="104" y="36"/>
                    </a:lnTo>
                    <a:lnTo>
                      <a:pt x="104" y="36"/>
                    </a:lnTo>
                    <a:lnTo>
                      <a:pt x="104" y="33"/>
                    </a:lnTo>
                    <a:lnTo>
                      <a:pt x="106" y="33"/>
                    </a:lnTo>
                    <a:lnTo>
                      <a:pt x="106" y="31"/>
                    </a:lnTo>
                    <a:lnTo>
                      <a:pt x="106" y="31"/>
                    </a:lnTo>
                    <a:lnTo>
                      <a:pt x="104" y="29"/>
                    </a:lnTo>
                    <a:lnTo>
                      <a:pt x="104" y="26"/>
                    </a:lnTo>
                    <a:lnTo>
                      <a:pt x="104" y="26"/>
                    </a:lnTo>
                    <a:lnTo>
                      <a:pt x="102" y="22"/>
                    </a:lnTo>
                    <a:lnTo>
                      <a:pt x="102" y="22"/>
                    </a:lnTo>
                    <a:lnTo>
                      <a:pt x="99" y="22"/>
                    </a:lnTo>
                    <a:lnTo>
                      <a:pt x="94" y="19"/>
                    </a:lnTo>
                    <a:lnTo>
                      <a:pt x="92" y="22"/>
                    </a:lnTo>
                    <a:lnTo>
                      <a:pt x="90" y="22"/>
                    </a:lnTo>
                    <a:lnTo>
                      <a:pt x="85" y="24"/>
                    </a:lnTo>
                    <a:lnTo>
                      <a:pt x="85" y="24"/>
                    </a:lnTo>
                    <a:lnTo>
                      <a:pt x="83" y="24"/>
                    </a:lnTo>
                    <a:lnTo>
                      <a:pt x="83" y="24"/>
                    </a:lnTo>
                    <a:lnTo>
                      <a:pt x="83" y="22"/>
                    </a:lnTo>
                    <a:lnTo>
                      <a:pt x="83" y="22"/>
                    </a:lnTo>
                    <a:lnTo>
                      <a:pt x="83" y="19"/>
                    </a:lnTo>
                    <a:lnTo>
                      <a:pt x="83" y="17"/>
                    </a:lnTo>
                    <a:lnTo>
                      <a:pt x="83" y="15"/>
                    </a:lnTo>
                    <a:lnTo>
                      <a:pt x="83" y="12"/>
                    </a:lnTo>
                    <a:lnTo>
                      <a:pt x="83" y="10"/>
                    </a:lnTo>
                    <a:lnTo>
                      <a:pt x="85" y="5"/>
                    </a:lnTo>
                    <a:lnTo>
                      <a:pt x="85" y="5"/>
                    </a:lnTo>
                    <a:lnTo>
                      <a:pt x="85" y="3"/>
                    </a:lnTo>
                    <a:lnTo>
                      <a:pt x="83" y="3"/>
                    </a:lnTo>
                    <a:lnTo>
                      <a:pt x="83" y="3"/>
                    </a:lnTo>
                    <a:lnTo>
                      <a:pt x="76" y="3"/>
                    </a:lnTo>
                    <a:lnTo>
                      <a:pt x="73" y="3"/>
                    </a:lnTo>
                    <a:lnTo>
                      <a:pt x="71" y="3"/>
                    </a:lnTo>
                    <a:lnTo>
                      <a:pt x="71" y="3"/>
                    </a:lnTo>
                    <a:lnTo>
                      <a:pt x="66" y="3"/>
                    </a:lnTo>
                    <a:lnTo>
                      <a:pt x="64" y="3"/>
                    </a:lnTo>
                    <a:lnTo>
                      <a:pt x="61" y="3"/>
                    </a:lnTo>
                    <a:lnTo>
                      <a:pt x="59" y="3"/>
                    </a:lnTo>
                    <a:lnTo>
                      <a:pt x="52" y="0"/>
                    </a:lnTo>
                    <a:lnTo>
                      <a:pt x="47" y="0"/>
                    </a:lnTo>
                    <a:lnTo>
                      <a:pt x="50" y="3"/>
                    </a:lnTo>
                    <a:lnTo>
                      <a:pt x="47" y="3"/>
                    </a:lnTo>
                    <a:lnTo>
                      <a:pt x="47" y="5"/>
                    </a:lnTo>
                    <a:lnTo>
                      <a:pt x="47" y="10"/>
                    </a:lnTo>
                    <a:lnTo>
                      <a:pt x="47" y="12"/>
                    </a:lnTo>
                    <a:lnTo>
                      <a:pt x="47" y="17"/>
                    </a:lnTo>
                    <a:lnTo>
                      <a:pt x="47" y="22"/>
                    </a:lnTo>
                    <a:lnTo>
                      <a:pt x="47" y="26"/>
                    </a:lnTo>
                    <a:lnTo>
                      <a:pt x="47" y="29"/>
                    </a:lnTo>
                    <a:lnTo>
                      <a:pt x="45" y="29"/>
                    </a:lnTo>
                    <a:lnTo>
                      <a:pt x="40" y="29"/>
                    </a:lnTo>
                    <a:lnTo>
                      <a:pt x="33" y="29"/>
                    </a:lnTo>
                    <a:lnTo>
                      <a:pt x="28" y="29"/>
                    </a:lnTo>
                    <a:lnTo>
                      <a:pt x="26" y="29"/>
                    </a:lnTo>
                    <a:lnTo>
                      <a:pt x="24" y="29"/>
                    </a:lnTo>
                    <a:lnTo>
                      <a:pt x="24" y="29"/>
                    </a:lnTo>
                    <a:lnTo>
                      <a:pt x="21" y="29"/>
                    </a:lnTo>
                    <a:lnTo>
                      <a:pt x="21" y="29"/>
                    </a:lnTo>
                    <a:lnTo>
                      <a:pt x="21" y="29"/>
                    </a:lnTo>
                    <a:lnTo>
                      <a:pt x="19" y="29"/>
                    </a:lnTo>
                    <a:lnTo>
                      <a:pt x="19" y="29"/>
                    </a:lnTo>
                    <a:lnTo>
                      <a:pt x="19" y="26"/>
                    </a:lnTo>
                    <a:lnTo>
                      <a:pt x="19" y="26"/>
                    </a:lnTo>
                    <a:lnTo>
                      <a:pt x="16" y="26"/>
                    </a:lnTo>
                    <a:lnTo>
                      <a:pt x="16" y="29"/>
                    </a:lnTo>
                    <a:lnTo>
                      <a:pt x="16" y="29"/>
                    </a:lnTo>
                    <a:lnTo>
                      <a:pt x="14" y="29"/>
                    </a:lnTo>
                    <a:lnTo>
                      <a:pt x="16" y="33"/>
                    </a:lnTo>
                    <a:lnTo>
                      <a:pt x="16" y="36"/>
                    </a:lnTo>
                    <a:lnTo>
                      <a:pt x="16" y="38"/>
                    </a:lnTo>
                    <a:lnTo>
                      <a:pt x="16" y="38"/>
                    </a:lnTo>
                    <a:lnTo>
                      <a:pt x="14" y="38"/>
                    </a:lnTo>
                    <a:lnTo>
                      <a:pt x="14" y="36"/>
                    </a:lnTo>
                    <a:lnTo>
                      <a:pt x="14" y="36"/>
                    </a:lnTo>
                    <a:lnTo>
                      <a:pt x="12" y="38"/>
                    </a:lnTo>
                    <a:lnTo>
                      <a:pt x="12" y="38"/>
                    </a:lnTo>
                    <a:lnTo>
                      <a:pt x="12" y="41"/>
                    </a:lnTo>
                    <a:lnTo>
                      <a:pt x="14" y="43"/>
                    </a:lnTo>
                    <a:lnTo>
                      <a:pt x="14" y="43"/>
                    </a:lnTo>
                    <a:lnTo>
                      <a:pt x="19" y="45"/>
                    </a:lnTo>
                    <a:lnTo>
                      <a:pt x="21" y="45"/>
                    </a:lnTo>
                    <a:lnTo>
                      <a:pt x="24" y="45"/>
                    </a:lnTo>
                    <a:lnTo>
                      <a:pt x="19" y="48"/>
                    </a:lnTo>
                    <a:lnTo>
                      <a:pt x="19" y="50"/>
                    </a:lnTo>
                    <a:lnTo>
                      <a:pt x="19" y="48"/>
                    </a:lnTo>
                    <a:lnTo>
                      <a:pt x="14" y="48"/>
                    </a:lnTo>
                    <a:lnTo>
                      <a:pt x="14" y="48"/>
                    </a:lnTo>
                    <a:lnTo>
                      <a:pt x="12" y="45"/>
                    </a:lnTo>
                    <a:lnTo>
                      <a:pt x="12" y="45"/>
                    </a:lnTo>
                    <a:lnTo>
                      <a:pt x="12" y="43"/>
                    </a:lnTo>
                    <a:lnTo>
                      <a:pt x="12" y="43"/>
                    </a:lnTo>
                    <a:lnTo>
                      <a:pt x="9" y="43"/>
                    </a:lnTo>
                    <a:lnTo>
                      <a:pt x="12" y="48"/>
                    </a:lnTo>
                    <a:lnTo>
                      <a:pt x="12" y="52"/>
                    </a:lnTo>
                    <a:lnTo>
                      <a:pt x="9" y="57"/>
                    </a:lnTo>
                    <a:lnTo>
                      <a:pt x="7" y="62"/>
                    </a:lnTo>
                    <a:lnTo>
                      <a:pt x="7" y="64"/>
                    </a:lnTo>
                    <a:lnTo>
                      <a:pt x="5" y="64"/>
                    </a:lnTo>
                    <a:lnTo>
                      <a:pt x="5" y="64"/>
                    </a:lnTo>
                    <a:lnTo>
                      <a:pt x="5" y="64"/>
                    </a:lnTo>
                    <a:lnTo>
                      <a:pt x="2" y="64"/>
                    </a:lnTo>
                    <a:lnTo>
                      <a:pt x="0" y="64"/>
                    </a:lnTo>
                    <a:lnTo>
                      <a:pt x="0" y="62"/>
                    </a:lnTo>
                    <a:lnTo>
                      <a:pt x="2" y="69"/>
                    </a:lnTo>
                    <a:lnTo>
                      <a:pt x="2" y="69"/>
                    </a:lnTo>
                    <a:lnTo>
                      <a:pt x="2" y="71"/>
                    </a:lnTo>
                    <a:lnTo>
                      <a:pt x="2" y="74"/>
                    </a:lnTo>
                    <a:lnTo>
                      <a:pt x="5" y="78"/>
                    </a:lnTo>
                    <a:lnTo>
                      <a:pt x="9" y="78"/>
                    </a:lnTo>
                    <a:lnTo>
                      <a:pt x="9" y="78"/>
                    </a:lnTo>
                    <a:lnTo>
                      <a:pt x="9" y="78"/>
                    </a:lnTo>
                    <a:lnTo>
                      <a:pt x="9" y="78"/>
                    </a:lnTo>
                    <a:lnTo>
                      <a:pt x="12" y="78"/>
                    </a:lnTo>
                    <a:lnTo>
                      <a:pt x="9" y="81"/>
                    </a:lnTo>
                    <a:lnTo>
                      <a:pt x="9" y="83"/>
                    </a:lnTo>
                    <a:lnTo>
                      <a:pt x="12" y="83"/>
                    </a:lnTo>
                    <a:lnTo>
                      <a:pt x="12" y="83"/>
                    </a:lnTo>
                    <a:lnTo>
                      <a:pt x="12" y="83"/>
                    </a:lnTo>
                    <a:lnTo>
                      <a:pt x="14" y="83"/>
                    </a:lnTo>
                    <a:lnTo>
                      <a:pt x="14" y="83"/>
                    </a:lnTo>
                    <a:lnTo>
                      <a:pt x="12" y="86"/>
                    </a:lnTo>
                    <a:lnTo>
                      <a:pt x="12" y="86"/>
                    </a:lnTo>
                    <a:lnTo>
                      <a:pt x="9" y="86"/>
                    </a:lnTo>
                    <a:lnTo>
                      <a:pt x="5" y="78"/>
                    </a:lnTo>
                    <a:lnTo>
                      <a:pt x="5" y="78"/>
                    </a:lnTo>
                    <a:lnTo>
                      <a:pt x="7" y="83"/>
                    </a:lnTo>
                    <a:lnTo>
                      <a:pt x="9" y="86"/>
                    </a:lnTo>
                    <a:lnTo>
                      <a:pt x="9" y="88"/>
                    </a:lnTo>
                    <a:lnTo>
                      <a:pt x="9" y="88"/>
                    </a:lnTo>
                    <a:lnTo>
                      <a:pt x="12" y="88"/>
                    </a:lnTo>
                    <a:lnTo>
                      <a:pt x="14" y="90"/>
                    </a:lnTo>
                    <a:lnTo>
                      <a:pt x="14" y="90"/>
                    </a:lnTo>
                    <a:lnTo>
                      <a:pt x="14" y="93"/>
                    </a:lnTo>
                    <a:lnTo>
                      <a:pt x="12" y="90"/>
                    </a:lnTo>
                    <a:lnTo>
                      <a:pt x="9" y="90"/>
                    </a:lnTo>
                    <a:lnTo>
                      <a:pt x="12" y="93"/>
                    </a:lnTo>
                    <a:lnTo>
                      <a:pt x="12" y="93"/>
                    </a:lnTo>
                    <a:lnTo>
                      <a:pt x="14" y="95"/>
                    </a:lnTo>
                    <a:lnTo>
                      <a:pt x="14" y="97"/>
                    </a:lnTo>
                    <a:lnTo>
                      <a:pt x="16" y="100"/>
                    </a:lnTo>
                    <a:lnTo>
                      <a:pt x="16" y="100"/>
                    </a:lnTo>
                    <a:lnTo>
                      <a:pt x="16" y="102"/>
                    </a:lnTo>
                    <a:lnTo>
                      <a:pt x="19" y="102"/>
                    </a:lnTo>
                    <a:lnTo>
                      <a:pt x="21" y="102"/>
                    </a:lnTo>
                    <a:lnTo>
                      <a:pt x="24" y="102"/>
                    </a:lnTo>
                    <a:lnTo>
                      <a:pt x="24" y="104"/>
                    </a:lnTo>
                    <a:lnTo>
                      <a:pt x="24" y="104"/>
                    </a:lnTo>
                    <a:lnTo>
                      <a:pt x="24" y="104"/>
                    </a:lnTo>
                    <a:lnTo>
                      <a:pt x="19" y="102"/>
                    </a:lnTo>
                    <a:lnTo>
                      <a:pt x="19" y="102"/>
                    </a:lnTo>
                    <a:lnTo>
                      <a:pt x="19" y="104"/>
                    </a:lnTo>
                    <a:lnTo>
                      <a:pt x="24" y="109"/>
                    </a:lnTo>
                    <a:lnTo>
                      <a:pt x="31" y="114"/>
                    </a:lnTo>
                    <a:lnTo>
                      <a:pt x="33" y="119"/>
                    </a:lnTo>
                    <a:lnTo>
                      <a:pt x="35" y="121"/>
                    </a:lnTo>
                    <a:lnTo>
                      <a:pt x="40" y="126"/>
                    </a:lnTo>
                    <a:lnTo>
                      <a:pt x="40" y="128"/>
                    </a:lnTo>
                    <a:lnTo>
                      <a:pt x="42" y="131"/>
                    </a:lnTo>
                    <a:lnTo>
                      <a:pt x="45" y="133"/>
                    </a:lnTo>
                    <a:lnTo>
                      <a:pt x="45" y="131"/>
                    </a:lnTo>
                    <a:lnTo>
                      <a:pt x="47" y="128"/>
                    </a:lnTo>
                    <a:lnTo>
                      <a:pt x="47" y="128"/>
                    </a:lnTo>
                    <a:lnTo>
                      <a:pt x="52" y="123"/>
                    </a:lnTo>
                    <a:lnTo>
                      <a:pt x="52" y="126"/>
                    </a:lnTo>
                    <a:lnTo>
                      <a:pt x="54" y="128"/>
                    </a:lnTo>
                    <a:lnTo>
                      <a:pt x="54" y="128"/>
                    </a:lnTo>
                    <a:lnTo>
                      <a:pt x="57" y="128"/>
                    </a:lnTo>
                    <a:lnTo>
                      <a:pt x="57" y="128"/>
                    </a:lnTo>
                    <a:lnTo>
                      <a:pt x="59" y="128"/>
                    </a:lnTo>
                    <a:lnTo>
                      <a:pt x="59" y="126"/>
                    </a:lnTo>
                    <a:lnTo>
                      <a:pt x="57" y="126"/>
                    </a:lnTo>
                    <a:lnTo>
                      <a:pt x="57" y="126"/>
                    </a:lnTo>
                    <a:lnTo>
                      <a:pt x="59" y="123"/>
                    </a:lnTo>
                    <a:lnTo>
                      <a:pt x="59" y="123"/>
                    </a:lnTo>
                    <a:lnTo>
                      <a:pt x="59" y="121"/>
                    </a:lnTo>
                    <a:lnTo>
                      <a:pt x="59" y="121"/>
                    </a:lnTo>
                    <a:lnTo>
                      <a:pt x="59" y="119"/>
                    </a:lnTo>
                    <a:lnTo>
                      <a:pt x="57" y="119"/>
                    </a:lnTo>
                    <a:lnTo>
                      <a:pt x="54" y="116"/>
                    </a:lnTo>
                    <a:lnTo>
                      <a:pt x="54" y="116"/>
                    </a:lnTo>
                    <a:lnTo>
                      <a:pt x="54" y="114"/>
                    </a:lnTo>
                    <a:lnTo>
                      <a:pt x="57" y="114"/>
                    </a:lnTo>
                    <a:lnTo>
                      <a:pt x="57" y="114"/>
                    </a:lnTo>
                    <a:lnTo>
                      <a:pt x="54" y="112"/>
                    </a:lnTo>
                    <a:lnTo>
                      <a:pt x="54" y="112"/>
                    </a:lnTo>
                    <a:lnTo>
                      <a:pt x="54" y="112"/>
                    </a:lnTo>
                    <a:lnTo>
                      <a:pt x="52" y="109"/>
                    </a:lnTo>
                    <a:lnTo>
                      <a:pt x="52" y="109"/>
                    </a:lnTo>
                    <a:lnTo>
                      <a:pt x="52" y="107"/>
                    </a:lnTo>
                    <a:lnTo>
                      <a:pt x="52" y="104"/>
                    </a:lnTo>
                    <a:lnTo>
                      <a:pt x="52" y="100"/>
                    </a:lnTo>
                    <a:lnTo>
                      <a:pt x="52" y="100"/>
                    </a:lnTo>
                    <a:lnTo>
                      <a:pt x="52" y="100"/>
                    </a:lnTo>
                    <a:lnTo>
                      <a:pt x="54" y="100"/>
                    </a:lnTo>
                    <a:lnTo>
                      <a:pt x="54" y="100"/>
                    </a:lnTo>
                    <a:lnTo>
                      <a:pt x="59" y="100"/>
                    </a:lnTo>
                    <a:lnTo>
                      <a:pt x="59" y="100"/>
                    </a:lnTo>
                    <a:lnTo>
                      <a:pt x="61" y="100"/>
                    </a:lnTo>
                    <a:lnTo>
                      <a:pt x="61" y="102"/>
                    </a:lnTo>
                    <a:lnTo>
                      <a:pt x="68" y="100"/>
                    </a:lnTo>
                    <a:lnTo>
                      <a:pt x="68" y="97"/>
                    </a:lnTo>
                    <a:lnTo>
                      <a:pt x="68" y="95"/>
                    </a:lnTo>
                    <a:lnTo>
                      <a:pt x="68" y="95"/>
                    </a:lnTo>
                    <a:lnTo>
                      <a:pt x="68" y="95"/>
                    </a:lnTo>
                    <a:lnTo>
                      <a:pt x="68" y="93"/>
                    </a:lnTo>
                    <a:lnTo>
                      <a:pt x="68" y="93"/>
                    </a:lnTo>
                    <a:lnTo>
                      <a:pt x="68" y="90"/>
                    </a:lnTo>
                    <a:lnTo>
                      <a:pt x="68" y="90"/>
                    </a:lnTo>
                    <a:lnTo>
                      <a:pt x="71" y="88"/>
                    </a:lnTo>
                    <a:lnTo>
                      <a:pt x="73" y="88"/>
                    </a:lnTo>
                    <a:lnTo>
                      <a:pt x="73" y="90"/>
                    </a:lnTo>
                    <a:lnTo>
                      <a:pt x="76" y="90"/>
                    </a:lnTo>
                    <a:lnTo>
                      <a:pt x="76" y="93"/>
                    </a:lnTo>
                    <a:lnTo>
                      <a:pt x="78" y="95"/>
                    </a:lnTo>
                    <a:lnTo>
                      <a:pt x="78" y="100"/>
                    </a:lnTo>
                    <a:lnTo>
                      <a:pt x="83" y="100"/>
                    </a:lnTo>
                    <a:lnTo>
                      <a:pt x="85" y="100"/>
                    </a:lnTo>
                    <a:lnTo>
                      <a:pt x="87" y="100"/>
                    </a:lnTo>
                    <a:lnTo>
                      <a:pt x="90" y="97"/>
                    </a:lnTo>
                    <a:lnTo>
                      <a:pt x="92" y="97"/>
                    </a:lnTo>
                    <a:lnTo>
                      <a:pt x="92" y="95"/>
                    </a:lnTo>
                    <a:lnTo>
                      <a:pt x="94" y="95"/>
                    </a:lnTo>
                    <a:lnTo>
                      <a:pt x="94" y="97"/>
                    </a:lnTo>
                    <a:lnTo>
                      <a:pt x="94" y="100"/>
                    </a:lnTo>
                    <a:lnTo>
                      <a:pt x="94" y="100"/>
                    </a:lnTo>
                    <a:lnTo>
                      <a:pt x="94" y="102"/>
                    </a:lnTo>
                    <a:lnTo>
                      <a:pt x="94" y="102"/>
                    </a:lnTo>
                    <a:lnTo>
                      <a:pt x="97" y="102"/>
                    </a:lnTo>
                    <a:lnTo>
                      <a:pt x="99" y="102"/>
                    </a:lnTo>
                    <a:lnTo>
                      <a:pt x="99" y="102"/>
                    </a:lnTo>
                    <a:lnTo>
                      <a:pt x="102" y="100"/>
                    </a:lnTo>
                    <a:lnTo>
                      <a:pt x="102" y="100"/>
                    </a:lnTo>
                    <a:lnTo>
                      <a:pt x="102" y="97"/>
                    </a:lnTo>
                    <a:lnTo>
                      <a:pt x="102" y="97"/>
                    </a:lnTo>
                    <a:lnTo>
                      <a:pt x="102" y="95"/>
                    </a:lnTo>
                    <a:lnTo>
                      <a:pt x="102" y="95"/>
                    </a:lnTo>
                    <a:lnTo>
                      <a:pt x="102" y="93"/>
                    </a:lnTo>
                    <a:lnTo>
                      <a:pt x="104" y="90"/>
                    </a:lnTo>
                    <a:lnTo>
                      <a:pt x="104" y="90"/>
                    </a:lnTo>
                    <a:lnTo>
                      <a:pt x="104" y="90"/>
                    </a:lnTo>
                    <a:lnTo>
                      <a:pt x="106" y="86"/>
                    </a:lnTo>
                    <a:lnTo>
                      <a:pt x="106" y="86"/>
                    </a:lnTo>
                    <a:lnTo>
                      <a:pt x="106" y="83"/>
                    </a:lnTo>
                    <a:lnTo>
                      <a:pt x="106" y="83"/>
                    </a:lnTo>
                    <a:lnTo>
                      <a:pt x="106" y="81"/>
                    </a:lnTo>
                    <a:lnTo>
                      <a:pt x="106" y="76"/>
                    </a:lnTo>
                    <a:lnTo>
                      <a:pt x="106" y="74"/>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Freeform 154"/>
              <p:cNvSpPr>
                <a:spLocks/>
              </p:cNvSpPr>
              <p:nvPr/>
            </p:nvSpPr>
            <p:spPr bwMode="auto">
              <a:xfrm>
                <a:off x="1729" y="2677"/>
                <a:ext cx="57" cy="78"/>
              </a:xfrm>
              <a:custGeom>
                <a:avLst/>
                <a:gdLst>
                  <a:gd name="T0" fmla="*/ 57 w 57"/>
                  <a:gd name="T1" fmla="*/ 33 h 78"/>
                  <a:gd name="T2" fmla="*/ 54 w 57"/>
                  <a:gd name="T3" fmla="*/ 26 h 78"/>
                  <a:gd name="T4" fmla="*/ 52 w 57"/>
                  <a:gd name="T5" fmla="*/ 26 h 78"/>
                  <a:gd name="T6" fmla="*/ 52 w 57"/>
                  <a:gd name="T7" fmla="*/ 28 h 78"/>
                  <a:gd name="T8" fmla="*/ 50 w 57"/>
                  <a:gd name="T9" fmla="*/ 31 h 78"/>
                  <a:gd name="T10" fmla="*/ 50 w 57"/>
                  <a:gd name="T11" fmla="*/ 28 h 78"/>
                  <a:gd name="T12" fmla="*/ 50 w 57"/>
                  <a:gd name="T13" fmla="*/ 26 h 78"/>
                  <a:gd name="T14" fmla="*/ 47 w 57"/>
                  <a:gd name="T15" fmla="*/ 21 h 78"/>
                  <a:gd name="T16" fmla="*/ 45 w 57"/>
                  <a:gd name="T17" fmla="*/ 19 h 78"/>
                  <a:gd name="T18" fmla="*/ 43 w 57"/>
                  <a:gd name="T19" fmla="*/ 16 h 78"/>
                  <a:gd name="T20" fmla="*/ 33 w 57"/>
                  <a:gd name="T21" fmla="*/ 9 h 78"/>
                  <a:gd name="T22" fmla="*/ 24 w 57"/>
                  <a:gd name="T23" fmla="*/ 5 h 78"/>
                  <a:gd name="T24" fmla="*/ 14 w 57"/>
                  <a:gd name="T25" fmla="*/ 2 h 78"/>
                  <a:gd name="T26" fmla="*/ 12 w 57"/>
                  <a:gd name="T27" fmla="*/ 9 h 78"/>
                  <a:gd name="T28" fmla="*/ 10 w 57"/>
                  <a:gd name="T29" fmla="*/ 12 h 78"/>
                  <a:gd name="T30" fmla="*/ 5 w 57"/>
                  <a:gd name="T31" fmla="*/ 16 h 78"/>
                  <a:gd name="T32" fmla="*/ 5 w 57"/>
                  <a:gd name="T33" fmla="*/ 19 h 78"/>
                  <a:gd name="T34" fmla="*/ 5 w 57"/>
                  <a:gd name="T35" fmla="*/ 24 h 78"/>
                  <a:gd name="T36" fmla="*/ 5 w 57"/>
                  <a:gd name="T37" fmla="*/ 26 h 78"/>
                  <a:gd name="T38" fmla="*/ 5 w 57"/>
                  <a:gd name="T39" fmla="*/ 28 h 78"/>
                  <a:gd name="T40" fmla="*/ 5 w 57"/>
                  <a:gd name="T41" fmla="*/ 33 h 78"/>
                  <a:gd name="T42" fmla="*/ 7 w 57"/>
                  <a:gd name="T43" fmla="*/ 35 h 78"/>
                  <a:gd name="T44" fmla="*/ 7 w 57"/>
                  <a:gd name="T45" fmla="*/ 38 h 78"/>
                  <a:gd name="T46" fmla="*/ 10 w 57"/>
                  <a:gd name="T47" fmla="*/ 43 h 78"/>
                  <a:gd name="T48" fmla="*/ 12 w 57"/>
                  <a:gd name="T49" fmla="*/ 45 h 78"/>
                  <a:gd name="T50" fmla="*/ 12 w 57"/>
                  <a:gd name="T51" fmla="*/ 47 h 78"/>
                  <a:gd name="T52" fmla="*/ 12 w 57"/>
                  <a:gd name="T53" fmla="*/ 50 h 78"/>
                  <a:gd name="T54" fmla="*/ 12 w 57"/>
                  <a:gd name="T55" fmla="*/ 52 h 78"/>
                  <a:gd name="T56" fmla="*/ 10 w 57"/>
                  <a:gd name="T57" fmla="*/ 57 h 78"/>
                  <a:gd name="T58" fmla="*/ 10 w 57"/>
                  <a:gd name="T59" fmla="*/ 61 h 78"/>
                  <a:gd name="T60" fmla="*/ 7 w 57"/>
                  <a:gd name="T61" fmla="*/ 66 h 78"/>
                  <a:gd name="T62" fmla="*/ 2 w 57"/>
                  <a:gd name="T63" fmla="*/ 71 h 78"/>
                  <a:gd name="T64" fmla="*/ 2 w 57"/>
                  <a:gd name="T65" fmla="*/ 73 h 78"/>
                  <a:gd name="T66" fmla="*/ 0 w 57"/>
                  <a:gd name="T67" fmla="*/ 73 h 78"/>
                  <a:gd name="T68" fmla="*/ 2 w 57"/>
                  <a:gd name="T69" fmla="*/ 76 h 78"/>
                  <a:gd name="T70" fmla="*/ 5 w 57"/>
                  <a:gd name="T71" fmla="*/ 76 h 78"/>
                  <a:gd name="T72" fmla="*/ 7 w 57"/>
                  <a:gd name="T73" fmla="*/ 78 h 78"/>
                  <a:gd name="T74" fmla="*/ 10 w 57"/>
                  <a:gd name="T75" fmla="*/ 78 h 78"/>
                  <a:gd name="T76" fmla="*/ 14 w 57"/>
                  <a:gd name="T77" fmla="*/ 76 h 78"/>
                  <a:gd name="T78" fmla="*/ 14 w 57"/>
                  <a:gd name="T79" fmla="*/ 73 h 78"/>
                  <a:gd name="T80" fmla="*/ 17 w 57"/>
                  <a:gd name="T81" fmla="*/ 73 h 78"/>
                  <a:gd name="T82" fmla="*/ 17 w 57"/>
                  <a:gd name="T83" fmla="*/ 73 h 78"/>
                  <a:gd name="T84" fmla="*/ 21 w 57"/>
                  <a:gd name="T85" fmla="*/ 76 h 78"/>
                  <a:gd name="T86" fmla="*/ 24 w 57"/>
                  <a:gd name="T87" fmla="*/ 76 h 78"/>
                  <a:gd name="T88" fmla="*/ 24 w 57"/>
                  <a:gd name="T89" fmla="*/ 73 h 78"/>
                  <a:gd name="T90" fmla="*/ 26 w 57"/>
                  <a:gd name="T91" fmla="*/ 76 h 78"/>
                  <a:gd name="T92" fmla="*/ 28 w 57"/>
                  <a:gd name="T93" fmla="*/ 76 h 78"/>
                  <a:gd name="T94" fmla="*/ 31 w 57"/>
                  <a:gd name="T95" fmla="*/ 78 h 78"/>
                  <a:gd name="T96" fmla="*/ 33 w 57"/>
                  <a:gd name="T97" fmla="*/ 76 h 78"/>
                  <a:gd name="T98" fmla="*/ 36 w 57"/>
                  <a:gd name="T99" fmla="*/ 73 h 78"/>
                  <a:gd name="T100" fmla="*/ 38 w 57"/>
                  <a:gd name="T101" fmla="*/ 71 h 78"/>
                  <a:gd name="T102" fmla="*/ 40 w 57"/>
                  <a:gd name="T103" fmla="*/ 69 h 78"/>
                  <a:gd name="T104" fmla="*/ 40 w 57"/>
                  <a:gd name="T105" fmla="*/ 61 h 78"/>
                  <a:gd name="T106" fmla="*/ 43 w 57"/>
                  <a:gd name="T107" fmla="*/ 59 h 78"/>
                  <a:gd name="T108" fmla="*/ 43 w 57"/>
                  <a:gd name="T109" fmla="*/ 57 h 78"/>
                  <a:gd name="T110" fmla="*/ 45 w 57"/>
                  <a:gd name="T111" fmla="*/ 54 h 78"/>
                  <a:gd name="T112" fmla="*/ 47 w 57"/>
                  <a:gd name="T113" fmla="*/ 52 h 78"/>
                  <a:gd name="T114" fmla="*/ 50 w 57"/>
                  <a:gd name="T115" fmla="*/ 45 h 78"/>
                  <a:gd name="T116" fmla="*/ 52 w 57"/>
                  <a:gd name="T117" fmla="*/ 45 h 78"/>
                  <a:gd name="T118" fmla="*/ 52 w 57"/>
                  <a:gd name="T119" fmla="*/ 43 h 78"/>
                  <a:gd name="T120" fmla="*/ 54 w 57"/>
                  <a:gd name="T121" fmla="*/ 40 h 78"/>
                  <a:gd name="T122" fmla="*/ 57 w 57"/>
                  <a:gd name="T123" fmla="*/ 38 h 78"/>
                  <a:gd name="T124" fmla="*/ 57 w 57"/>
                  <a:gd name="T125" fmla="*/ 35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7" h="78">
                    <a:moveTo>
                      <a:pt x="57" y="35"/>
                    </a:moveTo>
                    <a:lnTo>
                      <a:pt x="57" y="33"/>
                    </a:lnTo>
                    <a:lnTo>
                      <a:pt x="57" y="33"/>
                    </a:lnTo>
                    <a:lnTo>
                      <a:pt x="54" y="26"/>
                    </a:lnTo>
                    <a:lnTo>
                      <a:pt x="54" y="26"/>
                    </a:lnTo>
                    <a:lnTo>
                      <a:pt x="52" y="26"/>
                    </a:lnTo>
                    <a:lnTo>
                      <a:pt x="52" y="28"/>
                    </a:lnTo>
                    <a:lnTo>
                      <a:pt x="52" y="28"/>
                    </a:lnTo>
                    <a:lnTo>
                      <a:pt x="52" y="31"/>
                    </a:lnTo>
                    <a:lnTo>
                      <a:pt x="50" y="31"/>
                    </a:lnTo>
                    <a:lnTo>
                      <a:pt x="50" y="31"/>
                    </a:lnTo>
                    <a:lnTo>
                      <a:pt x="50" y="28"/>
                    </a:lnTo>
                    <a:lnTo>
                      <a:pt x="52" y="28"/>
                    </a:lnTo>
                    <a:lnTo>
                      <a:pt x="50" y="26"/>
                    </a:lnTo>
                    <a:lnTo>
                      <a:pt x="50" y="24"/>
                    </a:lnTo>
                    <a:lnTo>
                      <a:pt x="47" y="21"/>
                    </a:lnTo>
                    <a:lnTo>
                      <a:pt x="45" y="21"/>
                    </a:lnTo>
                    <a:lnTo>
                      <a:pt x="45" y="19"/>
                    </a:lnTo>
                    <a:lnTo>
                      <a:pt x="45" y="19"/>
                    </a:lnTo>
                    <a:lnTo>
                      <a:pt x="43" y="16"/>
                    </a:lnTo>
                    <a:lnTo>
                      <a:pt x="36" y="12"/>
                    </a:lnTo>
                    <a:lnTo>
                      <a:pt x="33" y="9"/>
                    </a:lnTo>
                    <a:lnTo>
                      <a:pt x="28" y="7"/>
                    </a:lnTo>
                    <a:lnTo>
                      <a:pt x="24" y="5"/>
                    </a:lnTo>
                    <a:lnTo>
                      <a:pt x="17" y="0"/>
                    </a:lnTo>
                    <a:lnTo>
                      <a:pt x="14" y="2"/>
                    </a:lnTo>
                    <a:lnTo>
                      <a:pt x="14" y="2"/>
                    </a:lnTo>
                    <a:lnTo>
                      <a:pt x="12" y="9"/>
                    </a:lnTo>
                    <a:lnTo>
                      <a:pt x="12" y="9"/>
                    </a:lnTo>
                    <a:lnTo>
                      <a:pt x="10" y="12"/>
                    </a:lnTo>
                    <a:lnTo>
                      <a:pt x="7" y="14"/>
                    </a:lnTo>
                    <a:lnTo>
                      <a:pt x="5" y="16"/>
                    </a:lnTo>
                    <a:lnTo>
                      <a:pt x="5" y="19"/>
                    </a:lnTo>
                    <a:lnTo>
                      <a:pt x="5" y="19"/>
                    </a:lnTo>
                    <a:lnTo>
                      <a:pt x="5" y="21"/>
                    </a:lnTo>
                    <a:lnTo>
                      <a:pt x="5" y="24"/>
                    </a:lnTo>
                    <a:lnTo>
                      <a:pt x="5" y="24"/>
                    </a:lnTo>
                    <a:lnTo>
                      <a:pt x="5" y="26"/>
                    </a:lnTo>
                    <a:lnTo>
                      <a:pt x="5" y="28"/>
                    </a:lnTo>
                    <a:lnTo>
                      <a:pt x="5" y="28"/>
                    </a:lnTo>
                    <a:lnTo>
                      <a:pt x="5" y="31"/>
                    </a:lnTo>
                    <a:lnTo>
                      <a:pt x="5" y="33"/>
                    </a:lnTo>
                    <a:lnTo>
                      <a:pt x="5" y="35"/>
                    </a:lnTo>
                    <a:lnTo>
                      <a:pt x="7" y="35"/>
                    </a:lnTo>
                    <a:lnTo>
                      <a:pt x="7" y="35"/>
                    </a:lnTo>
                    <a:lnTo>
                      <a:pt x="7" y="38"/>
                    </a:lnTo>
                    <a:lnTo>
                      <a:pt x="7" y="40"/>
                    </a:lnTo>
                    <a:lnTo>
                      <a:pt x="10" y="43"/>
                    </a:lnTo>
                    <a:lnTo>
                      <a:pt x="10" y="43"/>
                    </a:lnTo>
                    <a:lnTo>
                      <a:pt x="12" y="45"/>
                    </a:lnTo>
                    <a:lnTo>
                      <a:pt x="12" y="47"/>
                    </a:lnTo>
                    <a:lnTo>
                      <a:pt x="12" y="47"/>
                    </a:lnTo>
                    <a:lnTo>
                      <a:pt x="12" y="47"/>
                    </a:lnTo>
                    <a:lnTo>
                      <a:pt x="12" y="50"/>
                    </a:lnTo>
                    <a:lnTo>
                      <a:pt x="12" y="50"/>
                    </a:lnTo>
                    <a:lnTo>
                      <a:pt x="12" y="52"/>
                    </a:lnTo>
                    <a:lnTo>
                      <a:pt x="10" y="57"/>
                    </a:lnTo>
                    <a:lnTo>
                      <a:pt x="10" y="57"/>
                    </a:lnTo>
                    <a:lnTo>
                      <a:pt x="10" y="59"/>
                    </a:lnTo>
                    <a:lnTo>
                      <a:pt x="10" y="61"/>
                    </a:lnTo>
                    <a:lnTo>
                      <a:pt x="10" y="64"/>
                    </a:lnTo>
                    <a:lnTo>
                      <a:pt x="7" y="66"/>
                    </a:lnTo>
                    <a:lnTo>
                      <a:pt x="5" y="71"/>
                    </a:lnTo>
                    <a:lnTo>
                      <a:pt x="2" y="71"/>
                    </a:lnTo>
                    <a:lnTo>
                      <a:pt x="2" y="73"/>
                    </a:lnTo>
                    <a:lnTo>
                      <a:pt x="2" y="73"/>
                    </a:lnTo>
                    <a:lnTo>
                      <a:pt x="0" y="73"/>
                    </a:lnTo>
                    <a:lnTo>
                      <a:pt x="0" y="73"/>
                    </a:lnTo>
                    <a:lnTo>
                      <a:pt x="0" y="73"/>
                    </a:lnTo>
                    <a:lnTo>
                      <a:pt x="2" y="76"/>
                    </a:lnTo>
                    <a:lnTo>
                      <a:pt x="2" y="76"/>
                    </a:lnTo>
                    <a:lnTo>
                      <a:pt x="5" y="76"/>
                    </a:lnTo>
                    <a:lnTo>
                      <a:pt x="7" y="78"/>
                    </a:lnTo>
                    <a:lnTo>
                      <a:pt x="7" y="78"/>
                    </a:lnTo>
                    <a:lnTo>
                      <a:pt x="10" y="78"/>
                    </a:lnTo>
                    <a:lnTo>
                      <a:pt x="10" y="78"/>
                    </a:lnTo>
                    <a:lnTo>
                      <a:pt x="10" y="78"/>
                    </a:lnTo>
                    <a:lnTo>
                      <a:pt x="14" y="76"/>
                    </a:lnTo>
                    <a:lnTo>
                      <a:pt x="14" y="76"/>
                    </a:lnTo>
                    <a:lnTo>
                      <a:pt x="14" y="73"/>
                    </a:lnTo>
                    <a:lnTo>
                      <a:pt x="17" y="73"/>
                    </a:lnTo>
                    <a:lnTo>
                      <a:pt x="17" y="73"/>
                    </a:lnTo>
                    <a:lnTo>
                      <a:pt x="17" y="73"/>
                    </a:lnTo>
                    <a:lnTo>
                      <a:pt x="17" y="73"/>
                    </a:lnTo>
                    <a:lnTo>
                      <a:pt x="19" y="76"/>
                    </a:lnTo>
                    <a:lnTo>
                      <a:pt x="21" y="76"/>
                    </a:lnTo>
                    <a:lnTo>
                      <a:pt x="21" y="76"/>
                    </a:lnTo>
                    <a:lnTo>
                      <a:pt x="24" y="76"/>
                    </a:lnTo>
                    <a:lnTo>
                      <a:pt x="24" y="73"/>
                    </a:lnTo>
                    <a:lnTo>
                      <a:pt x="24" y="73"/>
                    </a:lnTo>
                    <a:lnTo>
                      <a:pt x="26" y="76"/>
                    </a:lnTo>
                    <a:lnTo>
                      <a:pt x="26" y="76"/>
                    </a:lnTo>
                    <a:lnTo>
                      <a:pt x="26" y="76"/>
                    </a:lnTo>
                    <a:lnTo>
                      <a:pt x="28" y="76"/>
                    </a:lnTo>
                    <a:lnTo>
                      <a:pt x="28" y="76"/>
                    </a:lnTo>
                    <a:lnTo>
                      <a:pt x="31" y="78"/>
                    </a:lnTo>
                    <a:lnTo>
                      <a:pt x="31" y="78"/>
                    </a:lnTo>
                    <a:lnTo>
                      <a:pt x="33" y="76"/>
                    </a:lnTo>
                    <a:lnTo>
                      <a:pt x="33" y="76"/>
                    </a:lnTo>
                    <a:lnTo>
                      <a:pt x="36" y="73"/>
                    </a:lnTo>
                    <a:lnTo>
                      <a:pt x="36" y="73"/>
                    </a:lnTo>
                    <a:lnTo>
                      <a:pt x="38" y="71"/>
                    </a:lnTo>
                    <a:lnTo>
                      <a:pt x="38" y="69"/>
                    </a:lnTo>
                    <a:lnTo>
                      <a:pt x="40" y="69"/>
                    </a:lnTo>
                    <a:lnTo>
                      <a:pt x="40" y="66"/>
                    </a:lnTo>
                    <a:lnTo>
                      <a:pt x="40" y="61"/>
                    </a:lnTo>
                    <a:lnTo>
                      <a:pt x="43" y="61"/>
                    </a:lnTo>
                    <a:lnTo>
                      <a:pt x="43" y="59"/>
                    </a:lnTo>
                    <a:lnTo>
                      <a:pt x="43" y="59"/>
                    </a:lnTo>
                    <a:lnTo>
                      <a:pt x="43" y="57"/>
                    </a:lnTo>
                    <a:lnTo>
                      <a:pt x="43" y="57"/>
                    </a:lnTo>
                    <a:lnTo>
                      <a:pt x="45" y="54"/>
                    </a:lnTo>
                    <a:lnTo>
                      <a:pt x="45" y="54"/>
                    </a:lnTo>
                    <a:lnTo>
                      <a:pt x="47" y="52"/>
                    </a:lnTo>
                    <a:lnTo>
                      <a:pt x="47" y="50"/>
                    </a:lnTo>
                    <a:lnTo>
                      <a:pt x="50" y="45"/>
                    </a:lnTo>
                    <a:lnTo>
                      <a:pt x="50" y="45"/>
                    </a:lnTo>
                    <a:lnTo>
                      <a:pt x="52" y="45"/>
                    </a:lnTo>
                    <a:lnTo>
                      <a:pt x="52" y="43"/>
                    </a:lnTo>
                    <a:lnTo>
                      <a:pt x="52" y="43"/>
                    </a:lnTo>
                    <a:lnTo>
                      <a:pt x="54" y="40"/>
                    </a:lnTo>
                    <a:lnTo>
                      <a:pt x="54" y="40"/>
                    </a:lnTo>
                    <a:lnTo>
                      <a:pt x="54" y="38"/>
                    </a:lnTo>
                    <a:lnTo>
                      <a:pt x="57" y="38"/>
                    </a:lnTo>
                    <a:lnTo>
                      <a:pt x="57" y="38"/>
                    </a:lnTo>
                    <a:lnTo>
                      <a:pt x="57" y="35"/>
                    </a:lnTo>
                    <a:lnTo>
                      <a:pt x="57" y="35"/>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Freeform 155"/>
              <p:cNvSpPr>
                <a:spLocks noEditPoints="1"/>
              </p:cNvSpPr>
              <p:nvPr/>
            </p:nvSpPr>
            <p:spPr bwMode="auto">
              <a:xfrm>
                <a:off x="2697" y="1725"/>
                <a:ext cx="231" cy="201"/>
              </a:xfrm>
              <a:custGeom>
                <a:avLst/>
                <a:gdLst>
                  <a:gd name="T0" fmla="*/ 208 w 231"/>
                  <a:gd name="T1" fmla="*/ 43 h 201"/>
                  <a:gd name="T2" fmla="*/ 191 w 231"/>
                  <a:gd name="T3" fmla="*/ 40 h 201"/>
                  <a:gd name="T4" fmla="*/ 184 w 231"/>
                  <a:gd name="T5" fmla="*/ 36 h 201"/>
                  <a:gd name="T6" fmla="*/ 177 w 231"/>
                  <a:gd name="T7" fmla="*/ 33 h 201"/>
                  <a:gd name="T8" fmla="*/ 168 w 231"/>
                  <a:gd name="T9" fmla="*/ 33 h 201"/>
                  <a:gd name="T10" fmla="*/ 158 w 231"/>
                  <a:gd name="T11" fmla="*/ 26 h 201"/>
                  <a:gd name="T12" fmla="*/ 153 w 231"/>
                  <a:gd name="T13" fmla="*/ 24 h 201"/>
                  <a:gd name="T14" fmla="*/ 146 w 231"/>
                  <a:gd name="T15" fmla="*/ 19 h 201"/>
                  <a:gd name="T16" fmla="*/ 139 w 231"/>
                  <a:gd name="T17" fmla="*/ 17 h 201"/>
                  <a:gd name="T18" fmla="*/ 130 w 231"/>
                  <a:gd name="T19" fmla="*/ 7 h 201"/>
                  <a:gd name="T20" fmla="*/ 123 w 231"/>
                  <a:gd name="T21" fmla="*/ 2 h 201"/>
                  <a:gd name="T22" fmla="*/ 104 w 231"/>
                  <a:gd name="T23" fmla="*/ 17 h 201"/>
                  <a:gd name="T24" fmla="*/ 80 w 231"/>
                  <a:gd name="T25" fmla="*/ 31 h 201"/>
                  <a:gd name="T26" fmla="*/ 61 w 231"/>
                  <a:gd name="T27" fmla="*/ 36 h 201"/>
                  <a:gd name="T28" fmla="*/ 47 w 231"/>
                  <a:gd name="T29" fmla="*/ 31 h 201"/>
                  <a:gd name="T30" fmla="*/ 47 w 231"/>
                  <a:gd name="T31" fmla="*/ 50 h 201"/>
                  <a:gd name="T32" fmla="*/ 21 w 231"/>
                  <a:gd name="T33" fmla="*/ 47 h 201"/>
                  <a:gd name="T34" fmla="*/ 2 w 231"/>
                  <a:gd name="T35" fmla="*/ 57 h 201"/>
                  <a:gd name="T36" fmla="*/ 2 w 231"/>
                  <a:gd name="T37" fmla="*/ 59 h 201"/>
                  <a:gd name="T38" fmla="*/ 4 w 231"/>
                  <a:gd name="T39" fmla="*/ 66 h 201"/>
                  <a:gd name="T40" fmla="*/ 23 w 231"/>
                  <a:gd name="T41" fmla="*/ 69 h 201"/>
                  <a:gd name="T42" fmla="*/ 35 w 231"/>
                  <a:gd name="T43" fmla="*/ 73 h 201"/>
                  <a:gd name="T44" fmla="*/ 45 w 231"/>
                  <a:gd name="T45" fmla="*/ 78 h 201"/>
                  <a:gd name="T46" fmla="*/ 40 w 231"/>
                  <a:gd name="T47" fmla="*/ 88 h 201"/>
                  <a:gd name="T48" fmla="*/ 56 w 231"/>
                  <a:gd name="T49" fmla="*/ 109 h 201"/>
                  <a:gd name="T50" fmla="*/ 61 w 231"/>
                  <a:gd name="T51" fmla="*/ 123 h 201"/>
                  <a:gd name="T52" fmla="*/ 54 w 231"/>
                  <a:gd name="T53" fmla="*/ 123 h 201"/>
                  <a:gd name="T54" fmla="*/ 45 w 231"/>
                  <a:gd name="T55" fmla="*/ 159 h 201"/>
                  <a:gd name="T56" fmla="*/ 47 w 231"/>
                  <a:gd name="T57" fmla="*/ 166 h 201"/>
                  <a:gd name="T58" fmla="*/ 49 w 231"/>
                  <a:gd name="T59" fmla="*/ 166 h 201"/>
                  <a:gd name="T60" fmla="*/ 63 w 231"/>
                  <a:gd name="T61" fmla="*/ 173 h 201"/>
                  <a:gd name="T62" fmla="*/ 75 w 231"/>
                  <a:gd name="T63" fmla="*/ 175 h 201"/>
                  <a:gd name="T64" fmla="*/ 89 w 231"/>
                  <a:gd name="T65" fmla="*/ 173 h 201"/>
                  <a:gd name="T66" fmla="*/ 99 w 231"/>
                  <a:gd name="T67" fmla="*/ 178 h 201"/>
                  <a:gd name="T68" fmla="*/ 111 w 231"/>
                  <a:gd name="T69" fmla="*/ 180 h 201"/>
                  <a:gd name="T70" fmla="*/ 123 w 231"/>
                  <a:gd name="T71" fmla="*/ 180 h 201"/>
                  <a:gd name="T72" fmla="*/ 137 w 231"/>
                  <a:gd name="T73" fmla="*/ 156 h 201"/>
                  <a:gd name="T74" fmla="*/ 151 w 231"/>
                  <a:gd name="T75" fmla="*/ 161 h 201"/>
                  <a:gd name="T76" fmla="*/ 156 w 231"/>
                  <a:gd name="T77" fmla="*/ 161 h 201"/>
                  <a:gd name="T78" fmla="*/ 182 w 231"/>
                  <a:gd name="T79" fmla="*/ 163 h 201"/>
                  <a:gd name="T80" fmla="*/ 196 w 231"/>
                  <a:gd name="T81" fmla="*/ 152 h 201"/>
                  <a:gd name="T82" fmla="*/ 201 w 231"/>
                  <a:gd name="T83" fmla="*/ 147 h 201"/>
                  <a:gd name="T84" fmla="*/ 189 w 231"/>
                  <a:gd name="T85" fmla="*/ 140 h 201"/>
                  <a:gd name="T86" fmla="*/ 189 w 231"/>
                  <a:gd name="T87" fmla="*/ 130 h 201"/>
                  <a:gd name="T88" fmla="*/ 186 w 231"/>
                  <a:gd name="T89" fmla="*/ 123 h 201"/>
                  <a:gd name="T90" fmla="*/ 189 w 231"/>
                  <a:gd name="T91" fmla="*/ 111 h 201"/>
                  <a:gd name="T92" fmla="*/ 189 w 231"/>
                  <a:gd name="T93" fmla="*/ 102 h 201"/>
                  <a:gd name="T94" fmla="*/ 179 w 231"/>
                  <a:gd name="T95" fmla="*/ 97 h 201"/>
                  <a:gd name="T96" fmla="*/ 175 w 231"/>
                  <a:gd name="T97" fmla="*/ 99 h 201"/>
                  <a:gd name="T98" fmla="*/ 182 w 231"/>
                  <a:gd name="T99" fmla="*/ 90 h 201"/>
                  <a:gd name="T100" fmla="*/ 191 w 231"/>
                  <a:gd name="T101" fmla="*/ 78 h 201"/>
                  <a:gd name="T102" fmla="*/ 194 w 231"/>
                  <a:gd name="T103" fmla="*/ 76 h 201"/>
                  <a:gd name="T104" fmla="*/ 201 w 231"/>
                  <a:gd name="T105" fmla="*/ 66 h 201"/>
                  <a:gd name="T106" fmla="*/ 210 w 231"/>
                  <a:gd name="T107" fmla="*/ 45 h 201"/>
                  <a:gd name="T108" fmla="*/ 231 w 231"/>
                  <a:gd name="T109" fmla="*/ 168 h 201"/>
                  <a:gd name="T110" fmla="*/ 224 w 231"/>
                  <a:gd name="T111" fmla="*/ 173 h 201"/>
                  <a:gd name="T112" fmla="*/ 217 w 231"/>
                  <a:gd name="T113" fmla="*/ 182 h 201"/>
                  <a:gd name="T114" fmla="*/ 217 w 231"/>
                  <a:gd name="T115" fmla="*/ 189 h 201"/>
                  <a:gd name="T116" fmla="*/ 220 w 231"/>
                  <a:gd name="T117" fmla="*/ 197 h 201"/>
                  <a:gd name="T118" fmla="*/ 229 w 231"/>
                  <a:gd name="T119" fmla="*/ 189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31" h="201">
                    <a:moveTo>
                      <a:pt x="54" y="109"/>
                    </a:moveTo>
                    <a:lnTo>
                      <a:pt x="54" y="107"/>
                    </a:lnTo>
                    <a:lnTo>
                      <a:pt x="52" y="104"/>
                    </a:lnTo>
                    <a:lnTo>
                      <a:pt x="52" y="104"/>
                    </a:lnTo>
                    <a:lnTo>
                      <a:pt x="52" y="104"/>
                    </a:lnTo>
                    <a:lnTo>
                      <a:pt x="52" y="104"/>
                    </a:lnTo>
                    <a:lnTo>
                      <a:pt x="52" y="107"/>
                    </a:lnTo>
                    <a:lnTo>
                      <a:pt x="54" y="109"/>
                    </a:lnTo>
                    <a:close/>
                    <a:moveTo>
                      <a:pt x="210" y="43"/>
                    </a:moveTo>
                    <a:lnTo>
                      <a:pt x="208" y="43"/>
                    </a:lnTo>
                    <a:lnTo>
                      <a:pt x="205" y="43"/>
                    </a:lnTo>
                    <a:lnTo>
                      <a:pt x="201" y="40"/>
                    </a:lnTo>
                    <a:lnTo>
                      <a:pt x="201" y="40"/>
                    </a:lnTo>
                    <a:lnTo>
                      <a:pt x="198" y="40"/>
                    </a:lnTo>
                    <a:lnTo>
                      <a:pt x="198" y="40"/>
                    </a:lnTo>
                    <a:lnTo>
                      <a:pt x="196" y="40"/>
                    </a:lnTo>
                    <a:lnTo>
                      <a:pt x="196" y="40"/>
                    </a:lnTo>
                    <a:lnTo>
                      <a:pt x="194" y="40"/>
                    </a:lnTo>
                    <a:lnTo>
                      <a:pt x="194" y="40"/>
                    </a:lnTo>
                    <a:lnTo>
                      <a:pt x="191" y="40"/>
                    </a:lnTo>
                    <a:lnTo>
                      <a:pt x="191" y="40"/>
                    </a:lnTo>
                    <a:lnTo>
                      <a:pt x="191" y="38"/>
                    </a:lnTo>
                    <a:lnTo>
                      <a:pt x="191" y="38"/>
                    </a:lnTo>
                    <a:lnTo>
                      <a:pt x="189" y="38"/>
                    </a:lnTo>
                    <a:lnTo>
                      <a:pt x="189" y="38"/>
                    </a:lnTo>
                    <a:lnTo>
                      <a:pt x="189" y="40"/>
                    </a:lnTo>
                    <a:lnTo>
                      <a:pt x="189" y="40"/>
                    </a:lnTo>
                    <a:lnTo>
                      <a:pt x="186" y="40"/>
                    </a:lnTo>
                    <a:lnTo>
                      <a:pt x="184" y="38"/>
                    </a:lnTo>
                    <a:lnTo>
                      <a:pt x="184" y="36"/>
                    </a:lnTo>
                    <a:lnTo>
                      <a:pt x="184" y="36"/>
                    </a:lnTo>
                    <a:lnTo>
                      <a:pt x="184" y="36"/>
                    </a:lnTo>
                    <a:lnTo>
                      <a:pt x="184" y="33"/>
                    </a:lnTo>
                    <a:lnTo>
                      <a:pt x="182" y="33"/>
                    </a:lnTo>
                    <a:lnTo>
                      <a:pt x="182" y="33"/>
                    </a:lnTo>
                    <a:lnTo>
                      <a:pt x="179" y="33"/>
                    </a:lnTo>
                    <a:lnTo>
                      <a:pt x="179" y="33"/>
                    </a:lnTo>
                    <a:lnTo>
                      <a:pt x="179" y="33"/>
                    </a:lnTo>
                    <a:lnTo>
                      <a:pt x="177" y="33"/>
                    </a:lnTo>
                    <a:lnTo>
                      <a:pt x="177" y="33"/>
                    </a:lnTo>
                    <a:lnTo>
                      <a:pt x="175" y="33"/>
                    </a:lnTo>
                    <a:lnTo>
                      <a:pt x="175" y="33"/>
                    </a:lnTo>
                    <a:lnTo>
                      <a:pt x="175" y="33"/>
                    </a:lnTo>
                    <a:lnTo>
                      <a:pt x="175" y="33"/>
                    </a:lnTo>
                    <a:lnTo>
                      <a:pt x="172" y="33"/>
                    </a:lnTo>
                    <a:lnTo>
                      <a:pt x="172" y="31"/>
                    </a:lnTo>
                    <a:lnTo>
                      <a:pt x="170" y="31"/>
                    </a:lnTo>
                    <a:lnTo>
                      <a:pt x="170" y="31"/>
                    </a:lnTo>
                    <a:lnTo>
                      <a:pt x="168" y="33"/>
                    </a:lnTo>
                    <a:lnTo>
                      <a:pt x="168" y="33"/>
                    </a:lnTo>
                    <a:lnTo>
                      <a:pt x="165" y="31"/>
                    </a:lnTo>
                    <a:lnTo>
                      <a:pt x="165" y="31"/>
                    </a:lnTo>
                    <a:lnTo>
                      <a:pt x="165" y="28"/>
                    </a:lnTo>
                    <a:lnTo>
                      <a:pt x="163" y="28"/>
                    </a:lnTo>
                    <a:lnTo>
                      <a:pt x="163" y="28"/>
                    </a:lnTo>
                    <a:lnTo>
                      <a:pt x="160" y="28"/>
                    </a:lnTo>
                    <a:lnTo>
                      <a:pt x="160" y="26"/>
                    </a:lnTo>
                    <a:lnTo>
                      <a:pt x="160" y="26"/>
                    </a:lnTo>
                    <a:lnTo>
                      <a:pt x="158" y="26"/>
                    </a:lnTo>
                    <a:lnTo>
                      <a:pt x="158" y="26"/>
                    </a:lnTo>
                    <a:lnTo>
                      <a:pt x="158" y="26"/>
                    </a:lnTo>
                    <a:lnTo>
                      <a:pt x="158" y="24"/>
                    </a:lnTo>
                    <a:lnTo>
                      <a:pt x="156" y="24"/>
                    </a:lnTo>
                    <a:lnTo>
                      <a:pt x="158" y="19"/>
                    </a:lnTo>
                    <a:lnTo>
                      <a:pt x="156" y="19"/>
                    </a:lnTo>
                    <a:lnTo>
                      <a:pt x="156" y="19"/>
                    </a:lnTo>
                    <a:lnTo>
                      <a:pt x="156" y="21"/>
                    </a:lnTo>
                    <a:lnTo>
                      <a:pt x="153" y="21"/>
                    </a:lnTo>
                    <a:lnTo>
                      <a:pt x="153" y="21"/>
                    </a:lnTo>
                    <a:lnTo>
                      <a:pt x="153" y="24"/>
                    </a:lnTo>
                    <a:lnTo>
                      <a:pt x="149" y="24"/>
                    </a:lnTo>
                    <a:lnTo>
                      <a:pt x="146" y="24"/>
                    </a:lnTo>
                    <a:lnTo>
                      <a:pt x="146" y="24"/>
                    </a:lnTo>
                    <a:lnTo>
                      <a:pt x="146" y="21"/>
                    </a:lnTo>
                    <a:lnTo>
                      <a:pt x="146" y="21"/>
                    </a:lnTo>
                    <a:lnTo>
                      <a:pt x="146" y="21"/>
                    </a:lnTo>
                    <a:lnTo>
                      <a:pt x="146" y="21"/>
                    </a:lnTo>
                    <a:lnTo>
                      <a:pt x="146" y="21"/>
                    </a:lnTo>
                    <a:lnTo>
                      <a:pt x="146" y="19"/>
                    </a:lnTo>
                    <a:lnTo>
                      <a:pt x="146" y="19"/>
                    </a:lnTo>
                    <a:lnTo>
                      <a:pt x="146" y="19"/>
                    </a:lnTo>
                    <a:lnTo>
                      <a:pt x="146" y="17"/>
                    </a:lnTo>
                    <a:lnTo>
                      <a:pt x="146" y="17"/>
                    </a:lnTo>
                    <a:lnTo>
                      <a:pt x="144" y="17"/>
                    </a:lnTo>
                    <a:lnTo>
                      <a:pt x="144" y="14"/>
                    </a:lnTo>
                    <a:lnTo>
                      <a:pt x="142" y="14"/>
                    </a:lnTo>
                    <a:lnTo>
                      <a:pt x="139" y="14"/>
                    </a:lnTo>
                    <a:lnTo>
                      <a:pt x="139" y="14"/>
                    </a:lnTo>
                    <a:lnTo>
                      <a:pt x="139" y="17"/>
                    </a:lnTo>
                    <a:lnTo>
                      <a:pt x="139" y="17"/>
                    </a:lnTo>
                    <a:lnTo>
                      <a:pt x="139" y="17"/>
                    </a:lnTo>
                    <a:lnTo>
                      <a:pt x="137" y="12"/>
                    </a:lnTo>
                    <a:lnTo>
                      <a:pt x="137" y="12"/>
                    </a:lnTo>
                    <a:lnTo>
                      <a:pt x="134" y="12"/>
                    </a:lnTo>
                    <a:lnTo>
                      <a:pt x="132" y="12"/>
                    </a:lnTo>
                    <a:lnTo>
                      <a:pt x="132" y="12"/>
                    </a:lnTo>
                    <a:lnTo>
                      <a:pt x="132" y="10"/>
                    </a:lnTo>
                    <a:lnTo>
                      <a:pt x="132" y="10"/>
                    </a:lnTo>
                    <a:lnTo>
                      <a:pt x="130" y="7"/>
                    </a:lnTo>
                    <a:lnTo>
                      <a:pt x="130" y="7"/>
                    </a:lnTo>
                    <a:lnTo>
                      <a:pt x="130" y="7"/>
                    </a:lnTo>
                    <a:lnTo>
                      <a:pt x="127" y="7"/>
                    </a:lnTo>
                    <a:lnTo>
                      <a:pt x="127" y="7"/>
                    </a:lnTo>
                    <a:lnTo>
                      <a:pt x="125" y="7"/>
                    </a:lnTo>
                    <a:lnTo>
                      <a:pt x="125" y="7"/>
                    </a:lnTo>
                    <a:lnTo>
                      <a:pt x="125" y="7"/>
                    </a:lnTo>
                    <a:lnTo>
                      <a:pt x="123" y="5"/>
                    </a:lnTo>
                    <a:lnTo>
                      <a:pt x="123" y="5"/>
                    </a:lnTo>
                    <a:lnTo>
                      <a:pt x="120" y="2"/>
                    </a:lnTo>
                    <a:lnTo>
                      <a:pt x="123" y="2"/>
                    </a:lnTo>
                    <a:lnTo>
                      <a:pt x="120" y="2"/>
                    </a:lnTo>
                    <a:lnTo>
                      <a:pt x="120" y="0"/>
                    </a:lnTo>
                    <a:lnTo>
                      <a:pt x="120" y="0"/>
                    </a:lnTo>
                    <a:lnTo>
                      <a:pt x="120" y="0"/>
                    </a:lnTo>
                    <a:lnTo>
                      <a:pt x="111" y="2"/>
                    </a:lnTo>
                    <a:lnTo>
                      <a:pt x="108" y="2"/>
                    </a:lnTo>
                    <a:lnTo>
                      <a:pt x="106" y="5"/>
                    </a:lnTo>
                    <a:lnTo>
                      <a:pt x="106" y="5"/>
                    </a:lnTo>
                    <a:lnTo>
                      <a:pt x="106" y="7"/>
                    </a:lnTo>
                    <a:lnTo>
                      <a:pt x="104" y="17"/>
                    </a:lnTo>
                    <a:lnTo>
                      <a:pt x="104" y="17"/>
                    </a:lnTo>
                    <a:lnTo>
                      <a:pt x="104" y="17"/>
                    </a:lnTo>
                    <a:lnTo>
                      <a:pt x="104" y="19"/>
                    </a:lnTo>
                    <a:lnTo>
                      <a:pt x="101" y="21"/>
                    </a:lnTo>
                    <a:lnTo>
                      <a:pt x="99" y="21"/>
                    </a:lnTo>
                    <a:lnTo>
                      <a:pt x="94" y="24"/>
                    </a:lnTo>
                    <a:lnTo>
                      <a:pt x="89" y="26"/>
                    </a:lnTo>
                    <a:lnTo>
                      <a:pt x="82" y="28"/>
                    </a:lnTo>
                    <a:lnTo>
                      <a:pt x="80" y="31"/>
                    </a:lnTo>
                    <a:lnTo>
                      <a:pt x="80" y="31"/>
                    </a:lnTo>
                    <a:lnTo>
                      <a:pt x="80" y="33"/>
                    </a:lnTo>
                    <a:lnTo>
                      <a:pt x="82" y="33"/>
                    </a:lnTo>
                    <a:lnTo>
                      <a:pt x="85" y="33"/>
                    </a:lnTo>
                    <a:lnTo>
                      <a:pt x="85" y="33"/>
                    </a:lnTo>
                    <a:lnTo>
                      <a:pt x="80" y="36"/>
                    </a:lnTo>
                    <a:lnTo>
                      <a:pt x="78" y="36"/>
                    </a:lnTo>
                    <a:lnTo>
                      <a:pt x="75" y="36"/>
                    </a:lnTo>
                    <a:lnTo>
                      <a:pt x="68" y="36"/>
                    </a:lnTo>
                    <a:lnTo>
                      <a:pt x="66" y="36"/>
                    </a:lnTo>
                    <a:lnTo>
                      <a:pt x="61" y="36"/>
                    </a:lnTo>
                    <a:lnTo>
                      <a:pt x="59" y="36"/>
                    </a:lnTo>
                    <a:lnTo>
                      <a:pt x="59" y="33"/>
                    </a:lnTo>
                    <a:lnTo>
                      <a:pt x="59" y="33"/>
                    </a:lnTo>
                    <a:lnTo>
                      <a:pt x="59" y="31"/>
                    </a:lnTo>
                    <a:lnTo>
                      <a:pt x="59" y="28"/>
                    </a:lnTo>
                    <a:lnTo>
                      <a:pt x="56" y="28"/>
                    </a:lnTo>
                    <a:lnTo>
                      <a:pt x="52" y="28"/>
                    </a:lnTo>
                    <a:lnTo>
                      <a:pt x="52" y="28"/>
                    </a:lnTo>
                    <a:lnTo>
                      <a:pt x="47" y="28"/>
                    </a:lnTo>
                    <a:lnTo>
                      <a:pt x="47" y="31"/>
                    </a:lnTo>
                    <a:lnTo>
                      <a:pt x="47" y="31"/>
                    </a:lnTo>
                    <a:lnTo>
                      <a:pt x="49" y="33"/>
                    </a:lnTo>
                    <a:lnTo>
                      <a:pt x="49" y="36"/>
                    </a:lnTo>
                    <a:lnTo>
                      <a:pt x="52" y="38"/>
                    </a:lnTo>
                    <a:lnTo>
                      <a:pt x="52" y="47"/>
                    </a:lnTo>
                    <a:lnTo>
                      <a:pt x="54" y="50"/>
                    </a:lnTo>
                    <a:lnTo>
                      <a:pt x="54" y="50"/>
                    </a:lnTo>
                    <a:lnTo>
                      <a:pt x="54" y="50"/>
                    </a:lnTo>
                    <a:lnTo>
                      <a:pt x="47" y="50"/>
                    </a:lnTo>
                    <a:lnTo>
                      <a:pt x="47" y="50"/>
                    </a:lnTo>
                    <a:lnTo>
                      <a:pt x="47" y="50"/>
                    </a:lnTo>
                    <a:lnTo>
                      <a:pt x="45" y="50"/>
                    </a:lnTo>
                    <a:lnTo>
                      <a:pt x="45" y="52"/>
                    </a:lnTo>
                    <a:lnTo>
                      <a:pt x="42" y="50"/>
                    </a:lnTo>
                    <a:lnTo>
                      <a:pt x="37" y="50"/>
                    </a:lnTo>
                    <a:lnTo>
                      <a:pt x="33" y="52"/>
                    </a:lnTo>
                    <a:lnTo>
                      <a:pt x="30" y="52"/>
                    </a:lnTo>
                    <a:lnTo>
                      <a:pt x="28" y="47"/>
                    </a:lnTo>
                    <a:lnTo>
                      <a:pt x="26" y="45"/>
                    </a:lnTo>
                    <a:lnTo>
                      <a:pt x="21" y="47"/>
                    </a:lnTo>
                    <a:lnTo>
                      <a:pt x="19" y="47"/>
                    </a:lnTo>
                    <a:lnTo>
                      <a:pt x="16" y="50"/>
                    </a:lnTo>
                    <a:lnTo>
                      <a:pt x="14" y="50"/>
                    </a:lnTo>
                    <a:lnTo>
                      <a:pt x="11" y="50"/>
                    </a:lnTo>
                    <a:lnTo>
                      <a:pt x="2" y="50"/>
                    </a:lnTo>
                    <a:lnTo>
                      <a:pt x="0" y="52"/>
                    </a:lnTo>
                    <a:lnTo>
                      <a:pt x="0" y="54"/>
                    </a:lnTo>
                    <a:lnTo>
                      <a:pt x="0" y="54"/>
                    </a:lnTo>
                    <a:lnTo>
                      <a:pt x="0" y="57"/>
                    </a:lnTo>
                    <a:lnTo>
                      <a:pt x="2" y="57"/>
                    </a:lnTo>
                    <a:lnTo>
                      <a:pt x="2" y="57"/>
                    </a:lnTo>
                    <a:lnTo>
                      <a:pt x="4" y="57"/>
                    </a:lnTo>
                    <a:lnTo>
                      <a:pt x="4" y="57"/>
                    </a:lnTo>
                    <a:lnTo>
                      <a:pt x="7" y="57"/>
                    </a:lnTo>
                    <a:lnTo>
                      <a:pt x="7" y="57"/>
                    </a:lnTo>
                    <a:lnTo>
                      <a:pt x="4" y="57"/>
                    </a:lnTo>
                    <a:lnTo>
                      <a:pt x="2" y="57"/>
                    </a:lnTo>
                    <a:lnTo>
                      <a:pt x="2" y="57"/>
                    </a:lnTo>
                    <a:lnTo>
                      <a:pt x="2" y="57"/>
                    </a:lnTo>
                    <a:lnTo>
                      <a:pt x="2" y="59"/>
                    </a:lnTo>
                    <a:lnTo>
                      <a:pt x="2" y="59"/>
                    </a:lnTo>
                    <a:lnTo>
                      <a:pt x="4" y="59"/>
                    </a:lnTo>
                    <a:lnTo>
                      <a:pt x="4" y="59"/>
                    </a:lnTo>
                    <a:lnTo>
                      <a:pt x="4" y="62"/>
                    </a:lnTo>
                    <a:lnTo>
                      <a:pt x="2" y="62"/>
                    </a:lnTo>
                    <a:lnTo>
                      <a:pt x="0" y="62"/>
                    </a:lnTo>
                    <a:lnTo>
                      <a:pt x="0" y="62"/>
                    </a:lnTo>
                    <a:lnTo>
                      <a:pt x="4" y="64"/>
                    </a:lnTo>
                    <a:lnTo>
                      <a:pt x="4" y="66"/>
                    </a:lnTo>
                    <a:lnTo>
                      <a:pt x="4" y="66"/>
                    </a:lnTo>
                    <a:lnTo>
                      <a:pt x="7" y="66"/>
                    </a:lnTo>
                    <a:lnTo>
                      <a:pt x="9" y="66"/>
                    </a:lnTo>
                    <a:lnTo>
                      <a:pt x="11" y="66"/>
                    </a:lnTo>
                    <a:lnTo>
                      <a:pt x="19" y="69"/>
                    </a:lnTo>
                    <a:lnTo>
                      <a:pt x="19" y="69"/>
                    </a:lnTo>
                    <a:lnTo>
                      <a:pt x="21" y="69"/>
                    </a:lnTo>
                    <a:lnTo>
                      <a:pt x="21" y="69"/>
                    </a:lnTo>
                    <a:lnTo>
                      <a:pt x="23" y="71"/>
                    </a:lnTo>
                    <a:lnTo>
                      <a:pt x="23" y="69"/>
                    </a:lnTo>
                    <a:lnTo>
                      <a:pt x="23" y="69"/>
                    </a:lnTo>
                    <a:lnTo>
                      <a:pt x="26" y="71"/>
                    </a:lnTo>
                    <a:lnTo>
                      <a:pt x="28" y="71"/>
                    </a:lnTo>
                    <a:lnTo>
                      <a:pt x="28" y="71"/>
                    </a:lnTo>
                    <a:lnTo>
                      <a:pt x="30" y="71"/>
                    </a:lnTo>
                    <a:lnTo>
                      <a:pt x="30" y="71"/>
                    </a:lnTo>
                    <a:lnTo>
                      <a:pt x="30" y="73"/>
                    </a:lnTo>
                    <a:lnTo>
                      <a:pt x="30" y="73"/>
                    </a:lnTo>
                    <a:lnTo>
                      <a:pt x="33" y="73"/>
                    </a:lnTo>
                    <a:lnTo>
                      <a:pt x="33" y="73"/>
                    </a:lnTo>
                    <a:lnTo>
                      <a:pt x="35" y="73"/>
                    </a:lnTo>
                    <a:lnTo>
                      <a:pt x="35" y="73"/>
                    </a:lnTo>
                    <a:lnTo>
                      <a:pt x="35" y="76"/>
                    </a:lnTo>
                    <a:lnTo>
                      <a:pt x="33" y="76"/>
                    </a:lnTo>
                    <a:lnTo>
                      <a:pt x="35" y="78"/>
                    </a:lnTo>
                    <a:lnTo>
                      <a:pt x="35" y="78"/>
                    </a:lnTo>
                    <a:lnTo>
                      <a:pt x="37" y="78"/>
                    </a:lnTo>
                    <a:lnTo>
                      <a:pt x="42" y="78"/>
                    </a:lnTo>
                    <a:lnTo>
                      <a:pt x="47" y="81"/>
                    </a:lnTo>
                    <a:lnTo>
                      <a:pt x="45" y="81"/>
                    </a:lnTo>
                    <a:lnTo>
                      <a:pt x="45" y="78"/>
                    </a:lnTo>
                    <a:lnTo>
                      <a:pt x="42" y="78"/>
                    </a:lnTo>
                    <a:lnTo>
                      <a:pt x="40" y="78"/>
                    </a:lnTo>
                    <a:lnTo>
                      <a:pt x="40" y="81"/>
                    </a:lnTo>
                    <a:lnTo>
                      <a:pt x="40" y="81"/>
                    </a:lnTo>
                    <a:lnTo>
                      <a:pt x="40" y="81"/>
                    </a:lnTo>
                    <a:lnTo>
                      <a:pt x="40" y="83"/>
                    </a:lnTo>
                    <a:lnTo>
                      <a:pt x="42" y="83"/>
                    </a:lnTo>
                    <a:lnTo>
                      <a:pt x="40" y="85"/>
                    </a:lnTo>
                    <a:lnTo>
                      <a:pt x="40" y="88"/>
                    </a:lnTo>
                    <a:lnTo>
                      <a:pt x="40" y="88"/>
                    </a:lnTo>
                    <a:lnTo>
                      <a:pt x="42" y="90"/>
                    </a:lnTo>
                    <a:lnTo>
                      <a:pt x="45" y="95"/>
                    </a:lnTo>
                    <a:lnTo>
                      <a:pt x="52" y="97"/>
                    </a:lnTo>
                    <a:lnTo>
                      <a:pt x="52" y="97"/>
                    </a:lnTo>
                    <a:lnTo>
                      <a:pt x="54" y="97"/>
                    </a:lnTo>
                    <a:lnTo>
                      <a:pt x="56" y="99"/>
                    </a:lnTo>
                    <a:lnTo>
                      <a:pt x="56" y="99"/>
                    </a:lnTo>
                    <a:lnTo>
                      <a:pt x="56" y="99"/>
                    </a:lnTo>
                    <a:lnTo>
                      <a:pt x="56" y="107"/>
                    </a:lnTo>
                    <a:lnTo>
                      <a:pt x="56" y="109"/>
                    </a:lnTo>
                    <a:lnTo>
                      <a:pt x="56" y="109"/>
                    </a:lnTo>
                    <a:lnTo>
                      <a:pt x="56" y="109"/>
                    </a:lnTo>
                    <a:lnTo>
                      <a:pt x="54" y="109"/>
                    </a:lnTo>
                    <a:lnTo>
                      <a:pt x="54" y="109"/>
                    </a:lnTo>
                    <a:lnTo>
                      <a:pt x="54" y="111"/>
                    </a:lnTo>
                    <a:lnTo>
                      <a:pt x="54" y="111"/>
                    </a:lnTo>
                    <a:lnTo>
                      <a:pt x="59" y="114"/>
                    </a:lnTo>
                    <a:lnTo>
                      <a:pt x="61" y="116"/>
                    </a:lnTo>
                    <a:lnTo>
                      <a:pt x="61" y="118"/>
                    </a:lnTo>
                    <a:lnTo>
                      <a:pt x="61" y="123"/>
                    </a:lnTo>
                    <a:lnTo>
                      <a:pt x="63" y="123"/>
                    </a:lnTo>
                    <a:lnTo>
                      <a:pt x="63" y="126"/>
                    </a:lnTo>
                    <a:lnTo>
                      <a:pt x="61" y="123"/>
                    </a:lnTo>
                    <a:lnTo>
                      <a:pt x="61" y="123"/>
                    </a:lnTo>
                    <a:lnTo>
                      <a:pt x="61" y="118"/>
                    </a:lnTo>
                    <a:lnTo>
                      <a:pt x="59" y="118"/>
                    </a:lnTo>
                    <a:lnTo>
                      <a:pt x="59" y="116"/>
                    </a:lnTo>
                    <a:lnTo>
                      <a:pt x="56" y="114"/>
                    </a:lnTo>
                    <a:lnTo>
                      <a:pt x="54" y="118"/>
                    </a:lnTo>
                    <a:lnTo>
                      <a:pt x="54" y="123"/>
                    </a:lnTo>
                    <a:lnTo>
                      <a:pt x="52" y="135"/>
                    </a:lnTo>
                    <a:lnTo>
                      <a:pt x="52" y="133"/>
                    </a:lnTo>
                    <a:lnTo>
                      <a:pt x="52" y="133"/>
                    </a:lnTo>
                    <a:lnTo>
                      <a:pt x="54" y="133"/>
                    </a:lnTo>
                    <a:lnTo>
                      <a:pt x="54" y="133"/>
                    </a:lnTo>
                    <a:lnTo>
                      <a:pt x="52" y="135"/>
                    </a:lnTo>
                    <a:lnTo>
                      <a:pt x="52" y="135"/>
                    </a:lnTo>
                    <a:lnTo>
                      <a:pt x="49" y="147"/>
                    </a:lnTo>
                    <a:lnTo>
                      <a:pt x="47" y="156"/>
                    </a:lnTo>
                    <a:lnTo>
                      <a:pt x="45" y="159"/>
                    </a:lnTo>
                    <a:lnTo>
                      <a:pt x="40" y="159"/>
                    </a:lnTo>
                    <a:lnTo>
                      <a:pt x="40" y="161"/>
                    </a:lnTo>
                    <a:lnTo>
                      <a:pt x="42" y="161"/>
                    </a:lnTo>
                    <a:lnTo>
                      <a:pt x="42" y="161"/>
                    </a:lnTo>
                    <a:lnTo>
                      <a:pt x="45" y="161"/>
                    </a:lnTo>
                    <a:lnTo>
                      <a:pt x="45" y="161"/>
                    </a:lnTo>
                    <a:lnTo>
                      <a:pt x="47" y="163"/>
                    </a:lnTo>
                    <a:lnTo>
                      <a:pt x="47" y="163"/>
                    </a:lnTo>
                    <a:lnTo>
                      <a:pt x="47" y="163"/>
                    </a:lnTo>
                    <a:lnTo>
                      <a:pt x="47" y="166"/>
                    </a:lnTo>
                    <a:lnTo>
                      <a:pt x="47" y="166"/>
                    </a:lnTo>
                    <a:lnTo>
                      <a:pt x="45" y="166"/>
                    </a:lnTo>
                    <a:lnTo>
                      <a:pt x="47" y="166"/>
                    </a:lnTo>
                    <a:lnTo>
                      <a:pt x="47" y="168"/>
                    </a:lnTo>
                    <a:lnTo>
                      <a:pt x="47" y="168"/>
                    </a:lnTo>
                    <a:lnTo>
                      <a:pt x="47" y="168"/>
                    </a:lnTo>
                    <a:lnTo>
                      <a:pt x="47" y="166"/>
                    </a:lnTo>
                    <a:lnTo>
                      <a:pt x="49" y="166"/>
                    </a:lnTo>
                    <a:lnTo>
                      <a:pt x="49" y="166"/>
                    </a:lnTo>
                    <a:lnTo>
                      <a:pt x="49" y="166"/>
                    </a:lnTo>
                    <a:lnTo>
                      <a:pt x="49" y="166"/>
                    </a:lnTo>
                    <a:lnTo>
                      <a:pt x="52" y="168"/>
                    </a:lnTo>
                    <a:lnTo>
                      <a:pt x="54" y="168"/>
                    </a:lnTo>
                    <a:lnTo>
                      <a:pt x="56" y="168"/>
                    </a:lnTo>
                    <a:lnTo>
                      <a:pt x="59" y="168"/>
                    </a:lnTo>
                    <a:lnTo>
                      <a:pt x="59" y="171"/>
                    </a:lnTo>
                    <a:lnTo>
                      <a:pt x="61" y="173"/>
                    </a:lnTo>
                    <a:lnTo>
                      <a:pt x="61" y="173"/>
                    </a:lnTo>
                    <a:lnTo>
                      <a:pt x="61" y="173"/>
                    </a:lnTo>
                    <a:lnTo>
                      <a:pt x="63" y="173"/>
                    </a:lnTo>
                    <a:lnTo>
                      <a:pt x="66" y="171"/>
                    </a:lnTo>
                    <a:lnTo>
                      <a:pt x="66" y="171"/>
                    </a:lnTo>
                    <a:lnTo>
                      <a:pt x="66" y="173"/>
                    </a:lnTo>
                    <a:lnTo>
                      <a:pt x="66" y="173"/>
                    </a:lnTo>
                    <a:lnTo>
                      <a:pt x="68" y="173"/>
                    </a:lnTo>
                    <a:lnTo>
                      <a:pt x="68" y="173"/>
                    </a:lnTo>
                    <a:lnTo>
                      <a:pt x="71" y="175"/>
                    </a:lnTo>
                    <a:lnTo>
                      <a:pt x="73" y="173"/>
                    </a:lnTo>
                    <a:lnTo>
                      <a:pt x="75" y="175"/>
                    </a:lnTo>
                    <a:lnTo>
                      <a:pt x="75" y="175"/>
                    </a:lnTo>
                    <a:lnTo>
                      <a:pt x="78" y="173"/>
                    </a:lnTo>
                    <a:lnTo>
                      <a:pt x="80" y="175"/>
                    </a:lnTo>
                    <a:lnTo>
                      <a:pt x="80" y="175"/>
                    </a:lnTo>
                    <a:lnTo>
                      <a:pt x="80" y="173"/>
                    </a:lnTo>
                    <a:lnTo>
                      <a:pt x="82" y="173"/>
                    </a:lnTo>
                    <a:lnTo>
                      <a:pt x="82" y="171"/>
                    </a:lnTo>
                    <a:lnTo>
                      <a:pt x="82" y="171"/>
                    </a:lnTo>
                    <a:lnTo>
                      <a:pt x="82" y="171"/>
                    </a:lnTo>
                    <a:lnTo>
                      <a:pt x="87" y="173"/>
                    </a:lnTo>
                    <a:lnTo>
                      <a:pt x="89" y="173"/>
                    </a:lnTo>
                    <a:lnTo>
                      <a:pt x="92" y="173"/>
                    </a:lnTo>
                    <a:lnTo>
                      <a:pt x="92" y="173"/>
                    </a:lnTo>
                    <a:lnTo>
                      <a:pt x="94" y="175"/>
                    </a:lnTo>
                    <a:lnTo>
                      <a:pt x="94" y="175"/>
                    </a:lnTo>
                    <a:lnTo>
                      <a:pt x="94" y="175"/>
                    </a:lnTo>
                    <a:lnTo>
                      <a:pt x="97" y="175"/>
                    </a:lnTo>
                    <a:lnTo>
                      <a:pt x="97" y="175"/>
                    </a:lnTo>
                    <a:lnTo>
                      <a:pt x="99" y="175"/>
                    </a:lnTo>
                    <a:lnTo>
                      <a:pt x="99" y="178"/>
                    </a:lnTo>
                    <a:lnTo>
                      <a:pt x="99" y="178"/>
                    </a:lnTo>
                    <a:lnTo>
                      <a:pt x="99" y="178"/>
                    </a:lnTo>
                    <a:lnTo>
                      <a:pt x="99" y="178"/>
                    </a:lnTo>
                    <a:lnTo>
                      <a:pt x="101" y="180"/>
                    </a:lnTo>
                    <a:lnTo>
                      <a:pt x="104" y="180"/>
                    </a:lnTo>
                    <a:lnTo>
                      <a:pt x="104" y="180"/>
                    </a:lnTo>
                    <a:lnTo>
                      <a:pt x="104" y="180"/>
                    </a:lnTo>
                    <a:lnTo>
                      <a:pt x="104" y="180"/>
                    </a:lnTo>
                    <a:lnTo>
                      <a:pt x="106" y="180"/>
                    </a:lnTo>
                    <a:lnTo>
                      <a:pt x="108" y="180"/>
                    </a:lnTo>
                    <a:lnTo>
                      <a:pt x="111" y="180"/>
                    </a:lnTo>
                    <a:lnTo>
                      <a:pt x="113" y="182"/>
                    </a:lnTo>
                    <a:lnTo>
                      <a:pt x="115" y="182"/>
                    </a:lnTo>
                    <a:lnTo>
                      <a:pt x="115" y="180"/>
                    </a:lnTo>
                    <a:lnTo>
                      <a:pt x="115" y="180"/>
                    </a:lnTo>
                    <a:lnTo>
                      <a:pt x="115" y="180"/>
                    </a:lnTo>
                    <a:lnTo>
                      <a:pt x="118" y="180"/>
                    </a:lnTo>
                    <a:lnTo>
                      <a:pt x="118" y="180"/>
                    </a:lnTo>
                    <a:lnTo>
                      <a:pt x="120" y="180"/>
                    </a:lnTo>
                    <a:lnTo>
                      <a:pt x="120" y="178"/>
                    </a:lnTo>
                    <a:lnTo>
                      <a:pt x="123" y="180"/>
                    </a:lnTo>
                    <a:lnTo>
                      <a:pt x="123" y="180"/>
                    </a:lnTo>
                    <a:lnTo>
                      <a:pt x="125" y="180"/>
                    </a:lnTo>
                    <a:lnTo>
                      <a:pt x="125" y="180"/>
                    </a:lnTo>
                    <a:lnTo>
                      <a:pt x="123" y="175"/>
                    </a:lnTo>
                    <a:lnTo>
                      <a:pt x="123" y="171"/>
                    </a:lnTo>
                    <a:lnTo>
                      <a:pt x="123" y="171"/>
                    </a:lnTo>
                    <a:lnTo>
                      <a:pt x="125" y="166"/>
                    </a:lnTo>
                    <a:lnTo>
                      <a:pt x="125" y="163"/>
                    </a:lnTo>
                    <a:lnTo>
                      <a:pt x="134" y="159"/>
                    </a:lnTo>
                    <a:lnTo>
                      <a:pt x="137" y="156"/>
                    </a:lnTo>
                    <a:lnTo>
                      <a:pt x="137" y="156"/>
                    </a:lnTo>
                    <a:lnTo>
                      <a:pt x="139" y="156"/>
                    </a:lnTo>
                    <a:lnTo>
                      <a:pt x="139" y="156"/>
                    </a:lnTo>
                    <a:lnTo>
                      <a:pt x="142" y="156"/>
                    </a:lnTo>
                    <a:lnTo>
                      <a:pt x="142" y="159"/>
                    </a:lnTo>
                    <a:lnTo>
                      <a:pt x="142" y="159"/>
                    </a:lnTo>
                    <a:lnTo>
                      <a:pt x="144" y="159"/>
                    </a:lnTo>
                    <a:lnTo>
                      <a:pt x="146" y="159"/>
                    </a:lnTo>
                    <a:lnTo>
                      <a:pt x="149" y="161"/>
                    </a:lnTo>
                    <a:lnTo>
                      <a:pt x="151" y="161"/>
                    </a:lnTo>
                    <a:lnTo>
                      <a:pt x="151" y="161"/>
                    </a:lnTo>
                    <a:lnTo>
                      <a:pt x="151" y="159"/>
                    </a:lnTo>
                    <a:lnTo>
                      <a:pt x="153" y="159"/>
                    </a:lnTo>
                    <a:lnTo>
                      <a:pt x="153" y="159"/>
                    </a:lnTo>
                    <a:lnTo>
                      <a:pt x="153" y="159"/>
                    </a:lnTo>
                    <a:lnTo>
                      <a:pt x="153" y="159"/>
                    </a:lnTo>
                    <a:lnTo>
                      <a:pt x="156" y="159"/>
                    </a:lnTo>
                    <a:lnTo>
                      <a:pt x="156" y="159"/>
                    </a:lnTo>
                    <a:lnTo>
                      <a:pt x="156" y="159"/>
                    </a:lnTo>
                    <a:lnTo>
                      <a:pt x="156" y="161"/>
                    </a:lnTo>
                    <a:lnTo>
                      <a:pt x="158" y="161"/>
                    </a:lnTo>
                    <a:lnTo>
                      <a:pt x="158" y="161"/>
                    </a:lnTo>
                    <a:lnTo>
                      <a:pt x="160" y="161"/>
                    </a:lnTo>
                    <a:lnTo>
                      <a:pt x="163" y="163"/>
                    </a:lnTo>
                    <a:lnTo>
                      <a:pt x="168" y="163"/>
                    </a:lnTo>
                    <a:lnTo>
                      <a:pt x="170" y="166"/>
                    </a:lnTo>
                    <a:lnTo>
                      <a:pt x="172" y="166"/>
                    </a:lnTo>
                    <a:lnTo>
                      <a:pt x="175" y="166"/>
                    </a:lnTo>
                    <a:lnTo>
                      <a:pt x="177" y="166"/>
                    </a:lnTo>
                    <a:lnTo>
                      <a:pt x="182" y="163"/>
                    </a:lnTo>
                    <a:lnTo>
                      <a:pt x="182" y="163"/>
                    </a:lnTo>
                    <a:lnTo>
                      <a:pt x="184" y="163"/>
                    </a:lnTo>
                    <a:lnTo>
                      <a:pt x="184" y="161"/>
                    </a:lnTo>
                    <a:lnTo>
                      <a:pt x="184" y="161"/>
                    </a:lnTo>
                    <a:lnTo>
                      <a:pt x="186" y="159"/>
                    </a:lnTo>
                    <a:lnTo>
                      <a:pt x="194" y="154"/>
                    </a:lnTo>
                    <a:lnTo>
                      <a:pt x="194" y="154"/>
                    </a:lnTo>
                    <a:lnTo>
                      <a:pt x="196" y="154"/>
                    </a:lnTo>
                    <a:lnTo>
                      <a:pt x="196" y="152"/>
                    </a:lnTo>
                    <a:lnTo>
                      <a:pt x="196" y="152"/>
                    </a:lnTo>
                    <a:lnTo>
                      <a:pt x="196" y="152"/>
                    </a:lnTo>
                    <a:lnTo>
                      <a:pt x="196" y="152"/>
                    </a:lnTo>
                    <a:lnTo>
                      <a:pt x="196" y="152"/>
                    </a:lnTo>
                    <a:lnTo>
                      <a:pt x="198" y="152"/>
                    </a:lnTo>
                    <a:lnTo>
                      <a:pt x="198" y="152"/>
                    </a:lnTo>
                    <a:lnTo>
                      <a:pt x="198" y="149"/>
                    </a:lnTo>
                    <a:lnTo>
                      <a:pt x="198" y="149"/>
                    </a:lnTo>
                    <a:lnTo>
                      <a:pt x="198" y="149"/>
                    </a:lnTo>
                    <a:lnTo>
                      <a:pt x="201" y="147"/>
                    </a:lnTo>
                    <a:lnTo>
                      <a:pt x="201" y="147"/>
                    </a:lnTo>
                    <a:lnTo>
                      <a:pt x="201" y="144"/>
                    </a:lnTo>
                    <a:lnTo>
                      <a:pt x="201" y="144"/>
                    </a:lnTo>
                    <a:lnTo>
                      <a:pt x="201" y="144"/>
                    </a:lnTo>
                    <a:lnTo>
                      <a:pt x="196" y="144"/>
                    </a:lnTo>
                    <a:lnTo>
                      <a:pt x="196" y="144"/>
                    </a:lnTo>
                    <a:lnTo>
                      <a:pt x="191" y="144"/>
                    </a:lnTo>
                    <a:lnTo>
                      <a:pt x="189" y="142"/>
                    </a:lnTo>
                    <a:lnTo>
                      <a:pt x="189" y="140"/>
                    </a:lnTo>
                    <a:lnTo>
                      <a:pt x="186" y="140"/>
                    </a:lnTo>
                    <a:lnTo>
                      <a:pt x="189" y="140"/>
                    </a:lnTo>
                    <a:lnTo>
                      <a:pt x="186" y="137"/>
                    </a:lnTo>
                    <a:lnTo>
                      <a:pt x="186" y="137"/>
                    </a:lnTo>
                    <a:lnTo>
                      <a:pt x="186" y="135"/>
                    </a:lnTo>
                    <a:lnTo>
                      <a:pt x="189" y="135"/>
                    </a:lnTo>
                    <a:lnTo>
                      <a:pt x="189" y="133"/>
                    </a:lnTo>
                    <a:lnTo>
                      <a:pt x="189" y="133"/>
                    </a:lnTo>
                    <a:lnTo>
                      <a:pt x="191" y="133"/>
                    </a:lnTo>
                    <a:lnTo>
                      <a:pt x="189" y="130"/>
                    </a:lnTo>
                    <a:lnTo>
                      <a:pt x="189" y="130"/>
                    </a:lnTo>
                    <a:lnTo>
                      <a:pt x="189" y="130"/>
                    </a:lnTo>
                    <a:lnTo>
                      <a:pt x="189" y="130"/>
                    </a:lnTo>
                    <a:lnTo>
                      <a:pt x="186" y="130"/>
                    </a:lnTo>
                    <a:lnTo>
                      <a:pt x="186" y="128"/>
                    </a:lnTo>
                    <a:lnTo>
                      <a:pt x="184" y="128"/>
                    </a:lnTo>
                    <a:lnTo>
                      <a:pt x="184" y="126"/>
                    </a:lnTo>
                    <a:lnTo>
                      <a:pt x="184" y="123"/>
                    </a:lnTo>
                    <a:lnTo>
                      <a:pt x="184" y="123"/>
                    </a:lnTo>
                    <a:lnTo>
                      <a:pt x="184" y="123"/>
                    </a:lnTo>
                    <a:lnTo>
                      <a:pt x="186" y="123"/>
                    </a:lnTo>
                    <a:lnTo>
                      <a:pt x="186" y="123"/>
                    </a:lnTo>
                    <a:lnTo>
                      <a:pt x="189" y="121"/>
                    </a:lnTo>
                    <a:lnTo>
                      <a:pt x="191" y="121"/>
                    </a:lnTo>
                    <a:lnTo>
                      <a:pt x="191" y="121"/>
                    </a:lnTo>
                    <a:lnTo>
                      <a:pt x="191" y="118"/>
                    </a:lnTo>
                    <a:lnTo>
                      <a:pt x="194" y="118"/>
                    </a:lnTo>
                    <a:lnTo>
                      <a:pt x="194" y="116"/>
                    </a:lnTo>
                    <a:lnTo>
                      <a:pt x="191" y="116"/>
                    </a:lnTo>
                    <a:lnTo>
                      <a:pt x="191" y="116"/>
                    </a:lnTo>
                    <a:lnTo>
                      <a:pt x="189" y="114"/>
                    </a:lnTo>
                    <a:lnTo>
                      <a:pt x="189" y="111"/>
                    </a:lnTo>
                    <a:lnTo>
                      <a:pt x="186" y="111"/>
                    </a:lnTo>
                    <a:lnTo>
                      <a:pt x="186" y="109"/>
                    </a:lnTo>
                    <a:lnTo>
                      <a:pt x="186" y="109"/>
                    </a:lnTo>
                    <a:lnTo>
                      <a:pt x="186" y="109"/>
                    </a:lnTo>
                    <a:lnTo>
                      <a:pt x="189" y="107"/>
                    </a:lnTo>
                    <a:lnTo>
                      <a:pt x="191" y="107"/>
                    </a:lnTo>
                    <a:lnTo>
                      <a:pt x="191" y="107"/>
                    </a:lnTo>
                    <a:lnTo>
                      <a:pt x="189" y="104"/>
                    </a:lnTo>
                    <a:lnTo>
                      <a:pt x="189" y="104"/>
                    </a:lnTo>
                    <a:lnTo>
                      <a:pt x="189" y="102"/>
                    </a:lnTo>
                    <a:lnTo>
                      <a:pt x="186" y="102"/>
                    </a:lnTo>
                    <a:lnTo>
                      <a:pt x="186" y="102"/>
                    </a:lnTo>
                    <a:lnTo>
                      <a:pt x="186" y="99"/>
                    </a:lnTo>
                    <a:lnTo>
                      <a:pt x="186" y="97"/>
                    </a:lnTo>
                    <a:lnTo>
                      <a:pt x="186" y="97"/>
                    </a:lnTo>
                    <a:lnTo>
                      <a:pt x="186" y="97"/>
                    </a:lnTo>
                    <a:lnTo>
                      <a:pt x="186" y="97"/>
                    </a:lnTo>
                    <a:lnTo>
                      <a:pt x="184" y="95"/>
                    </a:lnTo>
                    <a:lnTo>
                      <a:pt x="182" y="95"/>
                    </a:lnTo>
                    <a:lnTo>
                      <a:pt x="179" y="97"/>
                    </a:lnTo>
                    <a:lnTo>
                      <a:pt x="177" y="97"/>
                    </a:lnTo>
                    <a:lnTo>
                      <a:pt x="177" y="97"/>
                    </a:lnTo>
                    <a:lnTo>
                      <a:pt x="177" y="99"/>
                    </a:lnTo>
                    <a:lnTo>
                      <a:pt x="179" y="99"/>
                    </a:lnTo>
                    <a:lnTo>
                      <a:pt x="177" y="102"/>
                    </a:lnTo>
                    <a:lnTo>
                      <a:pt x="175" y="102"/>
                    </a:lnTo>
                    <a:lnTo>
                      <a:pt x="175" y="102"/>
                    </a:lnTo>
                    <a:lnTo>
                      <a:pt x="172" y="102"/>
                    </a:lnTo>
                    <a:lnTo>
                      <a:pt x="172" y="99"/>
                    </a:lnTo>
                    <a:lnTo>
                      <a:pt x="175" y="99"/>
                    </a:lnTo>
                    <a:lnTo>
                      <a:pt x="175" y="99"/>
                    </a:lnTo>
                    <a:lnTo>
                      <a:pt x="175" y="97"/>
                    </a:lnTo>
                    <a:lnTo>
                      <a:pt x="177" y="97"/>
                    </a:lnTo>
                    <a:lnTo>
                      <a:pt x="175" y="95"/>
                    </a:lnTo>
                    <a:lnTo>
                      <a:pt x="175" y="95"/>
                    </a:lnTo>
                    <a:lnTo>
                      <a:pt x="175" y="95"/>
                    </a:lnTo>
                    <a:lnTo>
                      <a:pt x="177" y="92"/>
                    </a:lnTo>
                    <a:lnTo>
                      <a:pt x="177" y="92"/>
                    </a:lnTo>
                    <a:lnTo>
                      <a:pt x="179" y="90"/>
                    </a:lnTo>
                    <a:lnTo>
                      <a:pt x="182" y="90"/>
                    </a:lnTo>
                    <a:lnTo>
                      <a:pt x="182" y="88"/>
                    </a:lnTo>
                    <a:lnTo>
                      <a:pt x="182" y="85"/>
                    </a:lnTo>
                    <a:lnTo>
                      <a:pt x="182" y="85"/>
                    </a:lnTo>
                    <a:lnTo>
                      <a:pt x="184" y="83"/>
                    </a:lnTo>
                    <a:lnTo>
                      <a:pt x="184" y="83"/>
                    </a:lnTo>
                    <a:lnTo>
                      <a:pt x="186" y="83"/>
                    </a:lnTo>
                    <a:lnTo>
                      <a:pt x="189" y="81"/>
                    </a:lnTo>
                    <a:lnTo>
                      <a:pt x="189" y="78"/>
                    </a:lnTo>
                    <a:lnTo>
                      <a:pt x="191" y="78"/>
                    </a:lnTo>
                    <a:lnTo>
                      <a:pt x="191" y="78"/>
                    </a:lnTo>
                    <a:lnTo>
                      <a:pt x="191" y="78"/>
                    </a:lnTo>
                    <a:lnTo>
                      <a:pt x="191" y="76"/>
                    </a:lnTo>
                    <a:lnTo>
                      <a:pt x="189" y="76"/>
                    </a:lnTo>
                    <a:lnTo>
                      <a:pt x="189" y="76"/>
                    </a:lnTo>
                    <a:lnTo>
                      <a:pt x="191" y="76"/>
                    </a:lnTo>
                    <a:lnTo>
                      <a:pt x="191" y="73"/>
                    </a:lnTo>
                    <a:lnTo>
                      <a:pt x="194" y="73"/>
                    </a:lnTo>
                    <a:lnTo>
                      <a:pt x="194" y="73"/>
                    </a:lnTo>
                    <a:lnTo>
                      <a:pt x="194" y="76"/>
                    </a:lnTo>
                    <a:lnTo>
                      <a:pt x="194" y="76"/>
                    </a:lnTo>
                    <a:lnTo>
                      <a:pt x="196" y="76"/>
                    </a:lnTo>
                    <a:lnTo>
                      <a:pt x="196" y="76"/>
                    </a:lnTo>
                    <a:lnTo>
                      <a:pt x="198" y="76"/>
                    </a:lnTo>
                    <a:lnTo>
                      <a:pt x="198" y="73"/>
                    </a:lnTo>
                    <a:lnTo>
                      <a:pt x="198" y="73"/>
                    </a:lnTo>
                    <a:lnTo>
                      <a:pt x="201" y="71"/>
                    </a:lnTo>
                    <a:lnTo>
                      <a:pt x="201" y="71"/>
                    </a:lnTo>
                    <a:lnTo>
                      <a:pt x="201" y="71"/>
                    </a:lnTo>
                    <a:lnTo>
                      <a:pt x="201" y="69"/>
                    </a:lnTo>
                    <a:lnTo>
                      <a:pt x="201" y="66"/>
                    </a:lnTo>
                    <a:lnTo>
                      <a:pt x="201" y="64"/>
                    </a:lnTo>
                    <a:lnTo>
                      <a:pt x="201" y="62"/>
                    </a:lnTo>
                    <a:lnTo>
                      <a:pt x="201" y="59"/>
                    </a:lnTo>
                    <a:lnTo>
                      <a:pt x="203" y="57"/>
                    </a:lnTo>
                    <a:lnTo>
                      <a:pt x="203" y="54"/>
                    </a:lnTo>
                    <a:lnTo>
                      <a:pt x="205" y="52"/>
                    </a:lnTo>
                    <a:lnTo>
                      <a:pt x="205" y="50"/>
                    </a:lnTo>
                    <a:lnTo>
                      <a:pt x="205" y="50"/>
                    </a:lnTo>
                    <a:lnTo>
                      <a:pt x="210" y="45"/>
                    </a:lnTo>
                    <a:lnTo>
                      <a:pt x="210" y="45"/>
                    </a:lnTo>
                    <a:lnTo>
                      <a:pt x="210" y="43"/>
                    </a:lnTo>
                    <a:lnTo>
                      <a:pt x="210" y="43"/>
                    </a:lnTo>
                    <a:close/>
                    <a:moveTo>
                      <a:pt x="231" y="178"/>
                    </a:moveTo>
                    <a:lnTo>
                      <a:pt x="231" y="175"/>
                    </a:lnTo>
                    <a:lnTo>
                      <a:pt x="231" y="175"/>
                    </a:lnTo>
                    <a:lnTo>
                      <a:pt x="231" y="175"/>
                    </a:lnTo>
                    <a:lnTo>
                      <a:pt x="231" y="173"/>
                    </a:lnTo>
                    <a:lnTo>
                      <a:pt x="231" y="171"/>
                    </a:lnTo>
                    <a:lnTo>
                      <a:pt x="231" y="168"/>
                    </a:lnTo>
                    <a:lnTo>
                      <a:pt x="231" y="168"/>
                    </a:lnTo>
                    <a:lnTo>
                      <a:pt x="229" y="168"/>
                    </a:lnTo>
                    <a:lnTo>
                      <a:pt x="229" y="168"/>
                    </a:lnTo>
                    <a:lnTo>
                      <a:pt x="229" y="168"/>
                    </a:lnTo>
                    <a:lnTo>
                      <a:pt x="229" y="171"/>
                    </a:lnTo>
                    <a:lnTo>
                      <a:pt x="229" y="173"/>
                    </a:lnTo>
                    <a:lnTo>
                      <a:pt x="229" y="173"/>
                    </a:lnTo>
                    <a:lnTo>
                      <a:pt x="227" y="175"/>
                    </a:lnTo>
                    <a:lnTo>
                      <a:pt x="227" y="173"/>
                    </a:lnTo>
                    <a:lnTo>
                      <a:pt x="227" y="173"/>
                    </a:lnTo>
                    <a:lnTo>
                      <a:pt x="224" y="173"/>
                    </a:lnTo>
                    <a:lnTo>
                      <a:pt x="224" y="173"/>
                    </a:lnTo>
                    <a:lnTo>
                      <a:pt x="224" y="175"/>
                    </a:lnTo>
                    <a:lnTo>
                      <a:pt x="222" y="175"/>
                    </a:lnTo>
                    <a:lnTo>
                      <a:pt x="220" y="175"/>
                    </a:lnTo>
                    <a:lnTo>
                      <a:pt x="217" y="178"/>
                    </a:lnTo>
                    <a:lnTo>
                      <a:pt x="217" y="180"/>
                    </a:lnTo>
                    <a:lnTo>
                      <a:pt x="215" y="180"/>
                    </a:lnTo>
                    <a:lnTo>
                      <a:pt x="215" y="180"/>
                    </a:lnTo>
                    <a:lnTo>
                      <a:pt x="215" y="182"/>
                    </a:lnTo>
                    <a:lnTo>
                      <a:pt x="217" y="182"/>
                    </a:lnTo>
                    <a:lnTo>
                      <a:pt x="217" y="182"/>
                    </a:lnTo>
                    <a:lnTo>
                      <a:pt x="217" y="182"/>
                    </a:lnTo>
                    <a:lnTo>
                      <a:pt x="215" y="185"/>
                    </a:lnTo>
                    <a:lnTo>
                      <a:pt x="215" y="185"/>
                    </a:lnTo>
                    <a:lnTo>
                      <a:pt x="217" y="187"/>
                    </a:lnTo>
                    <a:lnTo>
                      <a:pt x="217" y="187"/>
                    </a:lnTo>
                    <a:lnTo>
                      <a:pt x="217" y="187"/>
                    </a:lnTo>
                    <a:lnTo>
                      <a:pt x="217" y="189"/>
                    </a:lnTo>
                    <a:lnTo>
                      <a:pt x="217" y="189"/>
                    </a:lnTo>
                    <a:lnTo>
                      <a:pt x="217" y="189"/>
                    </a:lnTo>
                    <a:lnTo>
                      <a:pt x="217" y="189"/>
                    </a:lnTo>
                    <a:lnTo>
                      <a:pt x="217" y="189"/>
                    </a:lnTo>
                    <a:lnTo>
                      <a:pt x="220" y="192"/>
                    </a:lnTo>
                    <a:lnTo>
                      <a:pt x="217" y="192"/>
                    </a:lnTo>
                    <a:lnTo>
                      <a:pt x="217" y="194"/>
                    </a:lnTo>
                    <a:lnTo>
                      <a:pt x="220" y="194"/>
                    </a:lnTo>
                    <a:lnTo>
                      <a:pt x="220" y="194"/>
                    </a:lnTo>
                    <a:lnTo>
                      <a:pt x="220" y="194"/>
                    </a:lnTo>
                    <a:lnTo>
                      <a:pt x="220" y="197"/>
                    </a:lnTo>
                    <a:lnTo>
                      <a:pt x="220" y="197"/>
                    </a:lnTo>
                    <a:lnTo>
                      <a:pt x="220" y="197"/>
                    </a:lnTo>
                    <a:lnTo>
                      <a:pt x="222" y="199"/>
                    </a:lnTo>
                    <a:lnTo>
                      <a:pt x="222" y="199"/>
                    </a:lnTo>
                    <a:lnTo>
                      <a:pt x="227" y="201"/>
                    </a:lnTo>
                    <a:lnTo>
                      <a:pt x="227" y="199"/>
                    </a:lnTo>
                    <a:lnTo>
                      <a:pt x="229" y="197"/>
                    </a:lnTo>
                    <a:lnTo>
                      <a:pt x="229" y="194"/>
                    </a:lnTo>
                    <a:lnTo>
                      <a:pt x="229" y="194"/>
                    </a:lnTo>
                    <a:lnTo>
                      <a:pt x="229" y="189"/>
                    </a:lnTo>
                    <a:lnTo>
                      <a:pt x="229" y="189"/>
                    </a:lnTo>
                    <a:lnTo>
                      <a:pt x="231" y="185"/>
                    </a:lnTo>
                    <a:lnTo>
                      <a:pt x="231" y="185"/>
                    </a:lnTo>
                    <a:lnTo>
                      <a:pt x="231" y="178"/>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Freeform 156"/>
              <p:cNvSpPr>
                <a:spLocks noEditPoints="1"/>
              </p:cNvSpPr>
              <p:nvPr/>
            </p:nvSpPr>
            <p:spPr bwMode="auto">
              <a:xfrm>
                <a:off x="3085" y="1360"/>
                <a:ext cx="165" cy="192"/>
              </a:xfrm>
              <a:custGeom>
                <a:avLst/>
                <a:gdLst>
                  <a:gd name="T0" fmla="*/ 28 w 165"/>
                  <a:gd name="T1" fmla="*/ 185 h 192"/>
                  <a:gd name="T2" fmla="*/ 37 w 165"/>
                  <a:gd name="T3" fmla="*/ 180 h 192"/>
                  <a:gd name="T4" fmla="*/ 37 w 165"/>
                  <a:gd name="T5" fmla="*/ 185 h 192"/>
                  <a:gd name="T6" fmla="*/ 30 w 165"/>
                  <a:gd name="T7" fmla="*/ 178 h 192"/>
                  <a:gd name="T8" fmla="*/ 21 w 165"/>
                  <a:gd name="T9" fmla="*/ 176 h 192"/>
                  <a:gd name="T10" fmla="*/ 18 w 165"/>
                  <a:gd name="T11" fmla="*/ 128 h 192"/>
                  <a:gd name="T12" fmla="*/ 16 w 165"/>
                  <a:gd name="T13" fmla="*/ 126 h 192"/>
                  <a:gd name="T14" fmla="*/ 68 w 165"/>
                  <a:gd name="T15" fmla="*/ 93 h 192"/>
                  <a:gd name="T16" fmla="*/ 165 w 165"/>
                  <a:gd name="T17" fmla="*/ 131 h 192"/>
                  <a:gd name="T18" fmla="*/ 141 w 165"/>
                  <a:gd name="T19" fmla="*/ 116 h 192"/>
                  <a:gd name="T20" fmla="*/ 146 w 165"/>
                  <a:gd name="T21" fmla="*/ 107 h 192"/>
                  <a:gd name="T22" fmla="*/ 137 w 165"/>
                  <a:gd name="T23" fmla="*/ 97 h 192"/>
                  <a:gd name="T24" fmla="*/ 134 w 165"/>
                  <a:gd name="T25" fmla="*/ 90 h 192"/>
                  <a:gd name="T26" fmla="*/ 132 w 165"/>
                  <a:gd name="T27" fmla="*/ 81 h 192"/>
                  <a:gd name="T28" fmla="*/ 132 w 165"/>
                  <a:gd name="T29" fmla="*/ 71 h 192"/>
                  <a:gd name="T30" fmla="*/ 120 w 165"/>
                  <a:gd name="T31" fmla="*/ 57 h 192"/>
                  <a:gd name="T32" fmla="*/ 130 w 165"/>
                  <a:gd name="T33" fmla="*/ 43 h 192"/>
                  <a:gd name="T34" fmla="*/ 111 w 165"/>
                  <a:gd name="T35" fmla="*/ 24 h 192"/>
                  <a:gd name="T36" fmla="*/ 111 w 165"/>
                  <a:gd name="T37" fmla="*/ 19 h 192"/>
                  <a:gd name="T38" fmla="*/ 113 w 165"/>
                  <a:gd name="T39" fmla="*/ 7 h 192"/>
                  <a:gd name="T40" fmla="*/ 87 w 165"/>
                  <a:gd name="T41" fmla="*/ 3 h 192"/>
                  <a:gd name="T42" fmla="*/ 70 w 165"/>
                  <a:gd name="T43" fmla="*/ 7 h 192"/>
                  <a:gd name="T44" fmla="*/ 66 w 165"/>
                  <a:gd name="T45" fmla="*/ 22 h 192"/>
                  <a:gd name="T46" fmla="*/ 52 w 165"/>
                  <a:gd name="T47" fmla="*/ 26 h 192"/>
                  <a:gd name="T48" fmla="*/ 35 w 165"/>
                  <a:gd name="T49" fmla="*/ 26 h 192"/>
                  <a:gd name="T50" fmla="*/ 16 w 165"/>
                  <a:gd name="T51" fmla="*/ 17 h 192"/>
                  <a:gd name="T52" fmla="*/ 7 w 165"/>
                  <a:gd name="T53" fmla="*/ 19 h 192"/>
                  <a:gd name="T54" fmla="*/ 7 w 165"/>
                  <a:gd name="T55" fmla="*/ 22 h 192"/>
                  <a:gd name="T56" fmla="*/ 23 w 165"/>
                  <a:gd name="T57" fmla="*/ 29 h 192"/>
                  <a:gd name="T58" fmla="*/ 42 w 165"/>
                  <a:gd name="T59" fmla="*/ 38 h 192"/>
                  <a:gd name="T60" fmla="*/ 40 w 165"/>
                  <a:gd name="T61" fmla="*/ 48 h 192"/>
                  <a:gd name="T62" fmla="*/ 44 w 165"/>
                  <a:gd name="T63" fmla="*/ 52 h 192"/>
                  <a:gd name="T64" fmla="*/ 49 w 165"/>
                  <a:gd name="T65" fmla="*/ 60 h 192"/>
                  <a:gd name="T66" fmla="*/ 47 w 165"/>
                  <a:gd name="T67" fmla="*/ 69 h 192"/>
                  <a:gd name="T68" fmla="*/ 59 w 165"/>
                  <a:gd name="T69" fmla="*/ 79 h 192"/>
                  <a:gd name="T70" fmla="*/ 70 w 165"/>
                  <a:gd name="T71" fmla="*/ 83 h 192"/>
                  <a:gd name="T72" fmla="*/ 70 w 165"/>
                  <a:gd name="T73" fmla="*/ 95 h 192"/>
                  <a:gd name="T74" fmla="*/ 61 w 165"/>
                  <a:gd name="T75" fmla="*/ 100 h 192"/>
                  <a:gd name="T76" fmla="*/ 42 w 165"/>
                  <a:gd name="T77" fmla="*/ 114 h 192"/>
                  <a:gd name="T78" fmla="*/ 30 w 165"/>
                  <a:gd name="T79" fmla="*/ 121 h 192"/>
                  <a:gd name="T80" fmla="*/ 21 w 165"/>
                  <a:gd name="T81" fmla="*/ 128 h 192"/>
                  <a:gd name="T82" fmla="*/ 16 w 165"/>
                  <a:gd name="T83" fmla="*/ 140 h 192"/>
                  <a:gd name="T84" fmla="*/ 23 w 165"/>
                  <a:gd name="T85" fmla="*/ 154 h 192"/>
                  <a:gd name="T86" fmla="*/ 23 w 165"/>
                  <a:gd name="T87" fmla="*/ 159 h 192"/>
                  <a:gd name="T88" fmla="*/ 23 w 165"/>
                  <a:gd name="T89" fmla="*/ 171 h 192"/>
                  <a:gd name="T90" fmla="*/ 30 w 165"/>
                  <a:gd name="T91" fmla="*/ 178 h 192"/>
                  <a:gd name="T92" fmla="*/ 42 w 165"/>
                  <a:gd name="T93" fmla="*/ 183 h 192"/>
                  <a:gd name="T94" fmla="*/ 40 w 165"/>
                  <a:gd name="T95" fmla="*/ 187 h 192"/>
                  <a:gd name="T96" fmla="*/ 47 w 165"/>
                  <a:gd name="T97" fmla="*/ 185 h 192"/>
                  <a:gd name="T98" fmla="*/ 52 w 165"/>
                  <a:gd name="T99" fmla="*/ 190 h 192"/>
                  <a:gd name="T100" fmla="*/ 70 w 165"/>
                  <a:gd name="T101" fmla="*/ 185 h 192"/>
                  <a:gd name="T102" fmla="*/ 87 w 165"/>
                  <a:gd name="T103" fmla="*/ 183 h 192"/>
                  <a:gd name="T104" fmla="*/ 97 w 165"/>
                  <a:gd name="T105" fmla="*/ 180 h 192"/>
                  <a:gd name="T106" fmla="*/ 101 w 165"/>
                  <a:gd name="T107" fmla="*/ 180 h 192"/>
                  <a:gd name="T108" fmla="*/ 118 w 165"/>
                  <a:gd name="T109" fmla="*/ 178 h 192"/>
                  <a:gd name="T110" fmla="*/ 137 w 165"/>
                  <a:gd name="T111" fmla="*/ 164 h 192"/>
                  <a:gd name="T112" fmla="*/ 160 w 165"/>
                  <a:gd name="T113" fmla="*/ 14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5" h="192">
                    <a:moveTo>
                      <a:pt x="26" y="185"/>
                    </a:moveTo>
                    <a:lnTo>
                      <a:pt x="26" y="185"/>
                    </a:lnTo>
                    <a:lnTo>
                      <a:pt x="26" y="185"/>
                    </a:lnTo>
                    <a:lnTo>
                      <a:pt x="26" y="185"/>
                    </a:lnTo>
                    <a:lnTo>
                      <a:pt x="28" y="185"/>
                    </a:lnTo>
                    <a:lnTo>
                      <a:pt x="28" y="185"/>
                    </a:lnTo>
                    <a:lnTo>
                      <a:pt x="28" y="185"/>
                    </a:lnTo>
                    <a:lnTo>
                      <a:pt x="26" y="185"/>
                    </a:lnTo>
                    <a:close/>
                    <a:moveTo>
                      <a:pt x="28" y="185"/>
                    </a:moveTo>
                    <a:lnTo>
                      <a:pt x="28" y="185"/>
                    </a:lnTo>
                    <a:lnTo>
                      <a:pt x="28" y="185"/>
                    </a:lnTo>
                    <a:lnTo>
                      <a:pt x="30" y="185"/>
                    </a:lnTo>
                    <a:lnTo>
                      <a:pt x="30" y="183"/>
                    </a:lnTo>
                    <a:lnTo>
                      <a:pt x="28" y="183"/>
                    </a:lnTo>
                    <a:lnTo>
                      <a:pt x="28" y="185"/>
                    </a:lnTo>
                    <a:close/>
                    <a:moveTo>
                      <a:pt x="37" y="183"/>
                    </a:moveTo>
                    <a:lnTo>
                      <a:pt x="37" y="180"/>
                    </a:lnTo>
                    <a:lnTo>
                      <a:pt x="37" y="180"/>
                    </a:lnTo>
                    <a:lnTo>
                      <a:pt x="35" y="180"/>
                    </a:lnTo>
                    <a:lnTo>
                      <a:pt x="35" y="180"/>
                    </a:lnTo>
                    <a:lnTo>
                      <a:pt x="33" y="183"/>
                    </a:lnTo>
                    <a:lnTo>
                      <a:pt x="33" y="183"/>
                    </a:lnTo>
                    <a:lnTo>
                      <a:pt x="35" y="183"/>
                    </a:lnTo>
                    <a:lnTo>
                      <a:pt x="35" y="183"/>
                    </a:lnTo>
                    <a:lnTo>
                      <a:pt x="35" y="183"/>
                    </a:lnTo>
                    <a:lnTo>
                      <a:pt x="37" y="185"/>
                    </a:lnTo>
                    <a:lnTo>
                      <a:pt x="37" y="185"/>
                    </a:lnTo>
                    <a:lnTo>
                      <a:pt x="37" y="183"/>
                    </a:lnTo>
                    <a:lnTo>
                      <a:pt x="37" y="183"/>
                    </a:lnTo>
                    <a:lnTo>
                      <a:pt x="37" y="183"/>
                    </a:lnTo>
                    <a:lnTo>
                      <a:pt x="37" y="183"/>
                    </a:lnTo>
                    <a:close/>
                    <a:moveTo>
                      <a:pt x="30" y="180"/>
                    </a:moveTo>
                    <a:lnTo>
                      <a:pt x="30" y="180"/>
                    </a:lnTo>
                    <a:lnTo>
                      <a:pt x="30" y="180"/>
                    </a:lnTo>
                    <a:lnTo>
                      <a:pt x="30" y="178"/>
                    </a:lnTo>
                    <a:lnTo>
                      <a:pt x="30" y="178"/>
                    </a:lnTo>
                    <a:lnTo>
                      <a:pt x="30" y="180"/>
                    </a:lnTo>
                    <a:lnTo>
                      <a:pt x="30" y="180"/>
                    </a:lnTo>
                    <a:lnTo>
                      <a:pt x="30" y="180"/>
                    </a:lnTo>
                    <a:lnTo>
                      <a:pt x="30" y="180"/>
                    </a:lnTo>
                    <a:lnTo>
                      <a:pt x="33" y="180"/>
                    </a:lnTo>
                    <a:lnTo>
                      <a:pt x="33" y="180"/>
                    </a:lnTo>
                    <a:lnTo>
                      <a:pt x="30" y="180"/>
                    </a:lnTo>
                    <a:close/>
                    <a:moveTo>
                      <a:pt x="21" y="176"/>
                    </a:moveTo>
                    <a:lnTo>
                      <a:pt x="21" y="176"/>
                    </a:lnTo>
                    <a:lnTo>
                      <a:pt x="21" y="176"/>
                    </a:lnTo>
                    <a:lnTo>
                      <a:pt x="21" y="178"/>
                    </a:lnTo>
                    <a:lnTo>
                      <a:pt x="21" y="178"/>
                    </a:lnTo>
                    <a:lnTo>
                      <a:pt x="23" y="178"/>
                    </a:lnTo>
                    <a:lnTo>
                      <a:pt x="23" y="178"/>
                    </a:lnTo>
                    <a:lnTo>
                      <a:pt x="23" y="178"/>
                    </a:lnTo>
                    <a:lnTo>
                      <a:pt x="21" y="176"/>
                    </a:lnTo>
                    <a:lnTo>
                      <a:pt x="21" y="176"/>
                    </a:lnTo>
                    <a:close/>
                    <a:moveTo>
                      <a:pt x="18" y="128"/>
                    </a:moveTo>
                    <a:lnTo>
                      <a:pt x="18" y="126"/>
                    </a:lnTo>
                    <a:lnTo>
                      <a:pt x="18" y="126"/>
                    </a:lnTo>
                    <a:lnTo>
                      <a:pt x="18" y="126"/>
                    </a:lnTo>
                    <a:lnTo>
                      <a:pt x="18" y="126"/>
                    </a:lnTo>
                    <a:lnTo>
                      <a:pt x="18" y="126"/>
                    </a:lnTo>
                    <a:lnTo>
                      <a:pt x="18" y="126"/>
                    </a:lnTo>
                    <a:lnTo>
                      <a:pt x="18" y="126"/>
                    </a:lnTo>
                    <a:lnTo>
                      <a:pt x="16" y="126"/>
                    </a:lnTo>
                    <a:lnTo>
                      <a:pt x="16" y="126"/>
                    </a:lnTo>
                    <a:lnTo>
                      <a:pt x="16" y="126"/>
                    </a:lnTo>
                    <a:lnTo>
                      <a:pt x="16" y="126"/>
                    </a:lnTo>
                    <a:lnTo>
                      <a:pt x="14" y="126"/>
                    </a:lnTo>
                    <a:lnTo>
                      <a:pt x="16" y="126"/>
                    </a:lnTo>
                    <a:lnTo>
                      <a:pt x="16" y="128"/>
                    </a:lnTo>
                    <a:lnTo>
                      <a:pt x="18" y="128"/>
                    </a:lnTo>
                    <a:close/>
                    <a:moveTo>
                      <a:pt x="66" y="93"/>
                    </a:moveTo>
                    <a:lnTo>
                      <a:pt x="66" y="93"/>
                    </a:lnTo>
                    <a:lnTo>
                      <a:pt x="68" y="93"/>
                    </a:lnTo>
                    <a:lnTo>
                      <a:pt x="66" y="93"/>
                    </a:lnTo>
                    <a:lnTo>
                      <a:pt x="63" y="90"/>
                    </a:lnTo>
                    <a:lnTo>
                      <a:pt x="61" y="90"/>
                    </a:lnTo>
                    <a:lnTo>
                      <a:pt x="61" y="93"/>
                    </a:lnTo>
                    <a:lnTo>
                      <a:pt x="61" y="93"/>
                    </a:lnTo>
                    <a:lnTo>
                      <a:pt x="63" y="93"/>
                    </a:lnTo>
                    <a:lnTo>
                      <a:pt x="66" y="93"/>
                    </a:lnTo>
                    <a:close/>
                    <a:moveTo>
                      <a:pt x="165" y="131"/>
                    </a:moveTo>
                    <a:lnTo>
                      <a:pt x="165" y="131"/>
                    </a:lnTo>
                    <a:lnTo>
                      <a:pt x="165" y="131"/>
                    </a:lnTo>
                    <a:lnTo>
                      <a:pt x="163" y="128"/>
                    </a:lnTo>
                    <a:lnTo>
                      <a:pt x="160" y="128"/>
                    </a:lnTo>
                    <a:lnTo>
                      <a:pt x="160" y="126"/>
                    </a:lnTo>
                    <a:lnTo>
                      <a:pt x="158" y="124"/>
                    </a:lnTo>
                    <a:lnTo>
                      <a:pt x="151" y="124"/>
                    </a:lnTo>
                    <a:lnTo>
                      <a:pt x="149" y="121"/>
                    </a:lnTo>
                    <a:lnTo>
                      <a:pt x="141" y="116"/>
                    </a:lnTo>
                    <a:lnTo>
                      <a:pt x="141" y="116"/>
                    </a:lnTo>
                    <a:lnTo>
                      <a:pt x="141" y="116"/>
                    </a:lnTo>
                    <a:lnTo>
                      <a:pt x="144" y="114"/>
                    </a:lnTo>
                    <a:lnTo>
                      <a:pt x="146" y="112"/>
                    </a:lnTo>
                    <a:lnTo>
                      <a:pt x="149" y="112"/>
                    </a:lnTo>
                    <a:lnTo>
                      <a:pt x="149" y="109"/>
                    </a:lnTo>
                    <a:lnTo>
                      <a:pt x="149" y="109"/>
                    </a:lnTo>
                    <a:lnTo>
                      <a:pt x="149" y="107"/>
                    </a:lnTo>
                    <a:lnTo>
                      <a:pt x="146" y="107"/>
                    </a:lnTo>
                    <a:lnTo>
                      <a:pt x="146" y="107"/>
                    </a:lnTo>
                    <a:lnTo>
                      <a:pt x="141" y="105"/>
                    </a:lnTo>
                    <a:lnTo>
                      <a:pt x="141" y="102"/>
                    </a:lnTo>
                    <a:lnTo>
                      <a:pt x="139" y="102"/>
                    </a:lnTo>
                    <a:lnTo>
                      <a:pt x="139" y="100"/>
                    </a:lnTo>
                    <a:lnTo>
                      <a:pt x="141" y="100"/>
                    </a:lnTo>
                    <a:lnTo>
                      <a:pt x="141" y="97"/>
                    </a:lnTo>
                    <a:lnTo>
                      <a:pt x="141" y="97"/>
                    </a:lnTo>
                    <a:lnTo>
                      <a:pt x="139" y="97"/>
                    </a:lnTo>
                    <a:lnTo>
                      <a:pt x="137" y="97"/>
                    </a:lnTo>
                    <a:lnTo>
                      <a:pt x="134" y="95"/>
                    </a:lnTo>
                    <a:lnTo>
                      <a:pt x="134" y="95"/>
                    </a:lnTo>
                    <a:lnTo>
                      <a:pt x="132" y="93"/>
                    </a:lnTo>
                    <a:lnTo>
                      <a:pt x="132" y="93"/>
                    </a:lnTo>
                    <a:lnTo>
                      <a:pt x="132" y="93"/>
                    </a:lnTo>
                    <a:lnTo>
                      <a:pt x="134" y="90"/>
                    </a:lnTo>
                    <a:lnTo>
                      <a:pt x="134" y="90"/>
                    </a:lnTo>
                    <a:lnTo>
                      <a:pt x="134" y="90"/>
                    </a:lnTo>
                    <a:lnTo>
                      <a:pt x="134" y="90"/>
                    </a:lnTo>
                    <a:lnTo>
                      <a:pt x="134" y="88"/>
                    </a:lnTo>
                    <a:lnTo>
                      <a:pt x="132" y="88"/>
                    </a:lnTo>
                    <a:lnTo>
                      <a:pt x="132" y="88"/>
                    </a:lnTo>
                    <a:lnTo>
                      <a:pt x="132" y="88"/>
                    </a:lnTo>
                    <a:lnTo>
                      <a:pt x="132" y="88"/>
                    </a:lnTo>
                    <a:lnTo>
                      <a:pt x="132" y="86"/>
                    </a:lnTo>
                    <a:lnTo>
                      <a:pt x="132" y="83"/>
                    </a:lnTo>
                    <a:lnTo>
                      <a:pt x="134" y="83"/>
                    </a:lnTo>
                    <a:lnTo>
                      <a:pt x="132" y="81"/>
                    </a:lnTo>
                    <a:lnTo>
                      <a:pt x="132" y="81"/>
                    </a:lnTo>
                    <a:lnTo>
                      <a:pt x="134" y="81"/>
                    </a:lnTo>
                    <a:lnTo>
                      <a:pt x="137" y="81"/>
                    </a:lnTo>
                    <a:lnTo>
                      <a:pt x="137" y="81"/>
                    </a:lnTo>
                    <a:lnTo>
                      <a:pt x="137" y="79"/>
                    </a:lnTo>
                    <a:lnTo>
                      <a:pt x="137" y="79"/>
                    </a:lnTo>
                    <a:lnTo>
                      <a:pt x="134" y="74"/>
                    </a:lnTo>
                    <a:lnTo>
                      <a:pt x="134" y="71"/>
                    </a:lnTo>
                    <a:lnTo>
                      <a:pt x="132" y="71"/>
                    </a:lnTo>
                    <a:lnTo>
                      <a:pt x="130" y="69"/>
                    </a:lnTo>
                    <a:lnTo>
                      <a:pt x="130" y="69"/>
                    </a:lnTo>
                    <a:lnTo>
                      <a:pt x="130" y="67"/>
                    </a:lnTo>
                    <a:lnTo>
                      <a:pt x="127" y="67"/>
                    </a:lnTo>
                    <a:lnTo>
                      <a:pt x="127" y="64"/>
                    </a:lnTo>
                    <a:lnTo>
                      <a:pt x="125" y="62"/>
                    </a:lnTo>
                    <a:lnTo>
                      <a:pt x="123" y="62"/>
                    </a:lnTo>
                    <a:lnTo>
                      <a:pt x="120" y="60"/>
                    </a:lnTo>
                    <a:lnTo>
                      <a:pt x="120" y="57"/>
                    </a:lnTo>
                    <a:lnTo>
                      <a:pt x="120" y="57"/>
                    </a:lnTo>
                    <a:lnTo>
                      <a:pt x="120" y="57"/>
                    </a:lnTo>
                    <a:lnTo>
                      <a:pt x="123" y="55"/>
                    </a:lnTo>
                    <a:lnTo>
                      <a:pt x="123" y="52"/>
                    </a:lnTo>
                    <a:lnTo>
                      <a:pt x="125" y="50"/>
                    </a:lnTo>
                    <a:lnTo>
                      <a:pt x="127" y="48"/>
                    </a:lnTo>
                    <a:lnTo>
                      <a:pt x="130" y="45"/>
                    </a:lnTo>
                    <a:lnTo>
                      <a:pt x="130" y="43"/>
                    </a:lnTo>
                    <a:lnTo>
                      <a:pt x="130" y="43"/>
                    </a:lnTo>
                    <a:lnTo>
                      <a:pt x="127" y="43"/>
                    </a:lnTo>
                    <a:lnTo>
                      <a:pt x="123" y="38"/>
                    </a:lnTo>
                    <a:lnTo>
                      <a:pt x="120" y="36"/>
                    </a:lnTo>
                    <a:lnTo>
                      <a:pt x="115" y="36"/>
                    </a:lnTo>
                    <a:lnTo>
                      <a:pt x="111" y="34"/>
                    </a:lnTo>
                    <a:lnTo>
                      <a:pt x="108" y="31"/>
                    </a:lnTo>
                    <a:lnTo>
                      <a:pt x="108" y="29"/>
                    </a:lnTo>
                    <a:lnTo>
                      <a:pt x="108" y="29"/>
                    </a:lnTo>
                    <a:lnTo>
                      <a:pt x="111" y="24"/>
                    </a:lnTo>
                    <a:lnTo>
                      <a:pt x="111" y="24"/>
                    </a:lnTo>
                    <a:lnTo>
                      <a:pt x="111" y="22"/>
                    </a:lnTo>
                    <a:lnTo>
                      <a:pt x="111" y="22"/>
                    </a:lnTo>
                    <a:lnTo>
                      <a:pt x="108" y="22"/>
                    </a:lnTo>
                    <a:lnTo>
                      <a:pt x="106" y="22"/>
                    </a:lnTo>
                    <a:lnTo>
                      <a:pt x="106" y="22"/>
                    </a:lnTo>
                    <a:lnTo>
                      <a:pt x="108" y="22"/>
                    </a:lnTo>
                    <a:lnTo>
                      <a:pt x="108" y="19"/>
                    </a:lnTo>
                    <a:lnTo>
                      <a:pt x="111" y="19"/>
                    </a:lnTo>
                    <a:lnTo>
                      <a:pt x="113" y="19"/>
                    </a:lnTo>
                    <a:lnTo>
                      <a:pt x="111" y="19"/>
                    </a:lnTo>
                    <a:lnTo>
                      <a:pt x="111" y="17"/>
                    </a:lnTo>
                    <a:lnTo>
                      <a:pt x="111" y="17"/>
                    </a:lnTo>
                    <a:lnTo>
                      <a:pt x="113" y="15"/>
                    </a:lnTo>
                    <a:lnTo>
                      <a:pt x="115" y="12"/>
                    </a:lnTo>
                    <a:lnTo>
                      <a:pt x="115" y="12"/>
                    </a:lnTo>
                    <a:lnTo>
                      <a:pt x="115" y="12"/>
                    </a:lnTo>
                    <a:lnTo>
                      <a:pt x="113" y="7"/>
                    </a:lnTo>
                    <a:lnTo>
                      <a:pt x="108" y="7"/>
                    </a:lnTo>
                    <a:lnTo>
                      <a:pt x="104" y="5"/>
                    </a:lnTo>
                    <a:lnTo>
                      <a:pt x="101" y="5"/>
                    </a:lnTo>
                    <a:lnTo>
                      <a:pt x="97" y="3"/>
                    </a:lnTo>
                    <a:lnTo>
                      <a:pt x="94" y="0"/>
                    </a:lnTo>
                    <a:lnTo>
                      <a:pt x="94" y="0"/>
                    </a:lnTo>
                    <a:lnTo>
                      <a:pt x="92" y="0"/>
                    </a:lnTo>
                    <a:lnTo>
                      <a:pt x="87" y="3"/>
                    </a:lnTo>
                    <a:lnTo>
                      <a:pt x="87" y="3"/>
                    </a:lnTo>
                    <a:lnTo>
                      <a:pt x="85" y="3"/>
                    </a:lnTo>
                    <a:lnTo>
                      <a:pt x="85" y="3"/>
                    </a:lnTo>
                    <a:lnTo>
                      <a:pt x="82" y="3"/>
                    </a:lnTo>
                    <a:lnTo>
                      <a:pt x="80" y="3"/>
                    </a:lnTo>
                    <a:lnTo>
                      <a:pt x="78" y="3"/>
                    </a:lnTo>
                    <a:lnTo>
                      <a:pt x="78" y="3"/>
                    </a:lnTo>
                    <a:lnTo>
                      <a:pt x="75" y="5"/>
                    </a:lnTo>
                    <a:lnTo>
                      <a:pt x="73" y="7"/>
                    </a:lnTo>
                    <a:lnTo>
                      <a:pt x="70" y="7"/>
                    </a:lnTo>
                    <a:lnTo>
                      <a:pt x="70" y="7"/>
                    </a:lnTo>
                    <a:lnTo>
                      <a:pt x="70" y="10"/>
                    </a:lnTo>
                    <a:lnTo>
                      <a:pt x="70" y="12"/>
                    </a:lnTo>
                    <a:lnTo>
                      <a:pt x="68" y="15"/>
                    </a:lnTo>
                    <a:lnTo>
                      <a:pt x="68" y="15"/>
                    </a:lnTo>
                    <a:lnTo>
                      <a:pt x="68" y="19"/>
                    </a:lnTo>
                    <a:lnTo>
                      <a:pt x="68" y="19"/>
                    </a:lnTo>
                    <a:lnTo>
                      <a:pt x="68" y="22"/>
                    </a:lnTo>
                    <a:lnTo>
                      <a:pt x="66" y="22"/>
                    </a:lnTo>
                    <a:lnTo>
                      <a:pt x="66" y="22"/>
                    </a:lnTo>
                    <a:lnTo>
                      <a:pt x="63" y="22"/>
                    </a:lnTo>
                    <a:lnTo>
                      <a:pt x="63" y="24"/>
                    </a:lnTo>
                    <a:lnTo>
                      <a:pt x="61" y="24"/>
                    </a:lnTo>
                    <a:lnTo>
                      <a:pt x="61" y="26"/>
                    </a:lnTo>
                    <a:lnTo>
                      <a:pt x="59" y="26"/>
                    </a:lnTo>
                    <a:lnTo>
                      <a:pt x="56" y="26"/>
                    </a:lnTo>
                    <a:lnTo>
                      <a:pt x="56" y="26"/>
                    </a:lnTo>
                    <a:lnTo>
                      <a:pt x="52" y="26"/>
                    </a:lnTo>
                    <a:lnTo>
                      <a:pt x="49" y="24"/>
                    </a:lnTo>
                    <a:lnTo>
                      <a:pt x="47" y="24"/>
                    </a:lnTo>
                    <a:lnTo>
                      <a:pt x="44" y="24"/>
                    </a:lnTo>
                    <a:lnTo>
                      <a:pt x="44" y="24"/>
                    </a:lnTo>
                    <a:lnTo>
                      <a:pt x="42" y="24"/>
                    </a:lnTo>
                    <a:lnTo>
                      <a:pt x="42" y="24"/>
                    </a:lnTo>
                    <a:lnTo>
                      <a:pt x="37" y="26"/>
                    </a:lnTo>
                    <a:lnTo>
                      <a:pt x="37" y="26"/>
                    </a:lnTo>
                    <a:lnTo>
                      <a:pt x="35" y="26"/>
                    </a:lnTo>
                    <a:lnTo>
                      <a:pt x="33" y="26"/>
                    </a:lnTo>
                    <a:lnTo>
                      <a:pt x="30" y="24"/>
                    </a:lnTo>
                    <a:lnTo>
                      <a:pt x="26" y="24"/>
                    </a:lnTo>
                    <a:lnTo>
                      <a:pt x="23" y="24"/>
                    </a:lnTo>
                    <a:lnTo>
                      <a:pt x="23" y="24"/>
                    </a:lnTo>
                    <a:lnTo>
                      <a:pt x="23" y="22"/>
                    </a:lnTo>
                    <a:lnTo>
                      <a:pt x="18" y="19"/>
                    </a:lnTo>
                    <a:lnTo>
                      <a:pt x="18" y="19"/>
                    </a:lnTo>
                    <a:lnTo>
                      <a:pt x="16" y="17"/>
                    </a:lnTo>
                    <a:lnTo>
                      <a:pt x="11" y="15"/>
                    </a:lnTo>
                    <a:lnTo>
                      <a:pt x="11" y="15"/>
                    </a:lnTo>
                    <a:lnTo>
                      <a:pt x="11" y="15"/>
                    </a:lnTo>
                    <a:lnTo>
                      <a:pt x="7" y="15"/>
                    </a:lnTo>
                    <a:lnTo>
                      <a:pt x="7" y="15"/>
                    </a:lnTo>
                    <a:lnTo>
                      <a:pt x="4" y="17"/>
                    </a:lnTo>
                    <a:lnTo>
                      <a:pt x="4" y="17"/>
                    </a:lnTo>
                    <a:lnTo>
                      <a:pt x="7" y="19"/>
                    </a:lnTo>
                    <a:lnTo>
                      <a:pt x="7" y="19"/>
                    </a:lnTo>
                    <a:lnTo>
                      <a:pt x="4" y="19"/>
                    </a:lnTo>
                    <a:lnTo>
                      <a:pt x="2" y="19"/>
                    </a:lnTo>
                    <a:lnTo>
                      <a:pt x="0" y="19"/>
                    </a:lnTo>
                    <a:lnTo>
                      <a:pt x="0" y="19"/>
                    </a:lnTo>
                    <a:lnTo>
                      <a:pt x="2" y="19"/>
                    </a:lnTo>
                    <a:lnTo>
                      <a:pt x="4" y="19"/>
                    </a:lnTo>
                    <a:lnTo>
                      <a:pt x="4" y="22"/>
                    </a:lnTo>
                    <a:lnTo>
                      <a:pt x="4" y="22"/>
                    </a:lnTo>
                    <a:lnTo>
                      <a:pt x="7" y="22"/>
                    </a:lnTo>
                    <a:lnTo>
                      <a:pt x="9" y="24"/>
                    </a:lnTo>
                    <a:lnTo>
                      <a:pt x="11" y="24"/>
                    </a:lnTo>
                    <a:lnTo>
                      <a:pt x="11" y="26"/>
                    </a:lnTo>
                    <a:lnTo>
                      <a:pt x="14" y="26"/>
                    </a:lnTo>
                    <a:lnTo>
                      <a:pt x="16" y="26"/>
                    </a:lnTo>
                    <a:lnTo>
                      <a:pt x="16" y="26"/>
                    </a:lnTo>
                    <a:lnTo>
                      <a:pt x="18" y="29"/>
                    </a:lnTo>
                    <a:lnTo>
                      <a:pt x="21" y="29"/>
                    </a:lnTo>
                    <a:lnTo>
                      <a:pt x="23" y="29"/>
                    </a:lnTo>
                    <a:lnTo>
                      <a:pt x="30" y="31"/>
                    </a:lnTo>
                    <a:lnTo>
                      <a:pt x="30" y="31"/>
                    </a:lnTo>
                    <a:lnTo>
                      <a:pt x="33" y="31"/>
                    </a:lnTo>
                    <a:lnTo>
                      <a:pt x="35" y="34"/>
                    </a:lnTo>
                    <a:lnTo>
                      <a:pt x="35" y="36"/>
                    </a:lnTo>
                    <a:lnTo>
                      <a:pt x="37" y="36"/>
                    </a:lnTo>
                    <a:lnTo>
                      <a:pt x="37" y="36"/>
                    </a:lnTo>
                    <a:lnTo>
                      <a:pt x="40" y="38"/>
                    </a:lnTo>
                    <a:lnTo>
                      <a:pt x="42" y="38"/>
                    </a:lnTo>
                    <a:lnTo>
                      <a:pt x="42" y="38"/>
                    </a:lnTo>
                    <a:lnTo>
                      <a:pt x="40" y="41"/>
                    </a:lnTo>
                    <a:lnTo>
                      <a:pt x="40" y="41"/>
                    </a:lnTo>
                    <a:lnTo>
                      <a:pt x="40" y="43"/>
                    </a:lnTo>
                    <a:lnTo>
                      <a:pt x="42" y="45"/>
                    </a:lnTo>
                    <a:lnTo>
                      <a:pt x="42" y="45"/>
                    </a:lnTo>
                    <a:lnTo>
                      <a:pt x="42" y="45"/>
                    </a:lnTo>
                    <a:lnTo>
                      <a:pt x="40" y="45"/>
                    </a:lnTo>
                    <a:lnTo>
                      <a:pt x="40" y="48"/>
                    </a:lnTo>
                    <a:lnTo>
                      <a:pt x="40" y="48"/>
                    </a:lnTo>
                    <a:lnTo>
                      <a:pt x="40" y="48"/>
                    </a:lnTo>
                    <a:lnTo>
                      <a:pt x="42" y="48"/>
                    </a:lnTo>
                    <a:lnTo>
                      <a:pt x="44" y="48"/>
                    </a:lnTo>
                    <a:lnTo>
                      <a:pt x="44" y="48"/>
                    </a:lnTo>
                    <a:lnTo>
                      <a:pt x="44" y="50"/>
                    </a:lnTo>
                    <a:lnTo>
                      <a:pt x="44" y="50"/>
                    </a:lnTo>
                    <a:lnTo>
                      <a:pt x="44" y="50"/>
                    </a:lnTo>
                    <a:lnTo>
                      <a:pt x="44" y="52"/>
                    </a:lnTo>
                    <a:lnTo>
                      <a:pt x="44" y="52"/>
                    </a:lnTo>
                    <a:lnTo>
                      <a:pt x="44" y="52"/>
                    </a:lnTo>
                    <a:lnTo>
                      <a:pt x="44" y="55"/>
                    </a:lnTo>
                    <a:lnTo>
                      <a:pt x="47" y="55"/>
                    </a:lnTo>
                    <a:lnTo>
                      <a:pt x="47" y="57"/>
                    </a:lnTo>
                    <a:lnTo>
                      <a:pt x="49" y="57"/>
                    </a:lnTo>
                    <a:lnTo>
                      <a:pt x="49" y="60"/>
                    </a:lnTo>
                    <a:lnTo>
                      <a:pt x="49" y="60"/>
                    </a:lnTo>
                    <a:lnTo>
                      <a:pt x="49" y="60"/>
                    </a:lnTo>
                    <a:lnTo>
                      <a:pt x="49" y="62"/>
                    </a:lnTo>
                    <a:lnTo>
                      <a:pt x="49" y="62"/>
                    </a:lnTo>
                    <a:lnTo>
                      <a:pt x="49" y="64"/>
                    </a:lnTo>
                    <a:lnTo>
                      <a:pt x="47" y="64"/>
                    </a:lnTo>
                    <a:lnTo>
                      <a:pt x="47" y="64"/>
                    </a:lnTo>
                    <a:lnTo>
                      <a:pt x="47" y="67"/>
                    </a:lnTo>
                    <a:lnTo>
                      <a:pt x="47" y="67"/>
                    </a:lnTo>
                    <a:lnTo>
                      <a:pt x="47" y="69"/>
                    </a:lnTo>
                    <a:lnTo>
                      <a:pt x="47" y="69"/>
                    </a:lnTo>
                    <a:lnTo>
                      <a:pt x="47" y="69"/>
                    </a:lnTo>
                    <a:lnTo>
                      <a:pt x="47" y="71"/>
                    </a:lnTo>
                    <a:lnTo>
                      <a:pt x="49" y="71"/>
                    </a:lnTo>
                    <a:lnTo>
                      <a:pt x="52" y="74"/>
                    </a:lnTo>
                    <a:lnTo>
                      <a:pt x="52" y="74"/>
                    </a:lnTo>
                    <a:lnTo>
                      <a:pt x="54" y="79"/>
                    </a:lnTo>
                    <a:lnTo>
                      <a:pt x="54" y="79"/>
                    </a:lnTo>
                    <a:lnTo>
                      <a:pt x="56" y="79"/>
                    </a:lnTo>
                    <a:lnTo>
                      <a:pt x="59" y="79"/>
                    </a:lnTo>
                    <a:lnTo>
                      <a:pt x="59" y="76"/>
                    </a:lnTo>
                    <a:lnTo>
                      <a:pt x="61" y="76"/>
                    </a:lnTo>
                    <a:lnTo>
                      <a:pt x="61" y="76"/>
                    </a:lnTo>
                    <a:lnTo>
                      <a:pt x="59" y="79"/>
                    </a:lnTo>
                    <a:lnTo>
                      <a:pt x="61" y="81"/>
                    </a:lnTo>
                    <a:lnTo>
                      <a:pt x="63" y="81"/>
                    </a:lnTo>
                    <a:lnTo>
                      <a:pt x="63" y="81"/>
                    </a:lnTo>
                    <a:lnTo>
                      <a:pt x="70" y="83"/>
                    </a:lnTo>
                    <a:lnTo>
                      <a:pt x="70" y="83"/>
                    </a:lnTo>
                    <a:lnTo>
                      <a:pt x="70" y="86"/>
                    </a:lnTo>
                    <a:lnTo>
                      <a:pt x="70" y="88"/>
                    </a:lnTo>
                    <a:lnTo>
                      <a:pt x="70" y="90"/>
                    </a:lnTo>
                    <a:lnTo>
                      <a:pt x="73" y="90"/>
                    </a:lnTo>
                    <a:lnTo>
                      <a:pt x="73" y="90"/>
                    </a:lnTo>
                    <a:lnTo>
                      <a:pt x="73" y="93"/>
                    </a:lnTo>
                    <a:lnTo>
                      <a:pt x="70" y="93"/>
                    </a:lnTo>
                    <a:lnTo>
                      <a:pt x="70" y="93"/>
                    </a:lnTo>
                    <a:lnTo>
                      <a:pt x="70" y="95"/>
                    </a:lnTo>
                    <a:lnTo>
                      <a:pt x="70" y="95"/>
                    </a:lnTo>
                    <a:lnTo>
                      <a:pt x="70" y="95"/>
                    </a:lnTo>
                    <a:lnTo>
                      <a:pt x="70" y="95"/>
                    </a:lnTo>
                    <a:lnTo>
                      <a:pt x="66" y="95"/>
                    </a:lnTo>
                    <a:lnTo>
                      <a:pt x="63" y="95"/>
                    </a:lnTo>
                    <a:lnTo>
                      <a:pt x="63" y="97"/>
                    </a:lnTo>
                    <a:lnTo>
                      <a:pt x="61" y="97"/>
                    </a:lnTo>
                    <a:lnTo>
                      <a:pt x="61" y="97"/>
                    </a:lnTo>
                    <a:lnTo>
                      <a:pt x="61" y="100"/>
                    </a:lnTo>
                    <a:lnTo>
                      <a:pt x="59" y="102"/>
                    </a:lnTo>
                    <a:lnTo>
                      <a:pt x="54" y="105"/>
                    </a:lnTo>
                    <a:lnTo>
                      <a:pt x="54" y="107"/>
                    </a:lnTo>
                    <a:lnTo>
                      <a:pt x="52" y="107"/>
                    </a:lnTo>
                    <a:lnTo>
                      <a:pt x="49" y="109"/>
                    </a:lnTo>
                    <a:lnTo>
                      <a:pt x="49" y="112"/>
                    </a:lnTo>
                    <a:lnTo>
                      <a:pt x="47" y="112"/>
                    </a:lnTo>
                    <a:lnTo>
                      <a:pt x="44" y="114"/>
                    </a:lnTo>
                    <a:lnTo>
                      <a:pt x="42" y="114"/>
                    </a:lnTo>
                    <a:lnTo>
                      <a:pt x="42" y="114"/>
                    </a:lnTo>
                    <a:lnTo>
                      <a:pt x="37" y="116"/>
                    </a:lnTo>
                    <a:lnTo>
                      <a:pt x="35" y="119"/>
                    </a:lnTo>
                    <a:lnTo>
                      <a:pt x="35" y="119"/>
                    </a:lnTo>
                    <a:lnTo>
                      <a:pt x="33" y="121"/>
                    </a:lnTo>
                    <a:lnTo>
                      <a:pt x="33" y="121"/>
                    </a:lnTo>
                    <a:lnTo>
                      <a:pt x="33" y="121"/>
                    </a:lnTo>
                    <a:lnTo>
                      <a:pt x="33" y="121"/>
                    </a:lnTo>
                    <a:lnTo>
                      <a:pt x="30" y="121"/>
                    </a:lnTo>
                    <a:lnTo>
                      <a:pt x="30" y="121"/>
                    </a:lnTo>
                    <a:lnTo>
                      <a:pt x="33" y="124"/>
                    </a:lnTo>
                    <a:lnTo>
                      <a:pt x="33" y="124"/>
                    </a:lnTo>
                    <a:lnTo>
                      <a:pt x="33" y="124"/>
                    </a:lnTo>
                    <a:lnTo>
                      <a:pt x="30" y="126"/>
                    </a:lnTo>
                    <a:lnTo>
                      <a:pt x="26" y="126"/>
                    </a:lnTo>
                    <a:lnTo>
                      <a:pt x="26" y="126"/>
                    </a:lnTo>
                    <a:lnTo>
                      <a:pt x="21" y="126"/>
                    </a:lnTo>
                    <a:lnTo>
                      <a:pt x="21" y="128"/>
                    </a:lnTo>
                    <a:lnTo>
                      <a:pt x="21" y="128"/>
                    </a:lnTo>
                    <a:lnTo>
                      <a:pt x="23" y="131"/>
                    </a:lnTo>
                    <a:lnTo>
                      <a:pt x="21" y="131"/>
                    </a:lnTo>
                    <a:lnTo>
                      <a:pt x="21" y="131"/>
                    </a:lnTo>
                    <a:lnTo>
                      <a:pt x="16" y="135"/>
                    </a:lnTo>
                    <a:lnTo>
                      <a:pt x="16" y="135"/>
                    </a:lnTo>
                    <a:lnTo>
                      <a:pt x="16" y="135"/>
                    </a:lnTo>
                    <a:lnTo>
                      <a:pt x="16" y="138"/>
                    </a:lnTo>
                    <a:lnTo>
                      <a:pt x="16" y="140"/>
                    </a:lnTo>
                    <a:lnTo>
                      <a:pt x="16" y="142"/>
                    </a:lnTo>
                    <a:lnTo>
                      <a:pt x="18" y="142"/>
                    </a:lnTo>
                    <a:lnTo>
                      <a:pt x="18" y="145"/>
                    </a:lnTo>
                    <a:lnTo>
                      <a:pt x="21" y="145"/>
                    </a:lnTo>
                    <a:lnTo>
                      <a:pt x="18" y="147"/>
                    </a:lnTo>
                    <a:lnTo>
                      <a:pt x="18" y="150"/>
                    </a:lnTo>
                    <a:lnTo>
                      <a:pt x="21" y="152"/>
                    </a:lnTo>
                    <a:lnTo>
                      <a:pt x="23" y="152"/>
                    </a:lnTo>
                    <a:lnTo>
                      <a:pt x="23" y="154"/>
                    </a:lnTo>
                    <a:lnTo>
                      <a:pt x="23" y="157"/>
                    </a:lnTo>
                    <a:lnTo>
                      <a:pt x="26" y="157"/>
                    </a:lnTo>
                    <a:lnTo>
                      <a:pt x="23" y="157"/>
                    </a:lnTo>
                    <a:lnTo>
                      <a:pt x="23" y="157"/>
                    </a:lnTo>
                    <a:lnTo>
                      <a:pt x="23" y="157"/>
                    </a:lnTo>
                    <a:lnTo>
                      <a:pt x="23" y="157"/>
                    </a:lnTo>
                    <a:lnTo>
                      <a:pt x="23" y="159"/>
                    </a:lnTo>
                    <a:lnTo>
                      <a:pt x="23" y="159"/>
                    </a:lnTo>
                    <a:lnTo>
                      <a:pt x="23" y="159"/>
                    </a:lnTo>
                    <a:lnTo>
                      <a:pt x="23" y="159"/>
                    </a:lnTo>
                    <a:lnTo>
                      <a:pt x="23" y="159"/>
                    </a:lnTo>
                    <a:lnTo>
                      <a:pt x="23" y="161"/>
                    </a:lnTo>
                    <a:lnTo>
                      <a:pt x="23" y="164"/>
                    </a:lnTo>
                    <a:lnTo>
                      <a:pt x="23" y="166"/>
                    </a:lnTo>
                    <a:lnTo>
                      <a:pt x="23" y="166"/>
                    </a:lnTo>
                    <a:lnTo>
                      <a:pt x="21" y="166"/>
                    </a:lnTo>
                    <a:lnTo>
                      <a:pt x="21" y="169"/>
                    </a:lnTo>
                    <a:lnTo>
                      <a:pt x="23" y="171"/>
                    </a:lnTo>
                    <a:lnTo>
                      <a:pt x="23" y="173"/>
                    </a:lnTo>
                    <a:lnTo>
                      <a:pt x="23" y="173"/>
                    </a:lnTo>
                    <a:lnTo>
                      <a:pt x="23" y="176"/>
                    </a:lnTo>
                    <a:lnTo>
                      <a:pt x="23" y="176"/>
                    </a:lnTo>
                    <a:lnTo>
                      <a:pt x="26" y="176"/>
                    </a:lnTo>
                    <a:lnTo>
                      <a:pt x="26" y="178"/>
                    </a:lnTo>
                    <a:lnTo>
                      <a:pt x="28" y="176"/>
                    </a:lnTo>
                    <a:lnTo>
                      <a:pt x="28" y="176"/>
                    </a:lnTo>
                    <a:lnTo>
                      <a:pt x="30" y="178"/>
                    </a:lnTo>
                    <a:lnTo>
                      <a:pt x="30" y="178"/>
                    </a:lnTo>
                    <a:lnTo>
                      <a:pt x="35" y="180"/>
                    </a:lnTo>
                    <a:lnTo>
                      <a:pt x="40" y="180"/>
                    </a:lnTo>
                    <a:lnTo>
                      <a:pt x="40" y="180"/>
                    </a:lnTo>
                    <a:lnTo>
                      <a:pt x="40" y="180"/>
                    </a:lnTo>
                    <a:lnTo>
                      <a:pt x="40" y="180"/>
                    </a:lnTo>
                    <a:lnTo>
                      <a:pt x="40" y="183"/>
                    </a:lnTo>
                    <a:lnTo>
                      <a:pt x="40" y="183"/>
                    </a:lnTo>
                    <a:lnTo>
                      <a:pt x="42" y="183"/>
                    </a:lnTo>
                    <a:lnTo>
                      <a:pt x="42" y="183"/>
                    </a:lnTo>
                    <a:lnTo>
                      <a:pt x="40" y="183"/>
                    </a:lnTo>
                    <a:lnTo>
                      <a:pt x="40" y="183"/>
                    </a:lnTo>
                    <a:lnTo>
                      <a:pt x="40" y="183"/>
                    </a:lnTo>
                    <a:lnTo>
                      <a:pt x="40" y="185"/>
                    </a:lnTo>
                    <a:lnTo>
                      <a:pt x="40" y="185"/>
                    </a:lnTo>
                    <a:lnTo>
                      <a:pt x="40" y="185"/>
                    </a:lnTo>
                    <a:lnTo>
                      <a:pt x="40" y="187"/>
                    </a:lnTo>
                    <a:lnTo>
                      <a:pt x="40" y="187"/>
                    </a:lnTo>
                    <a:lnTo>
                      <a:pt x="42" y="187"/>
                    </a:lnTo>
                    <a:lnTo>
                      <a:pt x="42" y="187"/>
                    </a:lnTo>
                    <a:lnTo>
                      <a:pt x="44" y="187"/>
                    </a:lnTo>
                    <a:lnTo>
                      <a:pt x="44" y="185"/>
                    </a:lnTo>
                    <a:lnTo>
                      <a:pt x="44" y="185"/>
                    </a:lnTo>
                    <a:lnTo>
                      <a:pt x="44" y="185"/>
                    </a:lnTo>
                    <a:lnTo>
                      <a:pt x="44" y="183"/>
                    </a:lnTo>
                    <a:lnTo>
                      <a:pt x="47" y="183"/>
                    </a:lnTo>
                    <a:lnTo>
                      <a:pt x="47" y="185"/>
                    </a:lnTo>
                    <a:lnTo>
                      <a:pt x="49" y="187"/>
                    </a:lnTo>
                    <a:lnTo>
                      <a:pt x="49" y="187"/>
                    </a:lnTo>
                    <a:lnTo>
                      <a:pt x="52" y="187"/>
                    </a:lnTo>
                    <a:lnTo>
                      <a:pt x="52" y="187"/>
                    </a:lnTo>
                    <a:lnTo>
                      <a:pt x="49" y="190"/>
                    </a:lnTo>
                    <a:lnTo>
                      <a:pt x="47" y="190"/>
                    </a:lnTo>
                    <a:lnTo>
                      <a:pt x="47" y="192"/>
                    </a:lnTo>
                    <a:lnTo>
                      <a:pt x="49" y="192"/>
                    </a:lnTo>
                    <a:lnTo>
                      <a:pt x="52" y="190"/>
                    </a:lnTo>
                    <a:lnTo>
                      <a:pt x="52" y="190"/>
                    </a:lnTo>
                    <a:lnTo>
                      <a:pt x="54" y="187"/>
                    </a:lnTo>
                    <a:lnTo>
                      <a:pt x="56" y="187"/>
                    </a:lnTo>
                    <a:lnTo>
                      <a:pt x="59" y="187"/>
                    </a:lnTo>
                    <a:lnTo>
                      <a:pt x="63" y="187"/>
                    </a:lnTo>
                    <a:lnTo>
                      <a:pt x="68" y="187"/>
                    </a:lnTo>
                    <a:lnTo>
                      <a:pt x="68" y="187"/>
                    </a:lnTo>
                    <a:lnTo>
                      <a:pt x="70" y="187"/>
                    </a:lnTo>
                    <a:lnTo>
                      <a:pt x="70" y="185"/>
                    </a:lnTo>
                    <a:lnTo>
                      <a:pt x="75" y="185"/>
                    </a:lnTo>
                    <a:lnTo>
                      <a:pt x="78" y="185"/>
                    </a:lnTo>
                    <a:lnTo>
                      <a:pt x="80" y="185"/>
                    </a:lnTo>
                    <a:lnTo>
                      <a:pt x="80" y="183"/>
                    </a:lnTo>
                    <a:lnTo>
                      <a:pt x="85" y="183"/>
                    </a:lnTo>
                    <a:lnTo>
                      <a:pt x="85" y="183"/>
                    </a:lnTo>
                    <a:lnTo>
                      <a:pt x="87" y="180"/>
                    </a:lnTo>
                    <a:lnTo>
                      <a:pt x="87" y="183"/>
                    </a:lnTo>
                    <a:lnTo>
                      <a:pt x="87" y="183"/>
                    </a:lnTo>
                    <a:lnTo>
                      <a:pt x="89" y="183"/>
                    </a:lnTo>
                    <a:lnTo>
                      <a:pt x="92" y="180"/>
                    </a:lnTo>
                    <a:lnTo>
                      <a:pt x="92" y="180"/>
                    </a:lnTo>
                    <a:lnTo>
                      <a:pt x="92" y="180"/>
                    </a:lnTo>
                    <a:lnTo>
                      <a:pt x="92" y="180"/>
                    </a:lnTo>
                    <a:lnTo>
                      <a:pt x="92" y="178"/>
                    </a:lnTo>
                    <a:lnTo>
                      <a:pt x="92" y="178"/>
                    </a:lnTo>
                    <a:lnTo>
                      <a:pt x="94" y="180"/>
                    </a:lnTo>
                    <a:lnTo>
                      <a:pt x="97" y="180"/>
                    </a:lnTo>
                    <a:lnTo>
                      <a:pt x="99" y="178"/>
                    </a:lnTo>
                    <a:lnTo>
                      <a:pt x="99" y="178"/>
                    </a:lnTo>
                    <a:lnTo>
                      <a:pt x="99" y="176"/>
                    </a:lnTo>
                    <a:lnTo>
                      <a:pt x="99" y="176"/>
                    </a:lnTo>
                    <a:lnTo>
                      <a:pt x="99" y="176"/>
                    </a:lnTo>
                    <a:lnTo>
                      <a:pt x="99" y="178"/>
                    </a:lnTo>
                    <a:lnTo>
                      <a:pt x="99" y="178"/>
                    </a:lnTo>
                    <a:lnTo>
                      <a:pt x="99" y="180"/>
                    </a:lnTo>
                    <a:lnTo>
                      <a:pt x="101" y="180"/>
                    </a:lnTo>
                    <a:lnTo>
                      <a:pt x="101" y="178"/>
                    </a:lnTo>
                    <a:lnTo>
                      <a:pt x="106" y="178"/>
                    </a:lnTo>
                    <a:lnTo>
                      <a:pt x="106" y="178"/>
                    </a:lnTo>
                    <a:lnTo>
                      <a:pt x="108" y="178"/>
                    </a:lnTo>
                    <a:lnTo>
                      <a:pt x="111" y="178"/>
                    </a:lnTo>
                    <a:lnTo>
                      <a:pt x="113" y="178"/>
                    </a:lnTo>
                    <a:lnTo>
                      <a:pt x="113" y="178"/>
                    </a:lnTo>
                    <a:lnTo>
                      <a:pt x="115" y="178"/>
                    </a:lnTo>
                    <a:lnTo>
                      <a:pt x="118" y="178"/>
                    </a:lnTo>
                    <a:lnTo>
                      <a:pt x="118" y="178"/>
                    </a:lnTo>
                    <a:lnTo>
                      <a:pt x="123" y="173"/>
                    </a:lnTo>
                    <a:lnTo>
                      <a:pt x="125" y="171"/>
                    </a:lnTo>
                    <a:lnTo>
                      <a:pt x="127" y="171"/>
                    </a:lnTo>
                    <a:lnTo>
                      <a:pt x="127" y="169"/>
                    </a:lnTo>
                    <a:lnTo>
                      <a:pt x="130" y="169"/>
                    </a:lnTo>
                    <a:lnTo>
                      <a:pt x="130" y="166"/>
                    </a:lnTo>
                    <a:lnTo>
                      <a:pt x="134" y="166"/>
                    </a:lnTo>
                    <a:lnTo>
                      <a:pt x="137" y="164"/>
                    </a:lnTo>
                    <a:lnTo>
                      <a:pt x="141" y="159"/>
                    </a:lnTo>
                    <a:lnTo>
                      <a:pt x="141" y="159"/>
                    </a:lnTo>
                    <a:lnTo>
                      <a:pt x="144" y="159"/>
                    </a:lnTo>
                    <a:lnTo>
                      <a:pt x="146" y="154"/>
                    </a:lnTo>
                    <a:lnTo>
                      <a:pt x="146" y="154"/>
                    </a:lnTo>
                    <a:lnTo>
                      <a:pt x="151" y="150"/>
                    </a:lnTo>
                    <a:lnTo>
                      <a:pt x="153" y="147"/>
                    </a:lnTo>
                    <a:lnTo>
                      <a:pt x="153" y="147"/>
                    </a:lnTo>
                    <a:lnTo>
                      <a:pt x="160" y="142"/>
                    </a:lnTo>
                    <a:lnTo>
                      <a:pt x="163" y="140"/>
                    </a:lnTo>
                    <a:lnTo>
                      <a:pt x="163" y="138"/>
                    </a:lnTo>
                    <a:lnTo>
                      <a:pt x="165" y="135"/>
                    </a:lnTo>
                    <a:lnTo>
                      <a:pt x="165" y="135"/>
                    </a:lnTo>
                    <a:lnTo>
                      <a:pt x="165" y="133"/>
                    </a:lnTo>
                    <a:lnTo>
                      <a:pt x="165" y="131"/>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Freeform 157"/>
              <p:cNvSpPr>
                <a:spLocks/>
              </p:cNvSpPr>
              <p:nvPr/>
            </p:nvSpPr>
            <p:spPr bwMode="auto">
              <a:xfrm>
                <a:off x="3364" y="2485"/>
                <a:ext cx="279" cy="242"/>
              </a:xfrm>
              <a:custGeom>
                <a:avLst/>
                <a:gdLst>
                  <a:gd name="T0" fmla="*/ 239 w 279"/>
                  <a:gd name="T1" fmla="*/ 137 h 242"/>
                  <a:gd name="T2" fmla="*/ 208 w 279"/>
                  <a:gd name="T3" fmla="*/ 128 h 242"/>
                  <a:gd name="T4" fmla="*/ 196 w 279"/>
                  <a:gd name="T5" fmla="*/ 118 h 242"/>
                  <a:gd name="T6" fmla="*/ 187 w 279"/>
                  <a:gd name="T7" fmla="*/ 107 h 242"/>
                  <a:gd name="T8" fmla="*/ 182 w 279"/>
                  <a:gd name="T9" fmla="*/ 97 h 242"/>
                  <a:gd name="T10" fmla="*/ 177 w 279"/>
                  <a:gd name="T11" fmla="*/ 90 h 242"/>
                  <a:gd name="T12" fmla="*/ 182 w 279"/>
                  <a:gd name="T13" fmla="*/ 83 h 242"/>
                  <a:gd name="T14" fmla="*/ 175 w 279"/>
                  <a:gd name="T15" fmla="*/ 81 h 242"/>
                  <a:gd name="T16" fmla="*/ 165 w 279"/>
                  <a:gd name="T17" fmla="*/ 83 h 242"/>
                  <a:gd name="T18" fmla="*/ 161 w 279"/>
                  <a:gd name="T19" fmla="*/ 71 h 242"/>
                  <a:gd name="T20" fmla="*/ 168 w 279"/>
                  <a:gd name="T21" fmla="*/ 59 h 242"/>
                  <a:gd name="T22" fmla="*/ 168 w 279"/>
                  <a:gd name="T23" fmla="*/ 45 h 242"/>
                  <a:gd name="T24" fmla="*/ 156 w 279"/>
                  <a:gd name="T25" fmla="*/ 33 h 242"/>
                  <a:gd name="T26" fmla="*/ 139 w 279"/>
                  <a:gd name="T27" fmla="*/ 17 h 242"/>
                  <a:gd name="T28" fmla="*/ 127 w 279"/>
                  <a:gd name="T29" fmla="*/ 10 h 242"/>
                  <a:gd name="T30" fmla="*/ 118 w 279"/>
                  <a:gd name="T31" fmla="*/ 7 h 242"/>
                  <a:gd name="T32" fmla="*/ 111 w 279"/>
                  <a:gd name="T33" fmla="*/ 7 h 242"/>
                  <a:gd name="T34" fmla="*/ 99 w 279"/>
                  <a:gd name="T35" fmla="*/ 10 h 242"/>
                  <a:gd name="T36" fmla="*/ 92 w 279"/>
                  <a:gd name="T37" fmla="*/ 5 h 242"/>
                  <a:gd name="T38" fmla="*/ 85 w 279"/>
                  <a:gd name="T39" fmla="*/ 5 h 242"/>
                  <a:gd name="T40" fmla="*/ 80 w 279"/>
                  <a:gd name="T41" fmla="*/ 17 h 242"/>
                  <a:gd name="T42" fmla="*/ 73 w 279"/>
                  <a:gd name="T43" fmla="*/ 12 h 242"/>
                  <a:gd name="T44" fmla="*/ 64 w 279"/>
                  <a:gd name="T45" fmla="*/ 12 h 242"/>
                  <a:gd name="T46" fmla="*/ 59 w 279"/>
                  <a:gd name="T47" fmla="*/ 26 h 242"/>
                  <a:gd name="T48" fmla="*/ 56 w 279"/>
                  <a:gd name="T49" fmla="*/ 38 h 242"/>
                  <a:gd name="T50" fmla="*/ 52 w 279"/>
                  <a:gd name="T51" fmla="*/ 47 h 242"/>
                  <a:gd name="T52" fmla="*/ 42 w 279"/>
                  <a:gd name="T53" fmla="*/ 55 h 242"/>
                  <a:gd name="T54" fmla="*/ 35 w 279"/>
                  <a:gd name="T55" fmla="*/ 69 h 242"/>
                  <a:gd name="T56" fmla="*/ 35 w 279"/>
                  <a:gd name="T57" fmla="*/ 85 h 242"/>
                  <a:gd name="T58" fmla="*/ 28 w 279"/>
                  <a:gd name="T59" fmla="*/ 85 h 242"/>
                  <a:gd name="T60" fmla="*/ 21 w 279"/>
                  <a:gd name="T61" fmla="*/ 92 h 242"/>
                  <a:gd name="T62" fmla="*/ 21 w 279"/>
                  <a:gd name="T63" fmla="*/ 107 h 242"/>
                  <a:gd name="T64" fmla="*/ 19 w 279"/>
                  <a:gd name="T65" fmla="*/ 121 h 242"/>
                  <a:gd name="T66" fmla="*/ 19 w 279"/>
                  <a:gd name="T67" fmla="*/ 135 h 242"/>
                  <a:gd name="T68" fmla="*/ 9 w 279"/>
                  <a:gd name="T69" fmla="*/ 137 h 242"/>
                  <a:gd name="T70" fmla="*/ 0 w 279"/>
                  <a:gd name="T71" fmla="*/ 145 h 242"/>
                  <a:gd name="T72" fmla="*/ 4 w 279"/>
                  <a:gd name="T73" fmla="*/ 152 h 242"/>
                  <a:gd name="T74" fmla="*/ 16 w 279"/>
                  <a:gd name="T75" fmla="*/ 156 h 242"/>
                  <a:gd name="T76" fmla="*/ 21 w 279"/>
                  <a:gd name="T77" fmla="*/ 166 h 242"/>
                  <a:gd name="T78" fmla="*/ 30 w 279"/>
                  <a:gd name="T79" fmla="*/ 175 h 242"/>
                  <a:gd name="T80" fmla="*/ 38 w 279"/>
                  <a:gd name="T81" fmla="*/ 192 h 242"/>
                  <a:gd name="T82" fmla="*/ 42 w 279"/>
                  <a:gd name="T83" fmla="*/ 199 h 242"/>
                  <a:gd name="T84" fmla="*/ 45 w 279"/>
                  <a:gd name="T85" fmla="*/ 201 h 242"/>
                  <a:gd name="T86" fmla="*/ 52 w 279"/>
                  <a:gd name="T87" fmla="*/ 206 h 242"/>
                  <a:gd name="T88" fmla="*/ 52 w 279"/>
                  <a:gd name="T89" fmla="*/ 216 h 242"/>
                  <a:gd name="T90" fmla="*/ 61 w 279"/>
                  <a:gd name="T91" fmla="*/ 220 h 242"/>
                  <a:gd name="T92" fmla="*/ 78 w 279"/>
                  <a:gd name="T93" fmla="*/ 225 h 242"/>
                  <a:gd name="T94" fmla="*/ 94 w 279"/>
                  <a:gd name="T95" fmla="*/ 237 h 242"/>
                  <a:gd name="T96" fmla="*/ 111 w 279"/>
                  <a:gd name="T97" fmla="*/ 242 h 242"/>
                  <a:gd name="T98" fmla="*/ 125 w 279"/>
                  <a:gd name="T99" fmla="*/ 239 h 242"/>
                  <a:gd name="T100" fmla="*/ 139 w 279"/>
                  <a:gd name="T101" fmla="*/ 227 h 242"/>
                  <a:gd name="T102" fmla="*/ 151 w 279"/>
                  <a:gd name="T103" fmla="*/ 232 h 242"/>
                  <a:gd name="T104" fmla="*/ 163 w 279"/>
                  <a:gd name="T105" fmla="*/ 232 h 242"/>
                  <a:gd name="T106" fmla="*/ 175 w 279"/>
                  <a:gd name="T107" fmla="*/ 225 h 242"/>
                  <a:gd name="T108" fmla="*/ 187 w 279"/>
                  <a:gd name="T109" fmla="*/ 218 h 242"/>
                  <a:gd name="T110" fmla="*/ 201 w 279"/>
                  <a:gd name="T111" fmla="*/ 211 h 242"/>
                  <a:gd name="T112" fmla="*/ 217 w 279"/>
                  <a:gd name="T113" fmla="*/ 211 h 242"/>
                  <a:gd name="T114" fmla="*/ 234 w 279"/>
                  <a:gd name="T115" fmla="*/ 194 h 242"/>
                  <a:gd name="T116" fmla="*/ 260 w 279"/>
                  <a:gd name="T117" fmla="*/ 166 h 242"/>
                  <a:gd name="T118" fmla="*/ 260 w 279"/>
                  <a:gd name="T119" fmla="*/ 147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79" h="242">
                    <a:moveTo>
                      <a:pt x="260" y="147"/>
                    </a:moveTo>
                    <a:lnTo>
                      <a:pt x="258" y="145"/>
                    </a:lnTo>
                    <a:lnTo>
                      <a:pt x="253" y="145"/>
                    </a:lnTo>
                    <a:lnTo>
                      <a:pt x="246" y="142"/>
                    </a:lnTo>
                    <a:lnTo>
                      <a:pt x="239" y="137"/>
                    </a:lnTo>
                    <a:lnTo>
                      <a:pt x="231" y="135"/>
                    </a:lnTo>
                    <a:lnTo>
                      <a:pt x="227" y="133"/>
                    </a:lnTo>
                    <a:lnTo>
                      <a:pt x="220" y="130"/>
                    </a:lnTo>
                    <a:lnTo>
                      <a:pt x="215" y="130"/>
                    </a:lnTo>
                    <a:lnTo>
                      <a:pt x="208" y="128"/>
                    </a:lnTo>
                    <a:lnTo>
                      <a:pt x="203" y="126"/>
                    </a:lnTo>
                    <a:lnTo>
                      <a:pt x="203" y="126"/>
                    </a:lnTo>
                    <a:lnTo>
                      <a:pt x="201" y="121"/>
                    </a:lnTo>
                    <a:lnTo>
                      <a:pt x="196" y="118"/>
                    </a:lnTo>
                    <a:lnTo>
                      <a:pt x="196" y="118"/>
                    </a:lnTo>
                    <a:lnTo>
                      <a:pt x="194" y="116"/>
                    </a:lnTo>
                    <a:lnTo>
                      <a:pt x="191" y="114"/>
                    </a:lnTo>
                    <a:lnTo>
                      <a:pt x="189" y="111"/>
                    </a:lnTo>
                    <a:lnTo>
                      <a:pt x="189" y="109"/>
                    </a:lnTo>
                    <a:lnTo>
                      <a:pt x="187" y="107"/>
                    </a:lnTo>
                    <a:lnTo>
                      <a:pt x="187" y="104"/>
                    </a:lnTo>
                    <a:lnTo>
                      <a:pt x="184" y="104"/>
                    </a:lnTo>
                    <a:lnTo>
                      <a:pt x="182" y="100"/>
                    </a:lnTo>
                    <a:lnTo>
                      <a:pt x="182" y="100"/>
                    </a:lnTo>
                    <a:lnTo>
                      <a:pt x="182" y="97"/>
                    </a:lnTo>
                    <a:lnTo>
                      <a:pt x="179" y="95"/>
                    </a:lnTo>
                    <a:lnTo>
                      <a:pt x="179" y="92"/>
                    </a:lnTo>
                    <a:lnTo>
                      <a:pt x="177" y="92"/>
                    </a:lnTo>
                    <a:lnTo>
                      <a:pt x="177" y="90"/>
                    </a:lnTo>
                    <a:lnTo>
                      <a:pt x="177" y="90"/>
                    </a:lnTo>
                    <a:lnTo>
                      <a:pt x="179" y="88"/>
                    </a:lnTo>
                    <a:lnTo>
                      <a:pt x="179" y="85"/>
                    </a:lnTo>
                    <a:lnTo>
                      <a:pt x="182" y="85"/>
                    </a:lnTo>
                    <a:lnTo>
                      <a:pt x="182" y="83"/>
                    </a:lnTo>
                    <a:lnTo>
                      <a:pt x="182" y="83"/>
                    </a:lnTo>
                    <a:lnTo>
                      <a:pt x="182" y="83"/>
                    </a:lnTo>
                    <a:lnTo>
                      <a:pt x="179" y="83"/>
                    </a:lnTo>
                    <a:lnTo>
                      <a:pt x="179" y="81"/>
                    </a:lnTo>
                    <a:lnTo>
                      <a:pt x="177" y="81"/>
                    </a:lnTo>
                    <a:lnTo>
                      <a:pt x="175" y="81"/>
                    </a:lnTo>
                    <a:lnTo>
                      <a:pt x="175" y="81"/>
                    </a:lnTo>
                    <a:lnTo>
                      <a:pt x="170" y="83"/>
                    </a:lnTo>
                    <a:lnTo>
                      <a:pt x="168" y="83"/>
                    </a:lnTo>
                    <a:lnTo>
                      <a:pt x="165" y="83"/>
                    </a:lnTo>
                    <a:lnTo>
                      <a:pt x="165" y="83"/>
                    </a:lnTo>
                    <a:lnTo>
                      <a:pt x="163" y="83"/>
                    </a:lnTo>
                    <a:lnTo>
                      <a:pt x="161" y="83"/>
                    </a:lnTo>
                    <a:lnTo>
                      <a:pt x="161" y="78"/>
                    </a:lnTo>
                    <a:lnTo>
                      <a:pt x="161" y="74"/>
                    </a:lnTo>
                    <a:lnTo>
                      <a:pt x="161" y="71"/>
                    </a:lnTo>
                    <a:lnTo>
                      <a:pt x="161" y="69"/>
                    </a:lnTo>
                    <a:lnTo>
                      <a:pt x="161" y="66"/>
                    </a:lnTo>
                    <a:lnTo>
                      <a:pt x="163" y="64"/>
                    </a:lnTo>
                    <a:lnTo>
                      <a:pt x="165" y="64"/>
                    </a:lnTo>
                    <a:lnTo>
                      <a:pt x="168" y="59"/>
                    </a:lnTo>
                    <a:lnTo>
                      <a:pt x="170" y="55"/>
                    </a:lnTo>
                    <a:lnTo>
                      <a:pt x="172" y="52"/>
                    </a:lnTo>
                    <a:lnTo>
                      <a:pt x="170" y="50"/>
                    </a:lnTo>
                    <a:lnTo>
                      <a:pt x="168" y="47"/>
                    </a:lnTo>
                    <a:lnTo>
                      <a:pt x="168" y="45"/>
                    </a:lnTo>
                    <a:lnTo>
                      <a:pt x="165" y="45"/>
                    </a:lnTo>
                    <a:lnTo>
                      <a:pt x="163" y="43"/>
                    </a:lnTo>
                    <a:lnTo>
                      <a:pt x="161" y="40"/>
                    </a:lnTo>
                    <a:lnTo>
                      <a:pt x="161" y="36"/>
                    </a:lnTo>
                    <a:lnTo>
                      <a:pt x="156" y="33"/>
                    </a:lnTo>
                    <a:lnTo>
                      <a:pt x="151" y="29"/>
                    </a:lnTo>
                    <a:lnTo>
                      <a:pt x="146" y="24"/>
                    </a:lnTo>
                    <a:lnTo>
                      <a:pt x="144" y="19"/>
                    </a:lnTo>
                    <a:lnTo>
                      <a:pt x="142" y="17"/>
                    </a:lnTo>
                    <a:lnTo>
                      <a:pt x="139" y="17"/>
                    </a:lnTo>
                    <a:lnTo>
                      <a:pt x="137" y="14"/>
                    </a:lnTo>
                    <a:lnTo>
                      <a:pt x="132" y="12"/>
                    </a:lnTo>
                    <a:lnTo>
                      <a:pt x="130" y="10"/>
                    </a:lnTo>
                    <a:lnTo>
                      <a:pt x="127" y="10"/>
                    </a:lnTo>
                    <a:lnTo>
                      <a:pt x="127" y="10"/>
                    </a:lnTo>
                    <a:lnTo>
                      <a:pt x="125" y="10"/>
                    </a:lnTo>
                    <a:lnTo>
                      <a:pt x="120" y="10"/>
                    </a:lnTo>
                    <a:lnTo>
                      <a:pt x="120" y="10"/>
                    </a:lnTo>
                    <a:lnTo>
                      <a:pt x="118" y="7"/>
                    </a:lnTo>
                    <a:lnTo>
                      <a:pt x="118" y="7"/>
                    </a:lnTo>
                    <a:lnTo>
                      <a:pt x="116" y="7"/>
                    </a:lnTo>
                    <a:lnTo>
                      <a:pt x="113" y="10"/>
                    </a:lnTo>
                    <a:lnTo>
                      <a:pt x="111" y="10"/>
                    </a:lnTo>
                    <a:lnTo>
                      <a:pt x="111" y="7"/>
                    </a:lnTo>
                    <a:lnTo>
                      <a:pt x="111" y="7"/>
                    </a:lnTo>
                    <a:lnTo>
                      <a:pt x="108" y="5"/>
                    </a:lnTo>
                    <a:lnTo>
                      <a:pt x="108" y="5"/>
                    </a:lnTo>
                    <a:lnTo>
                      <a:pt x="106" y="7"/>
                    </a:lnTo>
                    <a:lnTo>
                      <a:pt x="104" y="10"/>
                    </a:lnTo>
                    <a:lnTo>
                      <a:pt x="99" y="10"/>
                    </a:lnTo>
                    <a:lnTo>
                      <a:pt x="97" y="10"/>
                    </a:lnTo>
                    <a:lnTo>
                      <a:pt x="97" y="10"/>
                    </a:lnTo>
                    <a:lnTo>
                      <a:pt x="92" y="5"/>
                    </a:lnTo>
                    <a:lnTo>
                      <a:pt x="92" y="5"/>
                    </a:lnTo>
                    <a:lnTo>
                      <a:pt x="92" y="5"/>
                    </a:lnTo>
                    <a:lnTo>
                      <a:pt x="90" y="5"/>
                    </a:lnTo>
                    <a:lnTo>
                      <a:pt x="90" y="2"/>
                    </a:lnTo>
                    <a:lnTo>
                      <a:pt x="87" y="2"/>
                    </a:lnTo>
                    <a:lnTo>
                      <a:pt x="87" y="0"/>
                    </a:lnTo>
                    <a:lnTo>
                      <a:pt x="85" y="5"/>
                    </a:lnTo>
                    <a:lnTo>
                      <a:pt x="82" y="10"/>
                    </a:lnTo>
                    <a:lnTo>
                      <a:pt x="82" y="12"/>
                    </a:lnTo>
                    <a:lnTo>
                      <a:pt x="80" y="17"/>
                    </a:lnTo>
                    <a:lnTo>
                      <a:pt x="80" y="17"/>
                    </a:lnTo>
                    <a:lnTo>
                      <a:pt x="80" y="17"/>
                    </a:lnTo>
                    <a:lnTo>
                      <a:pt x="78" y="12"/>
                    </a:lnTo>
                    <a:lnTo>
                      <a:pt x="75" y="10"/>
                    </a:lnTo>
                    <a:lnTo>
                      <a:pt x="73" y="10"/>
                    </a:lnTo>
                    <a:lnTo>
                      <a:pt x="73" y="10"/>
                    </a:lnTo>
                    <a:lnTo>
                      <a:pt x="73" y="12"/>
                    </a:lnTo>
                    <a:lnTo>
                      <a:pt x="71" y="12"/>
                    </a:lnTo>
                    <a:lnTo>
                      <a:pt x="71" y="14"/>
                    </a:lnTo>
                    <a:lnTo>
                      <a:pt x="71" y="14"/>
                    </a:lnTo>
                    <a:lnTo>
                      <a:pt x="66" y="12"/>
                    </a:lnTo>
                    <a:lnTo>
                      <a:pt x="64" y="12"/>
                    </a:lnTo>
                    <a:lnTo>
                      <a:pt x="61" y="14"/>
                    </a:lnTo>
                    <a:lnTo>
                      <a:pt x="61" y="14"/>
                    </a:lnTo>
                    <a:lnTo>
                      <a:pt x="61" y="19"/>
                    </a:lnTo>
                    <a:lnTo>
                      <a:pt x="61" y="21"/>
                    </a:lnTo>
                    <a:lnTo>
                      <a:pt x="59" y="26"/>
                    </a:lnTo>
                    <a:lnTo>
                      <a:pt x="59" y="29"/>
                    </a:lnTo>
                    <a:lnTo>
                      <a:pt x="59" y="31"/>
                    </a:lnTo>
                    <a:lnTo>
                      <a:pt x="59" y="31"/>
                    </a:lnTo>
                    <a:lnTo>
                      <a:pt x="56" y="36"/>
                    </a:lnTo>
                    <a:lnTo>
                      <a:pt x="56" y="38"/>
                    </a:lnTo>
                    <a:lnTo>
                      <a:pt x="56" y="43"/>
                    </a:lnTo>
                    <a:lnTo>
                      <a:pt x="56" y="45"/>
                    </a:lnTo>
                    <a:lnTo>
                      <a:pt x="54" y="45"/>
                    </a:lnTo>
                    <a:lnTo>
                      <a:pt x="54" y="45"/>
                    </a:lnTo>
                    <a:lnTo>
                      <a:pt x="52" y="47"/>
                    </a:lnTo>
                    <a:lnTo>
                      <a:pt x="49" y="47"/>
                    </a:lnTo>
                    <a:lnTo>
                      <a:pt x="47" y="47"/>
                    </a:lnTo>
                    <a:lnTo>
                      <a:pt x="47" y="47"/>
                    </a:lnTo>
                    <a:lnTo>
                      <a:pt x="45" y="50"/>
                    </a:lnTo>
                    <a:lnTo>
                      <a:pt x="42" y="55"/>
                    </a:lnTo>
                    <a:lnTo>
                      <a:pt x="42" y="59"/>
                    </a:lnTo>
                    <a:lnTo>
                      <a:pt x="40" y="62"/>
                    </a:lnTo>
                    <a:lnTo>
                      <a:pt x="38" y="66"/>
                    </a:lnTo>
                    <a:lnTo>
                      <a:pt x="38" y="66"/>
                    </a:lnTo>
                    <a:lnTo>
                      <a:pt x="35" y="69"/>
                    </a:lnTo>
                    <a:lnTo>
                      <a:pt x="35" y="74"/>
                    </a:lnTo>
                    <a:lnTo>
                      <a:pt x="35" y="76"/>
                    </a:lnTo>
                    <a:lnTo>
                      <a:pt x="35" y="78"/>
                    </a:lnTo>
                    <a:lnTo>
                      <a:pt x="33" y="83"/>
                    </a:lnTo>
                    <a:lnTo>
                      <a:pt x="35" y="85"/>
                    </a:lnTo>
                    <a:lnTo>
                      <a:pt x="33" y="88"/>
                    </a:lnTo>
                    <a:lnTo>
                      <a:pt x="33" y="88"/>
                    </a:lnTo>
                    <a:lnTo>
                      <a:pt x="30" y="88"/>
                    </a:lnTo>
                    <a:lnTo>
                      <a:pt x="30" y="88"/>
                    </a:lnTo>
                    <a:lnTo>
                      <a:pt x="28" y="85"/>
                    </a:lnTo>
                    <a:lnTo>
                      <a:pt x="28" y="85"/>
                    </a:lnTo>
                    <a:lnTo>
                      <a:pt x="26" y="85"/>
                    </a:lnTo>
                    <a:lnTo>
                      <a:pt x="26" y="88"/>
                    </a:lnTo>
                    <a:lnTo>
                      <a:pt x="23" y="90"/>
                    </a:lnTo>
                    <a:lnTo>
                      <a:pt x="21" y="92"/>
                    </a:lnTo>
                    <a:lnTo>
                      <a:pt x="23" y="100"/>
                    </a:lnTo>
                    <a:lnTo>
                      <a:pt x="23" y="100"/>
                    </a:lnTo>
                    <a:lnTo>
                      <a:pt x="23" y="102"/>
                    </a:lnTo>
                    <a:lnTo>
                      <a:pt x="21" y="104"/>
                    </a:lnTo>
                    <a:lnTo>
                      <a:pt x="21" y="107"/>
                    </a:lnTo>
                    <a:lnTo>
                      <a:pt x="19" y="109"/>
                    </a:lnTo>
                    <a:lnTo>
                      <a:pt x="19" y="114"/>
                    </a:lnTo>
                    <a:lnTo>
                      <a:pt x="19" y="116"/>
                    </a:lnTo>
                    <a:lnTo>
                      <a:pt x="19" y="116"/>
                    </a:lnTo>
                    <a:lnTo>
                      <a:pt x="19" y="121"/>
                    </a:lnTo>
                    <a:lnTo>
                      <a:pt x="19" y="123"/>
                    </a:lnTo>
                    <a:lnTo>
                      <a:pt x="19" y="130"/>
                    </a:lnTo>
                    <a:lnTo>
                      <a:pt x="19" y="133"/>
                    </a:lnTo>
                    <a:lnTo>
                      <a:pt x="19" y="133"/>
                    </a:lnTo>
                    <a:lnTo>
                      <a:pt x="19" y="135"/>
                    </a:lnTo>
                    <a:lnTo>
                      <a:pt x="19" y="135"/>
                    </a:lnTo>
                    <a:lnTo>
                      <a:pt x="16" y="137"/>
                    </a:lnTo>
                    <a:lnTo>
                      <a:pt x="14" y="137"/>
                    </a:lnTo>
                    <a:lnTo>
                      <a:pt x="11" y="137"/>
                    </a:lnTo>
                    <a:lnTo>
                      <a:pt x="9" y="137"/>
                    </a:lnTo>
                    <a:lnTo>
                      <a:pt x="7" y="137"/>
                    </a:lnTo>
                    <a:lnTo>
                      <a:pt x="4" y="137"/>
                    </a:lnTo>
                    <a:lnTo>
                      <a:pt x="4" y="137"/>
                    </a:lnTo>
                    <a:lnTo>
                      <a:pt x="2" y="140"/>
                    </a:lnTo>
                    <a:lnTo>
                      <a:pt x="0" y="145"/>
                    </a:lnTo>
                    <a:lnTo>
                      <a:pt x="0" y="147"/>
                    </a:lnTo>
                    <a:lnTo>
                      <a:pt x="0" y="147"/>
                    </a:lnTo>
                    <a:lnTo>
                      <a:pt x="0" y="149"/>
                    </a:lnTo>
                    <a:lnTo>
                      <a:pt x="0" y="149"/>
                    </a:lnTo>
                    <a:lnTo>
                      <a:pt x="4" y="152"/>
                    </a:lnTo>
                    <a:lnTo>
                      <a:pt x="7" y="152"/>
                    </a:lnTo>
                    <a:lnTo>
                      <a:pt x="9" y="152"/>
                    </a:lnTo>
                    <a:lnTo>
                      <a:pt x="11" y="152"/>
                    </a:lnTo>
                    <a:lnTo>
                      <a:pt x="11" y="154"/>
                    </a:lnTo>
                    <a:lnTo>
                      <a:pt x="16" y="156"/>
                    </a:lnTo>
                    <a:lnTo>
                      <a:pt x="16" y="159"/>
                    </a:lnTo>
                    <a:lnTo>
                      <a:pt x="19" y="159"/>
                    </a:lnTo>
                    <a:lnTo>
                      <a:pt x="19" y="161"/>
                    </a:lnTo>
                    <a:lnTo>
                      <a:pt x="19" y="163"/>
                    </a:lnTo>
                    <a:lnTo>
                      <a:pt x="21" y="166"/>
                    </a:lnTo>
                    <a:lnTo>
                      <a:pt x="23" y="168"/>
                    </a:lnTo>
                    <a:lnTo>
                      <a:pt x="28" y="168"/>
                    </a:lnTo>
                    <a:lnTo>
                      <a:pt x="28" y="171"/>
                    </a:lnTo>
                    <a:lnTo>
                      <a:pt x="30" y="173"/>
                    </a:lnTo>
                    <a:lnTo>
                      <a:pt x="30" y="175"/>
                    </a:lnTo>
                    <a:lnTo>
                      <a:pt x="33" y="175"/>
                    </a:lnTo>
                    <a:lnTo>
                      <a:pt x="33" y="182"/>
                    </a:lnTo>
                    <a:lnTo>
                      <a:pt x="35" y="185"/>
                    </a:lnTo>
                    <a:lnTo>
                      <a:pt x="35" y="187"/>
                    </a:lnTo>
                    <a:lnTo>
                      <a:pt x="38" y="192"/>
                    </a:lnTo>
                    <a:lnTo>
                      <a:pt x="38" y="192"/>
                    </a:lnTo>
                    <a:lnTo>
                      <a:pt x="38" y="194"/>
                    </a:lnTo>
                    <a:lnTo>
                      <a:pt x="40" y="197"/>
                    </a:lnTo>
                    <a:lnTo>
                      <a:pt x="42" y="199"/>
                    </a:lnTo>
                    <a:lnTo>
                      <a:pt x="42" y="199"/>
                    </a:lnTo>
                    <a:lnTo>
                      <a:pt x="42" y="199"/>
                    </a:lnTo>
                    <a:lnTo>
                      <a:pt x="42" y="201"/>
                    </a:lnTo>
                    <a:lnTo>
                      <a:pt x="42" y="201"/>
                    </a:lnTo>
                    <a:lnTo>
                      <a:pt x="42" y="201"/>
                    </a:lnTo>
                    <a:lnTo>
                      <a:pt x="45" y="201"/>
                    </a:lnTo>
                    <a:lnTo>
                      <a:pt x="45" y="201"/>
                    </a:lnTo>
                    <a:lnTo>
                      <a:pt x="45" y="201"/>
                    </a:lnTo>
                    <a:lnTo>
                      <a:pt x="52" y="201"/>
                    </a:lnTo>
                    <a:lnTo>
                      <a:pt x="52" y="204"/>
                    </a:lnTo>
                    <a:lnTo>
                      <a:pt x="52" y="206"/>
                    </a:lnTo>
                    <a:lnTo>
                      <a:pt x="52" y="206"/>
                    </a:lnTo>
                    <a:lnTo>
                      <a:pt x="52" y="206"/>
                    </a:lnTo>
                    <a:lnTo>
                      <a:pt x="52" y="211"/>
                    </a:lnTo>
                    <a:lnTo>
                      <a:pt x="52" y="213"/>
                    </a:lnTo>
                    <a:lnTo>
                      <a:pt x="52" y="216"/>
                    </a:lnTo>
                    <a:lnTo>
                      <a:pt x="54" y="218"/>
                    </a:lnTo>
                    <a:lnTo>
                      <a:pt x="56" y="220"/>
                    </a:lnTo>
                    <a:lnTo>
                      <a:pt x="56" y="220"/>
                    </a:lnTo>
                    <a:lnTo>
                      <a:pt x="56" y="220"/>
                    </a:lnTo>
                    <a:lnTo>
                      <a:pt x="61" y="220"/>
                    </a:lnTo>
                    <a:lnTo>
                      <a:pt x="66" y="220"/>
                    </a:lnTo>
                    <a:lnTo>
                      <a:pt x="71" y="220"/>
                    </a:lnTo>
                    <a:lnTo>
                      <a:pt x="71" y="223"/>
                    </a:lnTo>
                    <a:lnTo>
                      <a:pt x="73" y="223"/>
                    </a:lnTo>
                    <a:lnTo>
                      <a:pt x="78" y="225"/>
                    </a:lnTo>
                    <a:lnTo>
                      <a:pt x="82" y="227"/>
                    </a:lnTo>
                    <a:lnTo>
                      <a:pt x="85" y="230"/>
                    </a:lnTo>
                    <a:lnTo>
                      <a:pt x="90" y="235"/>
                    </a:lnTo>
                    <a:lnTo>
                      <a:pt x="92" y="237"/>
                    </a:lnTo>
                    <a:lnTo>
                      <a:pt x="94" y="237"/>
                    </a:lnTo>
                    <a:lnTo>
                      <a:pt x="97" y="239"/>
                    </a:lnTo>
                    <a:lnTo>
                      <a:pt x="101" y="239"/>
                    </a:lnTo>
                    <a:lnTo>
                      <a:pt x="104" y="239"/>
                    </a:lnTo>
                    <a:lnTo>
                      <a:pt x="106" y="239"/>
                    </a:lnTo>
                    <a:lnTo>
                      <a:pt x="111" y="242"/>
                    </a:lnTo>
                    <a:lnTo>
                      <a:pt x="113" y="242"/>
                    </a:lnTo>
                    <a:lnTo>
                      <a:pt x="116" y="242"/>
                    </a:lnTo>
                    <a:lnTo>
                      <a:pt x="120" y="242"/>
                    </a:lnTo>
                    <a:lnTo>
                      <a:pt x="123" y="242"/>
                    </a:lnTo>
                    <a:lnTo>
                      <a:pt x="125" y="239"/>
                    </a:lnTo>
                    <a:lnTo>
                      <a:pt x="127" y="237"/>
                    </a:lnTo>
                    <a:lnTo>
                      <a:pt x="127" y="235"/>
                    </a:lnTo>
                    <a:lnTo>
                      <a:pt x="130" y="232"/>
                    </a:lnTo>
                    <a:lnTo>
                      <a:pt x="137" y="230"/>
                    </a:lnTo>
                    <a:lnTo>
                      <a:pt x="139" y="227"/>
                    </a:lnTo>
                    <a:lnTo>
                      <a:pt x="144" y="225"/>
                    </a:lnTo>
                    <a:lnTo>
                      <a:pt x="146" y="227"/>
                    </a:lnTo>
                    <a:lnTo>
                      <a:pt x="149" y="230"/>
                    </a:lnTo>
                    <a:lnTo>
                      <a:pt x="151" y="230"/>
                    </a:lnTo>
                    <a:lnTo>
                      <a:pt x="151" y="232"/>
                    </a:lnTo>
                    <a:lnTo>
                      <a:pt x="153" y="232"/>
                    </a:lnTo>
                    <a:lnTo>
                      <a:pt x="156" y="232"/>
                    </a:lnTo>
                    <a:lnTo>
                      <a:pt x="156" y="232"/>
                    </a:lnTo>
                    <a:lnTo>
                      <a:pt x="158" y="232"/>
                    </a:lnTo>
                    <a:lnTo>
                      <a:pt x="163" y="232"/>
                    </a:lnTo>
                    <a:lnTo>
                      <a:pt x="165" y="232"/>
                    </a:lnTo>
                    <a:lnTo>
                      <a:pt x="165" y="230"/>
                    </a:lnTo>
                    <a:lnTo>
                      <a:pt x="168" y="227"/>
                    </a:lnTo>
                    <a:lnTo>
                      <a:pt x="172" y="227"/>
                    </a:lnTo>
                    <a:lnTo>
                      <a:pt x="175" y="225"/>
                    </a:lnTo>
                    <a:lnTo>
                      <a:pt x="182" y="225"/>
                    </a:lnTo>
                    <a:lnTo>
                      <a:pt x="184" y="223"/>
                    </a:lnTo>
                    <a:lnTo>
                      <a:pt x="184" y="223"/>
                    </a:lnTo>
                    <a:lnTo>
                      <a:pt x="184" y="220"/>
                    </a:lnTo>
                    <a:lnTo>
                      <a:pt x="187" y="218"/>
                    </a:lnTo>
                    <a:lnTo>
                      <a:pt x="189" y="218"/>
                    </a:lnTo>
                    <a:lnTo>
                      <a:pt x="191" y="216"/>
                    </a:lnTo>
                    <a:lnTo>
                      <a:pt x="196" y="213"/>
                    </a:lnTo>
                    <a:lnTo>
                      <a:pt x="196" y="213"/>
                    </a:lnTo>
                    <a:lnTo>
                      <a:pt x="201" y="211"/>
                    </a:lnTo>
                    <a:lnTo>
                      <a:pt x="203" y="211"/>
                    </a:lnTo>
                    <a:lnTo>
                      <a:pt x="205" y="211"/>
                    </a:lnTo>
                    <a:lnTo>
                      <a:pt x="205" y="211"/>
                    </a:lnTo>
                    <a:lnTo>
                      <a:pt x="213" y="211"/>
                    </a:lnTo>
                    <a:lnTo>
                      <a:pt x="217" y="211"/>
                    </a:lnTo>
                    <a:lnTo>
                      <a:pt x="222" y="211"/>
                    </a:lnTo>
                    <a:lnTo>
                      <a:pt x="222" y="211"/>
                    </a:lnTo>
                    <a:lnTo>
                      <a:pt x="227" y="206"/>
                    </a:lnTo>
                    <a:lnTo>
                      <a:pt x="231" y="199"/>
                    </a:lnTo>
                    <a:lnTo>
                      <a:pt x="234" y="194"/>
                    </a:lnTo>
                    <a:lnTo>
                      <a:pt x="241" y="187"/>
                    </a:lnTo>
                    <a:lnTo>
                      <a:pt x="246" y="182"/>
                    </a:lnTo>
                    <a:lnTo>
                      <a:pt x="250" y="178"/>
                    </a:lnTo>
                    <a:lnTo>
                      <a:pt x="253" y="173"/>
                    </a:lnTo>
                    <a:lnTo>
                      <a:pt x="260" y="166"/>
                    </a:lnTo>
                    <a:lnTo>
                      <a:pt x="262" y="163"/>
                    </a:lnTo>
                    <a:lnTo>
                      <a:pt x="267" y="156"/>
                    </a:lnTo>
                    <a:lnTo>
                      <a:pt x="274" y="152"/>
                    </a:lnTo>
                    <a:lnTo>
                      <a:pt x="279" y="147"/>
                    </a:lnTo>
                    <a:lnTo>
                      <a:pt x="260" y="147"/>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158"/>
              <p:cNvSpPr>
                <a:spLocks noEditPoints="1"/>
              </p:cNvSpPr>
              <p:nvPr/>
            </p:nvSpPr>
            <p:spPr bwMode="auto">
              <a:xfrm>
                <a:off x="3118" y="1555"/>
                <a:ext cx="92" cy="42"/>
              </a:xfrm>
              <a:custGeom>
                <a:avLst/>
                <a:gdLst>
                  <a:gd name="T0" fmla="*/ 11 w 92"/>
                  <a:gd name="T1" fmla="*/ 21 h 42"/>
                  <a:gd name="T2" fmla="*/ 7 w 92"/>
                  <a:gd name="T3" fmla="*/ 21 h 42"/>
                  <a:gd name="T4" fmla="*/ 4 w 92"/>
                  <a:gd name="T5" fmla="*/ 23 h 42"/>
                  <a:gd name="T6" fmla="*/ 2 w 92"/>
                  <a:gd name="T7" fmla="*/ 23 h 42"/>
                  <a:gd name="T8" fmla="*/ 0 w 92"/>
                  <a:gd name="T9" fmla="*/ 26 h 42"/>
                  <a:gd name="T10" fmla="*/ 4 w 92"/>
                  <a:gd name="T11" fmla="*/ 28 h 42"/>
                  <a:gd name="T12" fmla="*/ 2 w 92"/>
                  <a:gd name="T13" fmla="*/ 33 h 42"/>
                  <a:gd name="T14" fmla="*/ 7 w 92"/>
                  <a:gd name="T15" fmla="*/ 28 h 42"/>
                  <a:gd name="T16" fmla="*/ 14 w 92"/>
                  <a:gd name="T17" fmla="*/ 26 h 42"/>
                  <a:gd name="T18" fmla="*/ 19 w 92"/>
                  <a:gd name="T19" fmla="*/ 23 h 42"/>
                  <a:gd name="T20" fmla="*/ 16 w 92"/>
                  <a:gd name="T21" fmla="*/ 21 h 42"/>
                  <a:gd name="T22" fmla="*/ 21 w 92"/>
                  <a:gd name="T23" fmla="*/ 21 h 42"/>
                  <a:gd name="T24" fmla="*/ 19 w 92"/>
                  <a:gd name="T25" fmla="*/ 18 h 42"/>
                  <a:gd name="T26" fmla="*/ 9 w 92"/>
                  <a:gd name="T27" fmla="*/ 18 h 42"/>
                  <a:gd name="T28" fmla="*/ 14 w 92"/>
                  <a:gd name="T29" fmla="*/ 16 h 42"/>
                  <a:gd name="T30" fmla="*/ 16 w 92"/>
                  <a:gd name="T31" fmla="*/ 14 h 42"/>
                  <a:gd name="T32" fmla="*/ 11 w 92"/>
                  <a:gd name="T33" fmla="*/ 11 h 42"/>
                  <a:gd name="T34" fmla="*/ 9 w 92"/>
                  <a:gd name="T35" fmla="*/ 14 h 42"/>
                  <a:gd name="T36" fmla="*/ 92 w 92"/>
                  <a:gd name="T37" fmla="*/ 4 h 42"/>
                  <a:gd name="T38" fmla="*/ 90 w 92"/>
                  <a:gd name="T39" fmla="*/ 4 h 42"/>
                  <a:gd name="T40" fmla="*/ 71 w 92"/>
                  <a:gd name="T41" fmla="*/ 2 h 42"/>
                  <a:gd name="T42" fmla="*/ 52 w 92"/>
                  <a:gd name="T43" fmla="*/ 0 h 42"/>
                  <a:gd name="T44" fmla="*/ 45 w 92"/>
                  <a:gd name="T45" fmla="*/ 2 h 42"/>
                  <a:gd name="T46" fmla="*/ 30 w 92"/>
                  <a:gd name="T47" fmla="*/ 4 h 42"/>
                  <a:gd name="T48" fmla="*/ 23 w 92"/>
                  <a:gd name="T49" fmla="*/ 9 h 42"/>
                  <a:gd name="T50" fmla="*/ 23 w 92"/>
                  <a:gd name="T51" fmla="*/ 11 h 42"/>
                  <a:gd name="T52" fmla="*/ 23 w 92"/>
                  <a:gd name="T53" fmla="*/ 16 h 42"/>
                  <a:gd name="T54" fmla="*/ 26 w 92"/>
                  <a:gd name="T55" fmla="*/ 18 h 42"/>
                  <a:gd name="T56" fmla="*/ 28 w 92"/>
                  <a:gd name="T57" fmla="*/ 23 h 42"/>
                  <a:gd name="T58" fmla="*/ 35 w 92"/>
                  <a:gd name="T59" fmla="*/ 26 h 42"/>
                  <a:gd name="T60" fmla="*/ 40 w 92"/>
                  <a:gd name="T61" fmla="*/ 26 h 42"/>
                  <a:gd name="T62" fmla="*/ 40 w 92"/>
                  <a:gd name="T63" fmla="*/ 30 h 42"/>
                  <a:gd name="T64" fmla="*/ 40 w 92"/>
                  <a:gd name="T65" fmla="*/ 33 h 42"/>
                  <a:gd name="T66" fmla="*/ 49 w 92"/>
                  <a:gd name="T67" fmla="*/ 30 h 42"/>
                  <a:gd name="T68" fmla="*/ 52 w 92"/>
                  <a:gd name="T69" fmla="*/ 30 h 42"/>
                  <a:gd name="T70" fmla="*/ 56 w 92"/>
                  <a:gd name="T71" fmla="*/ 33 h 42"/>
                  <a:gd name="T72" fmla="*/ 64 w 92"/>
                  <a:gd name="T73" fmla="*/ 35 h 42"/>
                  <a:gd name="T74" fmla="*/ 68 w 92"/>
                  <a:gd name="T75" fmla="*/ 40 h 42"/>
                  <a:gd name="T76" fmla="*/ 78 w 92"/>
                  <a:gd name="T77" fmla="*/ 40 h 42"/>
                  <a:gd name="T78" fmla="*/ 85 w 92"/>
                  <a:gd name="T79" fmla="*/ 42 h 42"/>
                  <a:gd name="T80" fmla="*/ 85 w 92"/>
                  <a:gd name="T81" fmla="*/ 37 h 42"/>
                  <a:gd name="T82" fmla="*/ 90 w 92"/>
                  <a:gd name="T83" fmla="*/ 35 h 42"/>
                  <a:gd name="T84" fmla="*/ 90 w 92"/>
                  <a:gd name="T85" fmla="*/ 33 h 42"/>
                  <a:gd name="T86" fmla="*/ 85 w 92"/>
                  <a:gd name="T87" fmla="*/ 28 h 42"/>
                  <a:gd name="T88" fmla="*/ 85 w 92"/>
                  <a:gd name="T89" fmla="*/ 23 h 42"/>
                  <a:gd name="T90" fmla="*/ 85 w 92"/>
                  <a:gd name="T91" fmla="*/ 14 h 42"/>
                  <a:gd name="T92" fmla="*/ 90 w 92"/>
                  <a:gd name="T93" fmla="*/ 7 h 42"/>
                  <a:gd name="T94" fmla="*/ 92 w 92"/>
                  <a:gd name="T95" fmla="*/ 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2" h="42">
                    <a:moveTo>
                      <a:pt x="16" y="21"/>
                    </a:moveTo>
                    <a:lnTo>
                      <a:pt x="14" y="18"/>
                    </a:lnTo>
                    <a:lnTo>
                      <a:pt x="14" y="21"/>
                    </a:lnTo>
                    <a:lnTo>
                      <a:pt x="11" y="21"/>
                    </a:lnTo>
                    <a:lnTo>
                      <a:pt x="11" y="18"/>
                    </a:lnTo>
                    <a:lnTo>
                      <a:pt x="9" y="18"/>
                    </a:lnTo>
                    <a:lnTo>
                      <a:pt x="9" y="21"/>
                    </a:lnTo>
                    <a:lnTo>
                      <a:pt x="7" y="21"/>
                    </a:lnTo>
                    <a:lnTo>
                      <a:pt x="7" y="21"/>
                    </a:lnTo>
                    <a:lnTo>
                      <a:pt x="4" y="21"/>
                    </a:lnTo>
                    <a:lnTo>
                      <a:pt x="4" y="21"/>
                    </a:lnTo>
                    <a:lnTo>
                      <a:pt x="4" y="23"/>
                    </a:lnTo>
                    <a:lnTo>
                      <a:pt x="2" y="21"/>
                    </a:lnTo>
                    <a:lnTo>
                      <a:pt x="2" y="21"/>
                    </a:lnTo>
                    <a:lnTo>
                      <a:pt x="0" y="21"/>
                    </a:lnTo>
                    <a:lnTo>
                      <a:pt x="2" y="23"/>
                    </a:lnTo>
                    <a:lnTo>
                      <a:pt x="2" y="26"/>
                    </a:lnTo>
                    <a:lnTo>
                      <a:pt x="2" y="26"/>
                    </a:lnTo>
                    <a:lnTo>
                      <a:pt x="0" y="26"/>
                    </a:lnTo>
                    <a:lnTo>
                      <a:pt x="0" y="26"/>
                    </a:lnTo>
                    <a:lnTo>
                      <a:pt x="0" y="26"/>
                    </a:lnTo>
                    <a:lnTo>
                      <a:pt x="2" y="28"/>
                    </a:lnTo>
                    <a:lnTo>
                      <a:pt x="4" y="28"/>
                    </a:lnTo>
                    <a:lnTo>
                      <a:pt x="4" y="28"/>
                    </a:lnTo>
                    <a:lnTo>
                      <a:pt x="4" y="30"/>
                    </a:lnTo>
                    <a:lnTo>
                      <a:pt x="2" y="33"/>
                    </a:lnTo>
                    <a:lnTo>
                      <a:pt x="2" y="33"/>
                    </a:lnTo>
                    <a:lnTo>
                      <a:pt x="2" y="33"/>
                    </a:lnTo>
                    <a:lnTo>
                      <a:pt x="4" y="33"/>
                    </a:lnTo>
                    <a:lnTo>
                      <a:pt x="4" y="33"/>
                    </a:lnTo>
                    <a:lnTo>
                      <a:pt x="7" y="30"/>
                    </a:lnTo>
                    <a:lnTo>
                      <a:pt x="7" y="28"/>
                    </a:lnTo>
                    <a:lnTo>
                      <a:pt x="9" y="28"/>
                    </a:lnTo>
                    <a:lnTo>
                      <a:pt x="9" y="28"/>
                    </a:lnTo>
                    <a:lnTo>
                      <a:pt x="14" y="28"/>
                    </a:lnTo>
                    <a:lnTo>
                      <a:pt x="14" y="26"/>
                    </a:lnTo>
                    <a:lnTo>
                      <a:pt x="16" y="26"/>
                    </a:lnTo>
                    <a:lnTo>
                      <a:pt x="16" y="26"/>
                    </a:lnTo>
                    <a:lnTo>
                      <a:pt x="19" y="23"/>
                    </a:lnTo>
                    <a:lnTo>
                      <a:pt x="19" y="23"/>
                    </a:lnTo>
                    <a:lnTo>
                      <a:pt x="19" y="23"/>
                    </a:lnTo>
                    <a:lnTo>
                      <a:pt x="21" y="23"/>
                    </a:lnTo>
                    <a:lnTo>
                      <a:pt x="21" y="23"/>
                    </a:lnTo>
                    <a:lnTo>
                      <a:pt x="16" y="21"/>
                    </a:lnTo>
                    <a:close/>
                    <a:moveTo>
                      <a:pt x="19" y="18"/>
                    </a:moveTo>
                    <a:lnTo>
                      <a:pt x="19" y="18"/>
                    </a:lnTo>
                    <a:lnTo>
                      <a:pt x="19" y="21"/>
                    </a:lnTo>
                    <a:lnTo>
                      <a:pt x="21" y="21"/>
                    </a:lnTo>
                    <a:lnTo>
                      <a:pt x="23" y="21"/>
                    </a:lnTo>
                    <a:lnTo>
                      <a:pt x="23" y="21"/>
                    </a:lnTo>
                    <a:lnTo>
                      <a:pt x="21" y="18"/>
                    </a:lnTo>
                    <a:lnTo>
                      <a:pt x="19" y="18"/>
                    </a:lnTo>
                    <a:close/>
                    <a:moveTo>
                      <a:pt x="7" y="14"/>
                    </a:moveTo>
                    <a:lnTo>
                      <a:pt x="7" y="14"/>
                    </a:lnTo>
                    <a:lnTo>
                      <a:pt x="9" y="16"/>
                    </a:lnTo>
                    <a:lnTo>
                      <a:pt x="9" y="18"/>
                    </a:lnTo>
                    <a:lnTo>
                      <a:pt x="9" y="18"/>
                    </a:lnTo>
                    <a:lnTo>
                      <a:pt x="11" y="18"/>
                    </a:lnTo>
                    <a:lnTo>
                      <a:pt x="14" y="16"/>
                    </a:lnTo>
                    <a:lnTo>
                      <a:pt x="14" y="16"/>
                    </a:lnTo>
                    <a:lnTo>
                      <a:pt x="14" y="16"/>
                    </a:lnTo>
                    <a:lnTo>
                      <a:pt x="16" y="16"/>
                    </a:lnTo>
                    <a:lnTo>
                      <a:pt x="16" y="16"/>
                    </a:lnTo>
                    <a:lnTo>
                      <a:pt x="16" y="14"/>
                    </a:lnTo>
                    <a:lnTo>
                      <a:pt x="14" y="11"/>
                    </a:lnTo>
                    <a:lnTo>
                      <a:pt x="11" y="11"/>
                    </a:lnTo>
                    <a:lnTo>
                      <a:pt x="11" y="11"/>
                    </a:lnTo>
                    <a:lnTo>
                      <a:pt x="11" y="11"/>
                    </a:lnTo>
                    <a:lnTo>
                      <a:pt x="11" y="11"/>
                    </a:lnTo>
                    <a:lnTo>
                      <a:pt x="9" y="11"/>
                    </a:lnTo>
                    <a:lnTo>
                      <a:pt x="9" y="11"/>
                    </a:lnTo>
                    <a:lnTo>
                      <a:pt x="9" y="14"/>
                    </a:lnTo>
                    <a:lnTo>
                      <a:pt x="2" y="14"/>
                    </a:lnTo>
                    <a:lnTo>
                      <a:pt x="4" y="14"/>
                    </a:lnTo>
                    <a:lnTo>
                      <a:pt x="7" y="14"/>
                    </a:lnTo>
                    <a:close/>
                    <a:moveTo>
                      <a:pt x="92" y="4"/>
                    </a:moveTo>
                    <a:lnTo>
                      <a:pt x="92" y="4"/>
                    </a:lnTo>
                    <a:lnTo>
                      <a:pt x="90" y="2"/>
                    </a:lnTo>
                    <a:lnTo>
                      <a:pt x="90" y="2"/>
                    </a:lnTo>
                    <a:lnTo>
                      <a:pt x="90" y="4"/>
                    </a:lnTo>
                    <a:lnTo>
                      <a:pt x="80" y="4"/>
                    </a:lnTo>
                    <a:lnTo>
                      <a:pt x="75" y="4"/>
                    </a:lnTo>
                    <a:lnTo>
                      <a:pt x="73" y="2"/>
                    </a:lnTo>
                    <a:lnTo>
                      <a:pt x="71" y="2"/>
                    </a:lnTo>
                    <a:lnTo>
                      <a:pt x="68" y="2"/>
                    </a:lnTo>
                    <a:lnTo>
                      <a:pt x="56" y="0"/>
                    </a:lnTo>
                    <a:lnTo>
                      <a:pt x="54" y="0"/>
                    </a:lnTo>
                    <a:lnTo>
                      <a:pt x="52" y="0"/>
                    </a:lnTo>
                    <a:lnTo>
                      <a:pt x="52" y="0"/>
                    </a:lnTo>
                    <a:lnTo>
                      <a:pt x="54" y="2"/>
                    </a:lnTo>
                    <a:lnTo>
                      <a:pt x="52" y="2"/>
                    </a:lnTo>
                    <a:lnTo>
                      <a:pt x="45" y="2"/>
                    </a:lnTo>
                    <a:lnTo>
                      <a:pt x="40" y="4"/>
                    </a:lnTo>
                    <a:lnTo>
                      <a:pt x="35" y="2"/>
                    </a:lnTo>
                    <a:lnTo>
                      <a:pt x="33" y="4"/>
                    </a:lnTo>
                    <a:lnTo>
                      <a:pt x="30" y="4"/>
                    </a:lnTo>
                    <a:lnTo>
                      <a:pt x="33" y="7"/>
                    </a:lnTo>
                    <a:lnTo>
                      <a:pt x="28" y="7"/>
                    </a:lnTo>
                    <a:lnTo>
                      <a:pt x="26" y="7"/>
                    </a:lnTo>
                    <a:lnTo>
                      <a:pt x="23" y="9"/>
                    </a:lnTo>
                    <a:lnTo>
                      <a:pt x="23" y="9"/>
                    </a:lnTo>
                    <a:lnTo>
                      <a:pt x="23" y="11"/>
                    </a:lnTo>
                    <a:lnTo>
                      <a:pt x="23" y="11"/>
                    </a:lnTo>
                    <a:lnTo>
                      <a:pt x="23" y="11"/>
                    </a:lnTo>
                    <a:lnTo>
                      <a:pt x="23" y="14"/>
                    </a:lnTo>
                    <a:lnTo>
                      <a:pt x="23" y="14"/>
                    </a:lnTo>
                    <a:lnTo>
                      <a:pt x="23" y="16"/>
                    </a:lnTo>
                    <a:lnTo>
                      <a:pt x="23" y="16"/>
                    </a:lnTo>
                    <a:lnTo>
                      <a:pt x="26" y="16"/>
                    </a:lnTo>
                    <a:lnTo>
                      <a:pt x="28" y="16"/>
                    </a:lnTo>
                    <a:lnTo>
                      <a:pt x="26" y="16"/>
                    </a:lnTo>
                    <a:lnTo>
                      <a:pt x="26" y="18"/>
                    </a:lnTo>
                    <a:lnTo>
                      <a:pt x="26" y="18"/>
                    </a:lnTo>
                    <a:lnTo>
                      <a:pt x="26" y="21"/>
                    </a:lnTo>
                    <a:lnTo>
                      <a:pt x="28" y="21"/>
                    </a:lnTo>
                    <a:lnTo>
                      <a:pt x="28" y="23"/>
                    </a:lnTo>
                    <a:lnTo>
                      <a:pt x="28" y="26"/>
                    </a:lnTo>
                    <a:lnTo>
                      <a:pt x="33" y="26"/>
                    </a:lnTo>
                    <a:lnTo>
                      <a:pt x="35" y="26"/>
                    </a:lnTo>
                    <a:lnTo>
                      <a:pt x="35" y="26"/>
                    </a:lnTo>
                    <a:lnTo>
                      <a:pt x="37" y="26"/>
                    </a:lnTo>
                    <a:lnTo>
                      <a:pt x="37" y="23"/>
                    </a:lnTo>
                    <a:lnTo>
                      <a:pt x="37" y="23"/>
                    </a:lnTo>
                    <a:lnTo>
                      <a:pt x="40" y="26"/>
                    </a:lnTo>
                    <a:lnTo>
                      <a:pt x="40" y="26"/>
                    </a:lnTo>
                    <a:lnTo>
                      <a:pt x="40" y="26"/>
                    </a:lnTo>
                    <a:lnTo>
                      <a:pt x="40" y="26"/>
                    </a:lnTo>
                    <a:lnTo>
                      <a:pt x="40" y="30"/>
                    </a:lnTo>
                    <a:lnTo>
                      <a:pt x="37" y="33"/>
                    </a:lnTo>
                    <a:lnTo>
                      <a:pt x="37" y="35"/>
                    </a:lnTo>
                    <a:lnTo>
                      <a:pt x="40" y="35"/>
                    </a:lnTo>
                    <a:lnTo>
                      <a:pt x="40" y="33"/>
                    </a:lnTo>
                    <a:lnTo>
                      <a:pt x="45" y="33"/>
                    </a:lnTo>
                    <a:lnTo>
                      <a:pt x="47" y="33"/>
                    </a:lnTo>
                    <a:lnTo>
                      <a:pt x="47" y="33"/>
                    </a:lnTo>
                    <a:lnTo>
                      <a:pt x="49" y="30"/>
                    </a:lnTo>
                    <a:lnTo>
                      <a:pt x="52" y="30"/>
                    </a:lnTo>
                    <a:lnTo>
                      <a:pt x="52" y="33"/>
                    </a:lnTo>
                    <a:lnTo>
                      <a:pt x="52" y="33"/>
                    </a:lnTo>
                    <a:lnTo>
                      <a:pt x="52" y="30"/>
                    </a:lnTo>
                    <a:lnTo>
                      <a:pt x="52" y="30"/>
                    </a:lnTo>
                    <a:lnTo>
                      <a:pt x="52" y="30"/>
                    </a:lnTo>
                    <a:lnTo>
                      <a:pt x="54" y="30"/>
                    </a:lnTo>
                    <a:lnTo>
                      <a:pt x="56" y="33"/>
                    </a:lnTo>
                    <a:lnTo>
                      <a:pt x="59" y="33"/>
                    </a:lnTo>
                    <a:lnTo>
                      <a:pt x="59" y="33"/>
                    </a:lnTo>
                    <a:lnTo>
                      <a:pt x="61" y="35"/>
                    </a:lnTo>
                    <a:lnTo>
                      <a:pt x="64" y="35"/>
                    </a:lnTo>
                    <a:lnTo>
                      <a:pt x="64" y="35"/>
                    </a:lnTo>
                    <a:lnTo>
                      <a:pt x="64" y="35"/>
                    </a:lnTo>
                    <a:lnTo>
                      <a:pt x="68" y="37"/>
                    </a:lnTo>
                    <a:lnTo>
                      <a:pt x="68" y="40"/>
                    </a:lnTo>
                    <a:lnTo>
                      <a:pt x="71" y="40"/>
                    </a:lnTo>
                    <a:lnTo>
                      <a:pt x="73" y="40"/>
                    </a:lnTo>
                    <a:lnTo>
                      <a:pt x="78" y="40"/>
                    </a:lnTo>
                    <a:lnTo>
                      <a:pt x="78" y="40"/>
                    </a:lnTo>
                    <a:lnTo>
                      <a:pt x="80" y="40"/>
                    </a:lnTo>
                    <a:lnTo>
                      <a:pt x="80" y="40"/>
                    </a:lnTo>
                    <a:lnTo>
                      <a:pt x="82" y="40"/>
                    </a:lnTo>
                    <a:lnTo>
                      <a:pt x="85" y="42"/>
                    </a:lnTo>
                    <a:lnTo>
                      <a:pt x="85" y="40"/>
                    </a:lnTo>
                    <a:lnTo>
                      <a:pt x="85" y="40"/>
                    </a:lnTo>
                    <a:lnTo>
                      <a:pt x="85" y="40"/>
                    </a:lnTo>
                    <a:lnTo>
                      <a:pt x="85" y="37"/>
                    </a:lnTo>
                    <a:lnTo>
                      <a:pt x="87" y="37"/>
                    </a:lnTo>
                    <a:lnTo>
                      <a:pt x="87" y="37"/>
                    </a:lnTo>
                    <a:lnTo>
                      <a:pt x="87" y="35"/>
                    </a:lnTo>
                    <a:lnTo>
                      <a:pt x="90" y="35"/>
                    </a:lnTo>
                    <a:lnTo>
                      <a:pt x="92" y="35"/>
                    </a:lnTo>
                    <a:lnTo>
                      <a:pt x="92" y="35"/>
                    </a:lnTo>
                    <a:lnTo>
                      <a:pt x="90" y="35"/>
                    </a:lnTo>
                    <a:lnTo>
                      <a:pt x="90" y="33"/>
                    </a:lnTo>
                    <a:lnTo>
                      <a:pt x="90" y="33"/>
                    </a:lnTo>
                    <a:lnTo>
                      <a:pt x="90" y="30"/>
                    </a:lnTo>
                    <a:lnTo>
                      <a:pt x="87" y="28"/>
                    </a:lnTo>
                    <a:lnTo>
                      <a:pt x="85" y="28"/>
                    </a:lnTo>
                    <a:lnTo>
                      <a:pt x="85" y="26"/>
                    </a:lnTo>
                    <a:lnTo>
                      <a:pt x="85" y="26"/>
                    </a:lnTo>
                    <a:lnTo>
                      <a:pt x="85" y="23"/>
                    </a:lnTo>
                    <a:lnTo>
                      <a:pt x="85" y="23"/>
                    </a:lnTo>
                    <a:lnTo>
                      <a:pt x="82" y="18"/>
                    </a:lnTo>
                    <a:lnTo>
                      <a:pt x="82" y="16"/>
                    </a:lnTo>
                    <a:lnTo>
                      <a:pt x="85" y="16"/>
                    </a:lnTo>
                    <a:lnTo>
                      <a:pt x="85" y="14"/>
                    </a:lnTo>
                    <a:lnTo>
                      <a:pt x="85" y="14"/>
                    </a:lnTo>
                    <a:lnTo>
                      <a:pt x="87" y="11"/>
                    </a:lnTo>
                    <a:lnTo>
                      <a:pt x="90" y="9"/>
                    </a:lnTo>
                    <a:lnTo>
                      <a:pt x="90" y="7"/>
                    </a:lnTo>
                    <a:lnTo>
                      <a:pt x="90" y="7"/>
                    </a:lnTo>
                    <a:lnTo>
                      <a:pt x="92" y="7"/>
                    </a:lnTo>
                    <a:lnTo>
                      <a:pt x="92" y="7"/>
                    </a:lnTo>
                    <a:lnTo>
                      <a:pt x="92" y="4"/>
                    </a:lnTo>
                    <a:lnTo>
                      <a:pt x="92" y="4"/>
                    </a:lnTo>
                    <a:lnTo>
                      <a:pt x="92" y="4"/>
                    </a:lnTo>
                    <a:lnTo>
                      <a:pt x="92" y="4"/>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159"/>
              <p:cNvSpPr>
                <a:spLocks noEditPoints="1"/>
              </p:cNvSpPr>
              <p:nvPr/>
            </p:nvSpPr>
            <p:spPr bwMode="auto">
              <a:xfrm>
                <a:off x="3423" y="2419"/>
                <a:ext cx="125" cy="121"/>
              </a:xfrm>
              <a:custGeom>
                <a:avLst/>
                <a:gdLst>
                  <a:gd name="T0" fmla="*/ 66 w 125"/>
                  <a:gd name="T1" fmla="*/ 50 h 121"/>
                  <a:gd name="T2" fmla="*/ 71 w 125"/>
                  <a:gd name="T3" fmla="*/ 52 h 121"/>
                  <a:gd name="T4" fmla="*/ 71 w 125"/>
                  <a:gd name="T5" fmla="*/ 50 h 121"/>
                  <a:gd name="T6" fmla="*/ 68 w 125"/>
                  <a:gd name="T7" fmla="*/ 47 h 121"/>
                  <a:gd name="T8" fmla="*/ 66 w 125"/>
                  <a:gd name="T9" fmla="*/ 47 h 121"/>
                  <a:gd name="T10" fmla="*/ 66 w 125"/>
                  <a:gd name="T11" fmla="*/ 50 h 121"/>
                  <a:gd name="T12" fmla="*/ 66 w 125"/>
                  <a:gd name="T13" fmla="*/ 40 h 121"/>
                  <a:gd name="T14" fmla="*/ 68 w 125"/>
                  <a:gd name="T15" fmla="*/ 42 h 121"/>
                  <a:gd name="T16" fmla="*/ 120 w 125"/>
                  <a:gd name="T17" fmla="*/ 109 h 121"/>
                  <a:gd name="T18" fmla="*/ 111 w 125"/>
                  <a:gd name="T19" fmla="*/ 97 h 121"/>
                  <a:gd name="T20" fmla="*/ 90 w 125"/>
                  <a:gd name="T21" fmla="*/ 71 h 121"/>
                  <a:gd name="T22" fmla="*/ 75 w 125"/>
                  <a:gd name="T23" fmla="*/ 64 h 121"/>
                  <a:gd name="T24" fmla="*/ 68 w 125"/>
                  <a:gd name="T25" fmla="*/ 59 h 121"/>
                  <a:gd name="T26" fmla="*/ 64 w 125"/>
                  <a:gd name="T27" fmla="*/ 54 h 121"/>
                  <a:gd name="T28" fmla="*/ 61 w 125"/>
                  <a:gd name="T29" fmla="*/ 61 h 121"/>
                  <a:gd name="T30" fmla="*/ 57 w 125"/>
                  <a:gd name="T31" fmla="*/ 52 h 121"/>
                  <a:gd name="T32" fmla="*/ 49 w 125"/>
                  <a:gd name="T33" fmla="*/ 28 h 121"/>
                  <a:gd name="T34" fmla="*/ 38 w 125"/>
                  <a:gd name="T35" fmla="*/ 2 h 121"/>
                  <a:gd name="T36" fmla="*/ 35 w 125"/>
                  <a:gd name="T37" fmla="*/ 7 h 121"/>
                  <a:gd name="T38" fmla="*/ 33 w 125"/>
                  <a:gd name="T39" fmla="*/ 9 h 121"/>
                  <a:gd name="T40" fmla="*/ 31 w 125"/>
                  <a:gd name="T41" fmla="*/ 12 h 121"/>
                  <a:gd name="T42" fmla="*/ 26 w 125"/>
                  <a:gd name="T43" fmla="*/ 12 h 121"/>
                  <a:gd name="T44" fmla="*/ 21 w 125"/>
                  <a:gd name="T45" fmla="*/ 14 h 121"/>
                  <a:gd name="T46" fmla="*/ 19 w 125"/>
                  <a:gd name="T47" fmla="*/ 19 h 121"/>
                  <a:gd name="T48" fmla="*/ 12 w 125"/>
                  <a:gd name="T49" fmla="*/ 21 h 121"/>
                  <a:gd name="T50" fmla="*/ 9 w 125"/>
                  <a:gd name="T51" fmla="*/ 23 h 121"/>
                  <a:gd name="T52" fmla="*/ 9 w 125"/>
                  <a:gd name="T53" fmla="*/ 33 h 121"/>
                  <a:gd name="T54" fmla="*/ 5 w 125"/>
                  <a:gd name="T55" fmla="*/ 47 h 121"/>
                  <a:gd name="T56" fmla="*/ 0 w 125"/>
                  <a:gd name="T57" fmla="*/ 61 h 121"/>
                  <a:gd name="T58" fmla="*/ 2 w 125"/>
                  <a:gd name="T59" fmla="*/ 80 h 121"/>
                  <a:gd name="T60" fmla="*/ 12 w 125"/>
                  <a:gd name="T61" fmla="*/ 80 h 121"/>
                  <a:gd name="T62" fmla="*/ 14 w 125"/>
                  <a:gd name="T63" fmla="*/ 76 h 121"/>
                  <a:gd name="T64" fmla="*/ 21 w 125"/>
                  <a:gd name="T65" fmla="*/ 83 h 121"/>
                  <a:gd name="T66" fmla="*/ 23 w 125"/>
                  <a:gd name="T67" fmla="*/ 76 h 121"/>
                  <a:gd name="T68" fmla="*/ 31 w 125"/>
                  <a:gd name="T69" fmla="*/ 68 h 121"/>
                  <a:gd name="T70" fmla="*/ 33 w 125"/>
                  <a:gd name="T71" fmla="*/ 71 h 121"/>
                  <a:gd name="T72" fmla="*/ 45 w 125"/>
                  <a:gd name="T73" fmla="*/ 76 h 121"/>
                  <a:gd name="T74" fmla="*/ 52 w 125"/>
                  <a:gd name="T75" fmla="*/ 73 h 121"/>
                  <a:gd name="T76" fmla="*/ 57 w 125"/>
                  <a:gd name="T77" fmla="*/ 73 h 121"/>
                  <a:gd name="T78" fmla="*/ 61 w 125"/>
                  <a:gd name="T79" fmla="*/ 76 h 121"/>
                  <a:gd name="T80" fmla="*/ 71 w 125"/>
                  <a:gd name="T81" fmla="*/ 76 h 121"/>
                  <a:gd name="T82" fmla="*/ 83 w 125"/>
                  <a:gd name="T83" fmla="*/ 83 h 121"/>
                  <a:gd name="T84" fmla="*/ 97 w 125"/>
                  <a:gd name="T85" fmla="*/ 99 h 121"/>
                  <a:gd name="T86" fmla="*/ 106 w 125"/>
                  <a:gd name="T87" fmla="*/ 111 h 121"/>
                  <a:gd name="T88" fmla="*/ 113 w 125"/>
                  <a:gd name="T89" fmla="*/ 118 h 121"/>
                  <a:gd name="T90" fmla="*/ 118 w 125"/>
                  <a:gd name="T91" fmla="*/ 121 h 121"/>
                  <a:gd name="T92" fmla="*/ 120 w 125"/>
                  <a:gd name="T93" fmla="*/ 113 h 121"/>
                  <a:gd name="T94" fmla="*/ 125 w 125"/>
                  <a:gd name="T95" fmla="*/ 11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5" h="121">
                    <a:moveTo>
                      <a:pt x="68" y="50"/>
                    </a:moveTo>
                    <a:lnTo>
                      <a:pt x="66" y="50"/>
                    </a:lnTo>
                    <a:lnTo>
                      <a:pt x="66" y="50"/>
                    </a:lnTo>
                    <a:lnTo>
                      <a:pt x="66" y="50"/>
                    </a:lnTo>
                    <a:lnTo>
                      <a:pt x="66" y="52"/>
                    </a:lnTo>
                    <a:lnTo>
                      <a:pt x="68" y="52"/>
                    </a:lnTo>
                    <a:lnTo>
                      <a:pt x="71" y="52"/>
                    </a:lnTo>
                    <a:lnTo>
                      <a:pt x="71" y="52"/>
                    </a:lnTo>
                    <a:lnTo>
                      <a:pt x="73" y="52"/>
                    </a:lnTo>
                    <a:lnTo>
                      <a:pt x="73" y="50"/>
                    </a:lnTo>
                    <a:lnTo>
                      <a:pt x="71" y="50"/>
                    </a:lnTo>
                    <a:lnTo>
                      <a:pt x="71" y="50"/>
                    </a:lnTo>
                    <a:lnTo>
                      <a:pt x="71" y="50"/>
                    </a:lnTo>
                    <a:lnTo>
                      <a:pt x="68" y="50"/>
                    </a:lnTo>
                    <a:lnTo>
                      <a:pt x="68" y="50"/>
                    </a:lnTo>
                    <a:lnTo>
                      <a:pt x="68" y="47"/>
                    </a:lnTo>
                    <a:lnTo>
                      <a:pt x="68" y="47"/>
                    </a:lnTo>
                    <a:lnTo>
                      <a:pt x="66" y="45"/>
                    </a:lnTo>
                    <a:lnTo>
                      <a:pt x="66" y="45"/>
                    </a:lnTo>
                    <a:lnTo>
                      <a:pt x="66" y="47"/>
                    </a:lnTo>
                    <a:lnTo>
                      <a:pt x="66" y="47"/>
                    </a:lnTo>
                    <a:lnTo>
                      <a:pt x="66" y="47"/>
                    </a:lnTo>
                    <a:lnTo>
                      <a:pt x="66" y="47"/>
                    </a:lnTo>
                    <a:lnTo>
                      <a:pt x="66" y="50"/>
                    </a:lnTo>
                    <a:lnTo>
                      <a:pt x="68" y="50"/>
                    </a:lnTo>
                    <a:close/>
                    <a:moveTo>
                      <a:pt x="68" y="42"/>
                    </a:moveTo>
                    <a:lnTo>
                      <a:pt x="66" y="40"/>
                    </a:lnTo>
                    <a:lnTo>
                      <a:pt x="66" y="40"/>
                    </a:lnTo>
                    <a:lnTo>
                      <a:pt x="66" y="40"/>
                    </a:lnTo>
                    <a:lnTo>
                      <a:pt x="66" y="42"/>
                    </a:lnTo>
                    <a:lnTo>
                      <a:pt x="66" y="42"/>
                    </a:lnTo>
                    <a:lnTo>
                      <a:pt x="68" y="42"/>
                    </a:lnTo>
                    <a:close/>
                    <a:moveTo>
                      <a:pt x="125" y="111"/>
                    </a:moveTo>
                    <a:lnTo>
                      <a:pt x="123" y="109"/>
                    </a:lnTo>
                    <a:lnTo>
                      <a:pt x="123" y="111"/>
                    </a:lnTo>
                    <a:lnTo>
                      <a:pt x="120" y="109"/>
                    </a:lnTo>
                    <a:lnTo>
                      <a:pt x="118" y="106"/>
                    </a:lnTo>
                    <a:lnTo>
                      <a:pt x="113" y="102"/>
                    </a:lnTo>
                    <a:lnTo>
                      <a:pt x="113" y="102"/>
                    </a:lnTo>
                    <a:lnTo>
                      <a:pt x="111" y="97"/>
                    </a:lnTo>
                    <a:lnTo>
                      <a:pt x="109" y="95"/>
                    </a:lnTo>
                    <a:lnTo>
                      <a:pt x="97" y="85"/>
                    </a:lnTo>
                    <a:lnTo>
                      <a:pt x="94" y="80"/>
                    </a:lnTo>
                    <a:lnTo>
                      <a:pt x="90" y="71"/>
                    </a:lnTo>
                    <a:lnTo>
                      <a:pt x="83" y="68"/>
                    </a:lnTo>
                    <a:lnTo>
                      <a:pt x="78" y="66"/>
                    </a:lnTo>
                    <a:lnTo>
                      <a:pt x="75" y="66"/>
                    </a:lnTo>
                    <a:lnTo>
                      <a:pt x="75" y="64"/>
                    </a:lnTo>
                    <a:lnTo>
                      <a:pt x="73" y="64"/>
                    </a:lnTo>
                    <a:lnTo>
                      <a:pt x="71" y="64"/>
                    </a:lnTo>
                    <a:lnTo>
                      <a:pt x="68" y="61"/>
                    </a:lnTo>
                    <a:lnTo>
                      <a:pt x="68" y="59"/>
                    </a:lnTo>
                    <a:lnTo>
                      <a:pt x="66" y="57"/>
                    </a:lnTo>
                    <a:lnTo>
                      <a:pt x="66" y="57"/>
                    </a:lnTo>
                    <a:lnTo>
                      <a:pt x="64" y="54"/>
                    </a:lnTo>
                    <a:lnTo>
                      <a:pt x="64" y="54"/>
                    </a:lnTo>
                    <a:lnTo>
                      <a:pt x="61" y="57"/>
                    </a:lnTo>
                    <a:lnTo>
                      <a:pt x="64" y="59"/>
                    </a:lnTo>
                    <a:lnTo>
                      <a:pt x="64" y="59"/>
                    </a:lnTo>
                    <a:lnTo>
                      <a:pt x="61" y="61"/>
                    </a:lnTo>
                    <a:lnTo>
                      <a:pt x="61" y="59"/>
                    </a:lnTo>
                    <a:lnTo>
                      <a:pt x="59" y="54"/>
                    </a:lnTo>
                    <a:lnTo>
                      <a:pt x="59" y="52"/>
                    </a:lnTo>
                    <a:lnTo>
                      <a:pt x="57" y="52"/>
                    </a:lnTo>
                    <a:lnTo>
                      <a:pt x="54" y="47"/>
                    </a:lnTo>
                    <a:lnTo>
                      <a:pt x="52" y="45"/>
                    </a:lnTo>
                    <a:lnTo>
                      <a:pt x="52" y="38"/>
                    </a:lnTo>
                    <a:lnTo>
                      <a:pt x="49" y="28"/>
                    </a:lnTo>
                    <a:lnTo>
                      <a:pt x="47" y="19"/>
                    </a:lnTo>
                    <a:lnTo>
                      <a:pt x="45" y="12"/>
                    </a:lnTo>
                    <a:lnTo>
                      <a:pt x="38" y="0"/>
                    </a:lnTo>
                    <a:lnTo>
                      <a:pt x="38" y="2"/>
                    </a:lnTo>
                    <a:lnTo>
                      <a:pt x="35" y="5"/>
                    </a:lnTo>
                    <a:lnTo>
                      <a:pt x="35" y="5"/>
                    </a:lnTo>
                    <a:lnTo>
                      <a:pt x="35" y="7"/>
                    </a:lnTo>
                    <a:lnTo>
                      <a:pt x="35" y="7"/>
                    </a:lnTo>
                    <a:lnTo>
                      <a:pt x="33" y="7"/>
                    </a:lnTo>
                    <a:lnTo>
                      <a:pt x="33" y="9"/>
                    </a:lnTo>
                    <a:lnTo>
                      <a:pt x="33" y="9"/>
                    </a:lnTo>
                    <a:lnTo>
                      <a:pt x="33" y="9"/>
                    </a:lnTo>
                    <a:lnTo>
                      <a:pt x="31" y="9"/>
                    </a:lnTo>
                    <a:lnTo>
                      <a:pt x="31" y="9"/>
                    </a:lnTo>
                    <a:lnTo>
                      <a:pt x="31" y="9"/>
                    </a:lnTo>
                    <a:lnTo>
                      <a:pt x="31" y="12"/>
                    </a:lnTo>
                    <a:lnTo>
                      <a:pt x="28" y="9"/>
                    </a:lnTo>
                    <a:lnTo>
                      <a:pt x="26" y="12"/>
                    </a:lnTo>
                    <a:lnTo>
                      <a:pt x="26" y="12"/>
                    </a:lnTo>
                    <a:lnTo>
                      <a:pt x="26" y="12"/>
                    </a:lnTo>
                    <a:lnTo>
                      <a:pt x="23" y="12"/>
                    </a:lnTo>
                    <a:lnTo>
                      <a:pt x="23" y="12"/>
                    </a:lnTo>
                    <a:lnTo>
                      <a:pt x="23" y="12"/>
                    </a:lnTo>
                    <a:lnTo>
                      <a:pt x="21" y="14"/>
                    </a:lnTo>
                    <a:lnTo>
                      <a:pt x="21" y="14"/>
                    </a:lnTo>
                    <a:lnTo>
                      <a:pt x="19" y="14"/>
                    </a:lnTo>
                    <a:lnTo>
                      <a:pt x="19" y="16"/>
                    </a:lnTo>
                    <a:lnTo>
                      <a:pt x="19" y="19"/>
                    </a:lnTo>
                    <a:lnTo>
                      <a:pt x="16" y="21"/>
                    </a:lnTo>
                    <a:lnTo>
                      <a:pt x="16" y="21"/>
                    </a:lnTo>
                    <a:lnTo>
                      <a:pt x="14" y="21"/>
                    </a:lnTo>
                    <a:lnTo>
                      <a:pt x="12" y="21"/>
                    </a:lnTo>
                    <a:lnTo>
                      <a:pt x="12" y="21"/>
                    </a:lnTo>
                    <a:lnTo>
                      <a:pt x="9" y="21"/>
                    </a:lnTo>
                    <a:lnTo>
                      <a:pt x="9" y="21"/>
                    </a:lnTo>
                    <a:lnTo>
                      <a:pt x="9" y="23"/>
                    </a:lnTo>
                    <a:lnTo>
                      <a:pt x="9" y="26"/>
                    </a:lnTo>
                    <a:lnTo>
                      <a:pt x="9" y="28"/>
                    </a:lnTo>
                    <a:lnTo>
                      <a:pt x="7" y="31"/>
                    </a:lnTo>
                    <a:lnTo>
                      <a:pt x="9" y="33"/>
                    </a:lnTo>
                    <a:lnTo>
                      <a:pt x="9" y="38"/>
                    </a:lnTo>
                    <a:lnTo>
                      <a:pt x="7" y="42"/>
                    </a:lnTo>
                    <a:lnTo>
                      <a:pt x="7" y="42"/>
                    </a:lnTo>
                    <a:lnTo>
                      <a:pt x="5" y="47"/>
                    </a:lnTo>
                    <a:lnTo>
                      <a:pt x="5" y="50"/>
                    </a:lnTo>
                    <a:lnTo>
                      <a:pt x="2" y="57"/>
                    </a:lnTo>
                    <a:lnTo>
                      <a:pt x="2" y="59"/>
                    </a:lnTo>
                    <a:lnTo>
                      <a:pt x="0" y="61"/>
                    </a:lnTo>
                    <a:lnTo>
                      <a:pt x="0" y="66"/>
                    </a:lnTo>
                    <a:lnTo>
                      <a:pt x="2" y="68"/>
                    </a:lnTo>
                    <a:lnTo>
                      <a:pt x="2" y="73"/>
                    </a:lnTo>
                    <a:lnTo>
                      <a:pt x="2" y="80"/>
                    </a:lnTo>
                    <a:lnTo>
                      <a:pt x="2" y="80"/>
                    </a:lnTo>
                    <a:lnTo>
                      <a:pt x="5" y="78"/>
                    </a:lnTo>
                    <a:lnTo>
                      <a:pt x="7" y="78"/>
                    </a:lnTo>
                    <a:lnTo>
                      <a:pt x="12" y="80"/>
                    </a:lnTo>
                    <a:lnTo>
                      <a:pt x="12" y="80"/>
                    </a:lnTo>
                    <a:lnTo>
                      <a:pt x="12" y="78"/>
                    </a:lnTo>
                    <a:lnTo>
                      <a:pt x="14" y="78"/>
                    </a:lnTo>
                    <a:lnTo>
                      <a:pt x="14" y="76"/>
                    </a:lnTo>
                    <a:lnTo>
                      <a:pt x="14" y="76"/>
                    </a:lnTo>
                    <a:lnTo>
                      <a:pt x="16" y="76"/>
                    </a:lnTo>
                    <a:lnTo>
                      <a:pt x="19" y="78"/>
                    </a:lnTo>
                    <a:lnTo>
                      <a:pt x="21" y="83"/>
                    </a:lnTo>
                    <a:lnTo>
                      <a:pt x="21" y="83"/>
                    </a:lnTo>
                    <a:lnTo>
                      <a:pt x="21" y="83"/>
                    </a:lnTo>
                    <a:lnTo>
                      <a:pt x="23" y="78"/>
                    </a:lnTo>
                    <a:lnTo>
                      <a:pt x="23" y="76"/>
                    </a:lnTo>
                    <a:lnTo>
                      <a:pt x="26" y="71"/>
                    </a:lnTo>
                    <a:lnTo>
                      <a:pt x="28" y="66"/>
                    </a:lnTo>
                    <a:lnTo>
                      <a:pt x="28" y="68"/>
                    </a:lnTo>
                    <a:lnTo>
                      <a:pt x="31" y="68"/>
                    </a:lnTo>
                    <a:lnTo>
                      <a:pt x="31" y="71"/>
                    </a:lnTo>
                    <a:lnTo>
                      <a:pt x="33" y="71"/>
                    </a:lnTo>
                    <a:lnTo>
                      <a:pt x="33" y="71"/>
                    </a:lnTo>
                    <a:lnTo>
                      <a:pt x="33" y="71"/>
                    </a:lnTo>
                    <a:lnTo>
                      <a:pt x="38" y="76"/>
                    </a:lnTo>
                    <a:lnTo>
                      <a:pt x="38" y="76"/>
                    </a:lnTo>
                    <a:lnTo>
                      <a:pt x="40" y="76"/>
                    </a:lnTo>
                    <a:lnTo>
                      <a:pt x="45" y="76"/>
                    </a:lnTo>
                    <a:lnTo>
                      <a:pt x="47" y="73"/>
                    </a:lnTo>
                    <a:lnTo>
                      <a:pt x="49" y="71"/>
                    </a:lnTo>
                    <a:lnTo>
                      <a:pt x="49" y="71"/>
                    </a:lnTo>
                    <a:lnTo>
                      <a:pt x="52" y="73"/>
                    </a:lnTo>
                    <a:lnTo>
                      <a:pt x="52" y="73"/>
                    </a:lnTo>
                    <a:lnTo>
                      <a:pt x="52" y="76"/>
                    </a:lnTo>
                    <a:lnTo>
                      <a:pt x="54" y="76"/>
                    </a:lnTo>
                    <a:lnTo>
                      <a:pt x="57" y="73"/>
                    </a:lnTo>
                    <a:lnTo>
                      <a:pt x="59" y="73"/>
                    </a:lnTo>
                    <a:lnTo>
                      <a:pt x="59" y="73"/>
                    </a:lnTo>
                    <a:lnTo>
                      <a:pt x="61" y="76"/>
                    </a:lnTo>
                    <a:lnTo>
                      <a:pt x="61" y="76"/>
                    </a:lnTo>
                    <a:lnTo>
                      <a:pt x="66" y="76"/>
                    </a:lnTo>
                    <a:lnTo>
                      <a:pt x="68" y="76"/>
                    </a:lnTo>
                    <a:lnTo>
                      <a:pt x="68" y="76"/>
                    </a:lnTo>
                    <a:lnTo>
                      <a:pt x="71" y="76"/>
                    </a:lnTo>
                    <a:lnTo>
                      <a:pt x="73" y="78"/>
                    </a:lnTo>
                    <a:lnTo>
                      <a:pt x="78" y="80"/>
                    </a:lnTo>
                    <a:lnTo>
                      <a:pt x="80" y="83"/>
                    </a:lnTo>
                    <a:lnTo>
                      <a:pt x="83" y="83"/>
                    </a:lnTo>
                    <a:lnTo>
                      <a:pt x="85" y="85"/>
                    </a:lnTo>
                    <a:lnTo>
                      <a:pt x="87" y="90"/>
                    </a:lnTo>
                    <a:lnTo>
                      <a:pt x="92" y="95"/>
                    </a:lnTo>
                    <a:lnTo>
                      <a:pt x="97" y="99"/>
                    </a:lnTo>
                    <a:lnTo>
                      <a:pt x="102" y="102"/>
                    </a:lnTo>
                    <a:lnTo>
                      <a:pt x="102" y="106"/>
                    </a:lnTo>
                    <a:lnTo>
                      <a:pt x="104" y="109"/>
                    </a:lnTo>
                    <a:lnTo>
                      <a:pt x="106" y="111"/>
                    </a:lnTo>
                    <a:lnTo>
                      <a:pt x="109" y="111"/>
                    </a:lnTo>
                    <a:lnTo>
                      <a:pt x="109" y="113"/>
                    </a:lnTo>
                    <a:lnTo>
                      <a:pt x="111" y="116"/>
                    </a:lnTo>
                    <a:lnTo>
                      <a:pt x="113" y="118"/>
                    </a:lnTo>
                    <a:lnTo>
                      <a:pt x="113" y="116"/>
                    </a:lnTo>
                    <a:lnTo>
                      <a:pt x="113" y="116"/>
                    </a:lnTo>
                    <a:lnTo>
                      <a:pt x="113" y="116"/>
                    </a:lnTo>
                    <a:lnTo>
                      <a:pt x="118" y="121"/>
                    </a:lnTo>
                    <a:lnTo>
                      <a:pt x="118" y="118"/>
                    </a:lnTo>
                    <a:lnTo>
                      <a:pt x="120" y="118"/>
                    </a:lnTo>
                    <a:lnTo>
                      <a:pt x="120" y="116"/>
                    </a:lnTo>
                    <a:lnTo>
                      <a:pt x="120" y="113"/>
                    </a:lnTo>
                    <a:lnTo>
                      <a:pt x="120" y="113"/>
                    </a:lnTo>
                    <a:lnTo>
                      <a:pt x="123" y="113"/>
                    </a:lnTo>
                    <a:lnTo>
                      <a:pt x="125" y="113"/>
                    </a:lnTo>
                    <a:lnTo>
                      <a:pt x="125" y="111"/>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160"/>
              <p:cNvSpPr>
                <a:spLocks noEditPoints="1"/>
              </p:cNvSpPr>
              <p:nvPr/>
            </p:nvSpPr>
            <p:spPr bwMode="auto">
              <a:xfrm>
                <a:off x="2905" y="2720"/>
                <a:ext cx="54" cy="59"/>
              </a:xfrm>
              <a:custGeom>
                <a:avLst/>
                <a:gdLst>
                  <a:gd name="T0" fmla="*/ 54 w 54"/>
                  <a:gd name="T1" fmla="*/ 52 h 59"/>
                  <a:gd name="T2" fmla="*/ 54 w 54"/>
                  <a:gd name="T3" fmla="*/ 42 h 59"/>
                  <a:gd name="T4" fmla="*/ 54 w 54"/>
                  <a:gd name="T5" fmla="*/ 35 h 59"/>
                  <a:gd name="T6" fmla="*/ 45 w 54"/>
                  <a:gd name="T7" fmla="*/ 35 h 59"/>
                  <a:gd name="T8" fmla="*/ 35 w 54"/>
                  <a:gd name="T9" fmla="*/ 35 h 59"/>
                  <a:gd name="T10" fmla="*/ 28 w 54"/>
                  <a:gd name="T11" fmla="*/ 33 h 59"/>
                  <a:gd name="T12" fmla="*/ 26 w 54"/>
                  <a:gd name="T13" fmla="*/ 33 h 59"/>
                  <a:gd name="T14" fmla="*/ 26 w 54"/>
                  <a:gd name="T15" fmla="*/ 30 h 59"/>
                  <a:gd name="T16" fmla="*/ 26 w 54"/>
                  <a:gd name="T17" fmla="*/ 40 h 59"/>
                  <a:gd name="T18" fmla="*/ 23 w 54"/>
                  <a:gd name="T19" fmla="*/ 47 h 59"/>
                  <a:gd name="T20" fmla="*/ 23 w 54"/>
                  <a:gd name="T21" fmla="*/ 47 h 59"/>
                  <a:gd name="T22" fmla="*/ 19 w 54"/>
                  <a:gd name="T23" fmla="*/ 52 h 59"/>
                  <a:gd name="T24" fmla="*/ 19 w 54"/>
                  <a:gd name="T25" fmla="*/ 56 h 59"/>
                  <a:gd name="T26" fmla="*/ 23 w 54"/>
                  <a:gd name="T27" fmla="*/ 59 h 59"/>
                  <a:gd name="T28" fmla="*/ 23 w 54"/>
                  <a:gd name="T29" fmla="*/ 59 h 59"/>
                  <a:gd name="T30" fmla="*/ 26 w 54"/>
                  <a:gd name="T31" fmla="*/ 56 h 59"/>
                  <a:gd name="T32" fmla="*/ 26 w 54"/>
                  <a:gd name="T33" fmla="*/ 59 h 59"/>
                  <a:gd name="T34" fmla="*/ 28 w 54"/>
                  <a:gd name="T35" fmla="*/ 59 h 59"/>
                  <a:gd name="T36" fmla="*/ 28 w 54"/>
                  <a:gd name="T37" fmla="*/ 59 h 59"/>
                  <a:gd name="T38" fmla="*/ 31 w 54"/>
                  <a:gd name="T39" fmla="*/ 59 h 59"/>
                  <a:gd name="T40" fmla="*/ 35 w 54"/>
                  <a:gd name="T41" fmla="*/ 59 h 59"/>
                  <a:gd name="T42" fmla="*/ 47 w 54"/>
                  <a:gd name="T43" fmla="*/ 59 h 59"/>
                  <a:gd name="T44" fmla="*/ 54 w 54"/>
                  <a:gd name="T45" fmla="*/ 59 h 59"/>
                  <a:gd name="T46" fmla="*/ 7 w 54"/>
                  <a:gd name="T47" fmla="*/ 2 h 59"/>
                  <a:gd name="T48" fmla="*/ 4 w 54"/>
                  <a:gd name="T49" fmla="*/ 2 h 59"/>
                  <a:gd name="T50" fmla="*/ 4 w 54"/>
                  <a:gd name="T51" fmla="*/ 4 h 59"/>
                  <a:gd name="T52" fmla="*/ 2 w 54"/>
                  <a:gd name="T53" fmla="*/ 7 h 59"/>
                  <a:gd name="T54" fmla="*/ 2 w 54"/>
                  <a:gd name="T55" fmla="*/ 7 h 59"/>
                  <a:gd name="T56" fmla="*/ 2 w 54"/>
                  <a:gd name="T57" fmla="*/ 11 h 59"/>
                  <a:gd name="T58" fmla="*/ 4 w 54"/>
                  <a:gd name="T59" fmla="*/ 11 h 59"/>
                  <a:gd name="T60" fmla="*/ 7 w 54"/>
                  <a:gd name="T61" fmla="*/ 11 h 59"/>
                  <a:gd name="T62" fmla="*/ 12 w 54"/>
                  <a:gd name="T63" fmla="*/ 4 h 59"/>
                  <a:gd name="T64" fmla="*/ 9 w 54"/>
                  <a:gd name="T65"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4" h="59">
                    <a:moveTo>
                      <a:pt x="54" y="56"/>
                    </a:moveTo>
                    <a:lnTo>
                      <a:pt x="54" y="52"/>
                    </a:lnTo>
                    <a:lnTo>
                      <a:pt x="54" y="47"/>
                    </a:lnTo>
                    <a:lnTo>
                      <a:pt x="54" y="42"/>
                    </a:lnTo>
                    <a:lnTo>
                      <a:pt x="54" y="40"/>
                    </a:lnTo>
                    <a:lnTo>
                      <a:pt x="54" y="35"/>
                    </a:lnTo>
                    <a:lnTo>
                      <a:pt x="49" y="35"/>
                    </a:lnTo>
                    <a:lnTo>
                      <a:pt x="45" y="35"/>
                    </a:lnTo>
                    <a:lnTo>
                      <a:pt x="40" y="35"/>
                    </a:lnTo>
                    <a:lnTo>
                      <a:pt x="35" y="35"/>
                    </a:lnTo>
                    <a:lnTo>
                      <a:pt x="31" y="35"/>
                    </a:lnTo>
                    <a:lnTo>
                      <a:pt x="28" y="33"/>
                    </a:lnTo>
                    <a:lnTo>
                      <a:pt x="28" y="33"/>
                    </a:lnTo>
                    <a:lnTo>
                      <a:pt x="26" y="33"/>
                    </a:lnTo>
                    <a:lnTo>
                      <a:pt x="26" y="33"/>
                    </a:lnTo>
                    <a:lnTo>
                      <a:pt x="26" y="30"/>
                    </a:lnTo>
                    <a:lnTo>
                      <a:pt x="26" y="37"/>
                    </a:lnTo>
                    <a:lnTo>
                      <a:pt x="26" y="40"/>
                    </a:lnTo>
                    <a:lnTo>
                      <a:pt x="26" y="42"/>
                    </a:lnTo>
                    <a:lnTo>
                      <a:pt x="23" y="47"/>
                    </a:lnTo>
                    <a:lnTo>
                      <a:pt x="23" y="47"/>
                    </a:lnTo>
                    <a:lnTo>
                      <a:pt x="23" y="47"/>
                    </a:lnTo>
                    <a:lnTo>
                      <a:pt x="21" y="49"/>
                    </a:lnTo>
                    <a:lnTo>
                      <a:pt x="19" y="52"/>
                    </a:lnTo>
                    <a:lnTo>
                      <a:pt x="19" y="56"/>
                    </a:lnTo>
                    <a:lnTo>
                      <a:pt x="19" y="56"/>
                    </a:lnTo>
                    <a:lnTo>
                      <a:pt x="21" y="56"/>
                    </a:lnTo>
                    <a:lnTo>
                      <a:pt x="23" y="59"/>
                    </a:lnTo>
                    <a:lnTo>
                      <a:pt x="23" y="59"/>
                    </a:lnTo>
                    <a:lnTo>
                      <a:pt x="23" y="59"/>
                    </a:lnTo>
                    <a:lnTo>
                      <a:pt x="23" y="56"/>
                    </a:lnTo>
                    <a:lnTo>
                      <a:pt x="26" y="56"/>
                    </a:lnTo>
                    <a:lnTo>
                      <a:pt x="26" y="56"/>
                    </a:lnTo>
                    <a:lnTo>
                      <a:pt x="26" y="59"/>
                    </a:lnTo>
                    <a:lnTo>
                      <a:pt x="26" y="59"/>
                    </a:lnTo>
                    <a:lnTo>
                      <a:pt x="28" y="59"/>
                    </a:lnTo>
                    <a:lnTo>
                      <a:pt x="28" y="59"/>
                    </a:lnTo>
                    <a:lnTo>
                      <a:pt x="28" y="59"/>
                    </a:lnTo>
                    <a:lnTo>
                      <a:pt x="31" y="59"/>
                    </a:lnTo>
                    <a:lnTo>
                      <a:pt x="31" y="59"/>
                    </a:lnTo>
                    <a:lnTo>
                      <a:pt x="33" y="59"/>
                    </a:lnTo>
                    <a:lnTo>
                      <a:pt x="35" y="59"/>
                    </a:lnTo>
                    <a:lnTo>
                      <a:pt x="40" y="59"/>
                    </a:lnTo>
                    <a:lnTo>
                      <a:pt x="47" y="59"/>
                    </a:lnTo>
                    <a:lnTo>
                      <a:pt x="52" y="59"/>
                    </a:lnTo>
                    <a:lnTo>
                      <a:pt x="54" y="59"/>
                    </a:lnTo>
                    <a:lnTo>
                      <a:pt x="54" y="56"/>
                    </a:lnTo>
                    <a:close/>
                    <a:moveTo>
                      <a:pt x="7" y="2"/>
                    </a:moveTo>
                    <a:lnTo>
                      <a:pt x="7" y="0"/>
                    </a:lnTo>
                    <a:lnTo>
                      <a:pt x="4" y="2"/>
                    </a:lnTo>
                    <a:lnTo>
                      <a:pt x="4" y="2"/>
                    </a:lnTo>
                    <a:lnTo>
                      <a:pt x="4" y="4"/>
                    </a:lnTo>
                    <a:lnTo>
                      <a:pt x="4" y="7"/>
                    </a:lnTo>
                    <a:lnTo>
                      <a:pt x="2" y="7"/>
                    </a:lnTo>
                    <a:lnTo>
                      <a:pt x="2" y="7"/>
                    </a:lnTo>
                    <a:lnTo>
                      <a:pt x="2" y="7"/>
                    </a:lnTo>
                    <a:lnTo>
                      <a:pt x="0" y="9"/>
                    </a:lnTo>
                    <a:lnTo>
                      <a:pt x="2" y="11"/>
                    </a:lnTo>
                    <a:lnTo>
                      <a:pt x="2" y="11"/>
                    </a:lnTo>
                    <a:lnTo>
                      <a:pt x="4" y="11"/>
                    </a:lnTo>
                    <a:lnTo>
                      <a:pt x="7" y="11"/>
                    </a:lnTo>
                    <a:lnTo>
                      <a:pt x="7" y="11"/>
                    </a:lnTo>
                    <a:lnTo>
                      <a:pt x="7" y="9"/>
                    </a:lnTo>
                    <a:lnTo>
                      <a:pt x="12" y="4"/>
                    </a:lnTo>
                    <a:lnTo>
                      <a:pt x="12" y="2"/>
                    </a:lnTo>
                    <a:lnTo>
                      <a:pt x="9" y="0"/>
                    </a:lnTo>
                    <a:lnTo>
                      <a:pt x="7" y="2"/>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161"/>
              <p:cNvSpPr>
                <a:spLocks/>
              </p:cNvSpPr>
              <p:nvPr/>
            </p:nvSpPr>
            <p:spPr bwMode="auto">
              <a:xfrm>
                <a:off x="1083" y="2495"/>
                <a:ext cx="45" cy="26"/>
              </a:xfrm>
              <a:custGeom>
                <a:avLst/>
                <a:gdLst>
                  <a:gd name="T0" fmla="*/ 43 w 45"/>
                  <a:gd name="T1" fmla="*/ 19 h 26"/>
                  <a:gd name="T2" fmla="*/ 45 w 45"/>
                  <a:gd name="T3" fmla="*/ 14 h 26"/>
                  <a:gd name="T4" fmla="*/ 43 w 45"/>
                  <a:gd name="T5" fmla="*/ 11 h 26"/>
                  <a:gd name="T6" fmla="*/ 38 w 45"/>
                  <a:gd name="T7" fmla="*/ 11 h 26"/>
                  <a:gd name="T8" fmla="*/ 38 w 45"/>
                  <a:gd name="T9" fmla="*/ 9 h 26"/>
                  <a:gd name="T10" fmla="*/ 33 w 45"/>
                  <a:gd name="T11" fmla="*/ 11 h 26"/>
                  <a:gd name="T12" fmla="*/ 31 w 45"/>
                  <a:gd name="T13" fmla="*/ 11 h 26"/>
                  <a:gd name="T14" fmla="*/ 31 w 45"/>
                  <a:gd name="T15" fmla="*/ 11 h 26"/>
                  <a:gd name="T16" fmla="*/ 29 w 45"/>
                  <a:gd name="T17" fmla="*/ 9 h 26"/>
                  <a:gd name="T18" fmla="*/ 26 w 45"/>
                  <a:gd name="T19" fmla="*/ 9 h 26"/>
                  <a:gd name="T20" fmla="*/ 26 w 45"/>
                  <a:gd name="T21" fmla="*/ 7 h 26"/>
                  <a:gd name="T22" fmla="*/ 24 w 45"/>
                  <a:gd name="T23" fmla="*/ 7 h 26"/>
                  <a:gd name="T24" fmla="*/ 22 w 45"/>
                  <a:gd name="T25" fmla="*/ 2 h 26"/>
                  <a:gd name="T26" fmla="*/ 19 w 45"/>
                  <a:gd name="T27" fmla="*/ 2 h 26"/>
                  <a:gd name="T28" fmla="*/ 14 w 45"/>
                  <a:gd name="T29" fmla="*/ 0 h 26"/>
                  <a:gd name="T30" fmla="*/ 14 w 45"/>
                  <a:gd name="T31" fmla="*/ 0 h 26"/>
                  <a:gd name="T32" fmla="*/ 12 w 45"/>
                  <a:gd name="T33" fmla="*/ 0 h 26"/>
                  <a:gd name="T34" fmla="*/ 12 w 45"/>
                  <a:gd name="T35" fmla="*/ 2 h 26"/>
                  <a:gd name="T36" fmla="*/ 12 w 45"/>
                  <a:gd name="T37" fmla="*/ 4 h 26"/>
                  <a:gd name="T38" fmla="*/ 10 w 45"/>
                  <a:gd name="T39" fmla="*/ 4 h 26"/>
                  <a:gd name="T40" fmla="*/ 7 w 45"/>
                  <a:gd name="T41" fmla="*/ 7 h 26"/>
                  <a:gd name="T42" fmla="*/ 7 w 45"/>
                  <a:gd name="T43" fmla="*/ 9 h 26"/>
                  <a:gd name="T44" fmla="*/ 5 w 45"/>
                  <a:gd name="T45" fmla="*/ 9 h 26"/>
                  <a:gd name="T46" fmla="*/ 0 w 45"/>
                  <a:gd name="T47" fmla="*/ 11 h 26"/>
                  <a:gd name="T48" fmla="*/ 0 w 45"/>
                  <a:gd name="T49" fmla="*/ 14 h 26"/>
                  <a:gd name="T50" fmla="*/ 3 w 45"/>
                  <a:gd name="T51" fmla="*/ 16 h 26"/>
                  <a:gd name="T52" fmla="*/ 10 w 45"/>
                  <a:gd name="T53" fmla="*/ 19 h 26"/>
                  <a:gd name="T54" fmla="*/ 22 w 45"/>
                  <a:gd name="T55" fmla="*/ 23 h 26"/>
                  <a:gd name="T56" fmla="*/ 29 w 45"/>
                  <a:gd name="T57" fmla="*/ 26 h 26"/>
                  <a:gd name="T58" fmla="*/ 26 w 45"/>
                  <a:gd name="T59" fmla="*/ 26 h 26"/>
                  <a:gd name="T60" fmla="*/ 26 w 45"/>
                  <a:gd name="T61" fmla="*/ 23 h 26"/>
                  <a:gd name="T62" fmla="*/ 33 w 45"/>
                  <a:gd name="T63" fmla="*/ 26 h 26"/>
                  <a:gd name="T64" fmla="*/ 38 w 45"/>
                  <a:gd name="T65" fmla="*/ 26 h 26"/>
                  <a:gd name="T66" fmla="*/ 40 w 45"/>
                  <a:gd name="T67" fmla="*/ 23 h 26"/>
                  <a:gd name="T68" fmla="*/ 40 w 45"/>
                  <a:gd name="T69" fmla="*/ 21 h 26"/>
                  <a:gd name="T70" fmla="*/ 43 w 45"/>
                  <a:gd name="T71" fmla="*/ 21 h 26"/>
                  <a:gd name="T72" fmla="*/ 43 w 45"/>
                  <a:gd name="T73" fmla="*/ 19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5" h="26">
                    <a:moveTo>
                      <a:pt x="43" y="19"/>
                    </a:moveTo>
                    <a:lnTo>
                      <a:pt x="43" y="19"/>
                    </a:lnTo>
                    <a:lnTo>
                      <a:pt x="43" y="16"/>
                    </a:lnTo>
                    <a:lnTo>
                      <a:pt x="45" y="14"/>
                    </a:lnTo>
                    <a:lnTo>
                      <a:pt x="43" y="11"/>
                    </a:lnTo>
                    <a:lnTo>
                      <a:pt x="43" y="11"/>
                    </a:lnTo>
                    <a:lnTo>
                      <a:pt x="40" y="11"/>
                    </a:lnTo>
                    <a:lnTo>
                      <a:pt x="38" y="11"/>
                    </a:lnTo>
                    <a:lnTo>
                      <a:pt x="38" y="11"/>
                    </a:lnTo>
                    <a:lnTo>
                      <a:pt x="38" y="9"/>
                    </a:lnTo>
                    <a:lnTo>
                      <a:pt x="36" y="9"/>
                    </a:lnTo>
                    <a:lnTo>
                      <a:pt x="33" y="11"/>
                    </a:lnTo>
                    <a:lnTo>
                      <a:pt x="31" y="11"/>
                    </a:lnTo>
                    <a:lnTo>
                      <a:pt x="31" y="11"/>
                    </a:lnTo>
                    <a:lnTo>
                      <a:pt x="31" y="11"/>
                    </a:lnTo>
                    <a:lnTo>
                      <a:pt x="31" y="11"/>
                    </a:lnTo>
                    <a:lnTo>
                      <a:pt x="31" y="9"/>
                    </a:lnTo>
                    <a:lnTo>
                      <a:pt x="29" y="9"/>
                    </a:lnTo>
                    <a:lnTo>
                      <a:pt x="29" y="9"/>
                    </a:lnTo>
                    <a:lnTo>
                      <a:pt x="26" y="9"/>
                    </a:lnTo>
                    <a:lnTo>
                      <a:pt x="26" y="9"/>
                    </a:lnTo>
                    <a:lnTo>
                      <a:pt x="26" y="7"/>
                    </a:lnTo>
                    <a:lnTo>
                      <a:pt x="24" y="7"/>
                    </a:lnTo>
                    <a:lnTo>
                      <a:pt x="24" y="7"/>
                    </a:lnTo>
                    <a:lnTo>
                      <a:pt x="22" y="4"/>
                    </a:lnTo>
                    <a:lnTo>
                      <a:pt x="22" y="2"/>
                    </a:lnTo>
                    <a:lnTo>
                      <a:pt x="22" y="2"/>
                    </a:lnTo>
                    <a:lnTo>
                      <a:pt x="19" y="2"/>
                    </a:lnTo>
                    <a:lnTo>
                      <a:pt x="19" y="2"/>
                    </a:lnTo>
                    <a:lnTo>
                      <a:pt x="14" y="0"/>
                    </a:lnTo>
                    <a:lnTo>
                      <a:pt x="14" y="0"/>
                    </a:lnTo>
                    <a:lnTo>
                      <a:pt x="14" y="0"/>
                    </a:lnTo>
                    <a:lnTo>
                      <a:pt x="14" y="0"/>
                    </a:lnTo>
                    <a:lnTo>
                      <a:pt x="12" y="0"/>
                    </a:lnTo>
                    <a:lnTo>
                      <a:pt x="12" y="0"/>
                    </a:lnTo>
                    <a:lnTo>
                      <a:pt x="12" y="2"/>
                    </a:lnTo>
                    <a:lnTo>
                      <a:pt x="12" y="2"/>
                    </a:lnTo>
                    <a:lnTo>
                      <a:pt x="12" y="4"/>
                    </a:lnTo>
                    <a:lnTo>
                      <a:pt x="12" y="4"/>
                    </a:lnTo>
                    <a:lnTo>
                      <a:pt x="10" y="4"/>
                    </a:lnTo>
                    <a:lnTo>
                      <a:pt x="10" y="4"/>
                    </a:lnTo>
                    <a:lnTo>
                      <a:pt x="7" y="7"/>
                    </a:lnTo>
                    <a:lnTo>
                      <a:pt x="7" y="7"/>
                    </a:lnTo>
                    <a:lnTo>
                      <a:pt x="7" y="9"/>
                    </a:lnTo>
                    <a:lnTo>
                      <a:pt x="5" y="9"/>
                    </a:lnTo>
                    <a:lnTo>
                      <a:pt x="5" y="9"/>
                    </a:lnTo>
                    <a:lnTo>
                      <a:pt x="3" y="9"/>
                    </a:lnTo>
                    <a:lnTo>
                      <a:pt x="0" y="11"/>
                    </a:lnTo>
                    <a:lnTo>
                      <a:pt x="0" y="14"/>
                    </a:lnTo>
                    <a:lnTo>
                      <a:pt x="0" y="14"/>
                    </a:lnTo>
                    <a:lnTo>
                      <a:pt x="0" y="14"/>
                    </a:lnTo>
                    <a:lnTo>
                      <a:pt x="3" y="16"/>
                    </a:lnTo>
                    <a:lnTo>
                      <a:pt x="5" y="19"/>
                    </a:lnTo>
                    <a:lnTo>
                      <a:pt x="10" y="19"/>
                    </a:lnTo>
                    <a:lnTo>
                      <a:pt x="14" y="21"/>
                    </a:lnTo>
                    <a:lnTo>
                      <a:pt x="22" y="23"/>
                    </a:lnTo>
                    <a:lnTo>
                      <a:pt x="29" y="26"/>
                    </a:lnTo>
                    <a:lnTo>
                      <a:pt x="29" y="26"/>
                    </a:lnTo>
                    <a:lnTo>
                      <a:pt x="26" y="26"/>
                    </a:lnTo>
                    <a:lnTo>
                      <a:pt x="26" y="26"/>
                    </a:lnTo>
                    <a:lnTo>
                      <a:pt x="24" y="23"/>
                    </a:lnTo>
                    <a:lnTo>
                      <a:pt x="26" y="23"/>
                    </a:lnTo>
                    <a:lnTo>
                      <a:pt x="31" y="26"/>
                    </a:lnTo>
                    <a:lnTo>
                      <a:pt x="33" y="26"/>
                    </a:lnTo>
                    <a:lnTo>
                      <a:pt x="38" y="26"/>
                    </a:lnTo>
                    <a:lnTo>
                      <a:pt x="38" y="26"/>
                    </a:lnTo>
                    <a:lnTo>
                      <a:pt x="40" y="26"/>
                    </a:lnTo>
                    <a:lnTo>
                      <a:pt x="40" y="23"/>
                    </a:lnTo>
                    <a:lnTo>
                      <a:pt x="40" y="23"/>
                    </a:lnTo>
                    <a:lnTo>
                      <a:pt x="40" y="21"/>
                    </a:lnTo>
                    <a:lnTo>
                      <a:pt x="43" y="21"/>
                    </a:lnTo>
                    <a:lnTo>
                      <a:pt x="43" y="21"/>
                    </a:lnTo>
                    <a:lnTo>
                      <a:pt x="43" y="19"/>
                    </a:lnTo>
                    <a:lnTo>
                      <a:pt x="43" y="19"/>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Freeform 162"/>
              <p:cNvSpPr>
                <a:spLocks/>
              </p:cNvSpPr>
              <p:nvPr/>
            </p:nvSpPr>
            <p:spPr bwMode="auto">
              <a:xfrm>
                <a:off x="3198" y="2130"/>
                <a:ext cx="227" cy="206"/>
              </a:xfrm>
              <a:custGeom>
                <a:avLst/>
                <a:gdLst>
                  <a:gd name="T0" fmla="*/ 215 w 227"/>
                  <a:gd name="T1" fmla="*/ 192 h 206"/>
                  <a:gd name="T2" fmla="*/ 206 w 227"/>
                  <a:gd name="T3" fmla="*/ 185 h 206"/>
                  <a:gd name="T4" fmla="*/ 201 w 227"/>
                  <a:gd name="T5" fmla="*/ 166 h 206"/>
                  <a:gd name="T6" fmla="*/ 206 w 227"/>
                  <a:gd name="T7" fmla="*/ 163 h 206"/>
                  <a:gd name="T8" fmla="*/ 196 w 227"/>
                  <a:gd name="T9" fmla="*/ 154 h 206"/>
                  <a:gd name="T10" fmla="*/ 177 w 227"/>
                  <a:gd name="T11" fmla="*/ 121 h 206"/>
                  <a:gd name="T12" fmla="*/ 168 w 227"/>
                  <a:gd name="T13" fmla="*/ 95 h 206"/>
                  <a:gd name="T14" fmla="*/ 163 w 227"/>
                  <a:gd name="T15" fmla="*/ 88 h 206"/>
                  <a:gd name="T16" fmla="*/ 159 w 227"/>
                  <a:gd name="T17" fmla="*/ 78 h 206"/>
                  <a:gd name="T18" fmla="*/ 149 w 227"/>
                  <a:gd name="T19" fmla="*/ 64 h 206"/>
                  <a:gd name="T20" fmla="*/ 144 w 227"/>
                  <a:gd name="T21" fmla="*/ 57 h 206"/>
                  <a:gd name="T22" fmla="*/ 140 w 227"/>
                  <a:gd name="T23" fmla="*/ 45 h 206"/>
                  <a:gd name="T24" fmla="*/ 140 w 227"/>
                  <a:gd name="T25" fmla="*/ 38 h 206"/>
                  <a:gd name="T26" fmla="*/ 147 w 227"/>
                  <a:gd name="T27" fmla="*/ 47 h 206"/>
                  <a:gd name="T28" fmla="*/ 154 w 227"/>
                  <a:gd name="T29" fmla="*/ 57 h 206"/>
                  <a:gd name="T30" fmla="*/ 159 w 227"/>
                  <a:gd name="T31" fmla="*/ 71 h 206"/>
                  <a:gd name="T32" fmla="*/ 175 w 227"/>
                  <a:gd name="T33" fmla="*/ 83 h 206"/>
                  <a:gd name="T34" fmla="*/ 177 w 227"/>
                  <a:gd name="T35" fmla="*/ 71 h 206"/>
                  <a:gd name="T36" fmla="*/ 185 w 227"/>
                  <a:gd name="T37" fmla="*/ 47 h 206"/>
                  <a:gd name="T38" fmla="*/ 180 w 227"/>
                  <a:gd name="T39" fmla="*/ 31 h 206"/>
                  <a:gd name="T40" fmla="*/ 173 w 227"/>
                  <a:gd name="T41" fmla="*/ 19 h 206"/>
                  <a:gd name="T42" fmla="*/ 170 w 227"/>
                  <a:gd name="T43" fmla="*/ 7 h 206"/>
                  <a:gd name="T44" fmla="*/ 156 w 227"/>
                  <a:gd name="T45" fmla="*/ 12 h 206"/>
                  <a:gd name="T46" fmla="*/ 147 w 227"/>
                  <a:gd name="T47" fmla="*/ 12 h 206"/>
                  <a:gd name="T48" fmla="*/ 140 w 227"/>
                  <a:gd name="T49" fmla="*/ 12 h 206"/>
                  <a:gd name="T50" fmla="*/ 135 w 227"/>
                  <a:gd name="T51" fmla="*/ 9 h 206"/>
                  <a:gd name="T52" fmla="*/ 133 w 227"/>
                  <a:gd name="T53" fmla="*/ 12 h 206"/>
                  <a:gd name="T54" fmla="*/ 128 w 227"/>
                  <a:gd name="T55" fmla="*/ 7 h 206"/>
                  <a:gd name="T56" fmla="*/ 130 w 227"/>
                  <a:gd name="T57" fmla="*/ 5 h 206"/>
                  <a:gd name="T58" fmla="*/ 121 w 227"/>
                  <a:gd name="T59" fmla="*/ 5 h 206"/>
                  <a:gd name="T60" fmla="*/ 114 w 227"/>
                  <a:gd name="T61" fmla="*/ 5 h 206"/>
                  <a:gd name="T62" fmla="*/ 104 w 227"/>
                  <a:gd name="T63" fmla="*/ 7 h 206"/>
                  <a:gd name="T64" fmla="*/ 102 w 227"/>
                  <a:gd name="T65" fmla="*/ 5 h 206"/>
                  <a:gd name="T66" fmla="*/ 99 w 227"/>
                  <a:gd name="T67" fmla="*/ 9 h 206"/>
                  <a:gd name="T68" fmla="*/ 88 w 227"/>
                  <a:gd name="T69" fmla="*/ 14 h 206"/>
                  <a:gd name="T70" fmla="*/ 78 w 227"/>
                  <a:gd name="T71" fmla="*/ 19 h 206"/>
                  <a:gd name="T72" fmla="*/ 59 w 227"/>
                  <a:gd name="T73" fmla="*/ 12 h 206"/>
                  <a:gd name="T74" fmla="*/ 45 w 227"/>
                  <a:gd name="T75" fmla="*/ 7 h 206"/>
                  <a:gd name="T76" fmla="*/ 12 w 227"/>
                  <a:gd name="T77" fmla="*/ 5 h 206"/>
                  <a:gd name="T78" fmla="*/ 7 w 227"/>
                  <a:gd name="T79" fmla="*/ 2 h 206"/>
                  <a:gd name="T80" fmla="*/ 2 w 227"/>
                  <a:gd name="T81" fmla="*/ 12 h 206"/>
                  <a:gd name="T82" fmla="*/ 5 w 227"/>
                  <a:gd name="T83" fmla="*/ 21 h 206"/>
                  <a:gd name="T84" fmla="*/ 0 w 227"/>
                  <a:gd name="T85" fmla="*/ 31 h 206"/>
                  <a:gd name="T86" fmla="*/ 5 w 227"/>
                  <a:gd name="T87" fmla="*/ 45 h 206"/>
                  <a:gd name="T88" fmla="*/ 7 w 227"/>
                  <a:gd name="T89" fmla="*/ 57 h 206"/>
                  <a:gd name="T90" fmla="*/ 7 w 227"/>
                  <a:gd name="T91" fmla="*/ 76 h 206"/>
                  <a:gd name="T92" fmla="*/ 7 w 227"/>
                  <a:gd name="T93" fmla="*/ 97 h 206"/>
                  <a:gd name="T94" fmla="*/ 10 w 227"/>
                  <a:gd name="T95" fmla="*/ 116 h 206"/>
                  <a:gd name="T96" fmla="*/ 10 w 227"/>
                  <a:gd name="T97" fmla="*/ 135 h 206"/>
                  <a:gd name="T98" fmla="*/ 10 w 227"/>
                  <a:gd name="T99" fmla="*/ 154 h 206"/>
                  <a:gd name="T100" fmla="*/ 10 w 227"/>
                  <a:gd name="T101" fmla="*/ 173 h 206"/>
                  <a:gd name="T102" fmla="*/ 12 w 227"/>
                  <a:gd name="T103" fmla="*/ 192 h 206"/>
                  <a:gd name="T104" fmla="*/ 26 w 227"/>
                  <a:gd name="T105" fmla="*/ 206 h 206"/>
                  <a:gd name="T106" fmla="*/ 59 w 227"/>
                  <a:gd name="T107" fmla="*/ 206 h 206"/>
                  <a:gd name="T108" fmla="*/ 88 w 227"/>
                  <a:gd name="T109" fmla="*/ 206 h 206"/>
                  <a:gd name="T110" fmla="*/ 116 w 227"/>
                  <a:gd name="T111" fmla="*/ 206 h 206"/>
                  <a:gd name="T112" fmla="*/ 128 w 227"/>
                  <a:gd name="T113" fmla="*/ 201 h 206"/>
                  <a:gd name="T114" fmla="*/ 130 w 227"/>
                  <a:gd name="T115" fmla="*/ 204 h 206"/>
                  <a:gd name="T116" fmla="*/ 144 w 227"/>
                  <a:gd name="T117" fmla="*/ 206 h 206"/>
                  <a:gd name="T118" fmla="*/ 180 w 227"/>
                  <a:gd name="T119" fmla="*/ 206 h 206"/>
                  <a:gd name="T120" fmla="*/ 204 w 227"/>
                  <a:gd name="T121" fmla="*/ 206 h 206"/>
                  <a:gd name="T122" fmla="*/ 227 w 227"/>
                  <a:gd name="T123" fmla="*/ 206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7" h="206">
                    <a:moveTo>
                      <a:pt x="227" y="204"/>
                    </a:moveTo>
                    <a:lnTo>
                      <a:pt x="227" y="204"/>
                    </a:lnTo>
                    <a:lnTo>
                      <a:pt x="220" y="196"/>
                    </a:lnTo>
                    <a:lnTo>
                      <a:pt x="215" y="192"/>
                    </a:lnTo>
                    <a:lnTo>
                      <a:pt x="211" y="189"/>
                    </a:lnTo>
                    <a:lnTo>
                      <a:pt x="208" y="189"/>
                    </a:lnTo>
                    <a:lnTo>
                      <a:pt x="208" y="187"/>
                    </a:lnTo>
                    <a:lnTo>
                      <a:pt x="206" y="185"/>
                    </a:lnTo>
                    <a:lnTo>
                      <a:pt x="204" y="178"/>
                    </a:lnTo>
                    <a:lnTo>
                      <a:pt x="204" y="175"/>
                    </a:lnTo>
                    <a:lnTo>
                      <a:pt x="201" y="168"/>
                    </a:lnTo>
                    <a:lnTo>
                      <a:pt x="201" y="166"/>
                    </a:lnTo>
                    <a:lnTo>
                      <a:pt x="204" y="163"/>
                    </a:lnTo>
                    <a:lnTo>
                      <a:pt x="204" y="163"/>
                    </a:lnTo>
                    <a:lnTo>
                      <a:pt x="204" y="163"/>
                    </a:lnTo>
                    <a:lnTo>
                      <a:pt x="206" y="163"/>
                    </a:lnTo>
                    <a:lnTo>
                      <a:pt x="204" y="161"/>
                    </a:lnTo>
                    <a:lnTo>
                      <a:pt x="201" y="159"/>
                    </a:lnTo>
                    <a:lnTo>
                      <a:pt x="199" y="156"/>
                    </a:lnTo>
                    <a:lnTo>
                      <a:pt x="196" y="154"/>
                    </a:lnTo>
                    <a:lnTo>
                      <a:pt x="189" y="140"/>
                    </a:lnTo>
                    <a:lnTo>
                      <a:pt x="185" y="133"/>
                    </a:lnTo>
                    <a:lnTo>
                      <a:pt x="182" y="128"/>
                    </a:lnTo>
                    <a:lnTo>
                      <a:pt x="177" y="121"/>
                    </a:lnTo>
                    <a:lnTo>
                      <a:pt x="173" y="109"/>
                    </a:lnTo>
                    <a:lnTo>
                      <a:pt x="170" y="106"/>
                    </a:lnTo>
                    <a:lnTo>
                      <a:pt x="170" y="99"/>
                    </a:lnTo>
                    <a:lnTo>
                      <a:pt x="168" y="95"/>
                    </a:lnTo>
                    <a:lnTo>
                      <a:pt x="168" y="95"/>
                    </a:lnTo>
                    <a:lnTo>
                      <a:pt x="166" y="92"/>
                    </a:lnTo>
                    <a:lnTo>
                      <a:pt x="166" y="90"/>
                    </a:lnTo>
                    <a:lnTo>
                      <a:pt x="163" y="88"/>
                    </a:lnTo>
                    <a:lnTo>
                      <a:pt x="163" y="85"/>
                    </a:lnTo>
                    <a:lnTo>
                      <a:pt x="163" y="80"/>
                    </a:lnTo>
                    <a:lnTo>
                      <a:pt x="161" y="78"/>
                    </a:lnTo>
                    <a:lnTo>
                      <a:pt x="159" y="78"/>
                    </a:lnTo>
                    <a:lnTo>
                      <a:pt x="156" y="73"/>
                    </a:lnTo>
                    <a:lnTo>
                      <a:pt x="151" y="69"/>
                    </a:lnTo>
                    <a:lnTo>
                      <a:pt x="149" y="66"/>
                    </a:lnTo>
                    <a:lnTo>
                      <a:pt x="149" y="64"/>
                    </a:lnTo>
                    <a:lnTo>
                      <a:pt x="149" y="64"/>
                    </a:lnTo>
                    <a:lnTo>
                      <a:pt x="147" y="61"/>
                    </a:lnTo>
                    <a:lnTo>
                      <a:pt x="144" y="59"/>
                    </a:lnTo>
                    <a:lnTo>
                      <a:pt x="144" y="57"/>
                    </a:lnTo>
                    <a:lnTo>
                      <a:pt x="144" y="52"/>
                    </a:lnTo>
                    <a:lnTo>
                      <a:pt x="144" y="50"/>
                    </a:lnTo>
                    <a:lnTo>
                      <a:pt x="142" y="50"/>
                    </a:lnTo>
                    <a:lnTo>
                      <a:pt x="140" y="45"/>
                    </a:lnTo>
                    <a:lnTo>
                      <a:pt x="140" y="43"/>
                    </a:lnTo>
                    <a:lnTo>
                      <a:pt x="140" y="40"/>
                    </a:lnTo>
                    <a:lnTo>
                      <a:pt x="142" y="40"/>
                    </a:lnTo>
                    <a:lnTo>
                      <a:pt x="140" y="38"/>
                    </a:lnTo>
                    <a:lnTo>
                      <a:pt x="142" y="35"/>
                    </a:lnTo>
                    <a:lnTo>
                      <a:pt x="144" y="40"/>
                    </a:lnTo>
                    <a:lnTo>
                      <a:pt x="144" y="45"/>
                    </a:lnTo>
                    <a:lnTo>
                      <a:pt x="147" y="47"/>
                    </a:lnTo>
                    <a:lnTo>
                      <a:pt x="147" y="50"/>
                    </a:lnTo>
                    <a:lnTo>
                      <a:pt x="149" y="52"/>
                    </a:lnTo>
                    <a:lnTo>
                      <a:pt x="151" y="54"/>
                    </a:lnTo>
                    <a:lnTo>
                      <a:pt x="154" y="57"/>
                    </a:lnTo>
                    <a:lnTo>
                      <a:pt x="156" y="61"/>
                    </a:lnTo>
                    <a:lnTo>
                      <a:pt x="156" y="64"/>
                    </a:lnTo>
                    <a:lnTo>
                      <a:pt x="156" y="66"/>
                    </a:lnTo>
                    <a:lnTo>
                      <a:pt x="159" y="71"/>
                    </a:lnTo>
                    <a:lnTo>
                      <a:pt x="163" y="73"/>
                    </a:lnTo>
                    <a:lnTo>
                      <a:pt x="166" y="78"/>
                    </a:lnTo>
                    <a:lnTo>
                      <a:pt x="170" y="83"/>
                    </a:lnTo>
                    <a:lnTo>
                      <a:pt x="175" y="83"/>
                    </a:lnTo>
                    <a:lnTo>
                      <a:pt x="175" y="80"/>
                    </a:lnTo>
                    <a:lnTo>
                      <a:pt x="177" y="78"/>
                    </a:lnTo>
                    <a:lnTo>
                      <a:pt x="177" y="76"/>
                    </a:lnTo>
                    <a:lnTo>
                      <a:pt x="177" y="71"/>
                    </a:lnTo>
                    <a:lnTo>
                      <a:pt x="180" y="61"/>
                    </a:lnTo>
                    <a:lnTo>
                      <a:pt x="182" y="52"/>
                    </a:lnTo>
                    <a:lnTo>
                      <a:pt x="185" y="47"/>
                    </a:lnTo>
                    <a:lnTo>
                      <a:pt x="185" y="47"/>
                    </a:lnTo>
                    <a:lnTo>
                      <a:pt x="185" y="45"/>
                    </a:lnTo>
                    <a:lnTo>
                      <a:pt x="182" y="40"/>
                    </a:lnTo>
                    <a:lnTo>
                      <a:pt x="180" y="35"/>
                    </a:lnTo>
                    <a:lnTo>
                      <a:pt x="180" y="31"/>
                    </a:lnTo>
                    <a:lnTo>
                      <a:pt x="177" y="26"/>
                    </a:lnTo>
                    <a:lnTo>
                      <a:pt x="177" y="26"/>
                    </a:lnTo>
                    <a:lnTo>
                      <a:pt x="175" y="24"/>
                    </a:lnTo>
                    <a:lnTo>
                      <a:pt x="173" y="19"/>
                    </a:lnTo>
                    <a:lnTo>
                      <a:pt x="173" y="14"/>
                    </a:lnTo>
                    <a:lnTo>
                      <a:pt x="170" y="9"/>
                    </a:lnTo>
                    <a:lnTo>
                      <a:pt x="170" y="9"/>
                    </a:lnTo>
                    <a:lnTo>
                      <a:pt x="170" y="7"/>
                    </a:lnTo>
                    <a:lnTo>
                      <a:pt x="168" y="9"/>
                    </a:lnTo>
                    <a:lnTo>
                      <a:pt x="163" y="12"/>
                    </a:lnTo>
                    <a:lnTo>
                      <a:pt x="161" y="12"/>
                    </a:lnTo>
                    <a:lnTo>
                      <a:pt x="156" y="12"/>
                    </a:lnTo>
                    <a:lnTo>
                      <a:pt x="151" y="14"/>
                    </a:lnTo>
                    <a:lnTo>
                      <a:pt x="151" y="12"/>
                    </a:lnTo>
                    <a:lnTo>
                      <a:pt x="151" y="12"/>
                    </a:lnTo>
                    <a:lnTo>
                      <a:pt x="147" y="12"/>
                    </a:lnTo>
                    <a:lnTo>
                      <a:pt x="147" y="12"/>
                    </a:lnTo>
                    <a:lnTo>
                      <a:pt x="142" y="14"/>
                    </a:lnTo>
                    <a:lnTo>
                      <a:pt x="142" y="14"/>
                    </a:lnTo>
                    <a:lnTo>
                      <a:pt x="140" y="12"/>
                    </a:lnTo>
                    <a:lnTo>
                      <a:pt x="137" y="9"/>
                    </a:lnTo>
                    <a:lnTo>
                      <a:pt x="135" y="9"/>
                    </a:lnTo>
                    <a:lnTo>
                      <a:pt x="135" y="9"/>
                    </a:lnTo>
                    <a:lnTo>
                      <a:pt x="135" y="9"/>
                    </a:lnTo>
                    <a:lnTo>
                      <a:pt x="135" y="12"/>
                    </a:lnTo>
                    <a:lnTo>
                      <a:pt x="135" y="12"/>
                    </a:lnTo>
                    <a:lnTo>
                      <a:pt x="133" y="12"/>
                    </a:lnTo>
                    <a:lnTo>
                      <a:pt x="133" y="12"/>
                    </a:lnTo>
                    <a:lnTo>
                      <a:pt x="130" y="9"/>
                    </a:lnTo>
                    <a:lnTo>
                      <a:pt x="128" y="9"/>
                    </a:lnTo>
                    <a:lnTo>
                      <a:pt x="125" y="9"/>
                    </a:lnTo>
                    <a:lnTo>
                      <a:pt x="128" y="7"/>
                    </a:lnTo>
                    <a:lnTo>
                      <a:pt x="128" y="5"/>
                    </a:lnTo>
                    <a:lnTo>
                      <a:pt x="133" y="7"/>
                    </a:lnTo>
                    <a:lnTo>
                      <a:pt x="133" y="7"/>
                    </a:lnTo>
                    <a:lnTo>
                      <a:pt x="130" y="5"/>
                    </a:lnTo>
                    <a:lnTo>
                      <a:pt x="128" y="2"/>
                    </a:lnTo>
                    <a:lnTo>
                      <a:pt x="128" y="5"/>
                    </a:lnTo>
                    <a:lnTo>
                      <a:pt x="123" y="5"/>
                    </a:lnTo>
                    <a:lnTo>
                      <a:pt x="121" y="5"/>
                    </a:lnTo>
                    <a:lnTo>
                      <a:pt x="116" y="2"/>
                    </a:lnTo>
                    <a:lnTo>
                      <a:pt x="114" y="2"/>
                    </a:lnTo>
                    <a:lnTo>
                      <a:pt x="114" y="2"/>
                    </a:lnTo>
                    <a:lnTo>
                      <a:pt x="114" y="5"/>
                    </a:lnTo>
                    <a:lnTo>
                      <a:pt x="111" y="5"/>
                    </a:lnTo>
                    <a:lnTo>
                      <a:pt x="109" y="5"/>
                    </a:lnTo>
                    <a:lnTo>
                      <a:pt x="107" y="7"/>
                    </a:lnTo>
                    <a:lnTo>
                      <a:pt x="104" y="7"/>
                    </a:lnTo>
                    <a:lnTo>
                      <a:pt x="111" y="5"/>
                    </a:lnTo>
                    <a:lnTo>
                      <a:pt x="111" y="2"/>
                    </a:lnTo>
                    <a:lnTo>
                      <a:pt x="104" y="5"/>
                    </a:lnTo>
                    <a:lnTo>
                      <a:pt x="102" y="5"/>
                    </a:lnTo>
                    <a:lnTo>
                      <a:pt x="102" y="7"/>
                    </a:lnTo>
                    <a:lnTo>
                      <a:pt x="99" y="7"/>
                    </a:lnTo>
                    <a:lnTo>
                      <a:pt x="99" y="7"/>
                    </a:lnTo>
                    <a:lnTo>
                      <a:pt x="99" y="9"/>
                    </a:lnTo>
                    <a:lnTo>
                      <a:pt x="97" y="9"/>
                    </a:lnTo>
                    <a:lnTo>
                      <a:pt x="95" y="9"/>
                    </a:lnTo>
                    <a:lnTo>
                      <a:pt x="95" y="9"/>
                    </a:lnTo>
                    <a:lnTo>
                      <a:pt x="88" y="14"/>
                    </a:lnTo>
                    <a:lnTo>
                      <a:pt x="85" y="17"/>
                    </a:lnTo>
                    <a:lnTo>
                      <a:pt x="83" y="17"/>
                    </a:lnTo>
                    <a:lnTo>
                      <a:pt x="81" y="19"/>
                    </a:lnTo>
                    <a:lnTo>
                      <a:pt x="78" y="19"/>
                    </a:lnTo>
                    <a:lnTo>
                      <a:pt x="76" y="19"/>
                    </a:lnTo>
                    <a:lnTo>
                      <a:pt x="73" y="17"/>
                    </a:lnTo>
                    <a:lnTo>
                      <a:pt x="69" y="14"/>
                    </a:lnTo>
                    <a:lnTo>
                      <a:pt x="59" y="12"/>
                    </a:lnTo>
                    <a:lnTo>
                      <a:pt x="57" y="12"/>
                    </a:lnTo>
                    <a:lnTo>
                      <a:pt x="52" y="12"/>
                    </a:lnTo>
                    <a:lnTo>
                      <a:pt x="50" y="9"/>
                    </a:lnTo>
                    <a:lnTo>
                      <a:pt x="45" y="7"/>
                    </a:lnTo>
                    <a:lnTo>
                      <a:pt x="38" y="5"/>
                    </a:lnTo>
                    <a:lnTo>
                      <a:pt x="31" y="5"/>
                    </a:lnTo>
                    <a:lnTo>
                      <a:pt x="21" y="2"/>
                    </a:lnTo>
                    <a:lnTo>
                      <a:pt x="12" y="5"/>
                    </a:lnTo>
                    <a:lnTo>
                      <a:pt x="10" y="5"/>
                    </a:lnTo>
                    <a:lnTo>
                      <a:pt x="7" y="0"/>
                    </a:lnTo>
                    <a:lnTo>
                      <a:pt x="7" y="2"/>
                    </a:lnTo>
                    <a:lnTo>
                      <a:pt x="7" y="2"/>
                    </a:lnTo>
                    <a:lnTo>
                      <a:pt x="5" y="5"/>
                    </a:lnTo>
                    <a:lnTo>
                      <a:pt x="5" y="5"/>
                    </a:lnTo>
                    <a:lnTo>
                      <a:pt x="2" y="7"/>
                    </a:lnTo>
                    <a:lnTo>
                      <a:pt x="2" y="12"/>
                    </a:lnTo>
                    <a:lnTo>
                      <a:pt x="2" y="14"/>
                    </a:lnTo>
                    <a:lnTo>
                      <a:pt x="5" y="17"/>
                    </a:lnTo>
                    <a:lnTo>
                      <a:pt x="5" y="19"/>
                    </a:lnTo>
                    <a:lnTo>
                      <a:pt x="5" y="21"/>
                    </a:lnTo>
                    <a:lnTo>
                      <a:pt x="5" y="24"/>
                    </a:lnTo>
                    <a:lnTo>
                      <a:pt x="5" y="26"/>
                    </a:lnTo>
                    <a:lnTo>
                      <a:pt x="2" y="31"/>
                    </a:lnTo>
                    <a:lnTo>
                      <a:pt x="0" y="31"/>
                    </a:lnTo>
                    <a:lnTo>
                      <a:pt x="2" y="33"/>
                    </a:lnTo>
                    <a:lnTo>
                      <a:pt x="2" y="38"/>
                    </a:lnTo>
                    <a:lnTo>
                      <a:pt x="2" y="40"/>
                    </a:lnTo>
                    <a:lnTo>
                      <a:pt x="5" y="45"/>
                    </a:lnTo>
                    <a:lnTo>
                      <a:pt x="5" y="50"/>
                    </a:lnTo>
                    <a:lnTo>
                      <a:pt x="7" y="52"/>
                    </a:lnTo>
                    <a:lnTo>
                      <a:pt x="7" y="52"/>
                    </a:lnTo>
                    <a:lnTo>
                      <a:pt x="7" y="57"/>
                    </a:lnTo>
                    <a:lnTo>
                      <a:pt x="7" y="61"/>
                    </a:lnTo>
                    <a:lnTo>
                      <a:pt x="7" y="66"/>
                    </a:lnTo>
                    <a:lnTo>
                      <a:pt x="7" y="71"/>
                    </a:lnTo>
                    <a:lnTo>
                      <a:pt x="7" y="76"/>
                    </a:lnTo>
                    <a:lnTo>
                      <a:pt x="7" y="80"/>
                    </a:lnTo>
                    <a:lnTo>
                      <a:pt x="7" y="85"/>
                    </a:lnTo>
                    <a:lnTo>
                      <a:pt x="7" y="92"/>
                    </a:lnTo>
                    <a:lnTo>
                      <a:pt x="7" y="97"/>
                    </a:lnTo>
                    <a:lnTo>
                      <a:pt x="10" y="102"/>
                    </a:lnTo>
                    <a:lnTo>
                      <a:pt x="10" y="106"/>
                    </a:lnTo>
                    <a:lnTo>
                      <a:pt x="10" y="111"/>
                    </a:lnTo>
                    <a:lnTo>
                      <a:pt x="10" y="116"/>
                    </a:lnTo>
                    <a:lnTo>
                      <a:pt x="10" y="121"/>
                    </a:lnTo>
                    <a:lnTo>
                      <a:pt x="10" y="125"/>
                    </a:lnTo>
                    <a:lnTo>
                      <a:pt x="10" y="130"/>
                    </a:lnTo>
                    <a:lnTo>
                      <a:pt x="10" y="135"/>
                    </a:lnTo>
                    <a:lnTo>
                      <a:pt x="10" y="140"/>
                    </a:lnTo>
                    <a:lnTo>
                      <a:pt x="10" y="144"/>
                    </a:lnTo>
                    <a:lnTo>
                      <a:pt x="10" y="149"/>
                    </a:lnTo>
                    <a:lnTo>
                      <a:pt x="10" y="154"/>
                    </a:lnTo>
                    <a:lnTo>
                      <a:pt x="10" y="159"/>
                    </a:lnTo>
                    <a:lnTo>
                      <a:pt x="10" y="163"/>
                    </a:lnTo>
                    <a:lnTo>
                      <a:pt x="10" y="168"/>
                    </a:lnTo>
                    <a:lnTo>
                      <a:pt x="10" y="173"/>
                    </a:lnTo>
                    <a:lnTo>
                      <a:pt x="10" y="178"/>
                    </a:lnTo>
                    <a:lnTo>
                      <a:pt x="10" y="182"/>
                    </a:lnTo>
                    <a:lnTo>
                      <a:pt x="10" y="187"/>
                    </a:lnTo>
                    <a:lnTo>
                      <a:pt x="12" y="192"/>
                    </a:lnTo>
                    <a:lnTo>
                      <a:pt x="12" y="196"/>
                    </a:lnTo>
                    <a:lnTo>
                      <a:pt x="12" y="201"/>
                    </a:lnTo>
                    <a:lnTo>
                      <a:pt x="12" y="206"/>
                    </a:lnTo>
                    <a:lnTo>
                      <a:pt x="26" y="206"/>
                    </a:lnTo>
                    <a:lnTo>
                      <a:pt x="33" y="206"/>
                    </a:lnTo>
                    <a:lnTo>
                      <a:pt x="38" y="206"/>
                    </a:lnTo>
                    <a:lnTo>
                      <a:pt x="45" y="206"/>
                    </a:lnTo>
                    <a:lnTo>
                      <a:pt x="59" y="206"/>
                    </a:lnTo>
                    <a:lnTo>
                      <a:pt x="66" y="206"/>
                    </a:lnTo>
                    <a:lnTo>
                      <a:pt x="73" y="206"/>
                    </a:lnTo>
                    <a:lnTo>
                      <a:pt x="81" y="206"/>
                    </a:lnTo>
                    <a:lnTo>
                      <a:pt x="88" y="206"/>
                    </a:lnTo>
                    <a:lnTo>
                      <a:pt x="95" y="206"/>
                    </a:lnTo>
                    <a:lnTo>
                      <a:pt x="102" y="206"/>
                    </a:lnTo>
                    <a:lnTo>
                      <a:pt x="109" y="206"/>
                    </a:lnTo>
                    <a:lnTo>
                      <a:pt x="116" y="206"/>
                    </a:lnTo>
                    <a:lnTo>
                      <a:pt x="123" y="206"/>
                    </a:lnTo>
                    <a:lnTo>
                      <a:pt x="125" y="206"/>
                    </a:lnTo>
                    <a:lnTo>
                      <a:pt x="125" y="206"/>
                    </a:lnTo>
                    <a:lnTo>
                      <a:pt x="128" y="201"/>
                    </a:lnTo>
                    <a:lnTo>
                      <a:pt x="128" y="201"/>
                    </a:lnTo>
                    <a:lnTo>
                      <a:pt x="130" y="201"/>
                    </a:lnTo>
                    <a:lnTo>
                      <a:pt x="130" y="201"/>
                    </a:lnTo>
                    <a:lnTo>
                      <a:pt x="130" y="204"/>
                    </a:lnTo>
                    <a:lnTo>
                      <a:pt x="130" y="206"/>
                    </a:lnTo>
                    <a:lnTo>
                      <a:pt x="133" y="206"/>
                    </a:lnTo>
                    <a:lnTo>
                      <a:pt x="137" y="206"/>
                    </a:lnTo>
                    <a:lnTo>
                      <a:pt x="144" y="206"/>
                    </a:lnTo>
                    <a:lnTo>
                      <a:pt x="151" y="206"/>
                    </a:lnTo>
                    <a:lnTo>
                      <a:pt x="156" y="206"/>
                    </a:lnTo>
                    <a:lnTo>
                      <a:pt x="175" y="206"/>
                    </a:lnTo>
                    <a:lnTo>
                      <a:pt x="180" y="206"/>
                    </a:lnTo>
                    <a:lnTo>
                      <a:pt x="187" y="206"/>
                    </a:lnTo>
                    <a:lnTo>
                      <a:pt x="192" y="206"/>
                    </a:lnTo>
                    <a:lnTo>
                      <a:pt x="199" y="206"/>
                    </a:lnTo>
                    <a:lnTo>
                      <a:pt x="204" y="206"/>
                    </a:lnTo>
                    <a:lnTo>
                      <a:pt x="211" y="206"/>
                    </a:lnTo>
                    <a:lnTo>
                      <a:pt x="215" y="206"/>
                    </a:lnTo>
                    <a:lnTo>
                      <a:pt x="222" y="206"/>
                    </a:lnTo>
                    <a:lnTo>
                      <a:pt x="227" y="206"/>
                    </a:lnTo>
                    <a:lnTo>
                      <a:pt x="227" y="204"/>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163"/>
              <p:cNvSpPr>
                <a:spLocks noEditPoints="1"/>
              </p:cNvSpPr>
              <p:nvPr/>
            </p:nvSpPr>
            <p:spPr bwMode="auto">
              <a:xfrm>
                <a:off x="1237" y="2769"/>
                <a:ext cx="106" cy="138"/>
              </a:xfrm>
              <a:custGeom>
                <a:avLst/>
                <a:gdLst>
                  <a:gd name="T0" fmla="*/ 19 w 106"/>
                  <a:gd name="T1" fmla="*/ 90 h 138"/>
                  <a:gd name="T2" fmla="*/ 14 w 106"/>
                  <a:gd name="T3" fmla="*/ 90 h 138"/>
                  <a:gd name="T4" fmla="*/ 17 w 106"/>
                  <a:gd name="T5" fmla="*/ 95 h 138"/>
                  <a:gd name="T6" fmla="*/ 38 w 106"/>
                  <a:gd name="T7" fmla="*/ 5 h 138"/>
                  <a:gd name="T8" fmla="*/ 106 w 106"/>
                  <a:gd name="T9" fmla="*/ 43 h 138"/>
                  <a:gd name="T10" fmla="*/ 102 w 106"/>
                  <a:gd name="T11" fmla="*/ 36 h 138"/>
                  <a:gd name="T12" fmla="*/ 104 w 106"/>
                  <a:gd name="T13" fmla="*/ 33 h 138"/>
                  <a:gd name="T14" fmla="*/ 97 w 106"/>
                  <a:gd name="T15" fmla="*/ 29 h 138"/>
                  <a:gd name="T16" fmla="*/ 88 w 106"/>
                  <a:gd name="T17" fmla="*/ 22 h 138"/>
                  <a:gd name="T18" fmla="*/ 85 w 106"/>
                  <a:gd name="T19" fmla="*/ 26 h 138"/>
                  <a:gd name="T20" fmla="*/ 80 w 106"/>
                  <a:gd name="T21" fmla="*/ 26 h 138"/>
                  <a:gd name="T22" fmla="*/ 73 w 106"/>
                  <a:gd name="T23" fmla="*/ 24 h 138"/>
                  <a:gd name="T24" fmla="*/ 66 w 106"/>
                  <a:gd name="T25" fmla="*/ 17 h 138"/>
                  <a:gd name="T26" fmla="*/ 62 w 106"/>
                  <a:gd name="T27" fmla="*/ 14 h 138"/>
                  <a:gd name="T28" fmla="*/ 50 w 106"/>
                  <a:gd name="T29" fmla="*/ 10 h 138"/>
                  <a:gd name="T30" fmla="*/ 40 w 106"/>
                  <a:gd name="T31" fmla="*/ 0 h 138"/>
                  <a:gd name="T32" fmla="*/ 28 w 106"/>
                  <a:gd name="T33" fmla="*/ 10 h 138"/>
                  <a:gd name="T34" fmla="*/ 19 w 106"/>
                  <a:gd name="T35" fmla="*/ 14 h 138"/>
                  <a:gd name="T36" fmla="*/ 17 w 106"/>
                  <a:gd name="T37" fmla="*/ 31 h 138"/>
                  <a:gd name="T38" fmla="*/ 12 w 106"/>
                  <a:gd name="T39" fmla="*/ 43 h 138"/>
                  <a:gd name="T40" fmla="*/ 7 w 106"/>
                  <a:gd name="T41" fmla="*/ 50 h 138"/>
                  <a:gd name="T42" fmla="*/ 5 w 106"/>
                  <a:gd name="T43" fmla="*/ 59 h 138"/>
                  <a:gd name="T44" fmla="*/ 2 w 106"/>
                  <a:gd name="T45" fmla="*/ 76 h 138"/>
                  <a:gd name="T46" fmla="*/ 7 w 106"/>
                  <a:gd name="T47" fmla="*/ 81 h 138"/>
                  <a:gd name="T48" fmla="*/ 14 w 106"/>
                  <a:gd name="T49" fmla="*/ 88 h 138"/>
                  <a:gd name="T50" fmla="*/ 19 w 106"/>
                  <a:gd name="T51" fmla="*/ 85 h 138"/>
                  <a:gd name="T52" fmla="*/ 21 w 106"/>
                  <a:gd name="T53" fmla="*/ 76 h 138"/>
                  <a:gd name="T54" fmla="*/ 24 w 106"/>
                  <a:gd name="T55" fmla="*/ 90 h 138"/>
                  <a:gd name="T56" fmla="*/ 17 w 106"/>
                  <a:gd name="T57" fmla="*/ 102 h 138"/>
                  <a:gd name="T58" fmla="*/ 14 w 106"/>
                  <a:gd name="T59" fmla="*/ 104 h 138"/>
                  <a:gd name="T60" fmla="*/ 17 w 106"/>
                  <a:gd name="T61" fmla="*/ 109 h 138"/>
                  <a:gd name="T62" fmla="*/ 17 w 106"/>
                  <a:gd name="T63" fmla="*/ 114 h 138"/>
                  <a:gd name="T64" fmla="*/ 12 w 106"/>
                  <a:gd name="T65" fmla="*/ 116 h 138"/>
                  <a:gd name="T66" fmla="*/ 12 w 106"/>
                  <a:gd name="T67" fmla="*/ 121 h 138"/>
                  <a:gd name="T68" fmla="*/ 12 w 106"/>
                  <a:gd name="T69" fmla="*/ 126 h 138"/>
                  <a:gd name="T70" fmla="*/ 17 w 106"/>
                  <a:gd name="T71" fmla="*/ 121 h 138"/>
                  <a:gd name="T72" fmla="*/ 26 w 106"/>
                  <a:gd name="T73" fmla="*/ 126 h 138"/>
                  <a:gd name="T74" fmla="*/ 31 w 106"/>
                  <a:gd name="T75" fmla="*/ 133 h 138"/>
                  <a:gd name="T76" fmla="*/ 38 w 106"/>
                  <a:gd name="T77" fmla="*/ 138 h 138"/>
                  <a:gd name="T78" fmla="*/ 40 w 106"/>
                  <a:gd name="T79" fmla="*/ 133 h 138"/>
                  <a:gd name="T80" fmla="*/ 45 w 106"/>
                  <a:gd name="T81" fmla="*/ 128 h 138"/>
                  <a:gd name="T82" fmla="*/ 45 w 106"/>
                  <a:gd name="T83" fmla="*/ 123 h 138"/>
                  <a:gd name="T84" fmla="*/ 47 w 106"/>
                  <a:gd name="T85" fmla="*/ 114 h 138"/>
                  <a:gd name="T86" fmla="*/ 50 w 106"/>
                  <a:gd name="T87" fmla="*/ 109 h 138"/>
                  <a:gd name="T88" fmla="*/ 52 w 106"/>
                  <a:gd name="T89" fmla="*/ 102 h 138"/>
                  <a:gd name="T90" fmla="*/ 54 w 106"/>
                  <a:gd name="T91" fmla="*/ 104 h 138"/>
                  <a:gd name="T92" fmla="*/ 54 w 106"/>
                  <a:gd name="T93" fmla="*/ 100 h 138"/>
                  <a:gd name="T94" fmla="*/ 66 w 106"/>
                  <a:gd name="T95" fmla="*/ 93 h 138"/>
                  <a:gd name="T96" fmla="*/ 85 w 106"/>
                  <a:gd name="T97" fmla="*/ 83 h 138"/>
                  <a:gd name="T98" fmla="*/ 99 w 106"/>
                  <a:gd name="T99" fmla="*/ 67 h 138"/>
                  <a:gd name="T100" fmla="*/ 104 w 106"/>
                  <a:gd name="T101" fmla="*/ 52 h 138"/>
                  <a:gd name="T102" fmla="*/ 106 w 106"/>
                  <a:gd name="T103" fmla="*/ 5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6" h="138">
                    <a:moveTo>
                      <a:pt x="17" y="95"/>
                    </a:moveTo>
                    <a:lnTo>
                      <a:pt x="17" y="95"/>
                    </a:lnTo>
                    <a:lnTo>
                      <a:pt x="17" y="90"/>
                    </a:lnTo>
                    <a:lnTo>
                      <a:pt x="19" y="90"/>
                    </a:lnTo>
                    <a:lnTo>
                      <a:pt x="19" y="90"/>
                    </a:lnTo>
                    <a:lnTo>
                      <a:pt x="21" y="88"/>
                    </a:lnTo>
                    <a:lnTo>
                      <a:pt x="19" y="88"/>
                    </a:lnTo>
                    <a:lnTo>
                      <a:pt x="19" y="88"/>
                    </a:lnTo>
                    <a:lnTo>
                      <a:pt x="17" y="88"/>
                    </a:lnTo>
                    <a:lnTo>
                      <a:pt x="14" y="90"/>
                    </a:lnTo>
                    <a:lnTo>
                      <a:pt x="14" y="90"/>
                    </a:lnTo>
                    <a:lnTo>
                      <a:pt x="14" y="93"/>
                    </a:lnTo>
                    <a:lnTo>
                      <a:pt x="14" y="95"/>
                    </a:lnTo>
                    <a:lnTo>
                      <a:pt x="14" y="95"/>
                    </a:lnTo>
                    <a:lnTo>
                      <a:pt x="17" y="95"/>
                    </a:lnTo>
                    <a:close/>
                    <a:moveTo>
                      <a:pt x="40" y="5"/>
                    </a:moveTo>
                    <a:lnTo>
                      <a:pt x="40" y="3"/>
                    </a:lnTo>
                    <a:lnTo>
                      <a:pt x="38" y="3"/>
                    </a:lnTo>
                    <a:lnTo>
                      <a:pt x="38" y="3"/>
                    </a:lnTo>
                    <a:lnTo>
                      <a:pt x="38" y="5"/>
                    </a:lnTo>
                    <a:lnTo>
                      <a:pt x="40" y="5"/>
                    </a:lnTo>
                    <a:close/>
                    <a:moveTo>
                      <a:pt x="106" y="45"/>
                    </a:moveTo>
                    <a:lnTo>
                      <a:pt x="106" y="45"/>
                    </a:lnTo>
                    <a:lnTo>
                      <a:pt x="106" y="43"/>
                    </a:lnTo>
                    <a:lnTo>
                      <a:pt x="106" y="43"/>
                    </a:lnTo>
                    <a:lnTo>
                      <a:pt x="106" y="43"/>
                    </a:lnTo>
                    <a:lnTo>
                      <a:pt x="104" y="40"/>
                    </a:lnTo>
                    <a:lnTo>
                      <a:pt x="104" y="38"/>
                    </a:lnTo>
                    <a:lnTo>
                      <a:pt x="102" y="36"/>
                    </a:lnTo>
                    <a:lnTo>
                      <a:pt x="102" y="36"/>
                    </a:lnTo>
                    <a:lnTo>
                      <a:pt x="99" y="33"/>
                    </a:lnTo>
                    <a:lnTo>
                      <a:pt x="99" y="33"/>
                    </a:lnTo>
                    <a:lnTo>
                      <a:pt x="102" y="33"/>
                    </a:lnTo>
                    <a:lnTo>
                      <a:pt x="104" y="33"/>
                    </a:lnTo>
                    <a:lnTo>
                      <a:pt x="104" y="33"/>
                    </a:lnTo>
                    <a:lnTo>
                      <a:pt x="106" y="33"/>
                    </a:lnTo>
                    <a:lnTo>
                      <a:pt x="106" y="33"/>
                    </a:lnTo>
                    <a:lnTo>
                      <a:pt x="104" y="31"/>
                    </a:lnTo>
                    <a:lnTo>
                      <a:pt x="99" y="29"/>
                    </a:lnTo>
                    <a:lnTo>
                      <a:pt x="97" y="29"/>
                    </a:lnTo>
                    <a:lnTo>
                      <a:pt x="95" y="29"/>
                    </a:lnTo>
                    <a:lnTo>
                      <a:pt x="95" y="26"/>
                    </a:lnTo>
                    <a:lnTo>
                      <a:pt x="92" y="24"/>
                    </a:lnTo>
                    <a:lnTo>
                      <a:pt x="92" y="24"/>
                    </a:lnTo>
                    <a:lnTo>
                      <a:pt x="88" y="22"/>
                    </a:lnTo>
                    <a:lnTo>
                      <a:pt x="88" y="22"/>
                    </a:lnTo>
                    <a:lnTo>
                      <a:pt x="85" y="22"/>
                    </a:lnTo>
                    <a:lnTo>
                      <a:pt x="85" y="24"/>
                    </a:lnTo>
                    <a:lnTo>
                      <a:pt x="85" y="24"/>
                    </a:lnTo>
                    <a:lnTo>
                      <a:pt x="85" y="26"/>
                    </a:lnTo>
                    <a:lnTo>
                      <a:pt x="83" y="26"/>
                    </a:lnTo>
                    <a:lnTo>
                      <a:pt x="83" y="26"/>
                    </a:lnTo>
                    <a:lnTo>
                      <a:pt x="80" y="26"/>
                    </a:lnTo>
                    <a:lnTo>
                      <a:pt x="80" y="26"/>
                    </a:lnTo>
                    <a:lnTo>
                      <a:pt x="80" y="26"/>
                    </a:lnTo>
                    <a:lnTo>
                      <a:pt x="78" y="26"/>
                    </a:lnTo>
                    <a:lnTo>
                      <a:pt x="78" y="26"/>
                    </a:lnTo>
                    <a:lnTo>
                      <a:pt x="76" y="26"/>
                    </a:lnTo>
                    <a:lnTo>
                      <a:pt x="73" y="24"/>
                    </a:lnTo>
                    <a:lnTo>
                      <a:pt x="73" y="24"/>
                    </a:lnTo>
                    <a:lnTo>
                      <a:pt x="71" y="24"/>
                    </a:lnTo>
                    <a:lnTo>
                      <a:pt x="69" y="24"/>
                    </a:lnTo>
                    <a:lnTo>
                      <a:pt x="66" y="24"/>
                    </a:lnTo>
                    <a:lnTo>
                      <a:pt x="66" y="22"/>
                    </a:lnTo>
                    <a:lnTo>
                      <a:pt x="66" y="17"/>
                    </a:lnTo>
                    <a:lnTo>
                      <a:pt x="66" y="17"/>
                    </a:lnTo>
                    <a:lnTo>
                      <a:pt x="64" y="17"/>
                    </a:lnTo>
                    <a:lnTo>
                      <a:pt x="64" y="17"/>
                    </a:lnTo>
                    <a:lnTo>
                      <a:pt x="62" y="17"/>
                    </a:lnTo>
                    <a:lnTo>
                      <a:pt x="62" y="14"/>
                    </a:lnTo>
                    <a:lnTo>
                      <a:pt x="62" y="14"/>
                    </a:lnTo>
                    <a:lnTo>
                      <a:pt x="59" y="14"/>
                    </a:lnTo>
                    <a:lnTo>
                      <a:pt x="54" y="12"/>
                    </a:lnTo>
                    <a:lnTo>
                      <a:pt x="52" y="10"/>
                    </a:lnTo>
                    <a:lnTo>
                      <a:pt x="50" y="10"/>
                    </a:lnTo>
                    <a:lnTo>
                      <a:pt x="47" y="5"/>
                    </a:lnTo>
                    <a:lnTo>
                      <a:pt x="45" y="5"/>
                    </a:lnTo>
                    <a:lnTo>
                      <a:pt x="43" y="5"/>
                    </a:lnTo>
                    <a:lnTo>
                      <a:pt x="43" y="3"/>
                    </a:lnTo>
                    <a:lnTo>
                      <a:pt x="40" y="0"/>
                    </a:lnTo>
                    <a:lnTo>
                      <a:pt x="40" y="0"/>
                    </a:lnTo>
                    <a:lnTo>
                      <a:pt x="40" y="3"/>
                    </a:lnTo>
                    <a:lnTo>
                      <a:pt x="40" y="5"/>
                    </a:lnTo>
                    <a:lnTo>
                      <a:pt x="33" y="7"/>
                    </a:lnTo>
                    <a:lnTo>
                      <a:pt x="28" y="10"/>
                    </a:lnTo>
                    <a:lnTo>
                      <a:pt x="26" y="10"/>
                    </a:lnTo>
                    <a:lnTo>
                      <a:pt x="24" y="10"/>
                    </a:lnTo>
                    <a:lnTo>
                      <a:pt x="21" y="12"/>
                    </a:lnTo>
                    <a:lnTo>
                      <a:pt x="21" y="12"/>
                    </a:lnTo>
                    <a:lnTo>
                      <a:pt x="19" y="14"/>
                    </a:lnTo>
                    <a:lnTo>
                      <a:pt x="17" y="14"/>
                    </a:lnTo>
                    <a:lnTo>
                      <a:pt x="17" y="19"/>
                    </a:lnTo>
                    <a:lnTo>
                      <a:pt x="19" y="22"/>
                    </a:lnTo>
                    <a:lnTo>
                      <a:pt x="17" y="29"/>
                    </a:lnTo>
                    <a:lnTo>
                      <a:pt x="17" y="31"/>
                    </a:lnTo>
                    <a:lnTo>
                      <a:pt x="14" y="33"/>
                    </a:lnTo>
                    <a:lnTo>
                      <a:pt x="12" y="36"/>
                    </a:lnTo>
                    <a:lnTo>
                      <a:pt x="10" y="38"/>
                    </a:lnTo>
                    <a:lnTo>
                      <a:pt x="10" y="40"/>
                    </a:lnTo>
                    <a:lnTo>
                      <a:pt x="12" y="43"/>
                    </a:lnTo>
                    <a:lnTo>
                      <a:pt x="14" y="45"/>
                    </a:lnTo>
                    <a:lnTo>
                      <a:pt x="12" y="45"/>
                    </a:lnTo>
                    <a:lnTo>
                      <a:pt x="10" y="43"/>
                    </a:lnTo>
                    <a:lnTo>
                      <a:pt x="10" y="45"/>
                    </a:lnTo>
                    <a:lnTo>
                      <a:pt x="7" y="50"/>
                    </a:lnTo>
                    <a:lnTo>
                      <a:pt x="7" y="50"/>
                    </a:lnTo>
                    <a:lnTo>
                      <a:pt x="2" y="52"/>
                    </a:lnTo>
                    <a:lnTo>
                      <a:pt x="2" y="55"/>
                    </a:lnTo>
                    <a:lnTo>
                      <a:pt x="2" y="59"/>
                    </a:lnTo>
                    <a:lnTo>
                      <a:pt x="5" y="59"/>
                    </a:lnTo>
                    <a:lnTo>
                      <a:pt x="2" y="67"/>
                    </a:lnTo>
                    <a:lnTo>
                      <a:pt x="5" y="69"/>
                    </a:lnTo>
                    <a:lnTo>
                      <a:pt x="5" y="71"/>
                    </a:lnTo>
                    <a:lnTo>
                      <a:pt x="5" y="76"/>
                    </a:lnTo>
                    <a:lnTo>
                      <a:pt x="2" y="76"/>
                    </a:lnTo>
                    <a:lnTo>
                      <a:pt x="0" y="78"/>
                    </a:lnTo>
                    <a:lnTo>
                      <a:pt x="2" y="78"/>
                    </a:lnTo>
                    <a:lnTo>
                      <a:pt x="2" y="78"/>
                    </a:lnTo>
                    <a:lnTo>
                      <a:pt x="2" y="81"/>
                    </a:lnTo>
                    <a:lnTo>
                      <a:pt x="7" y="81"/>
                    </a:lnTo>
                    <a:lnTo>
                      <a:pt x="12" y="85"/>
                    </a:lnTo>
                    <a:lnTo>
                      <a:pt x="12" y="88"/>
                    </a:lnTo>
                    <a:lnTo>
                      <a:pt x="14" y="88"/>
                    </a:lnTo>
                    <a:lnTo>
                      <a:pt x="14" y="88"/>
                    </a:lnTo>
                    <a:lnTo>
                      <a:pt x="14" y="88"/>
                    </a:lnTo>
                    <a:lnTo>
                      <a:pt x="17" y="85"/>
                    </a:lnTo>
                    <a:lnTo>
                      <a:pt x="19" y="81"/>
                    </a:lnTo>
                    <a:lnTo>
                      <a:pt x="19" y="81"/>
                    </a:lnTo>
                    <a:lnTo>
                      <a:pt x="19" y="85"/>
                    </a:lnTo>
                    <a:lnTo>
                      <a:pt x="19" y="85"/>
                    </a:lnTo>
                    <a:lnTo>
                      <a:pt x="21" y="85"/>
                    </a:lnTo>
                    <a:lnTo>
                      <a:pt x="21" y="83"/>
                    </a:lnTo>
                    <a:lnTo>
                      <a:pt x="21" y="76"/>
                    </a:lnTo>
                    <a:lnTo>
                      <a:pt x="21" y="74"/>
                    </a:lnTo>
                    <a:lnTo>
                      <a:pt x="21" y="76"/>
                    </a:lnTo>
                    <a:lnTo>
                      <a:pt x="21" y="76"/>
                    </a:lnTo>
                    <a:lnTo>
                      <a:pt x="21" y="81"/>
                    </a:lnTo>
                    <a:lnTo>
                      <a:pt x="24" y="83"/>
                    </a:lnTo>
                    <a:lnTo>
                      <a:pt x="24" y="85"/>
                    </a:lnTo>
                    <a:lnTo>
                      <a:pt x="24" y="90"/>
                    </a:lnTo>
                    <a:lnTo>
                      <a:pt x="21" y="97"/>
                    </a:lnTo>
                    <a:lnTo>
                      <a:pt x="21" y="97"/>
                    </a:lnTo>
                    <a:lnTo>
                      <a:pt x="19" y="100"/>
                    </a:lnTo>
                    <a:lnTo>
                      <a:pt x="19" y="100"/>
                    </a:lnTo>
                    <a:lnTo>
                      <a:pt x="17" y="102"/>
                    </a:lnTo>
                    <a:lnTo>
                      <a:pt x="14" y="102"/>
                    </a:lnTo>
                    <a:lnTo>
                      <a:pt x="14" y="102"/>
                    </a:lnTo>
                    <a:lnTo>
                      <a:pt x="14" y="102"/>
                    </a:lnTo>
                    <a:lnTo>
                      <a:pt x="14" y="104"/>
                    </a:lnTo>
                    <a:lnTo>
                      <a:pt x="14" y="104"/>
                    </a:lnTo>
                    <a:lnTo>
                      <a:pt x="14" y="104"/>
                    </a:lnTo>
                    <a:lnTo>
                      <a:pt x="14" y="104"/>
                    </a:lnTo>
                    <a:lnTo>
                      <a:pt x="14" y="107"/>
                    </a:lnTo>
                    <a:lnTo>
                      <a:pt x="17" y="107"/>
                    </a:lnTo>
                    <a:lnTo>
                      <a:pt x="17" y="109"/>
                    </a:lnTo>
                    <a:lnTo>
                      <a:pt x="17" y="109"/>
                    </a:lnTo>
                    <a:lnTo>
                      <a:pt x="17" y="109"/>
                    </a:lnTo>
                    <a:lnTo>
                      <a:pt x="17" y="112"/>
                    </a:lnTo>
                    <a:lnTo>
                      <a:pt x="17" y="114"/>
                    </a:lnTo>
                    <a:lnTo>
                      <a:pt x="17" y="114"/>
                    </a:lnTo>
                    <a:lnTo>
                      <a:pt x="17" y="114"/>
                    </a:lnTo>
                    <a:lnTo>
                      <a:pt x="14" y="114"/>
                    </a:lnTo>
                    <a:lnTo>
                      <a:pt x="14" y="116"/>
                    </a:lnTo>
                    <a:lnTo>
                      <a:pt x="14" y="116"/>
                    </a:lnTo>
                    <a:lnTo>
                      <a:pt x="12" y="116"/>
                    </a:lnTo>
                    <a:lnTo>
                      <a:pt x="12" y="116"/>
                    </a:lnTo>
                    <a:lnTo>
                      <a:pt x="12" y="116"/>
                    </a:lnTo>
                    <a:lnTo>
                      <a:pt x="12" y="119"/>
                    </a:lnTo>
                    <a:lnTo>
                      <a:pt x="12" y="119"/>
                    </a:lnTo>
                    <a:lnTo>
                      <a:pt x="12" y="121"/>
                    </a:lnTo>
                    <a:lnTo>
                      <a:pt x="14" y="121"/>
                    </a:lnTo>
                    <a:lnTo>
                      <a:pt x="12" y="123"/>
                    </a:lnTo>
                    <a:lnTo>
                      <a:pt x="12" y="123"/>
                    </a:lnTo>
                    <a:lnTo>
                      <a:pt x="12" y="126"/>
                    </a:lnTo>
                    <a:lnTo>
                      <a:pt x="12" y="126"/>
                    </a:lnTo>
                    <a:lnTo>
                      <a:pt x="14" y="126"/>
                    </a:lnTo>
                    <a:lnTo>
                      <a:pt x="14" y="123"/>
                    </a:lnTo>
                    <a:lnTo>
                      <a:pt x="17" y="123"/>
                    </a:lnTo>
                    <a:lnTo>
                      <a:pt x="17" y="123"/>
                    </a:lnTo>
                    <a:lnTo>
                      <a:pt x="17" y="121"/>
                    </a:lnTo>
                    <a:lnTo>
                      <a:pt x="19" y="123"/>
                    </a:lnTo>
                    <a:lnTo>
                      <a:pt x="21" y="123"/>
                    </a:lnTo>
                    <a:lnTo>
                      <a:pt x="24" y="126"/>
                    </a:lnTo>
                    <a:lnTo>
                      <a:pt x="24" y="126"/>
                    </a:lnTo>
                    <a:lnTo>
                      <a:pt x="26" y="126"/>
                    </a:lnTo>
                    <a:lnTo>
                      <a:pt x="26" y="126"/>
                    </a:lnTo>
                    <a:lnTo>
                      <a:pt x="28" y="126"/>
                    </a:lnTo>
                    <a:lnTo>
                      <a:pt x="28" y="128"/>
                    </a:lnTo>
                    <a:lnTo>
                      <a:pt x="31" y="130"/>
                    </a:lnTo>
                    <a:lnTo>
                      <a:pt x="31" y="133"/>
                    </a:lnTo>
                    <a:lnTo>
                      <a:pt x="33" y="133"/>
                    </a:lnTo>
                    <a:lnTo>
                      <a:pt x="33" y="135"/>
                    </a:lnTo>
                    <a:lnTo>
                      <a:pt x="36" y="135"/>
                    </a:lnTo>
                    <a:lnTo>
                      <a:pt x="36" y="135"/>
                    </a:lnTo>
                    <a:lnTo>
                      <a:pt x="38" y="138"/>
                    </a:lnTo>
                    <a:lnTo>
                      <a:pt x="38" y="135"/>
                    </a:lnTo>
                    <a:lnTo>
                      <a:pt x="40" y="135"/>
                    </a:lnTo>
                    <a:lnTo>
                      <a:pt x="40" y="135"/>
                    </a:lnTo>
                    <a:lnTo>
                      <a:pt x="40" y="133"/>
                    </a:lnTo>
                    <a:lnTo>
                      <a:pt x="40" y="133"/>
                    </a:lnTo>
                    <a:lnTo>
                      <a:pt x="40" y="133"/>
                    </a:lnTo>
                    <a:lnTo>
                      <a:pt x="40" y="130"/>
                    </a:lnTo>
                    <a:lnTo>
                      <a:pt x="43" y="130"/>
                    </a:lnTo>
                    <a:lnTo>
                      <a:pt x="45" y="128"/>
                    </a:lnTo>
                    <a:lnTo>
                      <a:pt x="45" y="128"/>
                    </a:lnTo>
                    <a:lnTo>
                      <a:pt x="45" y="126"/>
                    </a:lnTo>
                    <a:lnTo>
                      <a:pt x="45" y="126"/>
                    </a:lnTo>
                    <a:lnTo>
                      <a:pt x="45" y="126"/>
                    </a:lnTo>
                    <a:lnTo>
                      <a:pt x="45" y="123"/>
                    </a:lnTo>
                    <a:lnTo>
                      <a:pt x="45" y="123"/>
                    </a:lnTo>
                    <a:lnTo>
                      <a:pt x="45" y="121"/>
                    </a:lnTo>
                    <a:lnTo>
                      <a:pt x="47" y="119"/>
                    </a:lnTo>
                    <a:lnTo>
                      <a:pt x="47" y="116"/>
                    </a:lnTo>
                    <a:lnTo>
                      <a:pt x="47" y="116"/>
                    </a:lnTo>
                    <a:lnTo>
                      <a:pt x="47" y="114"/>
                    </a:lnTo>
                    <a:lnTo>
                      <a:pt x="47" y="114"/>
                    </a:lnTo>
                    <a:lnTo>
                      <a:pt x="50" y="112"/>
                    </a:lnTo>
                    <a:lnTo>
                      <a:pt x="50" y="112"/>
                    </a:lnTo>
                    <a:lnTo>
                      <a:pt x="50" y="109"/>
                    </a:lnTo>
                    <a:lnTo>
                      <a:pt x="50" y="109"/>
                    </a:lnTo>
                    <a:lnTo>
                      <a:pt x="50" y="107"/>
                    </a:lnTo>
                    <a:lnTo>
                      <a:pt x="50" y="104"/>
                    </a:lnTo>
                    <a:lnTo>
                      <a:pt x="50" y="102"/>
                    </a:lnTo>
                    <a:lnTo>
                      <a:pt x="52" y="102"/>
                    </a:lnTo>
                    <a:lnTo>
                      <a:pt x="52" y="102"/>
                    </a:lnTo>
                    <a:lnTo>
                      <a:pt x="52" y="104"/>
                    </a:lnTo>
                    <a:lnTo>
                      <a:pt x="52" y="104"/>
                    </a:lnTo>
                    <a:lnTo>
                      <a:pt x="52" y="104"/>
                    </a:lnTo>
                    <a:lnTo>
                      <a:pt x="54" y="104"/>
                    </a:lnTo>
                    <a:lnTo>
                      <a:pt x="54" y="104"/>
                    </a:lnTo>
                    <a:lnTo>
                      <a:pt x="54" y="104"/>
                    </a:lnTo>
                    <a:lnTo>
                      <a:pt x="54" y="102"/>
                    </a:lnTo>
                    <a:lnTo>
                      <a:pt x="54" y="102"/>
                    </a:lnTo>
                    <a:lnTo>
                      <a:pt x="54" y="102"/>
                    </a:lnTo>
                    <a:lnTo>
                      <a:pt x="54" y="100"/>
                    </a:lnTo>
                    <a:lnTo>
                      <a:pt x="57" y="100"/>
                    </a:lnTo>
                    <a:lnTo>
                      <a:pt x="57" y="95"/>
                    </a:lnTo>
                    <a:lnTo>
                      <a:pt x="59" y="95"/>
                    </a:lnTo>
                    <a:lnTo>
                      <a:pt x="64" y="93"/>
                    </a:lnTo>
                    <a:lnTo>
                      <a:pt x="66" y="93"/>
                    </a:lnTo>
                    <a:lnTo>
                      <a:pt x="69" y="90"/>
                    </a:lnTo>
                    <a:lnTo>
                      <a:pt x="73" y="88"/>
                    </a:lnTo>
                    <a:lnTo>
                      <a:pt x="78" y="88"/>
                    </a:lnTo>
                    <a:lnTo>
                      <a:pt x="80" y="85"/>
                    </a:lnTo>
                    <a:lnTo>
                      <a:pt x="85" y="83"/>
                    </a:lnTo>
                    <a:lnTo>
                      <a:pt x="88" y="81"/>
                    </a:lnTo>
                    <a:lnTo>
                      <a:pt x="90" y="78"/>
                    </a:lnTo>
                    <a:lnTo>
                      <a:pt x="92" y="76"/>
                    </a:lnTo>
                    <a:lnTo>
                      <a:pt x="95" y="71"/>
                    </a:lnTo>
                    <a:lnTo>
                      <a:pt x="99" y="67"/>
                    </a:lnTo>
                    <a:lnTo>
                      <a:pt x="99" y="64"/>
                    </a:lnTo>
                    <a:lnTo>
                      <a:pt x="102" y="64"/>
                    </a:lnTo>
                    <a:lnTo>
                      <a:pt x="102" y="59"/>
                    </a:lnTo>
                    <a:lnTo>
                      <a:pt x="104" y="55"/>
                    </a:lnTo>
                    <a:lnTo>
                      <a:pt x="104" y="52"/>
                    </a:lnTo>
                    <a:lnTo>
                      <a:pt x="104" y="50"/>
                    </a:lnTo>
                    <a:lnTo>
                      <a:pt x="104" y="50"/>
                    </a:lnTo>
                    <a:lnTo>
                      <a:pt x="106" y="52"/>
                    </a:lnTo>
                    <a:lnTo>
                      <a:pt x="106" y="52"/>
                    </a:lnTo>
                    <a:lnTo>
                      <a:pt x="106" y="52"/>
                    </a:lnTo>
                    <a:lnTo>
                      <a:pt x="106" y="52"/>
                    </a:lnTo>
                    <a:lnTo>
                      <a:pt x="106" y="45"/>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164"/>
              <p:cNvSpPr>
                <a:spLocks noEditPoints="1"/>
              </p:cNvSpPr>
              <p:nvPr/>
            </p:nvSpPr>
            <p:spPr bwMode="auto">
              <a:xfrm>
                <a:off x="5055" y="2973"/>
                <a:ext cx="62" cy="28"/>
              </a:xfrm>
              <a:custGeom>
                <a:avLst/>
                <a:gdLst>
                  <a:gd name="T0" fmla="*/ 0 w 62"/>
                  <a:gd name="T1" fmla="*/ 26 h 28"/>
                  <a:gd name="T2" fmla="*/ 0 w 62"/>
                  <a:gd name="T3" fmla="*/ 26 h 28"/>
                  <a:gd name="T4" fmla="*/ 5 w 62"/>
                  <a:gd name="T5" fmla="*/ 26 h 28"/>
                  <a:gd name="T6" fmla="*/ 5 w 62"/>
                  <a:gd name="T7" fmla="*/ 26 h 28"/>
                  <a:gd name="T8" fmla="*/ 7 w 62"/>
                  <a:gd name="T9" fmla="*/ 24 h 28"/>
                  <a:gd name="T10" fmla="*/ 2 w 62"/>
                  <a:gd name="T11" fmla="*/ 24 h 28"/>
                  <a:gd name="T12" fmla="*/ 62 w 62"/>
                  <a:gd name="T13" fmla="*/ 5 h 28"/>
                  <a:gd name="T14" fmla="*/ 57 w 62"/>
                  <a:gd name="T15" fmla="*/ 5 h 28"/>
                  <a:gd name="T16" fmla="*/ 54 w 62"/>
                  <a:gd name="T17" fmla="*/ 5 h 28"/>
                  <a:gd name="T18" fmla="*/ 52 w 62"/>
                  <a:gd name="T19" fmla="*/ 5 h 28"/>
                  <a:gd name="T20" fmla="*/ 47 w 62"/>
                  <a:gd name="T21" fmla="*/ 7 h 28"/>
                  <a:gd name="T22" fmla="*/ 36 w 62"/>
                  <a:gd name="T23" fmla="*/ 7 h 28"/>
                  <a:gd name="T24" fmla="*/ 26 w 62"/>
                  <a:gd name="T25" fmla="*/ 9 h 28"/>
                  <a:gd name="T26" fmla="*/ 21 w 62"/>
                  <a:gd name="T27" fmla="*/ 9 h 28"/>
                  <a:gd name="T28" fmla="*/ 19 w 62"/>
                  <a:gd name="T29" fmla="*/ 14 h 28"/>
                  <a:gd name="T30" fmla="*/ 17 w 62"/>
                  <a:gd name="T31" fmla="*/ 19 h 28"/>
                  <a:gd name="T32" fmla="*/ 17 w 62"/>
                  <a:gd name="T33" fmla="*/ 19 h 28"/>
                  <a:gd name="T34" fmla="*/ 21 w 62"/>
                  <a:gd name="T35" fmla="*/ 19 h 28"/>
                  <a:gd name="T36" fmla="*/ 21 w 62"/>
                  <a:gd name="T37" fmla="*/ 19 h 28"/>
                  <a:gd name="T38" fmla="*/ 17 w 62"/>
                  <a:gd name="T39" fmla="*/ 21 h 28"/>
                  <a:gd name="T40" fmla="*/ 17 w 62"/>
                  <a:gd name="T41" fmla="*/ 24 h 28"/>
                  <a:gd name="T42" fmla="*/ 17 w 62"/>
                  <a:gd name="T43" fmla="*/ 24 h 28"/>
                  <a:gd name="T44" fmla="*/ 19 w 62"/>
                  <a:gd name="T45" fmla="*/ 28 h 28"/>
                  <a:gd name="T46" fmla="*/ 26 w 62"/>
                  <a:gd name="T47" fmla="*/ 24 h 28"/>
                  <a:gd name="T48" fmla="*/ 33 w 62"/>
                  <a:gd name="T49" fmla="*/ 21 h 28"/>
                  <a:gd name="T50" fmla="*/ 36 w 62"/>
                  <a:gd name="T51" fmla="*/ 19 h 28"/>
                  <a:gd name="T52" fmla="*/ 40 w 62"/>
                  <a:gd name="T53" fmla="*/ 16 h 28"/>
                  <a:gd name="T54" fmla="*/ 45 w 62"/>
                  <a:gd name="T55" fmla="*/ 16 h 28"/>
                  <a:gd name="T56" fmla="*/ 47 w 62"/>
                  <a:gd name="T57" fmla="*/ 14 h 28"/>
                  <a:gd name="T58" fmla="*/ 52 w 62"/>
                  <a:gd name="T59" fmla="*/ 12 h 28"/>
                  <a:gd name="T60" fmla="*/ 59 w 62"/>
                  <a:gd name="T61" fmla="*/ 9 h 28"/>
                  <a:gd name="T62" fmla="*/ 62 w 62"/>
                  <a:gd name="T63" fmla="*/ 5 h 28"/>
                  <a:gd name="T64" fmla="*/ 31 w 62"/>
                  <a:gd name="T65" fmla="*/ 0 h 28"/>
                  <a:gd name="T66" fmla="*/ 28 w 62"/>
                  <a:gd name="T67" fmla="*/ 2 h 28"/>
                  <a:gd name="T68" fmla="*/ 31 w 62"/>
                  <a:gd name="T6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2" h="28">
                    <a:moveTo>
                      <a:pt x="0" y="24"/>
                    </a:moveTo>
                    <a:lnTo>
                      <a:pt x="0" y="26"/>
                    </a:lnTo>
                    <a:lnTo>
                      <a:pt x="0" y="26"/>
                    </a:lnTo>
                    <a:lnTo>
                      <a:pt x="0" y="26"/>
                    </a:lnTo>
                    <a:lnTo>
                      <a:pt x="2" y="26"/>
                    </a:lnTo>
                    <a:lnTo>
                      <a:pt x="5" y="26"/>
                    </a:lnTo>
                    <a:lnTo>
                      <a:pt x="5" y="26"/>
                    </a:lnTo>
                    <a:lnTo>
                      <a:pt x="5" y="26"/>
                    </a:lnTo>
                    <a:lnTo>
                      <a:pt x="7" y="24"/>
                    </a:lnTo>
                    <a:lnTo>
                      <a:pt x="7" y="24"/>
                    </a:lnTo>
                    <a:lnTo>
                      <a:pt x="7" y="21"/>
                    </a:lnTo>
                    <a:lnTo>
                      <a:pt x="2" y="24"/>
                    </a:lnTo>
                    <a:lnTo>
                      <a:pt x="0" y="24"/>
                    </a:lnTo>
                    <a:close/>
                    <a:moveTo>
                      <a:pt x="62" y="5"/>
                    </a:moveTo>
                    <a:lnTo>
                      <a:pt x="59" y="5"/>
                    </a:lnTo>
                    <a:lnTo>
                      <a:pt x="57" y="5"/>
                    </a:lnTo>
                    <a:lnTo>
                      <a:pt x="57" y="2"/>
                    </a:lnTo>
                    <a:lnTo>
                      <a:pt x="54" y="5"/>
                    </a:lnTo>
                    <a:lnTo>
                      <a:pt x="54" y="5"/>
                    </a:lnTo>
                    <a:lnTo>
                      <a:pt x="52" y="5"/>
                    </a:lnTo>
                    <a:lnTo>
                      <a:pt x="50" y="7"/>
                    </a:lnTo>
                    <a:lnTo>
                      <a:pt x="47" y="7"/>
                    </a:lnTo>
                    <a:lnTo>
                      <a:pt x="40" y="7"/>
                    </a:lnTo>
                    <a:lnTo>
                      <a:pt x="36" y="7"/>
                    </a:lnTo>
                    <a:lnTo>
                      <a:pt x="33" y="7"/>
                    </a:lnTo>
                    <a:lnTo>
                      <a:pt x="26" y="9"/>
                    </a:lnTo>
                    <a:lnTo>
                      <a:pt x="24" y="9"/>
                    </a:lnTo>
                    <a:lnTo>
                      <a:pt x="21" y="9"/>
                    </a:lnTo>
                    <a:lnTo>
                      <a:pt x="21" y="12"/>
                    </a:lnTo>
                    <a:lnTo>
                      <a:pt x="19" y="14"/>
                    </a:lnTo>
                    <a:lnTo>
                      <a:pt x="17" y="16"/>
                    </a:lnTo>
                    <a:lnTo>
                      <a:pt x="17" y="19"/>
                    </a:lnTo>
                    <a:lnTo>
                      <a:pt x="17" y="19"/>
                    </a:lnTo>
                    <a:lnTo>
                      <a:pt x="17" y="19"/>
                    </a:lnTo>
                    <a:lnTo>
                      <a:pt x="19" y="16"/>
                    </a:lnTo>
                    <a:lnTo>
                      <a:pt x="21" y="19"/>
                    </a:lnTo>
                    <a:lnTo>
                      <a:pt x="21" y="19"/>
                    </a:lnTo>
                    <a:lnTo>
                      <a:pt x="21" y="19"/>
                    </a:lnTo>
                    <a:lnTo>
                      <a:pt x="19" y="21"/>
                    </a:lnTo>
                    <a:lnTo>
                      <a:pt x="17" y="21"/>
                    </a:lnTo>
                    <a:lnTo>
                      <a:pt x="17" y="21"/>
                    </a:lnTo>
                    <a:lnTo>
                      <a:pt x="17" y="24"/>
                    </a:lnTo>
                    <a:lnTo>
                      <a:pt x="17" y="24"/>
                    </a:lnTo>
                    <a:lnTo>
                      <a:pt x="17" y="24"/>
                    </a:lnTo>
                    <a:lnTo>
                      <a:pt x="19" y="26"/>
                    </a:lnTo>
                    <a:lnTo>
                      <a:pt x="19" y="28"/>
                    </a:lnTo>
                    <a:lnTo>
                      <a:pt x="21" y="26"/>
                    </a:lnTo>
                    <a:lnTo>
                      <a:pt x="26" y="24"/>
                    </a:lnTo>
                    <a:lnTo>
                      <a:pt x="31" y="21"/>
                    </a:lnTo>
                    <a:lnTo>
                      <a:pt x="33" y="21"/>
                    </a:lnTo>
                    <a:lnTo>
                      <a:pt x="36" y="21"/>
                    </a:lnTo>
                    <a:lnTo>
                      <a:pt x="36" y="19"/>
                    </a:lnTo>
                    <a:lnTo>
                      <a:pt x="38" y="19"/>
                    </a:lnTo>
                    <a:lnTo>
                      <a:pt x="40" y="16"/>
                    </a:lnTo>
                    <a:lnTo>
                      <a:pt x="43" y="16"/>
                    </a:lnTo>
                    <a:lnTo>
                      <a:pt x="45" y="16"/>
                    </a:lnTo>
                    <a:lnTo>
                      <a:pt x="45" y="16"/>
                    </a:lnTo>
                    <a:lnTo>
                      <a:pt x="47" y="14"/>
                    </a:lnTo>
                    <a:lnTo>
                      <a:pt x="50" y="12"/>
                    </a:lnTo>
                    <a:lnTo>
                      <a:pt x="52" y="12"/>
                    </a:lnTo>
                    <a:lnTo>
                      <a:pt x="54" y="12"/>
                    </a:lnTo>
                    <a:lnTo>
                      <a:pt x="59" y="9"/>
                    </a:lnTo>
                    <a:lnTo>
                      <a:pt x="62" y="5"/>
                    </a:lnTo>
                    <a:lnTo>
                      <a:pt x="62" y="5"/>
                    </a:lnTo>
                    <a:close/>
                    <a:moveTo>
                      <a:pt x="31" y="0"/>
                    </a:moveTo>
                    <a:lnTo>
                      <a:pt x="31" y="0"/>
                    </a:lnTo>
                    <a:lnTo>
                      <a:pt x="31" y="0"/>
                    </a:lnTo>
                    <a:lnTo>
                      <a:pt x="28" y="2"/>
                    </a:lnTo>
                    <a:lnTo>
                      <a:pt x="31" y="2"/>
                    </a:lnTo>
                    <a:lnTo>
                      <a:pt x="31" y="0"/>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165"/>
              <p:cNvSpPr>
                <a:spLocks/>
              </p:cNvSpPr>
              <p:nvPr/>
            </p:nvSpPr>
            <p:spPr bwMode="auto">
              <a:xfrm>
                <a:off x="1429" y="2379"/>
                <a:ext cx="68" cy="49"/>
              </a:xfrm>
              <a:custGeom>
                <a:avLst/>
                <a:gdLst>
                  <a:gd name="T0" fmla="*/ 66 w 68"/>
                  <a:gd name="T1" fmla="*/ 26 h 49"/>
                  <a:gd name="T2" fmla="*/ 59 w 68"/>
                  <a:gd name="T3" fmla="*/ 18 h 49"/>
                  <a:gd name="T4" fmla="*/ 54 w 68"/>
                  <a:gd name="T5" fmla="*/ 18 h 49"/>
                  <a:gd name="T6" fmla="*/ 49 w 68"/>
                  <a:gd name="T7" fmla="*/ 18 h 49"/>
                  <a:gd name="T8" fmla="*/ 45 w 68"/>
                  <a:gd name="T9" fmla="*/ 16 h 49"/>
                  <a:gd name="T10" fmla="*/ 45 w 68"/>
                  <a:gd name="T11" fmla="*/ 16 h 49"/>
                  <a:gd name="T12" fmla="*/ 49 w 68"/>
                  <a:gd name="T13" fmla="*/ 16 h 49"/>
                  <a:gd name="T14" fmla="*/ 52 w 68"/>
                  <a:gd name="T15" fmla="*/ 14 h 49"/>
                  <a:gd name="T16" fmla="*/ 42 w 68"/>
                  <a:gd name="T17" fmla="*/ 14 h 49"/>
                  <a:gd name="T18" fmla="*/ 40 w 68"/>
                  <a:gd name="T19" fmla="*/ 9 h 49"/>
                  <a:gd name="T20" fmla="*/ 40 w 68"/>
                  <a:gd name="T21" fmla="*/ 4 h 49"/>
                  <a:gd name="T22" fmla="*/ 38 w 68"/>
                  <a:gd name="T23" fmla="*/ 7 h 49"/>
                  <a:gd name="T24" fmla="*/ 33 w 68"/>
                  <a:gd name="T25" fmla="*/ 4 h 49"/>
                  <a:gd name="T26" fmla="*/ 30 w 68"/>
                  <a:gd name="T27" fmla="*/ 2 h 49"/>
                  <a:gd name="T28" fmla="*/ 28 w 68"/>
                  <a:gd name="T29" fmla="*/ 2 h 49"/>
                  <a:gd name="T30" fmla="*/ 26 w 68"/>
                  <a:gd name="T31" fmla="*/ 0 h 49"/>
                  <a:gd name="T32" fmla="*/ 21 w 68"/>
                  <a:gd name="T33" fmla="*/ 0 h 49"/>
                  <a:gd name="T34" fmla="*/ 16 w 68"/>
                  <a:gd name="T35" fmla="*/ 2 h 49"/>
                  <a:gd name="T36" fmla="*/ 11 w 68"/>
                  <a:gd name="T37" fmla="*/ 0 h 49"/>
                  <a:gd name="T38" fmla="*/ 9 w 68"/>
                  <a:gd name="T39" fmla="*/ 2 h 49"/>
                  <a:gd name="T40" fmla="*/ 7 w 68"/>
                  <a:gd name="T41" fmla="*/ 4 h 49"/>
                  <a:gd name="T42" fmla="*/ 7 w 68"/>
                  <a:gd name="T43" fmla="*/ 4 h 49"/>
                  <a:gd name="T44" fmla="*/ 7 w 68"/>
                  <a:gd name="T45" fmla="*/ 11 h 49"/>
                  <a:gd name="T46" fmla="*/ 7 w 68"/>
                  <a:gd name="T47" fmla="*/ 14 h 49"/>
                  <a:gd name="T48" fmla="*/ 7 w 68"/>
                  <a:gd name="T49" fmla="*/ 16 h 49"/>
                  <a:gd name="T50" fmla="*/ 7 w 68"/>
                  <a:gd name="T51" fmla="*/ 18 h 49"/>
                  <a:gd name="T52" fmla="*/ 4 w 68"/>
                  <a:gd name="T53" fmla="*/ 21 h 49"/>
                  <a:gd name="T54" fmla="*/ 4 w 68"/>
                  <a:gd name="T55" fmla="*/ 23 h 49"/>
                  <a:gd name="T56" fmla="*/ 2 w 68"/>
                  <a:gd name="T57" fmla="*/ 28 h 49"/>
                  <a:gd name="T58" fmla="*/ 0 w 68"/>
                  <a:gd name="T59" fmla="*/ 28 h 49"/>
                  <a:gd name="T60" fmla="*/ 0 w 68"/>
                  <a:gd name="T61" fmla="*/ 30 h 49"/>
                  <a:gd name="T62" fmla="*/ 4 w 68"/>
                  <a:gd name="T63" fmla="*/ 33 h 49"/>
                  <a:gd name="T64" fmla="*/ 2 w 68"/>
                  <a:gd name="T65" fmla="*/ 35 h 49"/>
                  <a:gd name="T66" fmla="*/ 4 w 68"/>
                  <a:gd name="T67" fmla="*/ 40 h 49"/>
                  <a:gd name="T68" fmla="*/ 4 w 68"/>
                  <a:gd name="T69" fmla="*/ 42 h 49"/>
                  <a:gd name="T70" fmla="*/ 4 w 68"/>
                  <a:gd name="T71" fmla="*/ 45 h 49"/>
                  <a:gd name="T72" fmla="*/ 7 w 68"/>
                  <a:gd name="T73" fmla="*/ 47 h 49"/>
                  <a:gd name="T74" fmla="*/ 9 w 68"/>
                  <a:gd name="T75" fmla="*/ 47 h 49"/>
                  <a:gd name="T76" fmla="*/ 11 w 68"/>
                  <a:gd name="T77" fmla="*/ 45 h 49"/>
                  <a:gd name="T78" fmla="*/ 16 w 68"/>
                  <a:gd name="T79" fmla="*/ 37 h 49"/>
                  <a:gd name="T80" fmla="*/ 16 w 68"/>
                  <a:gd name="T81" fmla="*/ 35 h 49"/>
                  <a:gd name="T82" fmla="*/ 19 w 68"/>
                  <a:gd name="T83" fmla="*/ 35 h 49"/>
                  <a:gd name="T84" fmla="*/ 23 w 68"/>
                  <a:gd name="T85" fmla="*/ 33 h 49"/>
                  <a:gd name="T86" fmla="*/ 26 w 68"/>
                  <a:gd name="T87" fmla="*/ 35 h 49"/>
                  <a:gd name="T88" fmla="*/ 33 w 68"/>
                  <a:gd name="T89" fmla="*/ 35 h 49"/>
                  <a:gd name="T90" fmla="*/ 35 w 68"/>
                  <a:gd name="T91" fmla="*/ 33 h 49"/>
                  <a:gd name="T92" fmla="*/ 40 w 68"/>
                  <a:gd name="T93" fmla="*/ 30 h 49"/>
                  <a:gd name="T94" fmla="*/ 45 w 68"/>
                  <a:gd name="T95" fmla="*/ 33 h 49"/>
                  <a:gd name="T96" fmla="*/ 49 w 68"/>
                  <a:gd name="T97" fmla="*/ 30 h 49"/>
                  <a:gd name="T98" fmla="*/ 56 w 68"/>
                  <a:gd name="T99" fmla="*/ 33 h 49"/>
                  <a:gd name="T100" fmla="*/ 59 w 68"/>
                  <a:gd name="T101" fmla="*/ 35 h 49"/>
                  <a:gd name="T102" fmla="*/ 59 w 68"/>
                  <a:gd name="T103" fmla="*/ 35 h 49"/>
                  <a:gd name="T104" fmla="*/ 61 w 68"/>
                  <a:gd name="T105" fmla="*/ 35 h 49"/>
                  <a:gd name="T106" fmla="*/ 64 w 68"/>
                  <a:gd name="T107" fmla="*/ 33 h 49"/>
                  <a:gd name="T108" fmla="*/ 66 w 68"/>
                  <a:gd name="T109" fmla="*/ 30 h 49"/>
                  <a:gd name="T110" fmla="*/ 66 w 68"/>
                  <a:gd name="T111" fmla="*/ 2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8" h="49">
                    <a:moveTo>
                      <a:pt x="66" y="26"/>
                    </a:moveTo>
                    <a:lnTo>
                      <a:pt x="66" y="26"/>
                    </a:lnTo>
                    <a:lnTo>
                      <a:pt x="61" y="21"/>
                    </a:lnTo>
                    <a:lnTo>
                      <a:pt x="59" y="18"/>
                    </a:lnTo>
                    <a:lnTo>
                      <a:pt x="56" y="18"/>
                    </a:lnTo>
                    <a:lnTo>
                      <a:pt x="54" y="18"/>
                    </a:lnTo>
                    <a:lnTo>
                      <a:pt x="52" y="18"/>
                    </a:lnTo>
                    <a:lnTo>
                      <a:pt x="49" y="18"/>
                    </a:lnTo>
                    <a:lnTo>
                      <a:pt x="47" y="16"/>
                    </a:lnTo>
                    <a:lnTo>
                      <a:pt x="45" y="16"/>
                    </a:lnTo>
                    <a:lnTo>
                      <a:pt x="45" y="16"/>
                    </a:lnTo>
                    <a:lnTo>
                      <a:pt x="45" y="16"/>
                    </a:lnTo>
                    <a:lnTo>
                      <a:pt x="47" y="14"/>
                    </a:lnTo>
                    <a:lnTo>
                      <a:pt x="49" y="16"/>
                    </a:lnTo>
                    <a:lnTo>
                      <a:pt x="52" y="14"/>
                    </a:lnTo>
                    <a:lnTo>
                      <a:pt x="52" y="14"/>
                    </a:lnTo>
                    <a:lnTo>
                      <a:pt x="52" y="11"/>
                    </a:lnTo>
                    <a:lnTo>
                      <a:pt x="42" y="14"/>
                    </a:lnTo>
                    <a:lnTo>
                      <a:pt x="42" y="11"/>
                    </a:lnTo>
                    <a:lnTo>
                      <a:pt x="40" y="9"/>
                    </a:lnTo>
                    <a:lnTo>
                      <a:pt x="40" y="7"/>
                    </a:lnTo>
                    <a:lnTo>
                      <a:pt x="40" y="4"/>
                    </a:lnTo>
                    <a:lnTo>
                      <a:pt x="40" y="4"/>
                    </a:lnTo>
                    <a:lnTo>
                      <a:pt x="38" y="7"/>
                    </a:lnTo>
                    <a:lnTo>
                      <a:pt x="35" y="7"/>
                    </a:lnTo>
                    <a:lnTo>
                      <a:pt x="33" y="4"/>
                    </a:lnTo>
                    <a:lnTo>
                      <a:pt x="30" y="4"/>
                    </a:lnTo>
                    <a:lnTo>
                      <a:pt x="30" y="2"/>
                    </a:lnTo>
                    <a:lnTo>
                      <a:pt x="28" y="2"/>
                    </a:lnTo>
                    <a:lnTo>
                      <a:pt x="28" y="2"/>
                    </a:lnTo>
                    <a:lnTo>
                      <a:pt x="26" y="2"/>
                    </a:lnTo>
                    <a:lnTo>
                      <a:pt x="26" y="0"/>
                    </a:lnTo>
                    <a:lnTo>
                      <a:pt x="23" y="0"/>
                    </a:lnTo>
                    <a:lnTo>
                      <a:pt x="21" y="0"/>
                    </a:lnTo>
                    <a:lnTo>
                      <a:pt x="16" y="2"/>
                    </a:lnTo>
                    <a:lnTo>
                      <a:pt x="16" y="2"/>
                    </a:lnTo>
                    <a:lnTo>
                      <a:pt x="14" y="0"/>
                    </a:lnTo>
                    <a:lnTo>
                      <a:pt x="11" y="0"/>
                    </a:lnTo>
                    <a:lnTo>
                      <a:pt x="9" y="2"/>
                    </a:lnTo>
                    <a:lnTo>
                      <a:pt x="9" y="2"/>
                    </a:lnTo>
                    <a:lnTo>
                      <a:pt x="9" y="2"/>
                    </a:lnTo>
                    <a:lnTo>
                      <a:pt x="7" y="4"/>
                    </a:lnTo>
                    <a:lnTo>
                      <a:pt x="7" y="4"/>
                    </a:lnTo>
                    <a:lnTo>
                      <a:pt x="7" y="4"/>
                    </a:lnTo>
                    <a:lnTo>
                      <a:pt x="7" y="9"/>
                    </a:lnTo>
                    <a:lnTo>
                      <a:pt x="7" y="11"/>
                    </a:lnTo>
                    <a:lnTo>
                      <a:pt x="7" y="11"/>
                    </a:lnTo>
                    <a:lnTo>
                      <a:pt x="7" y="14"/>
                    </a:lnTo>
                    <a:lnTo>
                      <a:pt x="7" y="16"/>
                    </a:lnTo>
                    <a:lnTo>
                      <a:pt x="7" y="16"/>
                    </a:lnTo>
                    <a:lnTo>
                      <a:pt x="7" y="16"/>
                    </a:lnTo>
                    <a:lnTo>
                      <a:pt x="7" y="18"/>
                    </a:lnTo>
                    <a:lnTo>
                      <a:pt x="4" y="21"/>
                    </a:lnTo>
                    <a:lnTo>
                      <a:pt x="4" y="21"/>
                    </a:lnTo>
                    <a:lnTo>
                      <a:pt x="4" y="23"/>
                    </a:lnTo>
                    <a:lnTo>
                      <a:pt x="4" y="23"/>
                    </a:lnTo>
                    <a:lnTo>
                      <a:pt x="4" y="26"/>
                    </a:lnTo>
                    <a:lnTo>
                      <a:pt x="2" y="28"/>
                    </a:lnTo>
                    <a:lnTo>
                      <a:pt x="2" y="28"/>
                    </a:lnTo>
                    <a:lnTo>
                      <a:pt x="0" y="28"/>
                    </a:lnTo>
                    <a:lnTo>
                      <a:pt x="0" y="28"/>
                    </a:lnTo>
                    <a:lnTo>
                      <a:pt x="0" y="30"/>
                    </a:lnTo>
                    <a:lnTo>
                      <a:pt x="2" y="33"/>
                    </a:lnTo>
                    <a:lnTo>
                      <a:pt x="4" y="33"/>
                    </a:lnTo>
                    <a:lnTo>
                      <a:pt x="4" y="35"/>
                    </a:lnTo>
                    <a:lnTo>
                      <a:pt x="2" y="35"/>
                    </a:lnTo>
                    <a:lnTo>
                      <a:pt x="2" y="40"/>
                    </a:lnTo>
                    <a:lnTo>
                      <a:pt x="4" y="40"/>
                    </a:lnTo>
                    <a:lnTo>
                      <a:pt x="4" y="42"/>
                    </a:lnTo>
                    <a:lnTo>
                      <a:pt x="4" y="42"/>
                    </a:lnTo>
                    <a:lnTo>
                      <a:pt x="4" y="45"/>
                    </a:lnTo>
                    <a:lnTo>
                      <a:pt x="4" y="45"/>
                    </a:lnTo>
                    <a:lnTo>
                      <a:pt x="7" y="45"/>
                    </a:lnTo>
                    <a:lnTo>
                      <a:pt x="7" y="47"/>
                    </a:lnTo>
                    <a:lnTo>
                      <a:pt x="7" y="49"/>
                    </a:lnTo>
                    <a:lnTo>
                      <a:pt x="9" y="47"/>
                    </a:lnTo>
                    <a:lnTo>
                      <a:pt x="9" y="47"/>
                    </a:lnTo>
                    <a:lnTo>
                      <a:pt x="11" y="45"/>
                    </a:lnTo>
                    <a:lnTo>
                      <a:pt x="14" y="40"/>
                    </a:lnTo>
                    <a:lnTo>
                      <a:pt x="16" y="37"/>
                    </a:lnTo>
                    <a:lnTo>
                      <a:pt x="16" y="35"/>
                    </a:lnTo>
                    <a:lnTo>
                      <a:pt x="16" y="35"/>
                    </a:lnTo>
                    <a:lnTo>
                      <a:pt x="16" y="35"/>
                    </a:lnTo>
                    <a:lnTo>
                      <a:pt x="19" y="35"/>
                    </a:lnTo>
                    <a:lnTo>
                      <a:pt x="21" y="33"/>
                    </a:lnTo>
                    <a:lnTo>
                      <a:pt x="23" y="33"/>
                    </a:lnTo>
                    <a:lnTo>
                      <a:pt x="26" y="35"/>
                    </a:lnTo>
                    <a:lnTo>
                      <a:pt x="26" y="35"/>
                    </a:lnTo>
                    <a:lnTo>
                      <a:pt x="33" y="35"/>
                    </a:lnTo>
                    <a:lnTo>
                      <a:pt x="33" y="35"/>
                    </a:lnTo>
                    <a:lnTo>
                      <a:pt x="35" y="33"/>
                    </a:lnTo>
                    <a:lnTo>
                      <a:pt x="35" y="33"/>
                    </a:lnTo>
                    <a:lnTo>
                      <a:pt x="38" y="33"/>
                    </a:lnTo>
                    <a:lnTo>
                      <a:pt x="40" y="30"/>
                    </a:lnTo>
                    <a:lnTo>
                      <a:pt x="42" y="30"/>
                    </a:lnTo>
                    <a:lnTo>
                      <a:pt x="45" y="33"/>
                    </a:lnTo>
                    <a:lnTo>
                      <a:pt x="47" y="33"/>
                    </a:lnTo>
                    <a:lnTo>
                      <a:pt x="49" y="30"/>
                    </a:lnTo>
                    <a:lnTo>
                      <a:pt x="54" y="33"/>
                    </a:lnTo>
                    <a:lnTo>
                      <a:pt x="56" y="33"/>
                    </a:lnTo>
                    <a:lnTo>
                      <a:pt x="59" y="33"/>
                    </a:lnTo>
                    <a:lnTo>
                      <a:pt x="59" y="35"/>
                    </a:lnTo>
                    <a:lnTo>
                      <a:pt x="59" y="35"/>
                    </a:lnTo>
                    <a:lnTo>
                      <a:pt x="59" y="35"/>
                    </a:lnTo>
                    <a:lnTo>
                      <a:pt x="61" y="35"/>
                    </a:lnTo>
                    <a:lnTo>
                      <a:pt x="61" y="35"/>
                    </a:lnTo>
                    <a:lnTo>
                      <a:pt x="64" y="33"/>
                    </a:lnTo>
                    <a:lnTo>
                      <a:pt x="64" y="33"/>
                    </a:lnTo>
                    <a:lnTo>
                      <a:pt x="64" y="33"/>
                    </a:lnTo>
                    <a:lnTo>
                      <a:pt x="66" y="30"/>
                    </a:lnTo>
                    <a:lnTo>
                      <a:pt x="68" y="28"/>
                    </a:lnTo>
                    <a:lnTo>
                      <a:pt x="66" y="26"/>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166"/>
              <p:cNvSpPr>
                <a:spLocks/>
              </p:cNvSpPr>
              <p:nvPr/>
            </p:nvSpPr>
            <p:spPr bwMode="auto">
              <a:xfrm>
                <a:off x="1616" y="2469"/>
                <a:ext cx="4" cy="9"/>
              </a:xfrm>
              <a:custGeom>
                <a:avLst/>
                <a:gdLst>
                  <a:gd name="T0" fmla="*/ 4 w 4"/>
                  <a:gd name="T1" fmla="*/ 2 h 9"/>
                  <a:gd name="T2" fmla="*/ 2 w 4"/>
                  <a:gd name="T3" fmla="*/ 2 h 9"/>
                  <a:gd name="T4" fmla="*/ 0 w 4"/>
                  <a:gd name="T5" fmla="*/ 0 h 9"/>
                  <a:gd name="T6" fmla="*/ 0 w 4"/>
                  <a:gd name="T7" fmla="*/ 2 h 9"/>
                  <a:gd name="T8" fmla="*/ 0 w 4"/>
                  <a:gd name="T9" fmla="*/ 2 h 9"/>
                  <a:gd name="T10" fmla="*/ 0 w 4"/>
                  <a:gd name="T11" fmla="*/ 7 h 9"/>
                  <a:gd name="T12" fmla="*/ 2 w 4"/>
                  <a:gd name="T13" fmla="*/ 9 h 9"/>
                  <a:gd name="T14" fmla="*/ 2 w 4"/>
                  <a:gd name="T15" fmla="*/ 9 h 9"/>
                  <a:gd name="T16" fmla="*/ 4 w 4"/>
                  <a:gd name="T17" fmla="*/ 7 h 9"/>
                  <a:gd name="T18" fmla="*/ 4 w 4"/>
                  <a:gd name="T19"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9">
                    <a:moveTo>
                      <a:pt x="4" y="2"/>
                    </a:moveTo>
                    <a:lnTo>
                      <a:pt x="2" y="2"/>
                    </a:lnTo>
                    <a:lnTo>
                      <a:pt x="0" y="0"/>
                    </a:lnTo>
                    <a:lnTo>
                      <a:pt x="0" y="2"/>
                    </a:lnTo>
                    <a:lnTo>
                      <a:pt x="0" y="2"/>
                    </a:lnTo>
                    <a:lnTo>
                      <a:pt x="0" y="7"/>
                    </a:lnTo>
                    <a:lnTo>
                      <a:pt x="2" y="9"/>
                    </a:lnTo>
                    <a:lnTo>
                      <a:pt x="2" y="9"/>
                    </a:lnTo>
                    <a:lnTo>
                      <a:pt x="4" y="7"/>
                    </a:lnTo>
                    <a:lnTo>
                      <a:pt x="4" y="2"/>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167"/>
              <p:cNvSpPr>
                <a:spLocks/>
              </p:cNvSpPr>
              <p:nvPr/>
            </p:nvSpPr>
            <p:spPr bwMode="auto">
              <a:xfrm>
                <a:off x="3525" y="2532"/>
                <a:ext cx="30" cy="36"/>
              </a:xfrm>
              <a:custGeom>
                <a:avLst/>
                <a:gdLst>
                  <a:gd name="T0" fmla="*/ 28 w 30"/>
                  <a:gd name="T1" fmla="*/ 8 h 36"/>
                  <a:gd name="T2" fmla="*/ 28 w 30"/>
                  <a:gd name="T3" fmla="*/ 5 h 36"/>
                  <a:gd name="T4" fmla="*/ 23 w 30"/>
                  <a:gd name="T5" fmla="*/ 0 h 36"/>
                  <a:gd name="T6" fmla="*/ 23 w 30"/>
                  <a:gd name="T7" fmla="*/ 0 h 36"/>
                  <a:gd name="T8" fmla="*/ 21 w 30"/>
                  <a:gd name="T9" fmla="*/ 0 h 36"/>
                  <a:gd name="T10" fmla="*/ 18 w 30"/>
                  <a:gd name="T11" fmla="*/ 0 h 36"/>
                  <a:gd name="T12" fmla="*/ 18 w 30"/>
                  <a:gd name="T13" fmla="*/ 0 h 36"/>
                  <a:gd name="T14" fmla="*/ 18 w 30"/>
                  <a:gd name="T15" fmla="*/ 3 h 36"/>
                  <a:gd name="T16" fmla="*/ 18 w 30"/>
                  <a:gd name="T17" fmla="*/ 5 h 36"/>
                  <a:gd name="T18" fmla="*/ 16 w 30"/>
                  <a:gd name="T19" fmla="*/ 5 h 36"/>
                  <a:gd name="T20" fmla="*/ 16 w 30"/>
                  <a:gd name="T21" fmla="*/ 8 h 36"/>
                  <a:gd name="T22" fmla="*/ 11 w 30"/>
                  <a:gd name="T23" fmla="*/ 3 h 36"/>
                  <a:gd name="T24" fmla="*/ 11 w 30"/>
                  <a:gd name="T25" fmla="*/ 3 h 36"/>
                  <a:gd name="T26" fmla="*/ 11 w 30"/>
                  <a:gd name="T27" fmla="*/ 3 h 36"/>
                  <a:gd name="T28" fmla="*/ 11 w 30"/>
                  <a:gd name="T29" fmla="*/ 5 h 36"/>
                  <a:gd name="T30" fmla="*/ 9 w 30"/>
                  <a:gd name="T31" fmla="*/ 8 h 36"/>
                  <a:gd name="T32" fmla="*/ 7 w 30"/>
                  <a:gd name="T33" fmla="*/ 12 h 36"/>
                  <a:gd name="T34" fmla="*/ 4 w 30"/>
                  <a:gd name="T35" fmla="*/ 17 h 36"/>
                  <a:gd name="T36" fmla="*/ 2 w 30"/>
                  <a:gd name="T37" fmla="*/ 17 h 36"/>
                  <a:gd name="T38" fmla="*/ 0 w 30"/>
                  <a:gd name="T39" fmla="*/ 19 h 36"/>
                  <a:gd name="T40" fmla="*/ 0 w 30"/>
                  <a:gd name="T41" fmla="*/ 22 h 36"/>
                  <a:gd name="T42" fmla="*/ 0 w 30"/>
                  <a:gd name="T43" fmla="*/ 24 h 36"/>
                  <a:gd name="T44" fmla="*/ 0 w 30"/>
                  <a:gd name="T45" fmla="*/ 27 h 36"/>
                  <a:gd name="T46" fmla="*/ 0 w 30"/>
                  <a:gd name="T47" fmla="*/ 31 h 36"/>
                  <a:gd name="T48" fmla="*/ 0 w 30"/>
                  <a:gd name="T49" fmla="*/ 36 h 36"/>
                  <a:gd name="T50" fmla="*/ 2 w 30"/>
                  <a:gd name="T51" fmla="*/ 36 h 36"/>
                  <a:gd name="T52" fmla="*/ 4 w 30"/>
                  <a:gd name="T53" fmla="*/ 36 h 36"/>
                  <a:gd name="T54" fmla="*/ 4 w 30"/>
                  <a:gd name="T55" fmla="*/ 36 h 36"/>
                  <a:gd name="T56" fmla="*/ 7 w 30"/>
                  <a:gd name="T57" fmla="*/ 36 h 36"/>
                  <a:gd name="T58" fmla="*/ 9 w 30"/>
                  <a:gd name="T59" fmla="*/ 36 h 36"/>
                  <a:gd name="T60" fmla="*/ 14 w 30"/>
                  <a:gd name="T61" fmla="*/ 34 h 36"/>
                  <a:gd name="T62" fmla="*/ 14 w 30"/>
                  <a:gd name="T63" fmla="*/ 34 h 36"/>
                  <a:gd name="T64" fmla="*/ 16 w 30"/>
                  <a:gd name="T65" fmla="*/ 34 h 36"/>
                  <a:gd name="T66" fmla="*/ 18 w 30"/>
                  <a:gd name="T67" fmla="*/ 34 h 36"/>
                  <a:gd name="T68" fmla="*/ 18 w 30"/>
                  <a:gd name="T69" fmla="*/ 36 h 36"/>
                  <a:gd name="T70" fmla="*/ 21 w 30"/>
                  <a:gd name="T71" fmla="*/ 36 h 36"/>
                  <a:gd name="T72" fmla="*/ 21 w 30"/>
                  <a:gd name="T73" fmla="*/ 36 h 36"/>
                  <a:gd name="T74" fmla="*/ 23 w 30"/>
                  <a:gd name="T75" fmla="*/ 31 h 36"/>
                  <a:gd name="T76" fmla="*/ 26 w 30"/>
                  <a:gd name="T77" fmla="*/ 29 h 36"/>
                  <a:gd name="T78" fmla="*/ 28 w 30"/>
                  <a:gd name="T79" fmla="*/ 24 h 36"/>
                  <a:gd name="T80" fmla="*/ 26 w 30"/>
                  <a:gd name="T81" fmla="*/ 24 h 36"/>
                  <a:gd name="T82" fmla="*/ 23 w 30"/>
                  <a:gd name="T83" fmla="*/ 24 h 36"/>
                  <a:gd name="T84" fmla="*/ 21 w 30"/>
                  <a:gd name="T85" fmla="*/ 24 h 36"/>
                  <a:gd name="T86" fmla="*/ 18 w 30"/>
                  <a:gd name="T87" fmla="*/ 24 h 36"/>
                  <a:gd name="T88" fmla="*/ 16 w 30"/>
                  <a:gd name="T89" fmla="*/ 24 h 36"/>
                  <a:gd name="T90" fmla="*/ 14 w 30"/>
                  <a:gd name="T91" fmla="*/ 24 h 36"/>
                  <a:gd name="T92" fmla="*/ 14 w 30"/>
                  <a:gd name="T93" fmla="*/ 24 h 36"/>
                  <a:gd name="T94" fmla="*/ 14 w 30"/>
                  <a:gd name="T95" fmla="*/ 24 h 36"/>
                  <a:gd name="T96" fmla="*/ 16 w 30"/>
                  <a:gd name="T97" fmla="*/ 24 h 36"/>
                  <a:gd name="T98" fmla="*/ 18 w 30"/>
                  <a:gd name="T99" fmla="*/ 19 h 36"/>
                  <a:gd name="T100" fmla="*/ 23 w 30"/>
                  <a:gd name="T101" fmla="*/ 17 h 36"/>
                  <a:gd name="T102" fmla="*/ 28 w 30"/>
                  <a:gd name="T103" fmla="*/ 15 h 36"/>
                  <a:gd name="T104" fmla="*/ 28 w 30"/>
                  <a:gd name="T105" fmla="*/ 15 h 36"/>
                  <a:gd name="T106" fmla="*/ 28 w 30"/>
                  <a:gd name="T107" fmla="*/ 12 h 36"/>
                  <a:gd name="T108" fmla="*/ 30 w 30"/>
                  <a:gd name="T109" fmla="*/ 10 h 36"/>
                  <a:gd name="T110" fmla="*/ 28 w 30"/>
                  <a:gd name="T111" fmla="*/ 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 h="36">
                    <a:moveTo>
                      <a:pt x="28" y="8"/>
                    </a:moveTo>
                    <a:lnTo>
                      <a:pt x="28" y="5"/>
                    </a:lnTo>
                    <a:lnTo>
                      <a:pt x="23" y="0"/>
                    </a:lnTo>
                    <a:lnTo>
                      <a:pt x="23" y="0"/>
                    </a:lnTo>
                    <a:lnTo>
                      <a:pt x="21" y="0"/>
                    </a:lnTo>
                    <a:lnTo>
                      <a:pt x="18" y="0"/>
                    </a:lnTo>
                    <a:lnTo>
                      <a:pt x="18" y="0"/>
                    </a:lnTo>
                    <a:lnTo>
                      <a:pt x="18" y="3"/>
                    </a:lnTo>
                    <a:lnTo>
                      <a:pt x="18" y="5"/>
                    </a:lnTo>
                    <a:lnTo>
                      <a:pt x="16" y="5"/>
                    </a:lnTo>
                    <a:lnTo>
                      <a:pt x="16" y="8"/>
                    </a:lnTo>
                    <a:lnTo>
                      <a:pt x="11" y="3"/>
                    </a:lnTo>
                    <a:lnTo>
                      <a:pt x="11" y="3"/>
                    </a:lnTo>
                    <a:lnTo>
                      <a:pt x="11" y="3"/>
                    </a:lnTo>
                    <a:lnTo>
                      <a:pt x="11" y="5"/>
                    </a:lnTo>
                    <a:lnTo>
                      <a:pt x="9" y="8"/>
                    </a:lnTo>
                    <a:lnTo>
                      <a:pt x="7" y="12"/>
                    </a:lnTo>
                    <a:lnTo>
                      <a:pt x="4" y="17"/>
                    </a:lnTo>
                    <a:lnTo>
                      <a:pt x="2" y="17"/>
                    </a:lnTo>
                    <a:lnTo>
                      <a:pt x="0" y="19"/>
                    </a:lnTo>
                    <a:lnTo>
                      <a:pt x="0" y="22"/>
                    </a:lnTo>
                    <a:lnTo>
                      <a:pt x="0" y="24"/>
                    </a:lnTo>
                    <a:lnTo>
                      <a:pt x="0" y="27"/>
                    </a:lnTo>
                    <a:lnTo>
                      <a:pt x="0" y="31"/>
                    </a:lnTo>
                    <a:lnTo>
                      <a:pt x="0" y="36"/>
                    </a:lnTo>
                    <a:lnTo>
                      <a:pt x="2" y="36"/>
                    </a:lnTo>
                    <a:lnTo>
                      <a:pt x="4" y="36"/>
                    </a:lnTo>
                    <a:lnTo>
                      <a:pt x="4" y="36"/>
                    </a:lnTo>
                    <a:lnTo>
                      <a:pt x="7" y="36"/>
                    </a:lnTo>
                    <a:lnTo>
                      <a:pt x="9" y="36"/>
                    </a:lnTo>
                    <a:lnTo>
                      <a:pt x="14" y="34"/>
                    </a:lnTo>
                    <a:lnTo>
                      <a:pt x="14" y="34"/>
                    </a:lnTo>
                    <a:lnTo>
                      <a:pt x="16" y="34"/>
                    </a:lnTo>
                    <a:lnTo>
                      <a:pt x="18" y="34"/>
                    </a:lnTo>
                    <a:lnTo>
                      <a:pt x="18" y="36"/>
                    </a:lnTo>
                    <a:lnTo>
                      <a:pt x="21" y="36"/>
                    </a:lnTo>
                    <a:lnTo>
                      <a:pt x="21" y="36"/>
                    </a:lnTo>
                    <a:lnTo>
                      <a:pt x="23" y="31"/>
                    </a:lnTo>
                    <a:lnTo>
                      <a:pt x="26" y="29"/>
                    </a:lnTo>
                    <a:lnTo>
                      <a:pt x="28" y="24"/>
                    </a:lnTo>
                    <a:lnTo>
                      <a:pt x="26" y="24"/>
                    </a:lnTo>
                    <a:lnTo>
                      <a:pt x="23" y="24"/>
                    </a:lnTo>
                    <a:lnTo>
                      <a:pt x="21" y="24"/>
                    </a:lnTo>
                    <a:lnTo>
                      <a:pt x="18" y="24"/>
                    </a:lnTo>
                    <a:lnTo>
                      <a:pt x="16" y="24"/>
                    </a:lnTo>
                    <a:lnTo>
                      <a:pt x="14" y="24"/>
                    </a:lnTo>
                    <a:lnTo>
                      <a:pt x="14" y="24"/>
                    </a:lnTo>
                    <a:lnTo>
                      <a:pt x="14" y="24"/>
                    </a:lnTo>
                    <a:lnTo>
                      <a:pt x="16" y="24"/>
                    </a:lnTo>
                    <a:lnTo>
                      <a:pt x="18" y="19"/>
                    </a:lnTo>
                    <a:lnTo>
                      <a:pt x="23" y="17"/>
                    </a:lnTo>
                    <a:lnTo>
                      <a:pt x="28" y="15"/>
                    </a:lnTo>
                    <a:lnTo>
                      <a:pt x="28" y="15"/>
                    </a:lnTo>
                    <a:lnTo>
                      <a:pt x="28" y="12"/>
                    </a:lnTo>
                    <a:lnTo>
                      <a:pt x="30" y="10"/>
                    </a:lnTo>
                    <a:lnTo>
                      <a:pt x="28" y="8"/>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168"/>
              <p:cNvSpPr>
                <a:spLocks noEditPoints="1"/>
              </p:cNvSpPr>
              <p:nvPr/>
            </p:nvSpPr>
            <p:spPr bwMode="auto">
              <a:xfrm>
                <a:off x="2909" y="1592"/>
                <a:ext cx="109" cy="62"/>
              </a:xfrm>
              <a:custGeom>
                <a:avLst/>
                <a:gdLst>
                  <a:gd name="T0" fmla="*/ 48 w 109"/>
                  <a:gd name="T1" fmla="*/ 55 h 62"/>
                  <a:gd name="T2" fmla="*/ 55 w 109"/>
                  <a:gd name="T3" fmla="*/ 60 h 62"/>
                  <a:gd name="T4" fmla="*/ 34 w 109"/>
                  <a:gd name="T5" fmla="*/ 55 h 62"/>
                  <a:gd name="T6" fmla="*/ 36 w 109"/>
                  <a:gd name="T7" fmla="*/ 57 h 62"/>
                  <a:gd name="T8" fmla="*/ 67 w 109"/>
                  <a:gd name="T9" fmla="*/ 53 h 62"/>
                  <a:gd name="T10" fmla="*/ 64 w 109"/>
                  <a:gd name="T11" fmla="*/ 55 h 62"/>
                  <a:gd name="T12" fmla="*/ 67 w 109"/>
                  <a:gd name="T13" fmla="*/ 55 h 62"/>
                  <a:gd name="T14" fmla="*/ 29 w 109"/>
                  <a:gd name="T15" fmla="*/ 55 h 62"/>
                  <a:gd name="T16" fmla="*/ 27 w 109"/>
                  <a:gd name="T17" fmla="*/ 57 h 62"/>
                  <a:gd name="T18" fmla="*/ 43 w 109"/>
                  <a:gd name="T19" fmla="*/ 53 h 62"/>
                  <a:gd name="T20" fmla="*/ 41 w 109"/>
                  <a:gd name="T21" fmla="*/ 60 h 62"/>
                  <a:gd name="T22" fmla="*/ 43 w 109"/>
                  <a:gd name="T23" fmla="*/ 50 h 62"/>
                  <a:gd name="T24" fmla="*/ 102 w 109"/>
                  <a:gd name="T25" fmla="*/ 53 h 62"/>
                  <a:gd name="T26" fmla="*/ 109 w 109"/>
                  <a:gd name="T27" fmla="*/ 50 h 62"/>
                  <a:gd name="T28" fmla="*/ 36 w 109"/>
                  <a:gd name="T29" fmla="*/ 43 h 62"/>
                  <a:gd name="T30" fmla="*/ 27 w 109"/>
                  <a:gd name="T31" fmla="*/ 43 h 62"/>
                  <a:gd name="T32" fmla="*/ 34 w 109"/>
                  <a:gd name="T33" fmla="*/ 53 h 62"/>
                  <a:gd name="T34" fmla="*/ 41 w 109"/>
                  <a:gd name="T35" fmla="*/ 48 h 62"/>
                  <a:gd name="T36" fmla="*/ 69 w 109"/>
                  <a:gd name="T37" fmla="*/ 41 h 62"/>
                  <a:gd name="T38" fmla="*/ 71 w 109"/>
                  <a:gd name="T39" fmla="*/ 41 h 62"/>
                  <a:gd name="T40" fmla="*/ 38 w 109"/>
                  <a:gd name="T41" fmla="*/ 38 h 62"/>
                  <a:gd name="T42" fmla="*/ 38 w 109"/>
                  <a:gd name="T43" fmla="*/ 36 h 62"/>
                  <a:gd name="T44" fmla="*/ 67 w 109"/>
                  <a:gd name="T45" fmla="*/ 45 h 62"/>
                  <a:gd name="T46" fmla="*/ 67 w 109"/>
                  <a:gd name="T47" fmla="*/ 41 h 62"/>
                  <a:gd name="T48" fmla="*/ 69 w 109"/>
                  <a:gd name="T49" fmla="*/ 36 h 62"/>
                  <a:gd name="T50" fmla="*/ 67 w 109"/>
                  <a:gd name="T51" fmla="*/ 31 h 62"/>
                  <a:gd name="T52" fmla="*/ 60 w 109"/>
                  <a:gd name="T53" fmla="*/ 36 h 62"/>
                  <a:gd name="T54" fmla="*/ 57 w 109"/>
                  <a:gd name="T55" fmla="*/ 41 h 62"/>
                  <a:gd name="T56" fmla="*/ 55 w 109"/>
                  <a:gd name="T57" fmla="*/ 36 h 62"/>
                  <a:gd name="T58" fmla="*/ 50 w 109"/>
                  <a:gd name="T59" fmla="*/ 38 h 62"/>
                  <a:gd name="T60" fmla="*/ 45 w 109"/>
                  <a:gd name="T61" fmla="*/ 41 h 62"/>
                  <a:gd name="T62" fmla="*/ 48 w 109"/>
                  <a:gd name="T63" fmla="*/ 48 h 62"/>
                  <a:gd name="T64" fmla="*/ 55 w 109"/>
                  <a:gd name="T65" fmla="*/ 50 h 62"/>
                  <a:gd name="T66" fmla="*/ 57 w 109"/>
                  <a:gd name="T67" fmla="*/ 60 h 62"/>
                  <a:gd name="T68" fmla="*/ 62 w 109"/>
                  <a:gd name="T69" fmla="*/ 50 h 62"/>
                  <a:gd name="T70" fmla="*/ 45 w 109"/>
                  <a:gd name="T71" fmla="*/ 8 h 62"/>
                  <a:gd name="T72" fmla="*/ 24 w 109"/>
                  <a:gd name="T73" fmla="*/ 55 h 62"/>
                  <a:gd name="T74" fmla="*/ 22 w 109"/>
                  <a:gd name="T75" fmla="*/ 53 h 62"/>
                  <a:gd name="T76" fmla="*/ 22 w 109"/>
                  <a:gd name="T77" fmla="*/ 43 h 62"/>
                  <a:gd name="T78" fmla="*/ 29 w 109"/>
                  <a:gd name="T79" fmla="*/ 38 h 62"/>
                  <a:gd name="T80" fmla="*/ 31 w 109"/>
                  <a:gd name="T81" fmla="*/ 36 h 62"/>
                  <a:gd name="T82" fmla="*/ 36 w 109"/>
                  <a:gd name="T83" fmla="*/ 29 h 62"/>
                  <a:gd name="T84" fmla="*/ 43 w 109"/>
                  <a:gd name="T85" fmla="*/ 29 h 62"/>
                  <a:gd name="T86" fmla="*/ 36 w 109"/>
                  <a:gd name="T87" fmla="*/ 24 h 62"/>
                  <a:gd name="T88" fmla="*/ 34 w 109"/>
                  <a:gd name="T89" fmla="*/ 15 h 62"/>
                  <a:gd name="T90" fmla="*/ 38 w 109"/>
                  <a:gd name="T91" fmla="*/ 5 h 62"/>
                  <a:gd name="T92" fmla="*/ 38 w 109"/>
                  <a:gd name="T93" fmla="*/ 0 h 62"/>
                  <a:gd name="T94" fmla="*/ 22 w 109"/>
                  <a:gd name="T95" fmla="*/ 10 h 62"/>
                  <a:gd name="T96" fmla="*/ 8 w 109"/>
                  <a:gd name="T97" fmla="*/ 12 h 62"/>
                  <a:gd name="T98" fmla="*/ 3 w 109"/>
                  <a:gd name="T99" fmla="*/ 19 h 62"/>
                  <a:gd name="T100" fmla="*/ 15 w 109"/>
                  <a:gd name="T101" fmla="*/ 15 h 62"/>
                  <a:gd name="T102" fmla="*/ 17 w 109"/>
                  <a:gd name="T103" fmla="*/ 19 h 62"/>
                  <a:gd name="T104" fmla="*/ 10 w 109"/>
                  <a:gd name="T105" fmla="*/ 24 h 62"/>
                  <a:gd name="T106" fmla="*/ 3 w 109"/>
                  <a:gd name="T107" fmla="*/ 22 h 62"/>
                  <a:gd name="T108" fmla="*/ 0 w 109"/>
                  <a:gd name="T109" fmla="*/ 34 h 62"/>
                  <a:gd name="T110" fmla="*/ 8 w 109"/>
                  <a:gd name="T111" fmla="*/ 48 h 62"/>
                  <a:gd name="T112" fmla="*/ 8 w 109"/>
                  <a:gd name="T113" fmla="*/ 55 h 62"/>
                  <a:gd name="T114" fmla="*/ 17 w 109"/>
                  <a:gd name="T115" fmla="*/ 57 h 62"/>
                  <a:gd name="T116" fmla="*/ 24 w 109"/>
                  <a:gd name="T117" fmla="*/ 57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9" h="62">
                    <a:moveTo>
                      <a:pt x="57" y="57"/>
                    </a:moveTo>
                    <a:lnTo>
                      <a:pt x="55" y="57"/>
                    </a:lnTo>
                    <a:lnTo>
                      <a:pt x="53" y="57"/>
                    </a:lnTo>
                    <a:lnTo>
                      <a:pt x="50" y="57"/>
                    </a:lnTo>
                    <a:lnTo>
                      <a:pt x="48" y="55"/>
                    </a:lnTo>
                    <a:lnTo>
                      <a:pt x="45" y="55"/>
                    </a:lnTo>
                    <a:lnTo>
                      <a:pt x="45" y="57"/>
                    </a:lnTo>
                    <a:lnTo>
                      <a:pt x="45" y="60"/>
                    </a:lnTo>
                    <a:lnTo>
                      <a:pt x="53" y="62"/>
                    </a:lnTo>
                    <a:lnTo>
                      <a:pt x="55" y="60"/>
                    </a:lnTo>
                    <a:lnTo>
                      <a:pt x="55" y="62"/>
                    </a:lnTo>
                    <a:lnTo>
                      <a:pt x="57" y="60"/>
                    </a:lnTo>
                    <a:lnTo>
                      <a:pt x="57" y="60"/>
                    </a:lnTo>
                    <a:lnTo>
                      <a:pt x="57" y="57"/>
                    </a:lnTo>
                    <a:close/>
                    <a:moveTo>
                      <a:pt x="34" y="55"/>
                    </a:moveTo>
                    <a:lnTo>
                      <a:pt x="34" y="55"/>
                    </a:lnTo>
                    <a:lnTo>
                      <a:pt x="31" y="55"/>
                    </a:lnTo>
                    <a:lnTo>
                      <a:pt x="34" y="55"/>
                    </a:lnTo>
                    <a:lnTo>
                      <a:pt x="34" y="57"/>
                    </a:lnTo>
                    <a:lnTo>
                      <a:pt x="36" y="57"/>
                    </a:lnTo>
                    <a:lnTo>
                      <a:pt x="36" y="57"/>
                    </a:lnTo>
                    <a:lnTo>
                      <a:pt x="36" y="57"/>
                    </a:lnTo>
                    <a:lnTo>
                      <a:pt x="36" y="57"/>
                    </a:lnTo>
                    <a:lnTo>
                      <a:pt x="34" y="55"/>
                    </a:lnTo>
                    <a:close/>
                    <a:moveTo>
                      <a:pt x="67" y="53"/>
                    </a:moveTo>
                    <a:lnTo>
                      <a:pt x="67" y="53"/>
                    </a:lnTo>
                    <a:lnTo>
                      <a:pt x="64" y="53"/>
                    </a:lnTo>
                    <a:lnTo>
                      <a:pt x="64" y="53"/>
                    </a:lnTo>
                    <a:lnTo>
                      <a:pt x="64" y="53"/>
                    </a:lnTo>
                    <a:lnTo>
                      <a:pt x="64" y="55"/>
                    </a:lnTo>
                    <a:lnTo>
                      <a:pt x="62" y="55"/>
                    </a:lnTo>
                    <a:lnTo>
                      <a:pt x="62" y="55"/>
                    </a:lnTo>
                    <a:lnTo>
                      <a:pt x="62" y="55"/>
                    </a:lnTo>
                    <a:lnTo>
                      <a:pt x="64" y="57"/>
                    </a:lnTo>
                    <a:lnTo>
                      <a:pt x="67" y="55"/>
                    </a:lnTo>
                    <a:lnTo>
                      <a:pt x="69" y="55"/>
                    </a:lnTo>
                    <a:lnTo>
                      <a:pt x="69" y="55"/>
                    </a:lnTo>
                    <a:lnTo>
                      <a:pt x="69" y="55"/>
                    </a:lnTo>
                    <a:lnTo>
                      <a:pt x="67" y="53"/>
                    </a:lnTo>
                    <a:close/>
                    <a:moveTo>
                      <a:pt x="29" y="55"/>
                    </a:moveTo>
                    <a:lnTo>
                      <a:pt x="27" y="53"/>
                    </a:lnTo>
                    <a:lnTo>
                      <a:pt x="27" y="53"/>
                    </a:lnTo>
                    <a:lnTo>
                      <a:pt x="27" y="53"/>
                    </a:lnTo>
                    <a:lnTo>
                      <a:pt x="27" y="55"/>
                    </a:lnTo>
                    <a:lnTo>
                      <a:pt x="27" y="57"/>
                    </a:lnTo>
                    <a:lnTo>
                      <a:pt x="29" y="57"/>
                    </a:lnTo>
                    <a:lnTo>
                      <a:pt x="31" y="57"/>
                    </a:lnTo>
                    <a:lnTo>
                      <a:pt x="31" y="55"/>
                    </a:lnTo>
                    <a:lnTo>
                      <a:pt x="29" y="55"/>
                    </a:lnTo>
                    <a:close/>
                    <a:moveTo>
                      <a:pt x="43" y="53"/>
                    </a:moveTo>
                    <a:lnTo>
                      <a:pt x="41" y="55"/>
                    </a:lnTo>
                    <a:lnTo>
                      <a:pt x="41" y="55"/>
                    </a:lnTo>
                    <a:lnTo>
                      <a:pt x="38" y="57"/>
                    </a:lnTo>
                    <a:lnTo>
                      <a:pt x="38" y="57"/>
                    </a:lnTo>
                    <a:lnTo>
                      <a:pt x="41" y="60"/>
                    </a:lnTo>
                    <a:lnTo>
                      <a:pt x="41" y="60"/>
                    </a:lnTo>
                    <a:lnTo>
                      <a:pt x="41" y="57"/>
                    </a:lnTo>
                    <a:lnTo>
                      <a:pt x="43" y="53"/>
                    </a:lnTo>
                    <a:lnTo>
                      <a:pt x="43" y="50"/>
                    </a:lnTo>
                    <a:lnTo>
                      <a:pt x="43" y="50"/>
                    </a:lnTo>
                    <a:lnTo>
                      <a:pt x="43" y="53"/>
                    </a:lnTo>
                    <a:close/>
                    <a:moveTo>
                      <a:pt x="109" y="50"/>
                    </a:moveTo>
                    <a:lnTo>
                      <a:pt x="102" y="48"/>
                    </a:lnTo>
                    <a:lnTo>
                      <a:pt x="102" y="50"/>
                    </a:lnTo>
                    <a:lnTo>
                      <a:pt x="102" y="53"/>
                    </a:lnTo>
                    <a:lnTo>
                      <a:pt x="105" y="53"/>
                    </a:lnTo>
                    <a:lnTo>
                      <a:pt x="107" y="55"/>
                    </a:lnTo>
                    <a:lnTo>
                      <a:pt x="109" y="53"/>
                    </a:lnTo>
                    <a:lnTo>
                      <a:pt x="109" y="53"/>
                    </a:lnTo>
                    <a:lnTo>
                      <a:pt x="109" y="50"/>
                    </a:lnTo>
                    <a:close/>
                    <a:moveTo>
                      <a:pt x="41" y="45"/>
                    </a:moveTo>
                    <a:lnTo>
                      <a:pt x="41" y="43"/>
                    </a:lnTo>
                    <a:lnTo>
                      <a:pt x="38" y="43"/>
                    </a:lnTo>
                    <a:lnTo>
                      <a:pt x="38" y="41"/>
                    </a:lnTo>
                    <a:lnTo>
                      <a:pt x="36" y="43"/>
                    </a:lnTo>
                    <a:lnTo>
                      <a:pt x="36" y="43"/>
                    </a:lnTo>
                    <a:lnTo>
                      <a:pt x="34" y="43"/>
                    </a:lnTo>
                    <a:lnTo>
                      <a:pt x="34" y="43"/>
                    </a:lnTo>
                    <a:lnTo>
                      <a:pt x="29" y="43"/>
                    </a:lnTo>
                    <a:lnTo>
                      <a:pt x="27" y="43"/>
                    </a:lnTo>
                    <a:lnTo>
                      <a:pt x="27" y="48"/>
                    </a:lnTo>
                    <a:lnTo>
                      <a:pt x="29" y="50"/>
                    </a:lnTo>
                    <a:lnTo>
                      <a:pt x="29" y="50"/>
                    </a:lnTo>
                    <a:lnTo>
                      <a:pt x="29" y="50"/>
                    </a:lnTo>
                    <a:lnTo>
                      <a:pt x="34" y="53"/>
                    </a:lnTo>
                    <a:lnTo>
                      <a:pt x="36" y="53"/>
                    </a:lnTo>
                    <a:lnTo>
                      <a:pt x="38" y="53"/>
                    </a:lnTo>
                    <a:lnTo>
                      <a:pt x="41" y="53"/>
                    </a:lnTo>
                    <a:lnTo>
                      <a:pt x="41" y="50"/>
                    </a:lnTo>
                    <a:lnTo>
                      <a:pt x="41" y="48"/>
                    </a:lnTo>
                    <a:lnTo>
                      <a:pt x="43" y="48"/>
                    </a:lnTo>
                    <a:lnTo>
                      <a:pt x="41" y="45"/>
                    </a:lnTo>
                    <a:close/>
                    <a:moveTo>
                      <a:pt x="69" y="41"/>
                    </a:moveTo>
                    <a:lnTo>
                      <a:pt x="69" y="41"/>
                    </a:lnTo>
                    <a:lnTo>
                      <a:pt x="69" y="41"/>
                    </a:lnTo>
                    <a:lnTo>
                      <a:pt x="69" y="41"/>
                    </a:lnTo>
                    <a:lnTo>
                      <a:pt x="69" y="43"/>
                    </a:lnTo>
                    <a:lnTo>
                      <a:pt x="69" y="43"/>
                    </a:lnTo>
                    <a:lnTo>
                      <a:pt x="71" y="43"/>
                    </a:lnTo>
                    <a:lnTo>
                      <a:pt x="71" y="41"/>
                    </a:lnTo>
                    <a:lnTo>
                      <a:pt x="69" y="41"/>
                    </a:lnTo>
                    <a:close/>
                    <a:moveTo>
                      <a:pt x="38" y="38"/>
                    </a:moveTo>
                    <a:lnTo>
                      <a:pt x="38" y="38"/>
                    </a:lnTo>
                    <a:lnTo>
                      <a:pt x="38" y="38"/>
                    </a:lnTo>
                    <a:lnTo>
                      <a:pt x="38" y="38"/>
                    </a:lnTo>
                    <a:lnTo>
                      <a:pt x="41" y="36"/>
                    </a:lnTo>
                    <a:lnTo>
                      <a:pt x="38" y="36"/>
                    </a:lnTo>
                    <a:lnTo>
                      <a:pt x="38" y="34"/>
                    </a:lnTo>
                    <a:lnTo>
                      <a:pt x="38" y="36"/>
                    </a:lnTo>
                    <a:lnTo>
                      <a:pt x="38" y="36"/>
                    </a:lnTo>
                    <a:lnTo>
                      <a:pt x="38" y="38"/>
                    </a:lnTo>
                    <a:lnTo>
                      <a:pt x="38" y="38"/>
                    </a:lnTo>
                    <a:close/>
                    <a:moveTo>
                      <a:pt x="64" y="50"/>
                    </a:moveTo>
                    <a:lnTo>
                      <a:pt x="67" y="48"/>
                    </a:lnTo>
                    <a:lnTo>
                      <a:pt x="67" y="45"/>
                    </a:lnTo>
                    <a:lnTo>
                      <a:pt x="64" y="45"/>
                    </a:lnTo>
                    <a:lnTo>
                      <a:pt x="64" y="45"/>
                    </a:lnTo>
                    <a:lnTo>
                      <a:pt x="64" y="43"/>
                    </a:lnTo>
                    <a:lnTo>
                      <a:pt x="64" y="43"/>
                    </a:lnTo>
                    <a:lnTo>
                      <a:pt x="67" y="41"/>
                    </a:lnTo>
                    <a:lnTo>
                      <a:pt x="69" y="41"/>
                    </a:lnTo>
                    <a:lnTo>
                      <a:pt x="69" y="41"/>
                    </a:lnTo>
                    <a:lnTo>
                      <a:pt x="69" y="41"/>
                    </a:lnTo>
                    <a:lnTo>
                      <a:pt x="69" y="38"/>
                    </a:lnTo>
                    <a:lnTo>
                      <a:pt x="69" y="36"/>
                    </a:lnTo>
                    <a:lnTo>
                      <a:pt x="69" y="36"/>
                    </a:lnTo>
                    <a:lnTo>
                      <a:pt x="69" y="34"/>
                    </a:lnTo>
                    <a:lnTo>
                      <a:pt x="69" y="34"/>
                    </a:lnTo>
                    <a:lnTo>
                      <a:pt x="69" y="34"/>
                    </a:lnTo>
                    <a:lnTo>
                      <a:pt x="67" y="31"/>
                    </a:lnTo>
                    <a:lnTo>
                      <a:pt x="64" y="31"/>
                    </a:lnTo>
                    <a:lnTo>
                      <a:pt x="64" y="31"/>
                    </a:lnTo>
                    <a:lnTo>
                      <a:pt x="62" y="34"/>
                    </a:lnTo>
                    <a:lnTo>
                      <a:pt x="57" y="36"/>
                    </a:lnTo>
                    <a:lnTo>
                      <a:pt x="60" y="36"/>
                    </a:lnTo>
                    <a:lnTo>
                      <a:pt x="60" y="36"/>
                    </a:lnTo>
                    <a:lnTo>
                      <a:pt x="60" y="38"/>
                    </a:lnTo>
                    <a:lnTo>
                      <a:pt x="60" y="38"/>
                    </a:lnTo>
                    <a:lnTo>
                      <a:pt x="57" y="38"/>
                    </a:lnTo>
                    <a:lnTo>
                      <a:pt x="57" y="41"/>
                    </a:lnTo>
                    <a:lnTo>
                      <a:pt x="57" y="41"/>
                    </a:lnTo>
                    <a:lnTo>
                      <a:pt x="55" y="41"/>
                    </a:lnTo>
                    <a:lnTo>
                      <a:pt x="55" y="38"/>
                    </a:lnTo>
                    <a:lnTo>
                      <a:pt x="55" y="36"/>
                    </a:lnTo>
                    <a:lnTo>
                      <a:pt x="55" y="36"/>
                    </a:lnTo>
                    <a:lnTo>
                      <a:pt x="53" y="36"/>
                    </a:lnTo>
                    <a:lnTo>
                      <a:pt x="53" y="36"/>
                    </a:lnTo>
                    <a:lnTo>
                      <a:pt x="53" y="36"/>
                    </a:lnTo>
                    <a:lnTo>
                      <a:pt x="50" y="38"/>
                    </a:lnTo>
                    <a:lnTo>
                      <a:pt x="50" y="38"/>
                    </a:lnTo>
                    <a:lnTo>
                      <a:pt x="48" y="38"/>
                    </a:lnTo>
                    <a:lnTo>
                      <a:pt x="45" y="38"/>
                    </a:lnTo>
                    <a:lnTo>
                      <a:pt x="45" y="41"/>
                    </a:lnTo>
                    <a:lnTo>
                      <a:pt x="45" y="41"/>
                    </a:lnTo>
                    <a:lnTo>
                      <a:pt x="45" y="41"/>
                    </a:lnTo>
                    <a:lnTo>
                      <a:pt x="48" y="43"/>
                    </a:lnTo>
                    <a:lnTo>
                      <a:pt x="48" y="43"/>
                    </a:lnTo>
                    <a:lnTo>
                      <a:pt x="48" y="43"/>
                    </a:lnTo>
                    <a:lnTo>
                      <a:pt x="48" y="45"/>
                    </a:lnTo>
                    <a:lnTo>
                      <a:pt x="48" y="48"/>
                    </a:lnTo>
                    <a:lnTo>
                      <a:pt x="50" y="50"/>
                    </a:lnTo>
                    <a:lnTo>
                      <a:pt x="50" y="50"/>
                    </a:lnTo>
                    <a:lnTo>
                      <a:pt x="50" y="50"/>
                    </a:lnTo>
                    <a:lnTo>
                      <a:pt x="53" y="50"/>
                    </a:lnTo>
                    <a:lnTo>
                      <a:pt x="55" y="50"/>
                    </a:lnTo>
                    <a:lnTo>
                      <a:pt x="55" y="53"/>
                    </a:lnTo>
                    <a:lnTo>
                      <a:pt x="55" y="53"/>
                    </a:lnTo>
                    <a:lnTo>
                      <a:pt x="57" y="55"/>
                    </a:lnTo>
                    <a:lnTo>
                      <a:pt x="57" y="55"/>
                    </a:lnTo>
                    <a:lnTo>
                      <a:pt x="57" y="60"/>
                    </a:lnTo>
                    <a:lnTo>
                      <a:pt x="62" y="57"/>
                    </a:lnTo>
                    <a:lnTo>
                      <a:pt x="62" y="55"/>
                    </a:lnTo>
                    <a:lnTo>
                      <a:pt x="62" y="55"/>
                    </a:lnTo>
                    <a:lnTo>
                      <a:pt x="62" y="53"/>
                    </a:lnTo>
                    <a:lnTo>
                      <a:pt x="62" y="50"/>
                    </a:lnTo>
                    <a:lnTo>
                      <a:pt x="64" y="50"/>
                    </a:lnTo>
                    <a:close/>
                    <a:moveTo>
                      <a:pt x="45" y="10"/>
                    </a:moveTo>
                    <a:lnTo>
                      <a:pt x="45" y="10"/>
                    </a:lnTo>
                    <a:lnTo>
                      <a:pt x="48" y="8"/>
                    </a:lnTo>
                    <a:lnTo>
                      <a:pt x="45" y="8"/>
                    </a:lnTo>
                    <a:lnTo>
                      <a:pt x="43" y="8"/>
                    </a:lnTo>
                    <a:lnTo>
                      <a:pt x="43" y="10"/>
                    </a:lnTo>
                    <a:lnTo>
                      <a:pt x="45" y="10"/>
                    </a:lnTo>
                    <a:lnTo>
                      <a:pt x="45" y="10"/>
                    </a:lnTo>
                    <a:close/>
                    <a:moveTo>
                      <a:pt x="24" y="55"/>
                    </a:moveTo>
                    <a:lnTo>
                      <a:pt x="24" y="55"/>
                    </a:lnTo>
                    <a:lnTo>
                      <a:pt x="24" y="53"/>
                    </a:lnTo>
                    <a:lnTo>
                      <a:pt x="22" y="53"/>
                    </a:lnTo>
                    <a:lnTo>
                      <a:pt x="22" y="53"/>
                    </a:lnTo>
                    <a:lnTo>
                      <a:pt x="22" y="53"/>
                    </a:lnTo>
                    <a:lnTo>
                      <a:pt x="24" y="50"/>
                    </a:lnTo>
                    <a:lnTo>
                      <a:pt x="24" y="48"/>
                    </a:lnTo>
                    <a:lnTo>
                      <a:pt x="24" y="48"/>
                    </a:lnTo>
                    <a:lnTo>
                      <a:pt x="24" y="45"/>
                    </a:lnTo>
                    <a:lnTo>
                      <a:pt x="22" y="43"/>
                    </a:lnTo>
                    <a:lnTo>
                      <a:pt x="24" y="43"/>
                    </a:lnTo>
                    <a:lnTo>
                      <a:pt x="27" y="43"/>
                    </a:lnTo>
                    <a:lnTo>
                      <a:pt x="27" y="41"/>
                    </a:lnTo>
                    <a:lnTo>
                      <a:pt x="29" y="41"/>
                    </a:lnTo>
                    <a:lnTo>
                      <a:pt x="29" y="38"/>
                    </a:lnTo>
                    <a:lnTo>
                      <a:pt x="29" y="38"/>
                    </a:lnTo>
                    <a:lnTo>
                      <a:pt x="29" y="38"/>
                    </a:lnTo>
                    <a:lnTo>
                      <a:pt x="29" y="38"/>
                    </a:lnTo>
                    <a:lnTo>
                      <a:pt x="29" y="36"/>
                    </a:lnTo>
                    <a:lnTo>
                      <a:pt x="31" y="36"/>
                    </a:lnTo>
                    <a:lnTo>
                      <a:pt x="31" y="36"/>
                    </a:lnTo>
                    <a:lnTo>
                      <a:pt x="31" y="36"/>
                    </a:lnTo>
                    <a:lnTo>
                      <a:pt x="34" y="34"/>
                    </a:lnTo>
                    <a:lnTo>
                      <a:pt x="34" y="29"/>
                    </a:lnTo>
                    <a:lnTo>
                      <a:pt x="36" y="29"/>
                    </a:lnTo>
                    <a:lnTo>
                      <a:pt x="36" y="29"/>
                    </a:lnTo>
                    <a:lnTo>
                      <a:pt x="38" y="31"/>
                    </a:lnTo>
                    <a:lnTo>
                      <a:pt x="38" y="31"/>
                    </a:lnTo>
                    <a:lnTo>
                      <a:pt x="41" y="29"/>
                    </a:lnTo>
                    <a:lnTo>
                      <a:pt x="43" y="29"/>
                    </a:lnTo>
                    <a:lnTo>
                      <a:pt x="43" y="26"/>
                    </a:lnTo>
                    <a:lnTo>
                      <a:pt x="43" y="26"/>
                    </a:lnTo>
                    <a:lnTo>
                      <a:pt x="43" y="24"/>
                    </a:lnTo>
                    <a:lnTo>
                      <a:pt x="43" y="24"/>
                    </a:lnTo>
                    <a:lnTo>
                      <a:pt x="36" y="24"/>
                    </a:lnTo>
                    <a:lnTo>
                      <a:pt x="36" y="24"/>
                    </a:lnTo>
                    <a:lnTo>
                      <a:pt x="34" y="22"/>
                    </a:lnTo>
                    <a:lnTo>
                      <a:pt x="34" y="19"/>
                    </a:lnTo>
                    <a:lnTo>
                      <a:pt x="34" y="17"/>
                    </a:lnTo>
                    <a:lnTo>
                      <a:pt x="34" y="15"/>
                    </a:lnTo>
                    <a:lnTo>
                      <a:pt x="34" y="15"/>
                    </a:lnTo>
                    <a:lnTo>
                      <a:pt x="36" y="10"/>
                    </a:lnTo>
                    <a:lnTo>
                      <a:pt x="38" y="10"/>
                    </a:lnTo>
                    <a:lnTo>
                      <a:pt x="38" y="8"/>
                    </a:lnTo>
                    <a:lnTo>
                      <a:pt x="38" y="5"/>
                    </a:lnTo>
                    <a:lnTo>
                      <a:pt x="36" y="3"/>
                    </a:lnTo>
                    <a:lnTo>
                      <a:pt x="36" y="3"/>
                    </a:lnTo>
                    <a:lnTo>
                      <a:pt x="36" y="0"/>
                    </a:lnTo>
                    <a:lnTo>
                      <a:pt x="38" y="0"/>
                    </a:lnTo>
                    <a:lnTo>
                      <a:pt x="38" y="0"/>
                    </a:lnTo>
                    <a:lnTo>
                      <a:pt x="34" y="3"/>
                    </a:lnTo>
                    <a:lnTo>
                      <a:pt x="29" y="3"/>
                    </a:lnTo>
                    <a:lnTo>
                      <a:pt x="27" y="5"/>
                    </a:lnTo>
                    <a:lnTo>
                      <a:pt x="22" y="10"/>
                    </a:lnTo>
                    <a:lnTo>
                      <a:pt x="22" y="10"/>
                    </a:lnTo>
                    <a:lnTo>
                      <a:pt x="19" y="12"/>
                    </a:lnTo>
                    <a:lnTo>
                      <a:pt x="15" y="12"/>
                    </a:lnTo>
                    <a:lnTo>
                      <a:pt x="12" y="12"/>
                    </a:lnTo>
                    <a:lnTo>
                      <a:pt x="12" y="12"/>
                    </a:lnTo>
                    <a:lnTo>
                      <a:pt x="8" y="12"/>
                    </a:lnTo>
                    <a:lnTo>
                      <a:pt x="5" y="15"/>
                    </a:lnTo>
                    <a:lnTo>
                      <a:pt x="3" y="17"/>
                    </a:lnTo>
                    <a:lnTo>
                      <a:pt x="3" y="17"/>
                    </a:lnTo>
                    <a:lnTo>
                      <a:pt x="3" y="19"/>
                    </a:lnTo>
                    <a:lnTo>
                      <a:pt x="3" y="19"/>
                    </a:lnTo>
                    <a:lnTo>
                      <a:pt x="5" y="22"/>
                    </a:lnTo>
                    <a:lnTo>
                      <a:pt x="8" y="19"/>
                    </a:lnTo>
                    <a:lnTo>
                      <a:pt x="10" y="19"/>
                    </a:lnTo>
                    <a:lnTo>
                      <a:pt x="12" y="17"/>
                    </a:lnTo>
                    <a:lnTo>
                      <a:pt x="15" y="15"/>
                    </a:lnTo>
                    <a:lnTo>
                      <a:pt x="15" y="15"/>
                    </a:lnTo>
                    <a:lnTo>
                      <a:pt x="17" y="15"/>
                    </a:lnTo>
                    <a:lnTo>
                      <a:pt x="17" y="17"/>
                    </a:lnTo>
                    <a:lnTo>
                      <a:pt x="17" y="19"/>
                    </a:lnTo>
                    <a:lnTo>
                      <a:pt x="17" y="19"/>
                    </a:lnTo>
                    <a:lnTo>
                      <a:pt x="15" y="19"/>
                    </a:lnTo>
                    <a:lnTo>
                      <a:pt x="15" y="19"/>
                    </a:lnTo>
                    <a:lnTo>
                      <a:pt x="12" y="19"/>
                    </a:lnTo>
                    <a:lnTo>
                      <a:pt x="10" y="22"/>
                    </a:lnTo>
                    <a:lnTo>
                      <a:pt x="10" y="24"/>
                    </a:lnTo>
                    <a:lnTo>
                      <a:pt x="10" y="24"/>
                    </a:lnTo>
                    <a:lnTo>
                      <a:pt x="8" y="24"/>
                    </a:lnTo>
                    <a:lnTo>
                      <a:pt x="8" y="24"/>
                    </a:lnTo>
                    <a:lnTo>
                      <a:pt x="5" y="24"/>
                    </a:lnTo>
                    <a:lnTo>
                      <a:pt x="3" y="22"/>
                    </a:lnTo>
                    <a:lnTo>
                      <a:pt x="3" y="22"/>
                    </a:lnTo>
                    <a:lnTo>
                      <a:pt x="0" y="22"/>
                    </a:lnTo>
                    <a:lnTo>
                      <a:pt x="0" y="29"/>
                    </a:lnTo>
                    <a:lnTo>
                      <a:pt x="0" y="31"/>
                    </a:lnTo>
                    <a:lnTo>
                      <a:pt x="0" y="34"/>
                    </a:lnTo>
                    <a:lnTo>
                      <a:pt x="0" y="36"/>
                    </a:lnTo>
                    <a:lnTo>
                      <a:pt x="0" y="43"/>
                    </a:lnTo>
                    <a:lnTo>
                      <a:pt x="3" y="43"/>
                    </a:lnTo>
                    <a:lnTo>
                      <a:pt x="8" y="45"/>
                    </a:lnTo>
                    <a:lnTo>
                      <a:pt x="8" y="48"/>
                    </a:lnTo>
                    <a:lnTo>
                      <a:pt x="8" y="50"/>
                    </a:lnTo>
                    <a:lnTo>
                      <a:pt x="8" y="53"/>
                    </a:lnTo>
                    <a:lnTo>
                      <a:pt x="8" y="53"/>
                    </a:lnTo>
                    <a:lnTo>
                      <a:pt x="8" y="55"/>
                    </a:lnTo>
                    <a:lnTo>
                      <a:pt x="8" y="55"/>
                    </a:lnTo>
                    <a:lnTo>
                      <a:pt x="8" y="55"/>
                    </a:lnTo>
                    <a:lnTo>
                      <a:pt x="12" y="55"/>
                    </a:lnTo>
                    <a:lnTo>
                      <a:pt x="12" y="57"/>
                    </a:lnTo>
                    <a:lnTo>
                      <a:pt x="17" y="57"/>
                    </a:lnTo>
                    <a:lnTo>
                      <a:pt x="17" y="57"/>
                    </a:lnTo>
                    <a:lnTo>
                      <a:pt x="19" y="57"/>
                    </a:lnTo>
                    <a:lnTo>
                      <a:pt x="22" y="57"/>
                    </a:lnTo>
                    <a:lnTo>
                      <a:pt x="24" y="57"/>
                    </a:lnTo>
                    <a:lnTo>
                      <a:pt x="24" y="57"/>
                    </a:lnTo>
                    <a:lnTo>
                      <a:pt x="24" y="57"/>
                    </a:lnTo>
                    <a:lnTo>
                      <a:pt x="24" y="57"/>
                    </a:lnTo>
                    <a:lnTo>
                      <a:pt x="24" y="55"/>
                    </a:lnTo>
                    <a:lnTo>
                      <a:pt x="24" y="55"/>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169"/>
              <p:cNvSpPr>
                <a:spLocks/>
              </p:cNvSpPr>
              <p:nvPr/>
            </p:nvSpPr>
            <p:spPr bwMode="auto">
              <a:xfrm>
                <a:off x="2976" y="2689"/>
                <a:ext cx="357" cy="395"/>
              </a:xfrm>
              <a:custGeom>
                <a:avLst/>
                <a:gdLst>
                  <a:gd name="T0" fmla="*/ 345 w 357"/>
                  <a:gd name="T1" fmla="*/ 59 h 395"/>
                  <a:gd name="T2" fmla="*/ 347 w 357"/>
                  <a:gd name="T3" fmla="*/ 42 h 395"/>
                  <a:gd name="T4" fmla="*/ 343 w 357"/>
                  <a:gd name="T5" fmla="*/ 35 h 395"/>
                  <a:gd name="T6" fmla="*/ 329 w 357"/>
                  <a:gd name="T7" fmla="*/ 16 h 395"/>
                  <a:gd name="T8" fmla="*/ 307 w 357"/>
                  <a:gd name="T9" fmla="*/ 16 h 395"/>
                  <a:gd name="T10" fmla="*/ 293 w 357"/>
                  <a:gd name="T11" fmla="*/ 14 h 395"/>
                  <a:gd name="T12" fmla="*/ 276 w 357"/>
                  <a:gd name="T13" fmla="*/ 2 h 395"/>
                  <a:gd name="T14" fmla="*/ 246 w 357"/>
                  <a:gd name="T15" fmla="*/ 0 h 395"/>
                  <a:gd name="T16" fmla="*/ 217 w 357"/>
                  <a:gd name="T17" fmla="*/ 9 h 395"/>
                  <a:gd name="T18" fmla="*/ 196 w 357"/>
                  <a:gd name="T19" fmla="*/ 14 h 395"/>
                  <a:gd name="T20" fmla="*/ 170 w 357"/>
                  <a:gd name="T21" fmla="*/ 19 h 395"/>
                  <a:gd name="T22" fmla="*/ 146 w 357"/>
                  <a:gd name="T23" fmla="*/ 7 h 395"/>
                  <a:gd name="T24" fmla="*/ 118 w 357"/>
                  <a:gd name="T25" fmla="*/ 21 h 395"/>
                  <a:gd name="T26" fmla="*/ 109 w 357"/>
                  <a:gd name="T27" fmla="*/ 68 h 395"/>
                  <a:gd name="T28" fmla="*/ 104 w 357"/>
                  <a:gd name="T29" fmla="*/ 123 h 395"/>
                  <a:gd name="T30" fmla="*/ 80 w 357"/>
                  <a:gd name="T31" fmla="*/ 154 h 395"/>
                  <a:gd name="T32" fmla="*/ 66 w 357"/>
                  <a:gd name="T33" fmla="*/ 196 h 395"/>
                  <a:gd name="T34" fmla="*/ 45 w 357"/>
                  <a:gd name="T35" fmla="*/ 215 h 395"/>
                  <a:gd name="T36" fmla="*/ 42 w 357"/>
                  <a:gd name="T37" fmla="*/ 206 h 395"/>
                  <a:gd name="T38" fmla="*/ 30 w 357"/>
                  <a:gd name="T39" fmla="*/ 206 h 395"/>
                  <a:gd name="T40" fmla="*/ 23 w 357"/>
                  <a:gd name="T41" fmla="*/ 213 h 395"/>
                  <a:gd name="T42" fmla="*/ 16 w 357"/>
                  <a:gd name="T43" fmla="*/ 210 h 395"/>
                  <a:gd name="T44" fmla="*/ 7 w 357"/>
                  <a:gd name="T45" fmla="*/ 220 h 395"/>
                  <a:gd name="T46" fmla="*/ 4 w 357"/>
                  <a:gd name="T47" fmla="*/ 239 h 395"/>
                  <a:gd name="T48" fmla="*/ 21 w 357"/>
                  <a:gd name="T49" fmla="*/ 234 h 395"/>
                  <a:gd name="T50" fmla="*/ 61 w 357"/>
                  <a:gd name="T51" fmla="*/ 234 h 395"/>
                  <a:gd name="T52" fmla="*/ 85 w 357"/>
                  <a:gd name="T53" fmla="*/ 244 h 395"/>
                  <a:gd name="T54" fmla="*/ 92 w 357"/>
                  <a:gd name="T55" fmla="*/ 267 h 395"/>
                  <a:gd name="T56" fmla="*/ 109 w 357"/>
                  <a:gd name="T57" fmla="*/ 281 h 395"/>
                  <a:gd name="T58" fmla="*/ 135 w 357"/>
                  <a:gd name="T59" fmla="*/ 274 h 395"/>
                  <a:gd name="T60" fmla="*/ 149 w 357"/>
                  <a:gd name="T61" fmla="*/ 258 h 395"/>
                  <a:gd name="T62" fmla="*/ 172 w 357"/>
                  <a:gd name="T63" fmla="*/ 265 h 395"/>
                  <a:gd name="T64" fmla="*/ 179 w 357"/>
                  <a:gd name="T65" fmla="*/ 300 h 395"/>
                  <a:gd name="T66" fmla="*/ 187 w 357"/>
                  <a:gd name="T67" fmla="*/ 334 h 395"/>
                  <a:gd name="T68" fmla="*/ 189 w 357"/>
                  <a:gd name="T69" fmla="*/ 348 h 395"/>
                  <a:gd name="T70" fmla="*/ 213 w 357"/>
                  <a:gd name="T71" fmla="*/ 343 h 395"/>
                  <a:gd name="T72" fmla="*/ 222 w 357"/>
                  <a:gd name="T73" fmla="*/ 345 h 395"/>
                  <a:gd name="T74" fmla="*/ 232 w 357"/>
                  <a:gd name="T75" fmla="*/ 350 h 395"/>
                  <a:gd name="T76" fmla="*/ 243 w 357"/>
                  <a:gd name="T77" fmla="*/ 355 h 395"/>
                  <a:gd name="T78" fmla="*/ 262 w 357"/>
                  <a:gd name="T79" fmla="*/ 364 h 395"/>
                  <a:gd name="T80" fmla="*/ 276 w 357"/>
                  <a:gd name="T81" fmla="*/ 357 h 395"/>
                  <a:gd name="T82" fmla="*/ 288 w 357"/>
                  <a:gd name="T83" fmla="*/ 371 h 395"/>
                  <a:gd name="T84" fmla="*/ 305 w 357"/>
                  <a:gd name="T85" fmla="*/ 383 h 395"/>
                  <a:gd name="T86" fmla="*/ 317 w 357"/>
                  <a:gd name="T87" fmla="*/ 393 h 395"/>
                  <a:gd name="T88" fmla="*/ 326 w 357"/>
                  <a:gd name="T89" fmla="*/ 395 h 395"/>
                  <a:gd name="T90" fmla="*/ 324 w 357"/>
                  <a:gd name="T91" fmla="*/ 369 h 395"/>
                  <a:gd name="T92" fmla="*/ 312 w 357"/>
                  <a:gd name="T93" fmla="*/ 371 h 395"/>
                  <a:gd name="T94" fmla="*/ 300 w 357"/>
                  <a:gd name="T95" fmla="*/ 355 h 395"/>
                  <a:gd name="T96" fmla="*/ 305 w 357"/>
                  <a:gd name="T97" fmla="*/ 322 h 395"/>
                  <a:gd name="T98" fmla="*/ 310 w 357"/>
                  <a:gd name="T99" fmla="*/ 298 h 395"/>
                  <a:gd name="T100" fmla="*/ 338 w 357"/>
                  <a:gd name="T101" fmla="*/ 286 h 395"/>
                  <a:gd name="T102" fmla="*/ 336 w 357"/>
                  <a:gd name="T103" fmla="*/ 260 h 395"/>
                  <a:gd name="T104" fmla="*/ 321 w 357"/>
                  <a:gd name="T105" fmla="*/ 237 h 395"/>
                  <a:gd name="T106" fmla="*/ 319 w 357"/>
                  <a:gd name="T107" fmla="*/ 213 h 395"/>
                  <a:gd name="T108" fmla="*/ 317 w 357"/>
                  <a:gd name="T109" fmla="*/ 182 h 395"/>
                  <a:gd name="T110" fmla="*/ 312 w 357"/>
                  <a:gd name="T111" fmla="*/ 168 h 395"/>
                  <a:gd name="T112" fmla="*/ 317 w 357"/>
                  <a:gd name="T113" fmla="*/ 151 h 395"/>
                  <a:gd name="T114" fmla="*/ 324 w 357"/>
                  <a:gd name="T115" fmla="*/ 135 h 395"/>
                  <a:gd name="T116" fmla="*/ 329 w 357"/>
                  <a:gd name="T117" fmla="*/ 109 h 395"/>
                  <a:gd name="T118" fmla="*/ 336 w 357"/>
                  <a:gd name="T119" fmla="*/ 87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7" h="395">
                    <a:moveTo>
                      <a:pt x="355" y="64"/>
                    </a:moveTo>
                    <a:lnTo>
                      <a:pt x="355" y="64"/>
                    </a:lnTo>
                    <a:lnTo>
                      <a:pt x="355" y="64"/>
                    </a:lnTo>
                    <a:lnTo>
                      <a:pt x="355" y="64"/>
                    </a:lnTo>
                    <a:lnTo>
                      <a:pt x="352" y="64"/>
                    </a:lnTo>
                    <a:lnTo>
                      <a:pt x="352" y="61"/>
                    </a:lnTo>
                    <a:lnTo>
                      <a:pt x="350" y="61"/>
                    </a:lnTo>
                    <a:lnTo>
                      <a:pt x="350" y="61"/>
                    </a:lnTo>
                    <a:lnTo>
                      <a:pt x="347" y="61"/>
                    </a:lnTo>
                    <a:lnTo>
                      <a:pt x="345" y="59"/>
                    </a:lnTo>
                    <a:lnTo>
                      <a:pt x="345" y="57"/>
                    </a:lnTo>
                    <a:lnTo>
                      <a:pt x="347" y="54"/>
                    </a:lnTo>
                    <a:lnTo>
                      <a:pt x="347" y="52"/>
                    </a:lnTo>
                    <a:lnTo>
                      <a:pt x="347" y="49"/>
                    </a:lnTo>
                    <a:lnTo>
                      <a:pt x="347" y="49"/>
                    </a:lnTo>
                    <a:lnTo>
                      <a:pt x="347" y="49"/>
                    </a:lnTo>
                    <a:lnTo>
                      <a:pt x="347" y="47"/>
                    </a:lnTo>
                    <a:lnTo>
                      <a:pt x="345" y="47"/>
                    </a:lnTo>
                    <a:lnTo>
                      <a:pt x="347" y="45"/>
                    </a:lnTo>
                    <a:lnTo>
                      <a:pt x="347" y="42"/>
                    </a:lnTo>
                    <a:lnTo>
                      <a:pt x="347" y="40"/>
                    </a:lnTo>
                    <a:lnTo>
                      <a:pt x="350" y="40"/>
                    </a:lnTo>
                    <a:lnTo>
                      <a:pt x="350" y="38"/>
                    </a:lnTo>
                    <a:lnTo>
                      <a:pt x="347" y="38"/>
                    </a:lnTo>
                    <a:lnTo>
                      <a:pt x="347" y="35"/>
                    </a:lnTo>
                    <a:lnTo>
                      <a:pt x="347" y="35"/>
                    </a:lnTo>
                    <a:lnTo>
                      <a:pt x="345" y="35"/>
                    </a:lnTo>
                    <a:lnTo>
                      <a:pt x="345" y="33"/>
                    </a:lnTo>
                    <a:lnTo>
                      <a:pt x="345" y="35"/>
                    </a:lnTo>
                    <a:lnTo>
                      <a:pt x="343" y="35"/>
                    </a:lnTo>
                    <a:lnTo>
                      <a:pt x="343" y="33"/>
                    </a:lnTo>
                    <a:lnTo>
                      <a:pt x="343" y="33"/>
                    </a:lnTo>
                    <a:lnTo>
                      <a:pt x="343" y="31"/>
                    </a:lnTo>
                    <a:lnTo>
                      <a:pt x="340" y="31"/>
                    </a:lnTo>
                    <a:lnTo>
                      <a:pt x="340" y="28"/>
                    </a:lnTo>
                    <a:lnTo>
                      <a:pt x="336" y="26"/>
                    </a:lnTo>
                    <a:lnTo>
                      <a:pt x="333" y="23"/>
                    </a:lnTo>
                    <a:lnTo>
                      <a:pt x="331" y="21"/>
                    </a:lnTo>
                    <a:lnTo>
                      <a:pt x="329" y="19"/>
                    </a:lnTo>
                    <a:lnTo>
                      <a:pt x="329" y="16"/>
                    </a:lnTo>
                    <a:lnTo>
                      <a:pt x="326" y="14"/>
                    </a:lnTo>
                    <a:lnTo>
                      <a:pt x="324" y="14"/>
                    </a:lnTo>
                    <a:lnTo>
                      <a:pt x="321" y="14"/>
                    </a:lnTo>
                    <a:lnTo>
                      <a:pt x="321" y="16"/>
                    </a:lnTo>
                    <a:lnTo>
                      <a:pt x="317" y="19"/>
                    </a:lnTo>
                    <a:lnTo>
                      <a:pt x="317" y="19"/>
                    </a:lnTo>
                    <a:lnTo>
                      <a:pt x="314" y="16"/>
                    </a:lnTo>
                    <a:lnTo>
                      <a:pt x="312" y="16"/>
                    </a:lnTo>
                    <a:lnTo>
                      <a:pt x="307" y="16"/>
                    </a:lnTo>
                    <a:lnTo>
                      <a:pt x="307" y="16"/>
                    </a:lnTo>
                    <a:lnTo>
                      <a:pt x="305" y="19"/>
                    </a:lnTo>
                    <a:lnTo>
                      <a:pt x="303" y="19"/>
                    </a:lnTo>
                    <a:lnTo>
                      <a:pt x="303" y="19"/>
                    </a:lnTo>
                    <a:lnTo>
                      <a:pt x="300" y="19"/>
                    </a:lnTo>
                    <a:lnTo>
                      <a:pt x="300" y="19"/>
                    </a:lnTo>
                    <a:lnTo>
                      <a:pt x="298" y="19"/>
                    </a:lnTo>
                    <a:lnTo>
                      <a:pt x="295" y="19"/>
                    </a:lnTo>
                    <a:lnTo>
                      <a:pt x="295" y="16"/>
                    </a:lnTo>
                    <a:lnTo>
                      <a:pt x="295" y="16"/>
                    </a:lnTo>
                    <a:lnTo>
                      <a:pt x="293" y="14"/>
                    </a:lnTo>
                    <a:lnTo>
                      <a:pt x="291" y="14"/>
                    </a:lnTo>
                    <a:lnTo>
                      <a:pt x="291" y="14"/>
                    </a:lnTo>
                    <a:lnTo>
                      <a:pt x="291" y="12"/>
                    </a:lnTo>
                    <a:lnTo>
                      <a:pt x="288" y="9"/>
                    </a:lnTo>
                    <a:lnTo>
                      <a:pt x="288" y="9"/>
                    </a:lnTo>
                    <a:lnTo>
                      <a:pt x="286" y="7"/>
                    </a:lnTo>
                    <a:lnTo>
                      <a:pt x="284" y="4"/>
                    </a:lnTo>
                    <a:lnTo>
                      <a:pt x="284" y="2"/>
                    </a:lnTo>
                    <a:lnTo>
                      <a:pt x="279" y="2"/>
                    </a:lnTo>
                    <a:lnTo>
                      <a:pt x="276" y="2"/>
                    </a:lnTo>
                    <a:lnTo>
                      <a:pt x="276" y="2"/>
                    </a:lnTo>
                    <a:lnTo>
                      <a:pt x="274" y="4"/>
                    </a:lnTo>
                    <a:lnTo>
                      <a:pt x="272" y="4"/>
                    </a:lnTo>
                    <a:lnTo>
                      <a:pt x="272" y="4"/>
                    </a:lnTo>
                    <a:lnTo>
                      <a:pt x="269" y="4"/>
                    </a:lnTo>
                    <a:lnTo>
                      <a:pt x="260" y="2"/>
                    </a:lnTo>
                    <a:lnTo>
                      <a:pt x="253" y="0"/>
                    </a:lnTo>
                    <a:lnTo>
                      <a:pt x="253" y="0"/>
                    </a:lnTo>
                    <a:lnTo>
                      <a:pt x="248" y="0"/>
                    </a:lnTo>
                    <a:lnTo>
                      <a:pt x="246" y="0"/>
                    </a:lnTo>
                    <a:lnTo>
                      <a:pt x="243" y="4"/>
                    </a:lnTo>
                    <a:lnTo>
                      <a:pt x="243" y="4"/>
                    </a:lnTo>
                    <a:lnTo>
                      <a:pt x="241" y="7"/>
                    </a:lnTo>
                    <a:lnTo>
                      <a:pt x="239" y="7"/>
                    </a:lnTo>
                    <a:lnTo>
                      <a:pt x="234" y="7"/>
                    </a:lnTo>
                    <a:lnTo>
                      <a:pt x="229" y="4"/>
                    </a:lnTo>
                    <a:lnTo>
                      <a:pt x="227" y="4"/>
                    </a:lnTo>
                    <a:lnTo>
                      <a:pt x="224" y="7"/>
                    </a:lnTo>
                    <a:lnTo>
                      <a:pt x="220" y="9"/>
                    </a:lnTo>
                    <a:lnTo>
                      <a:pt x="217" y="9"/>
                    </a:lnTo>
                    <a:lnTo>
                      <a:pt x="215" y="9"/>
                    </a:lnTo>
                    <a:lnTo>
                      <a:pt x="210" y="12"/>
                    </a:lnTo>
                    <a:lnTo>
                      <a:pt x="210" y="12"/>
                    </a:lnTo>
                    <a:lnTo>
                      <a:pt x="208" y="12"/>
                    </a:lnTo>
                    <a:lnTo>
                      <a:pt x="206" y="12"/>
                    </a:lnTo>
                    <a:lnTo>
                      <a:pt x="203" y="12"/>
                    </a:lnTo>
                    <a:lnTo>
                      <a:pt x="201" y="12"/>
                    </a:lnTo>
                    <a:lnTo>
                      <a:pt x="198" y="12"/>
                    </a:lnTo>
                    <a:lnTo>
                      <a:pt x="196" y="14"/>
                    </a:lnTo>
                    <a:lnTo>
                      <a:pt x="196" y="14"/>
                    </a:lnTo>
                    <a:lnTo>
                      <a:pt x="194" y="16"/>
                    </a:lnTo>
                    <a:lnTo>
                      <a:pt x="191" y="21"/>
                    </a:lnTo>
                    <a:lnTo>
                      <a:pt x="191" y="23"/>
                    </a:lnTo>
                    <a:lnTo>
                      <a:pt x="191" y="23"/>
                    </a:lnTo>
                    <a:lnTo>
                      <a:pt x="191" y="23"/>
                    </a:lnTo>
                    <a:lnTo>
                      <a:pt x="182" y="21"/>
                    </a:lnTo>
                    <a:lnTo>
                      <a:pt x="177" y="21"/>
                    </a:lnTo>
                    <a:lnTo>
                      <a:pt x="175" y="21"/>
                    </a:lnTo>
                    <a:lnTo>
                      <a:pt x="170" y="21"/>
                    </a:lnTo>
                    <a:lnTo>
                      <a:pt x="170" y="19"/>
                    </a:lnTo>
                    <a:lnTo>
                      <a:pt x="168" y="21"/>
                    </a:lnTo>
                    <a:lnTo>
                      <a:pt x="168" y="19"/>
                    </a:lnTo>
                    <a:lnTo>
                      <a:pt x="163" y="19"/>
                    </a:lnTo>
                    <a:lnTo>
                      <a:pt x="161" y="16"/>
                    </a:lnTo>
                    <a:lnTo>
                      <a:pt x="158" y="16"/>
                    </a:lnTo>
                    <a:lnTo>
                      <a:pt x="156" y="16"/>
                    </a:lnTo>
                    <a:lnTo>
                      <a:pt x="153" y="14"/>
                    </a:lnTo>
                    <a:lnTo>
                      <a:pt x="153" y="12"/>
                    </a:lnTo>
                    <a:lnTo>
                      <a:pt x="149" y="9"/>
                    </a:lnTo>
                    <a:lnTo>
                      <a:pt x="146" y="7"/>
                    </a:lnTo>
                    <a:lnTo>
                      <a:pt x="144" y="4"/>
                    </a:lnTo>
                    <a:lnTo>
                      <a:pt x="142" y="4"/>
                    </a:lnTo>
                    <a:lnTo>
                      <a:pt x="139" y="2"/>
                    </a:lnTo>
                    <a:lnTo>
                      <a:pt x="137" y="2"/>
                    </a:lnTo>
                    <a:lnTo>
                      <a:pt x="132" y="4"/>
                    </a:lnTo>
                    <a:lnTo>
                      <a:pt x="127" y="7"/>
                    </a:lnTo>
                    <a:lnTo>
                      <a:pt x="123" y="16"/>
                    </a:lnTo>
                    <a:lnTo>
                      <a:pt x="120" y="19"/>
                    </a:lnTo>
                    <a:lnTo>
                      <a:pt x="120" y="19"/>
                    </a:lnTo>
                    <a:lnTo>
                      <a:pt x="118" y="21"/>
                    </a:lnTo>
                    <a:lnTo>
                      <a:pt x="120" y="23"/>
                    </a:lnTo>
                    <a:lnTo>
                      <a:pt x="120" y="28"/>
                    </a:lnTo>
                    <a:lnTo>
                      <a:pt x="120" y="33"/>
                    </a:lnTo>
                    <a:lnTo>
                      <a:pt x="120" y="38"/>
                    </a:lnTo>
                    <a:lnTo>
                      <a:pt x="120" y="42"/>
                    </a:lnTo>
                    <a:lnTo>
                      <a:pt x="118" y="45"/>
                    </a:lnTo>
                    <a:lnTo>
                      <a:pt x="118" y="49"/>
                    </a:lnTo>
                    <a:lnTo>
                      <a:pt x="116" y="54"/>
                    </a:lnTo>
                    <a:lnTo>
                      <a:pt x="113" y="59"/>
                    </a:lnTo>
                    <a:lnTo>
                      <a:pt x="109" y="68"/>
                    </a:lnTo>
                    <a:lnTo>
                      <a:pt x="111" y="76"/>
                    </a:lnTo>
                    <a:lnTo>
                      <a:pt x="109" y="78"/>
                    </a:lnTo>
                    <a:lnTo>
                      <a:pt x="109" y="80"/>
                    </a:lnTo>
                    <a:lnTo>
                      <a:pt x="106" y="87"/>
                    </a:lnTo>
                    <a:lnTo>
                      <a:pt x="106" y="92"/>
                    </a:lnTo>
                    <a:lnTo>
                      <a:pt x="106" y="99"/>
                    </a:lnTo>
                    <a:lnTo>
                      <a:pt x="106" y="106"/>
                    </a:lnTo>
                    <a:lnTo>
                      <a:pt x="104" y="111"/>
                    </a:lnTo>
                    <a:lnTo>
                      <a:pt x="104" y="118"/>
                    </a:lnTo>
                    <a:lnTo>
                      <a:pt x="104" y="123"/>
                    </a:lnTo>
                    <a:lnTo>
                      <a:pt x="99" y="128"/>
                    </a:lnTo>
                    <a:lnTo>
                      <a:pt x="94" y="132"/>
                    </a:lnTo>
                    <a:lnTo>
                      <a:pt x="92" y="135"/>
                    </a:lnTo>
                    <a:lnTo>
                      <a:pt x="90" y="135"/>
                    </a:lnTo>
                    <a:lnTo>
                      <a:pt x="87" y="137"/>
                    </a:lnTo>
                    <a:lnTo>
                      <a:pt x="87" y="137"/>
                    </a:lnTo>
                    <a:lnTo>
                      <a:pt x="85" y="139"/>
                    </a:lnTo>
                    <a:lnTo>
                      <a:pt x="83" y="147"/>
                    </a:lnTo>
                    <a:lnTo>
                      <a:pt x="80" y="149"/>
                    </a:lnTo>
                    <a:lnTo>
                      <a:pt x="80" y="154"/>
                    </a:lnTo>
                    <a:lnTo>
                      <a:pt x="75" y="156"/>
                    </a:lnTo>
                    <a:lnTo>
                      <a:pt x="75" y="156"/>
                    </a:lnTo>
                    <a:lnTo>
                      <a:pt x="75" y="158"/>
                    </a:lnTo>
                    <a:lnTo>
                      <a:pt x="75" y="163"/>
                    </a:lnTo>
                    <a:lnTo>
                      <a:pt x="75" y="175"/>
                    </a:lnTo>
                    <a:lnTo>
                      <a:pt x="75" y="180"/>
                    </a:lnTo>
                    <a:lnTo>
                      <a:pt x="73" y="184"/>
                    </a:lnTo>
                    <a:lnTo>
                      <a:pt x="71" y="192"/>
                    </a:lnTo>
                    <a:lnTo>
                      <a:pt x="68" y="194"/>
                    </a:lnTo>
                    <a:lnTo>
                      <a:pt x="66" y="196"/>
                    </a:lnTo>
                    <a:lnTo>
                      <a:pt x="64" y="196"/>
                    </a:lnTo>
                    <a:lnTo>
                      <a:pt x="61" y="199"/>
                    </a:lnTo>
                    <a:lnTo>
                      <a:pt x="61" y="199"/>
                    </a:lnTo>
                    <a:lnTo>
                      <a:pt x="59" y="201"/>
                    </a:lnTo>
                    <a:lnTo>
                      <a:pt x="56" y="201"/>
                    </a:lnTo>
                    <a:lnTo>
                      <a:pt x="54" y="206"/>
                    </a:lnTo>
                    <a:lnTo>
                      <a:pt x="52" y="210"/>
                    </a:lnTo>
                    <a:lnTo>
                      <a:pt x="47" y="213"/>
                    </a:lnTo>
                    <a:lnTo>
                      <a:pt x="47" y="215"/>
                    </a:lnTo>
                    <a:lnTo>
                      <a:pt x="45" y="215"/>
                    </a:lnTo>
                    <a:lnTo>
                      <a:pt x="45" y="213"/>
                    </a:lnTo>
                    <a:lnTo>
                      <a:pt x="42" y="213"/>
                    </a:lnTo>
                    <a:lnTo>
                      <a:pt x="42" y="213"/>
                    </a:lnTo>
                    <a:lnTo>
                      <a:pt x="42" y="213"/>
                    </a:lnTo>
                    <a:lnTo>
                      <a:pt x="42" y="213"/>
                    </a:lnTo>
                    <a:lnTo>
                      <a:pt x="42" y="213"/>
                    </a:lnTo>
                    <a:lnTo>
                      <a:pt x="42" y="210"/>
                    </a:lnTo>
                    <a:lnTo>
                      <a:pt x="40" y="208"/>
                    </a:lnTo>
                    <a:lnTo>
                      <a:pt x="42" y="206"/>
                    </a:lnTo>
                    <a:lnTo>
                      <a:pt x="42" y="206"/>
                    </a:lnTo>
                    <a:lnTo>
                      <a:pt x="42" y="203"/>
                    </a:lnTo>
                    <a:lnTo>
                      <a:pt x="42" y="203"/>
                    </a:lnTo>
                    <a:lnTo>
                      <a:pt x="40" y="201"/>
                    </a:lnTo>
                    <a:lnTo>
                      <a:pt x="40" y="201"/>
                    </a:lnTo>
                    <a:lnTo>
                      <a:pt x="38" y="203"/>
                    </a:lnTo>
                    <a:lnTo>
                      <a:pt x="35" y="203"/>
                    </a:lnTo>
                    <a:lnTo>
                      <a:pt x="35" y="203"/>
                    </a:lnTo>
                    <a:lnTo>
                      <a:pt x="33" y="206"/>
                    </a:lnTo>
                    <a:lnTo>
                      <a:pt x="33" y="206"/>
                    </a:lnTo>
                    <a:lnTo>
                      <a:pt x="30" y="206"/>
                    </a:lnTo>
                    <a:lnTo>
                      <a:pt x="30" y="206"/>
                    </a:lnTo>
                    <a:lnTo>
                      <a:pt x="30" y="206"/>
                    </a:lnTo>
                    <a:lnTo>
                      <a:pt x="28" y="206"/>
                    </a:lnTo>
                    <a:lnTo>
                      <a:pt x="28" y="206"/>
                    </a:lnTo>
                    <a:lnTo>
                      <a:pt x="28" y="208"/>
                    </a:lnTo>
                    <a:lnTo>
                      <a:pt x="28" y="208"/>
                    </a:lnTo>
                    <a:lnTo>
                      <a:pt x="28" y="210"/>
                    </a:lnTo>
                    <a:lnTo>
                      <a:pt x="28" y="210"/>
                    </a:lnTo>
                    <a:lnTo>
                      <a:pt x="26" y="210"/>
                    </a:lnTo>
                    <a:lnTo>
                      <a:pt x="23" y="213"/>
                    </a:lnTo>
                    <a:lnTo>
                      <a:pt x="23" y="213"/>
                    </a:lnTo>
                    <a:lnTo>
                      <a:pt x="21" y="213"/>
                    </a:lnTo>
                    <a:lnTo>
                      <a:pt x="21" y="213"/>
                    </a:lnTo>
                    <a:lnTo>
                      <a:pt x="19" y="210"/>
                    </a:lnTo>
                    <a:lnTo>
                      <a:pt x="19" y="210"/>
                    </a:lnTo>
                    <a:lnTo>
                      <a:pt x="19" y="208"/>
                    </a:lnTo>
                    <a:lnTo>
                      <a:pt x="19" y="208"/>
                    </a:lnTo>
                    <a:lnTo>
                      <a:pt x="16" y="208"/>
                    </a:lnTo>
                    <a:lnTo>
                      <a:pt x="16" y="208"/>
                    </a:lnTo>
                    <a:lnTo>
                      <a:pt x="16" y="210"/>
                    </a:lnTo>
                    <a:lnTo>
                      <a:pt x="14" y="210"/>
                    </a:lnTo>
                    <a:lnTo>
                      <a:pt x="12" y="210"/>
                    </a:lnTo>
                    <a:lnTo>
                      <a:pt x="9" y="215"/>
                    </a:lnTo>
                    <a:lnTo>
                      <a:pt x="7" y="215"/>
                    </a:lnTo>
                    <a:lnTo>
                      <a:pt x="7" y="218"/>
                    </a:lnTo>
                    <a:lnTo>
                      <a:pt x="7" y="218"/>
                    </a:lnTo>
                    <a:lnTo>
                      <a:pt x="4" y="218"/>
                    </a:lnTo>
                    <a:lnTo>
                      <a:pt x="4" y="218"/>
                    </a:lnTo>
                    <a:lnTo>
                      <a:pt x="4" y="220"/>
                    </a:lnTo>
                    <a:lnTo>
                      <a:pt x="7" y="220"/>
                    </a:lnTo>
                    <a:lnTo>
                      <a:pt x="7" y="225"/>
                    </a:lnTo>
                    <a:lnTo>
                      <a:pt x="7" y="232"/>
                    </a:lnTo>
                    <a:lnTo>
                      <a:pt x="4" y="232"/>
                    </a:lnTo>
                    <a:lnTo>
                      <a:pt x="4" y="232"/>
                    </a:lnTo>
                    <a:lnTo>
                      <a:pt x="2" y="232"/>
                    </a:lnTo>
                    <a:lnTo>
                      <a:pt x="0" y="232"/>
                    </a:lnTo>
                    <a:lnTo>
                      <a:pt x="0" y="234"/>
                    </a:lnTo>
                    <a:lnTo>
                      <a:pt x="2" y="237"/>
                    </a:lnTo>
                    <a:lnTo>
                      <a:pt x="4" y="237"/>
                    </a:lnTo>
                    <a:lnTo>
                      <a:pt x="4" y="239"/>
                    </a:lnTo>
                    <a:lnTo>
                      <a:pt x="7" y="239"/>
                    </a:lnTo>
                    <a:lnTo>
                      <a:pt x="9" y="237"/>
                    </a:lnTo>
                    <a:lnTo>
                      <a:pt x="12" y="237"/>
                    </a:lnTo>
                    <a:lnTo>
                      <a:pt x="12" y="234"/>
                    </a:lnTo>
                    <a:lnTo>
                      <a:pt x="14" y="234"/>
                    </a:lnTo>
                    <a:lnTo>
                      <a:pt x="16" y="234"/>
                    </a:lnTo>
                    <a:lnTo>
                      <a:pt x="19" y="234"/>
                    </a:lnTo>
                    <a:lnTo>
                      <a:pt x="21" y="237"/>
                    </a:lnTo>
                    <a:lnTo>
                      <a:pt x="21" y="234"/>
                    </a:lnTo>
                    <a:lnTo>
                      <a:pt x="21" y="234"/>
                    </a:lnTo>
                    <a:lnTo>
                      <a:pt x="28" y="234"/>
                    </a:lnTo>
                    <a:lnTo>
                      <a:pt x="28" y="234"/>
                    </a:lnTo>
                    <a:lnTo>
                      <a:pt x="33" y="234"/>
                    </a:lnTo>
                    <a:lnTo>
                      <a:pt x="35" y="234"/>
                    </a:lnTo>
                    <a:lnTo>
                      <a:pt x="38" y="234"/>
                    </a:lnTo>
                    <a:lnTo>
                      <a:pt x="40" y="237"/>
                    </a:lnTo>
                    <a:lnTo>
                      <a:pt x="47" y="237"/>
                    </a:lnTo>
                    <a:lnTo>
                      <a:pt x="47" y="237"/>
                    </a:lnTo>
                    <a:lnTo>
                      <a:pt x="54" y="234"/>
                    </a:lnTo>
                    <a:lnTo>
                      <a:pt x="61" y="234"/>
                    </a:lnTo>
                    <a:lnTo>
                      <a:pt x="66" y="234"/>
                    </a:lnTo>
                    <a:lnTo>
                      <a:pt x="73" y="234"/>
                    </a:lnTo>
                    <a:lnTo>
                      <a:pt x="78" y="234"/>
                    </a:lnTo>
                    <a:lnTo>
                      <a:pt x="78" y="237"/>
                    </a:lnTo>
                    <a:lnTo>
                      <a:pt x="80" y="237"/>
                    </a:lnTo>
                    <a:lnTo>
                      <a:pt x="83" y="239"/>
                    </a:lnTo>
                    <a:lnTo>
                      <a:pt x="83" y="239"/>
                    </a:lnTo>
                    <a:lnTo>
                      <a:pt x="83" y="241"/>
                    </a:lnTo>
                    <a:lnTo>
                      <a:pt x="85" y="241"/>
                    </a:lnTo>
                    <a:lnTo>
                      <a:pt x="85" y="244"/>
                    </a:lnTo>
                    <a:lnTo>
                      <a:pt x="85" y="246"/>
                    </a:lnTo>
                    <a:lnTo>
                      <a:pt x="85" y="248"/>
                    </a:lnTo>
                    <a:lnTo>
                      <a:pt x="85" y="251"/>
                    </a:lnTo>
                    <a:lnTo>
                      <a:pt x="85" y="253"/>
                    </a:lnTo>
                    <a:lnTo>
                      <a:pt x="87" y="258"/>
                    </a:lnTo>
                    <a:lnTo>
                      <a:pt x="90" y="260"/>
                    </a:lnTo>
                    <a:lnTo>
                      <a:pt x="90" y="263"/>
                    </a:lnTo>
                    <a:lnTo>
                      <a:pt x="90" y="265"/>
                    </a:lnTo>
                    <a:lnTo>
                      <a:pt x="90" y="267"/>
                    </a:lnTo>
                    <a:lnTo>
                      <a:pt x="92" y="267"/>
                    </a:lnTo>
                    <a:lnTo>
                      <a:pt x="92" y="270"/>
                    </a:lnTo>
                    <a:lnTo>
                      <a:pt x="94" y="272"/>
                    </a:lnTo>
                    <a:lnTo>
                      <a:pt x="97" y="277"/>
                    </a:lnTo>
                    <a:lnTo>
                      <a:pt x="99" y="281"/>
                    </a:lnTo>
                    <a:lnTo>
                      <a:pt x="99" y="281"/>
                    </a:lnTo>
                    <a:lnTo>
                      <a:pt x="101" y="281"/>
                    </a:lnTo>
                    <a:lnTo>
                      <a:pt x="104" y="281"/>
                    </a:lnTo>
                    <a:lnTo>
                      <a:pt x="106" y="281"/>
                    </a:lnTo>
                    <a:lnTo>
                      <a:pt x="109" y="281"/>
                    </a:lnTo>
                    <a:lnTo>
                      <a:pt x="109" y="281"/>
                    </a:lnTo>
                    <a:lnTo>
                      <a:pt x="111" y="281"/>
                    </a:lnTo>
                    <a:lnTo>
                      <a:pt x="113" y="279"/>
                    </a:lnTo>
                    <a:lnTo>
                      <a:pt x="118" y="279"/>
                    </a:lnTo>
                    <a:lnTo>
                      <a:pt x="118" y="279"/>
                    </a:lnTo>
                    <a:lnTo>
                      <a:pt x="120" y="279"/>
                    </a:lnTo>
                    <a:lnTo>
                      <a:pt x="125" y="279"/>
                    </a:lnTo>
                    <a:lnTo>
                      <a:pt x="125" y="279"/>
                    </a:lnTo>
                    <a:lnTo>
                      <a:pt x="130" y="279"/>
                    </a:lnTo>
                    <a:lnTo>
                      <a:pt x="132" y="279"/>
                    </a:lnTo>
                    <a:lnTo>
                      <a:pt x="135" y="274"/>
                    </a:lnTo>
                    <a:lnTo>
                      <a:pt x="135" y="272"/>
                    </a:lnTo>
                    <a:lnTo>
                      <a:pt x="135" y="272"/>
                    </a:lnTo>
                    <a:lnTo>
                      <a:pt x="135" y="270"/>
                    </a:lnTo>
                    <a:lnTo>
                      <a:pt x="135" y="267"/>
                    </a:lnTo>
                    <a:lnTo>
                      <a:pt x="135" y="265"/>
                    </a:lnTo>
                    <a:lnTo>
                      <a:pt x="137" y="263"/>
                    </a:lnTo>
                    <a:lnTo>
                      <a:pt x="139" y="260"/>
                    </a:lnTo>
                    <a:lnTo>
                      <a:pt x="144" y="258"/>
                    </a:lnTo>
                    <a:lnTo>
                      <a:pt x="146" y="258"/>
                    </a:lnTo>
                    <a:lnTo>
                      <a:pt x="149" y="258"/>
                    </a:lnTo>
                    <a:lnTo>
                      <a:pt x="153" y="258"/>
                    </a:lnTo>
                    <a:lnTo>
                      <a:pt x="156" y="258"/>
                    </a:lnTo>
                    <a:lnTo>
                      <a:pt x="156" y="258"/>
                    </a:lnTo>
                    <a:lnTo>
                      <a:pt x="156" y="263"/>
                    </a:lnTo>
                    <a:lnTo>
                      <a:pt x="156" y="263"/>
                    </a:lnTo>
                    <a:lnTo>
                      <a:pt x="156" y="265"/>
                    </a:lnTo>
                    <a:lnTo>
                      <a:pt x="156" y="265"/>
                    </a:lnTo>
                    <a:lnTo>
                      <a:pt x="163" y="265"/>
                    </a:lnTo>
                    <a:lnTo>
                      <a:pt x="168" y="265"/>
                    </a:lnTo>
                    <a:lnTo>
                      <a:pt x="172" y="265"/>
                    </a:lnTo>
                    <a:lnTo>
                      <a:pt x="177" y="265"/>
                    </a:lnTo>
                    <a:lnTo>
                      <a:pt x="179" y="265"/>
                    </a:lnTo>
                    <a:lnTo>
                      <a:pt x="179" y="265"/>
                    </a:lnTo>
                    <a:lnTo>
                      <a:pt x="179" y="267"/>
                    </a:lnTo>
                    <a:lnTo>
                      <a:pt x="179" y="272"/>
                    </a:lnTo>
                    <a:lnTo>
                      <a:pt x="179" y="277"/>
                    </a:lnTo>
                    <a:lnTo>
                      <a:pt x="179" y="281"/>
                    </a:lnTo>
                    <a:lnTo>
                      <a:pt x="179" y="289"/>
                    </a:lnTo>
                    <a:lnTo>
                      <a:pt x="179" y="296"/>
                    </a:lnTo>
                    <a:lnTo>
                      <a:pt x="179" y="300"/>
                    </a:lnTo>
                    <a:lnTo>
                      <a:pt x="179" y="305"/>
                    </a:lnTo>
                    <a:lnTo>
                      <a:pt x="179" y="312"/>
                    </a:lnTo>
                    <a:lnTo>
                      <a:pt x="179" y="315"/>
                    </a:lnTo>
                    <a:lnTo>
                      <a:pt x="182" y="317"/>
                    </a:lnTo>
                    <a:lnTo>
                      <a:pt x="184" y="319"/>
                    </a:lnTo>
                    <a:lnTo>
                      <a:pt x="187" y="324"/>
                    </a:lnTo>
                    <a:lnTo>
                      <a:pt x="187" y="329"/>
                    </a:lnTo>
                    <a:lnTo>
                      <a:pt x="187" y="331"/>
                    </a:lnTo>
                    <a:lnTo>
                      <a:pt x="187" y="331"/>
                    </a:lnTo>
                    <a:lnTo>
                      <a:pt x="187" y="334"/>
                    </a:lnTo>
                    <a:lnTo>
                      <a:pt x="187" y="336"/>
                    </a:lnTo>
                    <a:lnTo>
                      <a:pt x="187" y="338"/>
                    </a:lnTo>
                    <a:lnTo>
                      <a:pt x="187" y="341"/>
                    </a:lnTo>
                    <a:lnTo>
                      <a:pt x="184" y="341"/>
                    </a:lnTo>
                    <a:lnTo>
                      <a:pt x="187" y="343"/>
                    </a:lnTo>
                    <a:lnTo>
                      <a:pt x="187" y="345"/>
                    </a:lnTo>
                    <a:lnTo>
                      <a:pt x="187" y="348"/>
                    </a:lnTo>
                    <a:lnTo>
                      <a:pt x="187" y="348"/>
                    </a:lnTo>
                    <a:lnTo>
                      <a:pt x="187" y="348"/>
                    </a:lnTo>
                    <a:lnTo>
                      <a:pt x="189" y="348"/>
                    </a:lnTo>
                    <a:lnTo>
                      <a:pt x="191" y="345"/>
                    </a:lnTo>
                    <a:lnTo>
                      <a:pt x="191" y="345"/>
                    </a:lnTo>
                    <a:lnTo>
                      <a:pt x="194" y="345"/>
                    </a:lnTo>
                    <a:lnTo>
                      <a:pt x="196" y="345"/>
                    </a:lnTo>
                    <a:lnTo>
                      <a:pt x="201" y="345"/>
                    </a:lnTo>
                    <a:lnTo>
                      <a:pt x="203" y="345"/>
                    </a:lnTo>
                    <a:lnTo>
                      <a:pt x="208" y="343"/>
                    </a:lnTo>
                    <a:lnTo>
                      <a:pt x="210" y="343"/>
                    </a:lnTo>
                    <a:lnTo>
                      <a:pt x="210" y="343"/>
                    </a:lnTo>
                    <a:lnTo>
                      <a:pt x="213" y="343"/>
                    </a:lnTo>
                    <a:lnTo>
                      <a:pt x="215" y="343"/>
                    </a:lnTo>
                    <a:lnTo>
                      <a:pt x="217" y="343"/>
                    </a:lnTo>
                    <a:lnTo>
                      <a:pt x="217" y="343"/>
                    </a:lnTo>
                    <a:lnTo>
                      <a:pt x="217" y="341"/>
                    </a:lnTo>
                    <a:lnTo>
                      <a:pt x="217" y="341"/>
                    </a:lnTo>
                    <a:lnTo>
                      <a:pt x="220" y="341"/>
                    </a:lnTo>
                    <a:lnTo>
                      <a:pt x="220" y="341"/>
                    </a:lnTo>
                    <a:lnTo>
                      <a:pt x="222" y="343"/>
                    </a:lnTo>
                    <a:lnTo>
                      <a:pt x="222" y="343"/>
                    </a:lnTo>
                    <a:lnTo>
                      <a:pt x="222" y="345"/>
                    </a:lnTo>
                    <a:lnTo>
                      <a:pt x="224" y="345"/>
                    </a:lnTo>
                    <a:lnTo>
                      <a:pt x="227" y="345"/>
                    </a:lnTo>
                    <a:lnTo>
                      <a:pt x="227" y="350"/>
                    </a:lnTo>
                    <a:lnTo>
                      <a:pt x="227" y="350"/>
                    </a:lnTo>
                    <a:lnTo>
                      <a:pt x="224" y="353"/>
                    </a:lnTo>
                    <a:lnTo>
                      <a:pt x="227" y="353"/>
                    </a:lnTo>
                    <a:lnTo>
                      <a:pt x="227" y="353"/>
                    </a:lnTo>
                    <a:lnTo>
                      <a:pt x="229" y="353"/>
                    </a:lnTo>
                    <a:lnTo>
                      <a:pt x="232" y="350"/>
                    </a:lnTo>
                    <a:lnTo>
                      <a:pt x="232" y="350"/>
                    </a:lnTo>
                    <a:lnTo>
                      <a:pt x="234" y="350"/>
                    </a:lnTo>
                    <a:lnTo>
                      <a:pt x="236" y="350"/>
                    </a:lnTo>
                    <a:lnTo>
                      <a:pt x="239" y="350"/>
                    </a:lnTo>
                    <a:lnTo>
                      <a:pt x="241" y="348"/>
                    </a:lnTo>
                    <a:lnTo>
                      <a:pt x="241" y="348"/>
                    </a:lnTo>
                    <a:lnTo>
                      <a:pt x="243" y="348"/>
                    </a:lnTo>
                    <a:lnTo>
                      <a:pt x="243" y="348"/>
                    </a:lnTo>
                    <a:lnTo>
                      <a:pt x="243" y="350"/>
                    </a:lnTo>
                    <a:lnTo>
                      <a:pt x="243" y="353"/>
                    </a:lnTo>
                    <a:lnTo>
                      <a:pt x="243" y="355"/>
                    </a:lnTo>
                    <a:lnTo>
                      <a:pt x="243" y="357"/>
                    </a:lnTo>
                    <a:lnTo>
                      <a:pt x="246" y="357"/>
                    </a:lnTo>
                    <a:lnTo>
                      <a:pt x="246" y="357"/>
                    </a:lnTo>
                    <a:lnTo>
                      <a:pt x="246" y="360"/>
                    </a:lnTo>
                    <a:lnTo>
                      <a:pt x="248" y="360"/>
                    </a:lnTo>
                    <a:lnTo>
                      <a:pt x="253" y="362"/>
                    </a:lnTo>
                    <a:lnTo>
                      <a:pt x="255" y="362"/>
                    </a:lnTo>
                    <a:lnTo>
                      <a:pt x="258" y="362"/>
                    </a:lnTo>
                    <a:lnTo>
                      <a:pt x="258" y="362"/>
                    </a:lnTo>
                    <a:lnTo>
                      <a:pt x="262" y="364"/>
                    </a:lnTo>
                    <a:lnTo>
                      <a:pt x="265" y="364"/>
                    </a:lnTo>
                    <a:lnTo>
                      <a:pt x="267" y="364"/>
                    </a:lnTo>
                    <a:lnTo>
                      <a:pt x="269" y="364"/>
                    </a:lnTo>
                    <a:lnTo>
                      <a:pt x="272" y="364"/>
                    </a:lnTo>
                    <a:lnTo>
                      <a:pt x="272" y="364"/>
                    </a:lnTo>
                    <a:lnTo>
                      <a:pt x="274" y="362"/>
                    </a:lnTo>
                    <a:lnTo>
                      <a:pt x="274" y="362"/>
                    </a:lnTo>
                    <a:lnTo>
                      <a:pt x="274" y="362"/>
                    </a:lnTo>
                    <a:lnTo>
                      <a:pt x="274" y="357"/>
                    </a:lnTo>
                    <a:lnTo>
                      <a:pt x="276" y="357"/>
                    </a:lnTo>
                    <a:lnTo>
                      <a:pt x="276" y="357"/>
                    </a:lnTo>
                    <a:lnTo>
                      <a:pt x="276" y="355"/>
                    </a:lnTo>
                    <a:lnTo>
                      <a:pt x="279" y="357"/>
                    </a:lnTo>
                    <a:lnTo>
                      <a:pt x="279" y="360"/>
                    </a:lnTo>
                    <a:lnTo>
                      <a:pt x="281" y="364"/>
                    </a:lnTo>
                    <a:lnTo>
                      <a:pt x="284" y="367"/>
                    </a:lnTo>
                    <a:lnTo>
                      <a:pt x="284" y="369"/>
                    </a:lnTo>
                    <a:lnTo>
                      <a:pt x="286" y="369"/>
                    </a:lnTo>
                    <a:lnTo>
                      <a:pt x="286" y="371"/>
                    </a:lnTo>
                    <a:lnTo>
                      <a:pt x="288" y="371"/>
                    </a:lnTo>
                    <a:lnTo>
                      <a:pt x="291" y="371"/>
                    </a:lnTo>
                    <a:lnTo>
                      <a:pt x="293" y="371"/>
                    </a:lnTo>
                    <a:lnTo>
                      <a:pt x="298" y="374"/>
                    </a:lnTo>
                    <a:lnTo>
                      <a:pt x="300" y="374"/>
                    </a:lnTo>
                    <a:lnTo>
                      <a:pt x="300" y="376"/>
                    </a:lnTo>
                    <a:lnTo>
                      <a:pt x="300" y="376"/>
                    </a:lnTo>
                    <a:lnTo>
                      <a:pt x="303" y="379"/>
                    </a:lnTo>
                    <a:lnTo>
                      <a:pt x="303" y="381"/>
                    </a:lnTo>
                    <a:lnTo>
                      <a:pt x="303" y="383"/>
                    </a:lnTo>
                    <a:lnTo>
                      <a:pt x="305" y="383"/>
                    </a:lnTo>
                    <a:lnTo>
                      <a:pt x="305" y="383"/>
                    </a:lnTo>
                    <a:lnTo>
                      <a:pt x="307" y="383"/>
                    </a:lnTo>
                    <a:lnTo>
                      <a:pt x="307" y="386"/>
                    </a:lnTo>
                    <a:lnTo>
                      <a:pt x="310" y="388"/>
                    </a:lnTo>
                    <a:lnTo>
                      <a:pt x="310" y="390"/>
                    </a:lnTo>
                    <a:lnTo>
                      <a:pt x="310" y="393"/>
                    </a:lnTo>
                    <a:lnTo>
                      <a:pt x="312" y="393"/>
                    </a:lnTo>
                    <a:lnTo>
                      <a:pt x="312" y="395"/>
                    </a:lnTo>
                    <a:lnTo>
                      <a:pt x="314" y="395"/>
                    </a:lnTo>
                    <a:lnTo>
                      <a:pt x="317" y="393"/>
                    </a:lnTo>
                    <a:lnTo>
                      <a:pt x="319" y="393"/>
                    </a:lnTo>
                    <a:lnTo>
                      <a:pt x="319" y="390"/>
                    </a:lnTo>
                    <a:lnTo>
                      <a:pt x="321" y="390"/>
                    </a:lnTo>
                    <a:lnTo>
                      <a:pt x="321" y="390"/>
                    </a:lnTo>
                    <a:lnTo>
                      <a:pt x="324" y="393"/>
                    </a:lnTo>
                    <a:lnTo>
                      <a:pt x="324" y="393"/>
                    </a:lnTo>
                    <a:lnTo>
                      <a:pt x="324" y="395"/>
                    </a:lnTo>
                    <a:lnTo>
                      <a:pt x="324" y="395"/>
                    </a:lnTo>
                    <a:lnTo>
                      <a:pt x="326" y="395"/>
                    </a:lnTo>
                    <a:lnTo>
                      <a:pt x="326" y="395"/>
                    </a:lnTo>
                    <a:lnTo>
                      <a:pt x="326" y="393"/>
                    </a:lnTo>
                    <a:lnTo>
                      <a:pt x="326" y="390"/>
                    </a:lnTo>
                    <a:lnTo>
                      <a:pt x="326" y="386"/>
                    </a:lnTo>
                    <a:lnTo>
                      <a:pt x="326" y="383"/>
                    </a:lnTo>
                    <a:lnTo>
                      <a:pt x="326" y="379"/>
                    </a:lnTo>
                    <a:lnTo>
                      <a:pt x="326" y="374"/>
                    </a:lnTo>
                    <a:lnTo>
                      <a:pt x="326" y="371"/>
                    </a:lnTo>
                    <a:lnTo>
                      <a:pt x="326" y="369"/>
                    </a:lnTo>
                    <a:lnTo>
                      <a:pt x="326" y="369"/>
                    </a:lnTo>
                    <a:lnTo>
                      <a:pt x="324" y="369"/>
                    </a:lnTo>
                    <a:lnTo>
                      <a:pt x="321" y="369"/>
                    </a:lnTo>
                    <a:lnTo>
                      <a:pt x="321" y="369"/>
                    </a:lnTo>
                    <a:lnTo>
                      <a:pt x="321" y="371"/>
                    </a:lnTo>
                    <a:lnTo>
                      <a:pt x="321" y="371"/>
                    </a:lnTo>
                    <a:lnTo>
                      <a:pt x="321" y="374"/>
                    </a:lnTo>
                    <a:lnTo>
                      <a:pt x="321" y="374"/>
                    </a:lnTo>
                    <a:lnTo>
                      <a:pt x="319" y="374"/>
                    </a:lnTo>
                    <a:lnTo>
                      <a:pt x="317" y="374"/>
                    </a:lnTo>
                    <a:lnTo>
                      <a:pt x="314" y="371"/>
                    </a:lnTo>
                    <a:lnTo>
                      <a:pt x="312" y="371"/>
                    </a:lnTo>
                    <a:lnTo>
                      <a:pt x="312" y="369"/>
                    </a:lnTo>
                    <a:lnTo>
                      <a:pt x="310" y="367"/>
                    </a:lnTo>
                    <a:lnTo>
                      <a:pt x="307" y="367"/>
                    </a:lnTo>
                    <a:lnTo>
                      <a:pt x="303" y="362"/>
                    </a:lnTo>
                    <a:lnTo>
                      <a:pt x="303" y="362"/>
                    </a:lnTo>
                    <a:lnTo>
                      <a:pt x="303" y="360"/>
                    </a:lnTo>
                    <a:lnTo>
                      <a:pt x="300" y="357"/>
                    </a:lnTo>
                    <a:lnTo>
                      <a:pt x="300" y="357"/>
                    </a:lnTo>
                    <a:lnTo>
                      <a:pt x="300" y="355"/>
                    </a:lnTo>
                    <a:lnTo>
                      <a:pt x="300" y="355"/>
                    </a:lnTo>
                    <a:lnTo>
                      <a:pt x="300" y="350"/>
                    </a:lnTo>
                    <a:lnTo>
                      <a:pt x="303" y="345"/>
                    </a:lnTo>
                    <a:lnTo>
                      <a:pt x="303" y="343"/>
                    </a:lnTo>
                    <a:lnTo>
                      <a:pt x="303" y="338"/>
                    </a:lnTo>
                    <a:lnTo>
                      <a:pt x="305" y="336"/>
                    </a:lnTo>
                    <a:lnTo>
                      <a:pt x="305" y="334"/>
                    </a:lnTo>
                    <a:lnTo>
                      <a:pt x="305" y="331"/>
                    </a:lnTo>
                    <a:lnTo>
                      <a:pt x="305" y="329"/>
                    </a:lnTo>
                    <a:lnTo>
                      <a:pt x="305" y="324"/>
                    </a:lnTo>
                    <a:lnTo>
                      <a:pt x="305" y="322"/>
                    </a:lnTo>
                    <a:lnTo>
                      <a:pt x="305" y="319"/>
                    </a:lnTo>
                    <a:lnTo>
                      <a:pt x="305" y="315"/>
                    </a:lnTo>
                    <a:lnTo>
                      <a:pt x="305" y="312"/>
                    </a:lnTo>
                    <a:lnTo>
                      <a:pt x="300" y="308"/>
                    </a:lnTo>
                    <a:lnTo>
                      <a:pt x="300" y="305"/>
                    </a:lnTo>
                    <a:lnTo>
                      <a:pt x="303" y="305"/>
                    </a:lnTo>
                    <a:lnTo>
                      <a:pt x="305" y="303"/>
                    </a:lnTo>
                    <a:lnTo>
                      <a:pt x="307" y="303"/>
                    </a:lnTo>
                    <a:lnTo>
                      <a:pt x="307" y="300"/>
                    </a:lnTo>
                    <a:lnTo>
                      <a:pt x="310" y="298"/>
                    </a:lnTo>
                    <a:lnTo>
                      <a:pt x="310" y="296"/>
                    </a:lnTo>
                    <a:lnTo>
                      <a:pt x="312" y="296"/>
                    </a:lnTo>
                    <a:lnTo>
                      <a:pt x="312" y="293"/>
                    </a:lnTo>
                    <a:lnTo>
                      <a:pt x="310" y="291"/>
                    </a:lnTo>
                    <a:lnTo>
                      <a:pt x="312" y="291"/>
                    </a:lnTo>
                    <a:lnTo>
                      <a:pt x="317" y="289"/>
                    </a:lnTo>
                    <a:lnTo>
                      <a:pt x="321" y="289"/>
                    </a:lnTo>
                    <a:lnTo>
                      <a:pt x="326" y="289"/>
                    </a:lnTo>
                    <a:lnTo>
                      <a:pt x="333" y="286"/>
                    </a:lnTo>
                    <a:lnTo>
                      <a:pt x="338" y="286"/>
                    </a:lnTo>
                    <a:lnTo>
                      <a:pt x="343" y="284"/>
                    </a:lnTo>
                    <a:lnTo>
                      <a:pt x="345" y="284"/>
                    </a:lnTo>
                    <a:lnTo>
                      <a:pt x="345" y="281"/>
                    </a:lnTo>
                    <a:lnTo>
                      <a:pt x="343" y="279"/>
                    </a:lnTo>
                    <a:lnTo>
                      <a:pt x="343" y="277"/>
                    </a:lnTo>
                    <a:lnTo>
                      <a:pt x="340" y="272"/>
                    </a:lnTo>
                    <a:lnTo>
                      <a:pt x="338" y="270"/>
                    </a:lnTo>
                    <a:lnTo>
                      <a:pt x="338" y="267"/>
                    </a:lnTo>
                    <a:lnTo>
                      <a:pt x="338" y="263"/>
                    </a:lnTo>
                    <a:lnTo>
                      <a:pt x="336" y="260"/>
                    </a:lnTo>
                    <a:lnTo>
                      <a:pt x="336" y="258"/>
                    </a:lnTo>
                    <a:lnTo>
                      <a:pt x="333" y="258"/>
                    </a:lnTo>
                    <a:lnTo>
                      <a:pt x="331" y="255"/>
                    </a:lnTo>
                    <a:lnTo>
                      <a:pt x="329" y="253"/>
                    </a:lnTo>
                    <a:lnTo>
                      <a:pt x="326" y="251"/>
                    </a:lnTo>
                    <a:lnTo>
                      <a:pt x="324" y="246"/>
                    </a:lnTo>
                    <a:lnTo>
                      <a:pt x="324" y="244"/>
                    </a:lnTo>
                    <a:lnTo>
                      <a:pt x="321" y="241"/>
                    </a:lnTo>
                    <a:lnTo>
                      <a:pt x="321" y="239"/>
                    </a:lnTo>
                    <a:lnTo>
                      <a:pt x="321" y="237"/>
                    </a:lnTo>
                    <a:lnTo>
                      <a:pt x="324" y="234"/>
                    </a:lnTo>
                    <a:lnTo>
                      <a:pt x="324" y="232"/>
                    </a:lnTo>
                    <a:lnTo>
                      <a:pt x="324" y="229"/>
                    </a:lnTo>
                    <a:lnTo>
                      <a:pt x="324" y="227"/>
                    </a:lnTo>
                    <a:lnTo>
                      <a:pt x="321" y="225"/>
                    </a:lnTo>
                    <a:lnTo>
                      <a:pt x="321" y="222"/>
                    </a:lnTo>
                    <a:lnTo>
                      <a:pt x="321" y="220"/>
                    </a:lnTo>
                    <a:lnTo>
                      <a:pt x="319" y="218"/>
                    </a:lnTo>
                    <a:lnTo>
                      <a:pt x="319" y="215"/>
                    </a:lnTo>
                    <a:lnTo>
                      <a:pt x="319" y="213"/>
                    </a:lnTo>
                    <a:lnTo>
                      <a:pt x="319" y="210"/>
                    </a:lnTo>
                    <a:lnTo>
                      <a:pt x="321" y="206"/>
                    </a:lnTo>
                    <a:lnTo>
                      <a:pt x="321" y="206"/>
                    </a:lnTo>
                    <a:lnTo>
                      <a:pt x="321" y="201"/>
                    </a:lnTo>
                    <a:lnTo>
                      <a:pt x="319" y="199"/>
                    </a:lnTo>
                    <a:lnTo>
                      <a:pt x="317" y="194"/>
                    </a:lnTo>
                    <a:lnTo>
                      <a:pt x="317" y="192"/>
                    </a:lnTo>
                    <a:lnTo>
                      <a:pt x="317" y="189"/>
                    </a:lnTo>
                    <a:lnTo>
                      <a:pt x="317" y="184"/>
                    </a:lnTo>
                    <a:lnTo>
                      <a:pt x="317" y="182"/>
                    </a:lnTo>
                    <a:lnTo>
                      <a:pt x="317" y="180"/>
                    </a:lnTo>
                    <a:lnTo>
                      <a:pt x="317" y="177"/>
                    </a:lnTo>
                    <a:lnTo>
                      <a:pt x="317" y="175"/>
                    </a:lnTo>
                    <a:lnTo>
                      <a:pt x="317" y="173"/>
                    </a:lnTo>
                    <a:lnTo>
                      <a:pt x="314" y="170"/>
                    </a:lnTo>
                    <a:lnTo>
                      <a:pt x="314" y="170"/>
                    </a:lnTo>
                    <a:lnTo>
                      <a:pt x="314" y="170"/>
                    </a:lnTo>
                    <a:lnTo>
                      <a:pt x="314" y="168"/>
                    </a:lnTo>
                    <a:lnTo>
                      <a:pt x="312" y="168"/>
                    </a:lnTo>
                    <a:lnTo>
                      <a:pt x="312" y="168"/>
                    </a:lnTo>
                    <a:lnTo>
                      <a:pt x="312" y="165"/>
                    </a:lnTo>
                    <a:lnTo>
                      <a:pt x="312" y="163"/>
                    </a:lnTo>
                    <a:lnTo>
                      <a:pt x="312" y="161"/>
                    </a:lnTo>
                    <a:lnTo>
                      <a:pt x="312" y="161"/>
                    </a:lnTo>
                    <a:lnTo>
                      <a:pt x="314" y="161"/>
                    </a:lnTo>
                    <a:lnTo>
                      <a:pt x="317" y="158"/>
                    </a:lnTo>
                    <a:lnTo>
                      <a:pt x="317" y="158"/>
                    </a:lnTo>
                    <a:lnTo>
                      <a:pt x="317" y="156"/>
                    </a:lnTo>
                    <a:lnTo>
                      <a:pt x="317" y="154"/>
                    </a:lnTo>
                    <a:lnTo>
                      <a:pt x="317" y="151"/>
                    </a:lnTo>
                    <a:lnTo>
                      <a:pt x="317" y="149"/>
                    </a:lnTo>
                    <a:lnTo>
                      <a:pt x="317" y="147"/>
                    </a:lnTo>
                    <a:lnTo>
                      <a:pt x="319" y="147"/>
                    </a:lnTo>
                    <a:lnTo>
                      <a:pt x="319" y="144"/>
                    </a:lnTo>
                    <a:lnTo>
                      <a:pt x="321" y="142"/>
                    </a:lnTo>
                    <a:lnTo>
                      <a:pt x="321" y="142"/>
                    </a:lnTo>
                    <a:lnTo>
                      <a:pt x="324" y="142"/>
                    </a:lnTo>
                    <a:lnTo>
                      <a:pt x="324" y="139"/>
                    </a:lnTo>
                    <a:lnTo>
                      <a:pt x="324" y="139"/>
                    </a:lnTo>
                    <a:lnTo>
                      <a:pt x="324" y="135"/>
                    </a:lnTo>
                    <a:lnTo>
                      <a:pt x="324" y="132"/>
                    </a:lnTo>
                    <a:lnTo>
                      <a:pt x="324" y="130"/>
                    </a:lnTo>
                    <a:lnTo>
                      <a:pt x="324" y="128"/>
                    </a:lnTo>
                    <a:lnTo>
                      <a:pt x="326" y="125"/>
                    </a:lnTo>
                    <a:lnTo>
                      <a:pt x="326" y="123"/>
                    </a:lnTo>
                    <a:lnTo>
                      <a:pt x="326" y="120"/>
                    </a:lnTo>
                    <a:lnTo>
                      <a:pt x="326" y="113"/>
                    </a:lnTo>
                    <a:lnTo>
                      <a:pt x="326" y="113"/>
                    </a:lnTo>
                    <a:lnTo>
                      <a:pt x="326" y="109"/>
                    </a:lnTo>
                    <a:lnTo>
                      <a:pt x="329" y="109"/>
                    </a:lnTo>
                    <a:lnTo>
                      <a:pt x="329" y="109"/>
                    </a:lnTo>
                    <a:lnTo>
                      <a:pt x="329" y="106"/>
                    </a:lnTo>
                    <a:lnTo>
                      <a:pt x="331" y="102"/>
                    </a:lnTo>
                    <a:lnTo>
                      <a:pt x="331" y="102"/>
                    </a:lnTo>
                    <a:lnTo>
                      <a:pt x="331" y="97"/>
                    </a:lnTo>
                    <a:lnTo>
                      <a:pt x="331" y="94"/>
                    </a:lnTo>
                    <a:lnTo>
                      <a:pt x="331" y="94"/>
                    </a:lnTo>
                    <a:lnTo>
                      <a:pt x="333" y="92"/>
                    </a:lnTo>
                    <a:lnTo>
                      <a:pt x="336" y="90"/>
                    </a:lnTo>
                    <a:lnTo>
                      <a:pt x="336" y="87"/>
                    </a:lnTo>
                    <a:lnTo>
                      <a:pt x="338" y="85"/>
                    </a:lnTo>
                    <a:lnTo>
                      <a:pt x="340" y="85"/>
                    </a:lnTo>
                    <a:lnTo>
                      <a:pt x="340" y="85"/>
                    </a:lnTo>
                    <a:lnTo>
                      <a:pt x="350" y="76"/>
                    </a:lnTo>
                    <a:lnTo>
                      <a:pt x="355" y="71"/>
                    </a:lnTo>
                    <a:lnTo>
                      <a:pt x="355" y="68"/>
                    </a:lnTo>
                    <a:lnTo>
                      <a:pt x="355" y="66"/>
                    </a:lnTo>
                    <a:lnTo>
                      <a:pt x="357" y="66"/>
                    </a:lnTo>
                    <a:lnTo>
                      <a:pt x="355" y="64"/>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170"/>
              <p:cNvSpPr>
                <a:spLocks/>
              </p:cNvSpPr>
              <p:nvPr/>
            </p:nvSpPr>
            <p:spPr bwMode="auto">
              <a:xfrm>
                <a:off x="2971" y="1725"/>
                <a:ext cx="111" cy="52"/>
              </a:xfrm>
              <a:custGeom>
                <a:avLst/>
                <a:gdLst>
                  <a:gd name="T0" fmla="*/ 106 w 111"/>
                  <a:gd name="T1" fmla="*/ 26 h 52"/>
                  <a:gd name="T2" fmla="*/ 102 w 111"/>
                  <a:gd name="T3" fmla="*/ 24 h 52"/>
                  <a:gd name="T4" fmla="*/ 97 w 111"/>
                  <a:gd name="T5" fmla="*/ 21 h 52"/>
                  <a:gd name="T6" fmla="*/ 97 w 111"/>
                  <a:gd name="T7" fmla="*/ 21 h 52"/>
                  <a:gd name="T8" fmla="*/ 92 w 111"/>
                  <a:gd name="T9" fmla="*/ 21 h 52"/>
                  <a:gd name="T10" fmla="*/ 90 w 111"/>
                  <a:gd name="T11" fmla="*/ 19 h 52"/>
                  <a:gd name="T12" fmla="*/ 92 w 111"/>
                  <a:gd name="T13" fmla="*/ 17 h 52"/>
                  <a:gd name="T14" fmla="*/ 88 w 111"/>
                  <a:gd name="T15" fmla="*/ 17 h 52"/>
                  <a:gd name="T16" fmla="*/ 78 w 111"/>
                  <a:gd name="T17" fmla="*/ 14 h 52"/>
                  <a:gd name="T18" fmla="*/ 80 w 111"/>
                  <a:gd name="T19" fmla="*/ 17 h 52"/>
                  <a:gd name="T20" fmla="*/ 76 w 111"/>
                  <a:gd name="T21" fmla="*/ 19 h 52"/>
                  <a:gd name="T22" fmla="*/ 71 w 111"/>
                  <a:gd name="T23" fmla="*/ 17 h 52"/>
                  <a:gd name="T24" fmla="*/ 66 w 111"/>
                  <a:gd name="T25" fmla="*/ 14 h 52"/>
                  <a:gd name="T26" fmla="*/ 69 w 111"/>
                  <a:gd name="T27" fmla="*/ 12 h 52"/>
                  <a:gd name="T28" fmla="*/ 71 w 111"/>
                  <a:gd name="T29" fmla="*/ 10 h 52"/>
                  <a:gd name="T30" fmla="*/ 64 w 111"/>
                  <a:gd name="T31" fmla="*/ 10 h 52"/>
                  <a:gd name="T32" fmla="*/ 61 w 111"/>
                  <a:gd name="T33" fmla="*/ 7 h 52"/>
                  <a:gd name="T34" fmla="*/ 54 w 111"/>
                  <a:gd name="T35" fmla="*/ 5 h 52"/>
                  <a:gd name="T36" fmla="*/ 52 w 111"/>
                  <a:gd name="T37" fmla="*/ 2 h 52"/>
                  <a:gd name="T38" fmla="*/ 47 w 111"/>
                  <a:gd name="T39" fmla="*/ 2 h 52"/>
                  <a:gd name="T40" fmla="*/ 45 w 111"/>
                  <a:gd name="T41" fmla="*/ 5 h 52"/>
                  <a:gd name="T42" fmla="*/ 40 w 111"/>
                  <a:gd name="T43" fmla="*/ 5 h 52"/>
                  <a:gd name="T44" fmla="*/ 40 w 111"/>
                  <a:gd name="T45" fmla="*/ 2 h 52"/>
                  <a:gd name="T46" fmla="*/ 35 w 111"/>
                  <a:gd name="T47" fmla="*/ 0 h 52"/>
                  <a:gd name="T48" fmla="*/ 38 w 111"/>
                  <a:gd name="T49" fmla="*/ 2 h 52"/>
                  <a:gd name="T50" fmla="*/ 31 w 111"/>
                  <a:gd name="T51" fmla="*/ 5 h 52"/>
                  <a:gd name="T52" fmla="*/ 24 w 111"/>
                  <a:gd name="T53" fmla="*/ 7 h 52"/>
                  <a:gd name="T54" fmla="*/ 21 w 111"/>
                  <a:gd name="T55" fmla="*/ 10 h 52"/>
                  <a:gd name="T56" fmla="*/ 19 w 111"/>
                  <a:gd name="T57" fmla="*/ 10 h 52"/>
                  <a:gd name="T58" fmla="*/ 14 w 111"/>
                  <a:gd name="T59" fmla="*/ 14 h 52"/>
                  <a:gd name="T60" fmla="*/ 9 w 111"/>
                  <a:gd name="T61" fmla="*/ 14 h 52"/>
                  <a:gd name="T62" fmla="*/ 5 w 111"/>
                  <a:gd name="T63" fmla="*/ 17 h 52"/>
                  <a:gd name="T64" fmla="*/ 2 w 111"/>
                  <a:gd name="T65" fmla="*/ 17 h 52"/>
                  <a:gd name="T66" fmla="*/ 0 w 111"/>
                  <a:gd name="T67" fmla="*/ 17 h 52"/>
                  <a:gd name="T68" fmla="*/ 2 w 111"/>
                  <a:gd name="T69" fmla="*/ 19 h 52"/>
                  <a:gd name="T70" fmla="*/ 7 w 111"/>
                  <a:gd name="T71" fmla="*/ 24 h 52"/>
                  <a:gd name="T72" fmla="*/ 7 w 111"/>
                  <a:gd name="T73" fmla="*/ 26 h 52"/>
                  <a:gd name="T74" fmla="*/ 7 w 111"/>
                  <a:gd name="T75" fmla="*/ 28 h 52"/>
                  <a:gd name="T76" fmla="*/ 12 w 111"/>
                  <a:gd name="T77" fmla="*/ 36 h 52"/>
                  <a:gd name="T78" fmla="*/ 17 w 111"/>
                  <a:gd name="T79" fmla="*/ 40 h 52"/>
                  <a:gd name="T80" fmla="*/ 21 w 111"/>
                  <a:gd name="T81" fmla="*/ 43 h 52"/>
                  <a:gd name="T82" fmla="*/ 26 w 111"/>
                  <a:gd name="T83" fmla="*/ 45 h 52"/>
                  <a:gd name="T84" fmla="*/ 31 w 111"/>
                  <a:gd name="T85" fmla="*/ 47 h 52"/>
                  <a:gd name="T86" fmla="*/ 38 w 111"/>
                  <a:gd name="T87" fmla="*/ 52 h 52"/>
                  <a:gd name="T88" fmla="*/ 43 w 111"/>
                  <a:gd name="T89" fmla="*/ 52 h 52"/>
                  <a:gd name="T90" fmla="*/ 47 w 111"/>
                  <a:gd name="T91" fmla="*/ 47 h 52"/>
                  <a:gd name="T92" fmla="*/ 50 w 111"/>
                  <a:gd name="T93" fmla="*/ 43 h 52"/>
                  <a:gd name="T94" fmla="*/ 52 w 111"/>
                  <a:gd name="T95" fmla="*/ 43 h 52"/>
                  <a:gd name="T96" fmla="*/ 59 w 111"/>
                  <a:gd name="T97" fmla="*/ 45 h 52"/>
                  <a:gd name="T98" fmla="*/ 69 w 111"/>
                  <a:gd name="T99" fmla="*/ 47 h 52"/>
                  <a:gd name="T100" fmla="*/ 73 w 111"/>
                  <a:gd name="T101" fmla="*/ 47 h 52"/>
                  <a:gd name="T102" fmla="*/ 78 w 111"/>
                  <a:gd name="T103" fmla="*/ 50 h 52"/>
                  <a:gd name="T104" fmla="*/ 80 w 111"/>
                  <a:gd name="T105" fmla="*/ 50 h 52"/>
                  <a:gd name="T106" fmla="*/ 85 w 111"/>
                  <a:gd name="T107" fmla="*/ 45 h 52"/>
                  <a:gd name="T108" fmla="*/ 95 w 111"/>
                  <a:gd name="T109" fmla="*/ 45 h 52"/>
                  <a:gd name="T110" fmla="*/ 97 w 111"/>
                  <a:gd name="T111" fmla="*/ 43 h 52"/>
                  <a:gd name="T112" fmla="*/ 99 w 111"/>
                  <a:gd name="T113" fmla="*/ 38 h 52"/>
                  <a:gd name="T114" fmla="*/ 104 w 111"/>
                  <a:gd name="T115" fmla="*/ 36 h 52"/>
                  <a:gd name="T116" fmla="*/ 106 w 111"/>
                  <a:gd name="T117" fmla="*/ 33 h 52"/>
                  <a:gd name="T118" fmla="*/ 109 w 111"/>
                  <a:gd name="T119" fmla="*/ 31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1" h="52">
                    <a:moveTo>
                      <a:pt x="109" y="31"/>
                    </a:moveTo>
                    <a:lnTo>
                      <a:pt x="109" y="31"/>
                    </a:lnTo>
                    <a:lnTo>
                      <a:pt x="106" y="26"/>
                    </a:lnTo>
                    <a:lnTo>
                      <a:pt x="106" y="26"/>
                    </a:lnTo>
                    <a:lnTo>
                      <a:pt x="106" y="26"/>
                    </a:lnTo>
                    <a:lnTo>
                      <a:pt x="106" y="24"/>
                    </a:lnTo>
                    <a:lnTo>
                      <a:pt x="104" y="24"/>
                    </a:lnTo>
                    <a:lnTo>
                      <a:pt x="102" y="24"/>
                    </a:lnTo>
                    <a:lnTo>
                      <a:pt x="102" y="24"/>
                    </a:lnTo>
                    <a:lnTo>
                      <a:pt x="99" y="24"/>
                    </a:lnTo>
                    <a:lnTo>
                      <a:pt x="99" y="24"/>
                    </a:lnTo>
                    <a:lnTo>
                      <a:pt x="97" y="21"/>
                    </a:lnTo>
                    <a:lnTo>
                      <a:pt x="97" y="21"/>
                    </a:lnTo>
                    <a:lnTo>
                      <a:pt x="97" y="21"/>
                    </a:lnTo>
                    <a:lnTo>
                      <a:pt x="97" y="21"/>
                    </a:lnTo>
                    <a:lnTo>
                      <a:pt x="97" y="21"/>
                    </a:lnTo>
                    <a:lnTo>
                      <a:pt x="97" y="21"/>
                    </a:lnTo>
                    <a:lnTo>
                      <a:pt x="95" y="24"/>
                    </a:lnTo>
                    <a:lnTo>
                      <a:pt x="92" y="21"/>
                    </a:lnTo>
                    <a:lnTo>
                      <a:pt x="92" y="21"/>
                    </a:lnTo>
                    <a:lnTo>
                      <a:pt x="92" y="21"/>
                    </a:lnTo>
                    <a:lnTo>
                      <a:pt x="90" y="19"/>
                    </a:lnTo>
                    <a:lnTo>
                      <a:pt x="90" y="19"/>
                    </a:lnTo>
                    <a:lnTo>
                      <a:pt x="90" y="19"/>
                    </a:lnTo>
                    <a:lnTo>
                      <a:pt x="90" y="19"/>
                    </a:lnTo>
                    <a:lnTo>
                      <a:pt x="92" y="19"/>
                    </a:lnTo>
                    <a:lnTo>
                      <a:pt x="92" y="17"/>
                    </a:lnTo>
                    <a:lnTo>
                      <a:pt x="92" y="17"/>
                    </a:lnTo>
                    <a:lnTo>
                      <a:pt x="92" y="17"/>
                    </a:lnTo>
                    <a:lnTo>
                      <a:pt x="90" y="17"/>
                    </a:lnTo>
                    <a:lnTo>
                      <a:pt x="90" y="17"/>
                    </a:lnTo>
                    <a:lnTo>
                      <a:pt x="88" y="17"/>
                    </a:lnTo>
                    <a:lnTo>
                      <a:pt x="88" y="17"/>
                    </a:lnTo>
                    <a:lnTo>
                      <a:pt x="83" y="14"/>
                    </a:lnTo>
                    <a:lnTo>
                      <a:pt x="80" y="14"/>
                    </a:lnTo>
                    <a:lnTo>
                      <a:pt x="78" y="14"/>
                    </a:lnTo>
                    <a:lnTo>
                      <a:pt x="78" y="14"/>
                    </a:lnTo>
                    <a:lnTo>
                      <a:pt x="78" y="14"/>
                    </a:lnTo>
                    <a:lnTo>
                      <a:pt x="80" y="17"/>
                    </a:lnTo>
                    <a:lnTo>
                      <a:pt x="80" y="17"/>
                    </a:lnTo>
                    <a:lnTo>
                      <a:pt x="78" y="19"/>
                    </a:lnTo>
                    <a:lnTo>
                      <a:pt x="78" y="19"/>
                    </a:lnTo>
                    <a:lnTo>
                      <a:pt x="76" y="19"/>
                    </a:lnTo>
                    <a:lnTo>
                      <a:pt x="76" y="19"/>
                    </a:lnTo>
                    <a:lnTo>
                      <a:pt x="76" y="19"/>
                    </a:lnTo>
                    <a:lnTo>
                      <a:pt x="73" y="19"/>
                    </a:lnTo>
                    <a:lnTo>
                      <a:pt x="73" y="19"/>
                    </a:lnTo>
                    <a:lnTo>
                      <a:pt x="71" y="17"/>
                    </a:lnTo>
                    <a:lnTo>
                      <a:pt x="69" y="14"/>
                    </a:lnTo>
                    <a:lnTo>
                      <a:pt x="69" y="14"/>
                    </a:lnTo>
                    <a:lnTo>
                      <a:pt x="69" y="14"/>
                    </a:lnTo>
                    <a:lnTo>
                      <a:pt x="66" y="14"/>
                    </a:lnTo>
                    <a:lnTo>
                      <a:pt x="66" y="14"/>
                    </a:lnTo>
                    <a:lnTo>
                      <a:pt x="66" y="12"/>
                    </a:lnTo>
                    <a:lnTo>
                      <a:pt x="69" y="12"/>
                    </a:lnTo>
                    <a:lnTo>
                      <a:pt x="69" y="12"/>
                    </a:lnTo>
                    <a:lnTo>
                      <a:pt x="69" y="12"/>
                    </a:lnTo>
                    <a:lnTo>
                      <a:pt x="69" y="12"/>
                    </a:lnTo>
                    <a:lnTo>
                      <a:pt x="71" y="10"/>
                    </a:lnTo>
                    <a:lnTo>
                      <a:pt x="71" y="10"/>
                    </a:lnTo>
                    <a:lnTo>
                      <a:pt x="69" y="10"/>
                    </a:lnTo>
                    <a:lnTo>
                      <a:pt x="69" y="10"/>
                    </a:lnTo>
                    <a:lnTo>
                      <a:pt x="64" y="10"/>
                    </a:lnTo>
                    <a:lnTo>
                      <a:pt x="64" y="10"/>
                    </a:lnTo>
                    <a:lnTo>
                      <a:pt x="64" y="10"/>
                    </a:lnTo>
                    <a:lnTo>
                      <a:pt x="61" y="10"/>
                    </a:lnTo>
                    <a:lnTo>
                      <a:pt x="61" y="7"/>
                    </a:lnTo>
                    <a:lnTo>
                      <a:pt x="61" y="7"/>
                    </a:lnTo>
                    <a:lnTo>
                      <a:pt x="59" y="7"/>
                    </a:lnTo>
                    <a:lnTo>
                      <a:pt x="57" y="7"/>
                    </a:lnTo>
                    <a:lnTo>
                      <a:pt x="54" y="5"/>
                    </a:lnTo>
                    <a:lnTo>
                      <a:pt x="54" y="5"/>
                    </a:lnTo>
                    <a:lnTo>
                      <a:pt x="52" y="5"/>
                    </a:lnTo>
                    <a:lnTo>
                      <a:pt x="52" y="5"/>
                    </a:lnTo>
                    <a:lnTo>
                      <a:pt x="52" y="5"/>
                    </a:lnTo>
                    <a:lnTo>
                      <a:pt x="52" y="2"/>
                    </a:lnTo>
                    <a:lnTo>
                      <a:pt x="50" y="2"/>
                    </a:lnTo>
                    <a:lnTo>
                      <a:pt x="47" y="2"/>
                    </a:lnTo>
                    <a:lnTo>
                      <a:pt x="47" y="2"/>
                    </a:lnTo>
                    <a:lnTo>
                      <a:pt x="47" y="2"/>
                    </a:lnTo>
                    <a:lnTo>
                      <a:pt x="47" y="5"/>
                    </a:lnTo>
                    <a:lnTo>
                      <a:pt x="45" y="5"/>
                    </a:lnTo>
                    <a:lnTo>
                      <a:pt x="45" y="5"/>
                    </a:lnTo>
                    <a:lnTo>
                      <a:pt x="45" y="5"/>
                    </a:lnTo>
                    <a:lnTo>
                      <a:pt x="43" y="5"/>
                    </a:lnTo>
                    <a:lnTo>
                      <a:pt x="43" y="5"/>
                    </a:lnTo>
                    <a:lnTo>
                      <a:pt x="43" y="5"/>
                    </a:lnTo>
                    <a:lnTo>
                      <a:pt x="40" y="5"/>
                    </a:lnTo>
                    <a:lnTo>
                      <a:pt x="40" y="2"/>
                    </a:lnTo>
                    <a:lnTo>
                      <a:pt x="40" y="2"/>
                    </a:lnTo>
                    <a:lnTo>
                      <a:pt x="40" y="2"/>
                    </a:lnTo>
                    <a:lnTo>
                      <a:pt x="40" y="2"/>
                    </a:lnTo>
                    <a:lnTo>
                      <a:pt x="40" y="2"/>
                    </a:lnTo>
                    <a:lnTo>
                      <a:pt x="38" y="0"/>
                    </a:lnTo>
                    <a:lnTo>
                      <a:pt x="35" y="0"/>
                    </a:lnTo>
                    <a:lnTo>
                      <a:pt x="35" y="0"/>
                    </a:lnTo>
                    <a:lnTo>
                      <a:pt x="35" y="2"/>
                    </a:lnTo>
                    <a:lnTo>
                      <a:pt x="35" y="2"/>
                    </a:lnTo>
                    <a:lnTo>
                      <a:pt x="35" y="2"/>
                    </a:lnTo>
                    <a:lnTo>
                      <a:pt x="38" y="2"/>
                    </a:lnTo>
                    <a:lnTo>
                      <a:pt x="38" y="5"/>
                    </a:lnTo>
                    <a:lnTo>
                      <a:pt x="35" y="5"/>
                    </a:lnTo>
                    <a:lnTo>
                      <a:pt x="33" y="5"/>
                    </a:lnTo>
                    <a:lnTo>
                      <a:pt x="31" y="5"/>
                    </a:lnTo>
                    <a:lnTo>
                      <a:pt x="28" y="7"/>
                    </a:lnTo>
                    <a:lnTo>
                      <a:pt x="26" y="7"/>
                    </a:lnTo>
                    <a:lnTo>
                      <a:pt x="24" y="7"/>
                    </a:lnTo>
                    <a:lnTo>
                      <a:pt x="24" y="7"/>
                    </a:lnTo>
                    <a:lnTo>
                      <a:pt x="24" y="10"/>
                    </a:lnTo>
                    <a:lnTo>
                      <a:pt x="21" y="10"/>
                    </a:lnTo>
                    <a:lnTo>
                      <a:pt x="21" y="10"/>
                    </a:lnTo>
                    <a:lnTo>
                      <a:pt x="21" y="10"/>
                    </a:lnTo>
                    <a:lnTo>
                      <a:pt x="21" y="10"/>
                    </a:lnTo>
                    <a:lnTo>
                      <a:pt x="19" y="10"/>
                    </a:lnTo>
                    <a:lnTo>
                      <a:pt x="19" y="10"/>
                    </a:lnTo>
                    <a:lnTo>
                      <a:pt x="19" y="10"/>
                    </a:lnTo>
                    <a:lnTo>
                      <a:pt x="19" y="12"/>
                    </a:lnTo>
                    <a:lnTo>
                      <a:pt x="14" y="12"/>
                    </a:lnTo>
                    <a:lnTo>
                      <a:pt x="14" y="12"/>
                    </a:lnTo>
                    <a:lnTo>
                      <a:pt x="14" y="14"/>
                    </a:lnTo>
                    <a:lnTo>
                      <a:pt x="14" y="14"/>
                    </a:lnTo>
                    <a:lnTo>
                      <a:pt x="12" y="14"/>
                    </a:lnTo>
                    <a:lnTo>
                      <a:pt x="12" y="14"/>
                    </a:lnTo>
                    <a:lnTo>
                      <a:pt x="9" y="14"/>
                    </a:lnTo>
                    <a:lnTo>
                      <a:pt x="9" y="14"/>
                    </a:lnTo>
                    <a:lnTo>
                      <a:pt x="7" y="14"/>
                    </a:lnTo>
                    <a:lnTo>
                      <a:pt x="7" y="14"/>
                    </a:lnTo>
                    <a:lnTo>
                      <a:pt x="5" y="17"/>
                    </a:lnTo>
                    <a:lnTo>
                      <a:pt x="5" y="19"/>
                    </a:lnTo>
                    <a:lnTo>
                      <a:pt x="2" y="19"/>
                    </a:lnTo>
                    <a:lnTo>
                      <a:pt x="2" y="17"/>
                    </a:lnTo>
                    <a:lnTo>
                      <a:pt x="2" y="17"/>
                    </a:lnTo>
                    <a:lnTo>
                      <a:pt x="0" y="17"/>
                    </a:lnTo>
                    <a:lnTo>
                      <a:pt x="0" y="17"/>
                    </a:lnTo>
                    <a:lnTo>
                      <a:pt x="0" y="17"/>
                    </a:lnTo>
                    <a:lnTo>
                      <a:pt x="0" y="17"/>
                    </a:lnTo>
                    <a:lnTo>
                      <a:pt x="0" y="17"/>
                    </a:lnTo>
                    <a:lnTo>
                      <a:pt x="2" y="19"/>
                    </a:lnTo>
                    <a:lnTo>
                      <a:pt x="2" y="19"/>
                    </a:lnTo>
                    <a:lnTo>
                      <a:pt x="2" y="19"/>
                    </a:lnTo>
                    <a:lnTo>
                      <a:pt x="2" y="21"/>
                    </a:lnTo>
                    <a:lnTo>
                      <a:pt x="5" y="21"/>
                    </a:lnTo>
                    <a:lnTo>
                      <a:pt x="7" y="24"/>
                    </a:lnTo>
                    <a:lnTo>
                      <a:pt x="7" y="24"/>
                    </a:lnTo>
                    <a:lnTo>
                      <a:pt x="7" y="24"/>
                    </a:lnTo>
                    <a:lnTo>
                      <a:pt x="7" y="26"/>
                    </a:lnTo>
                    <a:lnTo>
                      <a:pt x="7" y="26"/>
                    </a:lnTo>
                    <a:lnTo>
                      <a:pt x="7" y="26"/>
                    </a:lnTo>
                    <a:lnTo>
                      <a:pt x="5" y="28"/>
                    </a:lnTo>
                    <a:lnTo>
                      <a:pt x="5" y="28"/>
                    </a:lnTo>
                    <a:lnTo>
                      <a:pt x="7" y="28"/>
                    </a:lnTo>
                    <a:lnTo>
                      <a:pt x="7" y="28"/>
                    </a:lnTo>
                    <a:lnTo>
                      <a:pt x="7" y="31"/>
                    </a:lnTo>
                    <a:lnTo>
                      <a:pt x="9" y="33"/>
                    </a:lnTo>
                    <a:lnTo>
                      <a:pt x="9" y="33"/>
                    </a:lnTo>
                    <a:lnTo>
                      <a:pt x="12" y="36"/>
                    </a:lnTo>
                    <a:lnTo>
                      <a:pt x="12" y="36"/>
                    </a:lnTo>
                    <a:lnTo>
                      <a:pt x="14" y="36"/>
                    </a:lnTo>
                    <a:lnTo>
                      <a:pt x="17" y="38"/>
                    </a:lnTo>
                    <a:lnTo>
                      <a:pt x="17" y="40"/>
                    </a:lnTo>
                    <a:lnTo>
                      <a:pt x="19" y="40"/>
                    </a:lnTo>
                    <a:lnTo>
                      <a:pt x="19" y="40"/>
                    </a:lnTo>
                    <a:lnTo>
                      <a:pt x="21" y="43"/>
                    </a:lnTo>
                    <a:lnTo>
                      <a:pt x="21" y="43"/>
                    </a:lnTo>
                    <a:lnTo>
                      <a:pt x="21" y="43"/>
                    </a:lnTo>
                    <a:lnTo>
                      <a:pt x="24" y="43"/>
                    </a:lnTo>
                    <a:lnTo>
                      <a:pt x="24" y="43"/>
                    </a:lnTo>
                    <a:lnTo>
                      <a:pt x="26" y="45"/>
                    </a:lnTo>
                    <a:lnTo>
                      <a:pt x="28" y="47"/>
                    </a:lnTo>
                    <a:lnTo>
                      <a:pt x="28" y="47"/>
                    </a:lnTo>
                    <a:lnTo>
                      <a:pt x="28" y="47"/>
                    </a:lnTo>
                    <a:lnTo>
                      <a:pt x="31" y="47"/>
                    </a:lnTo>
                    <a:lnTo>
                      <a:pt x="31" y="50"/>
                    </a:lnTo>
                    <a:lnTo>
                      <a:pt x="33" y="50"/>
                    </a:lnTo>
                    <a:lnTo>
                      <a:pt x="35" y="52"/>
                    </a:lnTo>
                    <a:lnTo>
                      <a:pt x="38" y="52"/>
                    </a:lnTo>
                    <a:lnTo>
                      <a:pt x="38" y="50"/>
                    </a:lnTo>
                    <a:lnTo>
                      <a:pt x="40" y="50"/>
                    </a:lnTo>
                    <a:lnTo>
                      <a:pt x="40" y="50"/>
                    </a:lnTo>
                    <a:lnTo>
                      <a:pt x="43" y="52"/>
                    </a:lnTo>
                    <a:lnTo>
                      <a:pt x="43" y="50"/>
                    </a:lnTo>
                    <a:lnTo>
                      <a:pt x="45" y="47"/>
                    </a:lnTo>
                    <a:lnTo>
                      <a:pt x="45" y="47"/>
                    </a:lnTo>
                    <a:lnTo>
                      <a:pt x="47" y="47"/>
                    </a:lnTo>
                    <a:lnTo>
                      <a:pt x="47" y="47"/>
                    </a:lnTo>
                    <a:lnTo>
                      <a:pt x="47" y="43"/>
                    </a:lnTo>
                    <a:lnTo>
                      <a:pt x="47" y="43"/>
                    </a:lnTo>
                    <a:lnTo>
                      <a:pt x="50" y="43"/>
                    </a:lnTo>
                    <a:lnTo>
                      <a:pt x="50" y="43"/>
                    </a:lnTo>
                    <a:lnTo>
                      <a:pt x="50" y="45"/>
                    </a:lnTo>
                    <a:lnTo>
                      <a:pt x="52" y="43"/>
                    </a:lnTo>
                    <a:lnTo>
                      <a:pt x="52" y="43"/>
                    </a:lnTo>
                    <a:lnTo>
                      <a:pt x="52" y="43"/>
                    </a:lnTo>
                    <a:lnTo>
                      <a:pt x="54" y="43"/>
                    </a:lnTo>
                    <a:lnTo>
                      <a:pt x="57" y="45"/>
                    </a:lnTo>
                    <a:lnTo>
                      <a:pt x="59" y="45"/>
                    </a:lnTo>
                    <a:lnTo>
                      <a:pt x="61" y="45"/>
                    </a:lnTo>
                    <a:lnTo>
                      <a:pt x="61" y="45"/>
                    </a:lnTo>
                    <a:lnTo>
                      <a:pt x="66" y="47"/>
                    </a:lnTo>
                    <a:lnTo>
                      <a:pt x="69" y="47"/>
                    </a:lnTo>
                    <a:lnTo>
                      <a:pt x="71" y="47"/>
                    </a:lnTo>
                    <a:lnTo>
                      <a:pt x="71" y="47"/>
                    </a:lnTo>
                    <a:lnTo>
                      <a:pt x="73" y="47"/>
                    </a:lnTo>
                    <a:lnTo>
                      <a:pt x="73" y="47"/>
                    </a:lnTo>
                    <a:lnTo>
                      <a:pt x="73" y="47"/>
                    </a:lnTo>
                    <a:lnTo>
                      <a:pt x="76" y="47"/>
                    </a:lnTo>
                    <a:lnTo>
                      <a:pt x="78" y="47"/>
                    </a:lnTo>
                    <a:lnTo>
                      <a:pt x="78" y="50"/>
                    </a:lnTo>
                    <a:lnTo>
                      <a:pt x="78" y="50"/>
                    </a:lnTo>
                    <a:lnTo>
                      <a:pt x="80" y="50"/>
                    </a:lnTo>
                    <a:lnTo>
                      <a:pt x="80" y="52"/>
                    </a:lnTo>
                    <a:lnTo>
                      <a:pt x="80" y="50"/>
                    </a:lnTo>
                    <a:lnTo>
                      <a:pt x="83" y="47"/>
                    </a:lnTo>
                    <a:lnTo>
                      <a:pt x="83" y="45"/>
                    </a:lnTo>
                    <a:lnTo>
                      <a:pt x="83" y="45"/>
                    </a:lnTo>
                    <a:lnTo>
                      <a:pt x="85" y="45"/>
                    </a:lnTo>
                    <a:lnTo>
                      <a:pt x="88" y="47"/>
                    </a:lnTo>
                    <a:lnTo>
                      <a:pt x="90" y="45"/>
                    </a:lnTo>
                    <a:lnTo>
                      <a:pt x="92" y="45"/>
                    </a:lnTo>
                    <a:lnTo>
                      <a:pt x="95" y="45"/>
                    </a:lnTo>
                    <a:lnTo>
                      <a:pt x="95" y="43"/>
                    </a:lnTo>
                    <a:lnTo>
                      <a:pt x="95" y="43"/>
                    </a:lnTo>
                    <a:lnTo>
                      <a:pt x="97" y="43"/>
                    </a:lnTo>
                    <a:lnTo>
                      <a:pt x="97" y="43"/>
                    </a:lnTo>
                    <a:lnTo>
                      <a:pt x="99" y="40"/>
                    </a:lnTo>
                    <a:lnTo>
                      <a:pt x="99" y="40"/>
                    </a:lnTo>
                    <a:lnTo>
                      <a:pt x="99" y="38"/>
                    </a:lnTo>
                    <a:lnTo>
                      <a:pt x="99" y="38"/>
                    </a:lnTo>
                    <a:lnTo>
                      <a:pt x="99" y="38"/>
                    </a:lnTo>
                    <a:lnTo>
                      <a:pt x="102" y="36"/>
                    </a:lnTo>
                    <a:lnTo>
                      <a:pt x="102" y="36"/>
                    </a:lnTo>
                    <a:lnTo>
                      <a:pt x="104" y="36"/>
                    </a:lnTo>
                    <a:lnTo>
                      <a:pt x="104" y="33"/>
                    </a:lnTo>
                    <a:lnTo>
                      <a:pt x="104" y="33"/>
                    </a:lnTo>
                    <a:lnTo>
                      <a:pt x="106" y="33"/>
                    </a:lnTo>
                    <a:lnTo>
                      <a:pt x="106" y="33"/>
                    </a:lnTo>
                    <a:lnTo>
                      <a:pt x="109" y="33"/>
                    </a:lnTo>
                    <a:lnTo>
                      <a:pt x="109" y="33"/>
                    </a:lnTo>
                    <a:lnTo>
                      <a:pt x="111" y="33"/>
                    </a:lnTo>
                    <a:lnTo>
                      <a:pt x="109" y="31"/>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171"/>
              <p:cNvSpPr>
                <a:spLocks/>
              </p:cNvSpPr>
              <p:nvPr/>
            </p:nvSpPr>
            <p:spPr bwMode="auto">
              <a:xfrm>
                <a:off x="3328" y="2047"/>
                <a:ext cx="38" cy="21"/>
              </a:xfrm>
              <a:custGeom>
                <a:avLst/>
                <a:gdLst>
                  <a:gd name="T0" fmla="*/ 38 w 38"/>
                  <a:gd name="T1" fmla="*/ 0 h 21"/>
                  <a:gd name="T2" fmla="*/ 38 w 38"/>
                  <a:gd name="T3" fmla="*/ 0 h 21"/>
                  <a:gd name="T4" fmla="*/ 36 w 38"/>
                  <a:gd name="T5" fmla="*/ 0 h 21"/>
                  <a:gd name="T6" fmla="*/ 33 w 38"/>
                  <a:gd name="T7" fmla="*/ 0 h 21"/>
                  <a:gd name="T8" fmla="*/ 33 w 38"/>
                  <a:gd name="T9" fmla="*/ 2 h 21"/>
                  <a:gd name="T10" fmla="*/ 31 w 38"/>
                  <a:gd name="T11" fmla="*/ 2 h 21"/>
                  <a:gd name="T12" fmla="*/ 24 w 38"/>
                  <a:gd name="T13" fmla="*/ 5 h 21"/>
                  <a:gd name="T14" fmla="*/ 21 w 38"/>
                  <a:gd name="T15" fmla="*/ 5 h 21"/>
                  <a:gd name="T16" fmla="*/ 17 w 38"/>
                  <a:gd name="T17" fmla="*/ 5 h 21"/>
                  <a:gd name="T18" fmla="*/ 14 w 38"/>
                  <a:gd name="T19" fmla="*/ 5 h 21"/>
                  <a:gd name="T20" fmla="*/ 12 w 38"/>
                  <a:gd name="T21" fmla="*/ 5 h 21"/>
                  <a:gd name="T22" fmla="*/ 12 w 38"/>
                  <a:gd name="T23" fmla="*/ 7 h 21"/>
                  <a:gd name="T24" fmla="*/ 10 w 38"/>
                  <a:gd name="T25" fmla="*/ 10 h 21"/>
                  <a:gd name="T26" fmla="*/ 10 w 38"/>
                  <a:gd name="T27" fmla="*/ 10 h 21"/>
                  <a:gd name="T28" fmla="*/ 7 w 38"/>
                  <a:gd name="T29" fmla="*/ 10 h 21"/>
                  <a:gd name="T30" fmla="*/ 7 w 38"/>
                  <a:gd name="T31" fmla="*/ 10 h 21"/>
                  <a:gd name="T32" fmla="*/ 5 w 38"/>
                  <a:gd name="T33" fmla="*/ 10 h 21"/>
                  <a:gd name="T34" fmla="*/ 3 w 38"/>
                  <a:gd name="T35" fmla="*/ 12 h 21"/>
                  <a:gd name="T36" fmla="*/ 3 w 38"/>
                  <a:gd name="T37" fmla="*/ 12 h 21"/>
                  <a:gd name="T38" fmla="*/ 0 w 38"/>
                  <a:gd name="T39" fmla="*/ 12 h 21"/>
                  <a:gd name="T40" fmla="*/ 0 w 38"/>
                  <a:gd name="T41" fmla="*/ 14 h 21"/>
                  <a:gd name="T42" fmla="*/ 3 w 38"/>
                  <a:gd name="T43" fmla="*/ 19 h 21"/>
                  <a:gd name="T44" fmla="*/ 3 w 38"/>
                  <a:gd name="T45" fmla="*/ 19 h 21"/>
                  <a:gd name="T46" fmla="*/ 5 w 38"/>
                  <a:gd name="T47" fmla="*/ 19 h 21"/>
                  <a:gd name="T48" fmla="*/ 7 w 38"/>
                  <a:gd name="T49" fmla="*/ 21 h 21"/>
                  <a:gd name="T50" fmla="*/ 10 w 38"/>
                  <a:gd name="T51" fmla="*/ 21 h 21"/>
                  <a:gd name="T52" fmla="*/ 12 w 38"/>
                  <a:gd name="T53" fmla="*/ 21 h 21"/>
                  <a:gd name="T54" fmla="*/ 12 w 38"/>
                  <a:gd name="T55" fmla="*/ 21 h 21"/>
                  <a:gd name="T56" fmla="*/ 12 w 38"/>
                  <a:gd name="T57" fmla="*/ 21 h 21"/>
                  <a:gd name="T58" fmla="*/ 14 w 38"/>
                  <a:gd name="T59" fmla="*/ 21 h 21"/>
                  <a:gd name="T60" fmla="*/ 14 w 38"/>
                  <a:gd name="T61" fmla="*/ 21 h 21"/>
                  <a:gd name="T62" fmla="*/ 14 w 38"/>
                  <a:gd name="T63" fmla="*/ 21 h 21"/>
                  <a:gd name="T64" fmla="*/ 14 w 38"/>
                  <a:gd name="T65" fmla="*/ 19 h 21"/>
                  <a:gd name="T66" fmla="*/ 14 w 38"/>
                  <a:gd name="T67" fmla="*/ 19 h 21"/>
                  <a:gd name="T68" fmla="*/ 17 w 38"/>
                  <a:gd name="T69" fmla="*/ 19 h 21"/>
                  <a:gd name="T70" fmla="*/ 19 w 38"/>
                  <a:gd name="T71" fmla="*/ 19 h 21"/>
                  <a:gd name="T72" fmla="*/ 21 w 38"/>
                  <a:gd name="T73" fmla="*/ 19 h 21"/>
                  <a:gd name="T74" fmla="*/ 21 w 38"/>
                  <a:gd name="T75" fmla="*/ 17 h 21"/>
                  <a:gd name="T76" fmla="*/ 26 w 38"/>
                  <a:gd name="T77" fmla="*/ 14 h 21"/>
                  <a:gd name="T78" fmla="*/ 26 w 38"/>
                  <a:gd name="T79" fmla="*/ 14 h 21"/>
                  <a:gd name="T80" fmla="*/ 26 w 38"/>
                  <a:gd name="T81" fmla="*/ 14 h 21"/>
                  <a:gd name="T82" fmla="*/ 29 w 38"/>
                  <a:gd name="T83" fmla="*/ 14 h 21"/>
                  <a:gd name="T84" fmla="*/ 31 w 38"/>
                  <a:gd name="T85" fmla="*/ 14 h 21"/>
                  <a:gd name="T86" fmla="*/ 31 w 38"/>
                  <a:gd name="T87" fmla="*/ 12 h 21"/>
                  <a:gd name="T88" fmla="*/ 31 w 38"/>
                  <a:gd name="T89" fmla="*/ 12 h 21"/>
                  <a:gd name="T90" fmla="*/ 29 w 38"/>
                  <a:gd name="T91" fmla="*/ 10 h 21"/>
                  <a:gd name="T92" fmla="*/ 29 w 38"/>
                  <a:gd name="T93" fmla="*/ 10 h 21"/>
                  <a:gd name="T94" fmla="*/ 29 w 38"/>
                  <a:gd name="T95" fmla="*/ 7 h 21"/>
                  <a:gd name="T96" fmla="*/ 38 w 38"/>
                  <a:gd name="T9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8" h="21">
                    <a:moveTo>
                      <a:pt x="38" y="0"/>
                    </a:moveTo>
                    <a:lnTo>
                      <a:pt x="38" y="0"/>
                    </a:lnTo>
                    <a:lnTo>
                      <a:pt x="36" y="0"/>
                    </a:lnTo>
                    <a:lnTo>
                      <a:pt x="33" y="0"/>
                    </a:lnTo>
                    <a:lnTo>
                      <a:pt x="33" y="2"/>
                    </a:lnTo>
                    <a:lnTo>
                      <a:pt x="31" y="2"/>
                    </a:lnTo>
                    <a:lnTo>
                      <a:pt x="24" y="5"/>
                    </a:lnTo>
                    <a:lnTo>
                      <a:pt x="21" y="5"/>
                    </a:lnTo>
                    <a:lnTo>
                      <a:pt x="17" y="5"/>
                    </a:lnTo>
                    <a:lnTo>
                      <a:pt x="14" y="5"/>
                    </a:lnTo>
                    <a:lnTo>
                      <a:pt x="12" y="5"/>
                    </a:lnTo>
                    <a:lnTo>
                      <a:pt x="12" y="7"/>
                    </a:lnTo>
                    <a:lnTo>
                      <a:pt x="10" y="10"/>
                    </a:lnTo>
                    <a:lnTo>
                      <a:pt x="10" y="10"/>
                    </a:lnTo>
                    <a:lnTo>
                      <a:pt x="7" y="10"/>
                    </a:lnTo>
                    <a:lnTo>
                      <a:pt x="7" y="10"/>
                    </a:lnTo>
                    <a:lnTo>
                      <a:pt x="5" y="10"/>
                    </a:lnTo>
                    <a:lnTo>
                      <a:pt x="3" y="12"/>
                    </a:lnTo>
                    <a:lnTo>
                      <a:pt x="3" y="12"/>
                    </a:lnTo>
                    <a:lnTo>
                      <a:pt x="0" y="12"/>
                    </a:lnTo>
                    <a:lnTo>
                      <a:pt x="0" y="14"/>
                    </a:lnTo>
                    <a:lnTo>
                      <a:pt x="3" y="19"/>
                    </a:lnTo>
                    <a:lnTo>
                      <a:pt x="3" y="19"/>
                    </a:lnTo>
                    <a:lnTo>
                      <a:pt x="5" y="19"/>
                    </a:lnTo>
                    <a:lnTo>
                      <a:pt x="7" y="21"/>
                    </a:lnTo>
                    <a:lnTo>
                      <a:pt x="10" y="21"/>
                    </a:lnTo>
                    <a:lnTo>
                      <a:pt x="12" y="21"/>
                    </a:lnTo>
                    <a:lnTo>
                      <a:pt x="12" y="21"/>
                    </a:lnTo>
                    <a:lnTo>
                      <a:pt x="12" y="21"/>
                    </a:lnTo>
                    <a:lnTo>
                      <a:pt x="14" y="21"/>
                    </a:lnTo>
                    <a:lnTo>
                      <a:pt x="14" y="21"/>
                    </a:lnTo>
                    <a:lnTo>
                      <a:pt x="14" y="21"/>
                    </a:lnTo>
                    <a:lnTo>
                      <a:pt x="14" y="19"/>
                    </a:lnTo>
                    <a:lnTo>
                      <a:pt x="14" y="19"/>
                    </a:lnTo>
                    <a:lnTo>
                      <a:pt x="17" y="19"/>
                    </a:lnTo>
                    <a:lnTo>
                      <a:pt x="19" y="19"/>
                    </a:lnTo>
                    <a:lnTo>
                      <a:pt x="21" y="19"/>
                    </a:lnTo>
                    <a:lnTo>
                      <a:pt x="21" y="17"/>
                    </a:lnTo>
                    <a:lnTo>
                      <a:pt x="26" y="14"/>
                    </a:lnTo>
                    <a:lnTo>
                      <a:pt x="26" y="14"/>
                    </a:lnTo>
                    <a:lnTo>
                      <a:pt x="26" y="14"/>
                    </a:lnTo>
                    <a:lnTo>
                      <a:pt x="29" y="14"/>
                    </a:lnTo>
                    <a:lnTo>
                      <a:pt x="31" y="14"/>
                    </a:lnTo>
                    <a:lnTo>
                      <a:pt x="31" y="12"/>
                    </a:lnTo>
                    <a:lnTo>
                      <a:pt x="31" y="12"/>
                    </a:lnTo>
                    <a:lnTo>
                      <a:pt x="29" y="10"/>
                    </a:lnTo>
                    <a:lnTo>
                      <a:pt x="29" y="10"/>
                    </a:lnTo>
                    <a:lnTo>
                      <a:pt x="29" y="7"/>
                    </a:lnTo>
                    <a:lnTo>
                      <a:pt x="38" y="0"/>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172"/>
              <p:cNvSpPr>
                <a:spLocks/>
              </p:cNvSpPr>
              <p:nvPr/>
            </p:nvSpPr>
            <p:spPr bwMode="auto">
              <a:xfrm>
                <a:off x="1469" y="2537"/>
                <a:ext cx="7" cy="7"/>
              </a:xfrm>
              <a:custGeom>
                <a:avLst/>
                <a:gdLst>
                  <a:gd name="T0" fmla="*/ 5 w 7"/>
                  <a:gd name="T1" fmla="*/ 5 h 7"/>
                  <a:gd name="T2" fmla="*/ 2 w 7"/>
                  <a:gd name="T3" fmla="*/ 5 h 7"/>
                  <a:gd name="T4" fmla="*/ 0 w 7"/>
                  <a:gd name="T5" fmla="*/ 3 h 7"/>
                  <a:gd name="T6" fmla="*/ 0 w 7"/>
                  <a:gd name="T7" fmla="*/ 3 h 7"/>
                  <a:gd name="T8" fmla="*/ 0 w 7"/>
                  <a:gd name="T9" fmla="*/ 0 h 7"/>
                  <a:gd name="T10" fmla="*/ 0 w 7"/>
                  <a:gd name="T11" fmla="*/ 3 h 7"/>
                  <a:gd name="T12" fmla="*/ 2 w 7"/>
                  <a:gd name="T13" fmla="*/ 7 h 7"/>
                  <a:gd name="T14" fmla="*/ 5 w 7"/>
                  <a:gd name="T15" fmla="*/ 7 h 7"/>
                  <a:gd name="T16" fmla="*/ 7 w 7"/>
                  <a:gd name="T17" fmla="*/ 7 h 7"/>
                  <a:gd name="T18" fmla="*/ 5 w 7"/>
                  <a:gd name="T19"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7">
                    <a:moveTo>
                      <a:pt x="5" y="5"/>
                    </a:moveTo>
                    <a:lnTo>
                      <a:pt x="2" y="5"/>
                    </a:lnTo>
                    <a:lnTo>
                      <a:pt x="0" y="3"/>
                    </a:lnTo>
                    <a:lnTo>
                      <a:pt x="0" y="3"/>
                    </a:lnTo>
                    <a:lnTo>
                      <a:pt x="0" y="0"/>
                    </a:lnTo>
                    <a:lnTo>
                      <a:pt x="0" y="3"/>
                    </a:lnTo>
                    <a:lnTo>
                      <a:pt x="2" y="7"/>
                    </a:lnTo>
                    <a:lnTo>
                      <a:pt x="5" y="7"/>
                    </a:lnTo>
                    <a:lnTo>
                      <a:pt x="7" y="7"/>
                    </a:lnTo>
                    <a:lnTo>
                      <a:pt x="5" y="5"/>
                    </a:lnTo>
                    <a:close/>
                  </a:path>
                </a:pathLst>
              </a:custGeom>
              <a:solidFill>
                <a:srgbClr val="8787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1" name="Freeform 173"/>
              <p:cNvSpPr>
                <a:spLocks/>
              </p:cNvSpPr>
              <p:nvPr/>
            </p:nvSpPr>
            <p:spPr bwMode="auto">
              <a:xfrm>
                <a:off x="1469" y="2537"/>
                <a:ext cx="7" cy="7"/>
              </a:xfrm>
              <a:custGeom>
                <a:avLst/>
                <a:gdLst>
                  <a:gd name="T0" fmla="*/ 5 w 7"/>
                  <a:gd name="T1" fmla="*/ 5 h 7"/>
                  <a:gd name="T2" fmla="*/ 2 w 7"/>
                  <a:gd name="T3" fmla="*/ 5 h 7"/>
                  <a:gd name="T4" fmla="*/ 0 w 7"/>
                  <a:gd name="T5" fmla="*/ 3 h 7"/>
                  <a:gd name="T6" fmla="*/ 0 w 7"/>
                  <a:gd name="T7" fmla="*/ 3 h 7"/>
                  <a:gd name="T8" fmla="*/ 0 w 7"/>
                  <a:gd name="T9" fmla="*/ 0 h 7"/>
                  <a:gd name="T10" fmla="*/ 0 w 7"/>
                  <a:gd name="T11" fmla="*/ 3 h 7"/>
                  <a:gd name="T12" fmla="*/ 2 w 7"/>
                  <a:gd name="T13" fmla="*/ 7 h 7"/>
                  <a:gd name="T14" fmla="*/ 5 w 7"/>
                  <a:gd name="T15" fmla="*/ 7 h 7"/>
                  <a:gd name="T16" fmla="*/ 7 w 7"/>
                  <a:gd name="T17" fmla="*/ 7 h 7"/>
                  <a:gd name="T18" fmla="*/ 5 w 7"/>
                  <a:gd name="T19"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7">
                    <a:moveTo>
                      <a:pt x="5" y="5"/>
                    </a:moveTo>
                    <a:lnTo>
                      <a:pt x="2" y="5"/>
                    </a:lnTo>
                    <a:lnTo>
                      <a:pt x="0" y="3"/>
                    </a:lnTo>
                    <a:lnTo>
                      <a:pt x="0" y="3"/>
                    </a:lnTo>
                    <a:lnTo>
                      <a:pt x="0" y="0"/>
                    </a:lnTo>
                    <a:lnTo>
                      <a:pt x="0" y="3"/>
                    </a:lnTo>
                    <a:lnTo>
                      <a:pt x="2" y="7"/>
                    </a:lnTo>
                    <a:lnTo>
                      <a:pt x="5" y="7"/>
                    </a:lnTo>
                    <a:lnTo>
                      <a:pt x="7" y="7"/>
                    </a:lnTo>
                    <a:lnTo>
                      <a:pt x="5" y="5"/>
                    </a:lnTo>
                    <a:close/>
                  </a:path>
                </a:pathLst>
              </a:custGeom>
              <a:noFill/>
              <a:ln w="3175" cap="rnd">
                <a:solidFill>
                  <a:srgbClr val="F9F9F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02" name="Freeform 174"/>
              <p:cNvSpPr>
                <a:spLocks/>
              </p:cNvSpPr>
              <p:nvPr/>
            </p:nvSpPr>
            <p:spPr bwMode="auto">
              <a:xfrm>
                <a:off x="1469" y="2537"/>
                <a:ext cx="7" cy="7"/>
              </a:xfrm>
              <a:custGeom>
                <a:avLst/>
                <a:gdLst>
                  <a:gd name="T0" fmla="*/ 5 w 7"/>
                  <a:gd name="T1" fmla="*/ 5 h 7"/>
                  <a:gd name="T2" fmla="*/ 2 w 7"/>
                  <a:gd name="T3" fmla="*/ 5 h 7"/>
                  <a:gd name="T4" fmla="*/ 0 w 7"/>
                  <a:gd name="T5" fmla="*/ 3 h 7"/>
                  <a:gd name="T6" fmla="*/ 0 w 7"/>
                  <a:gd name="T7" fmla="*/ 3 h 7"/>
                  <a:gd name="T8" fmla="*/ 0 w 7"/>
                  <a:gd name="T9" fmla="*/ 0 h 7"/>
                  <a:gd name="T10" fmla="*/ 0 w 7"/>
                  <a:gd name="T11" fmla="*/ 3 h 7"/>
                  <a:gd name="T12" fmla="*/ 2 w 7"/>
                  <a:gd name="T13" fmla="*/ 7 h 7"/>
                  <a:gd name="T14" fmla="*/ 5 w 7"/>
                  <a:gd name="T15" fmla="*/ 7 h 7"/>
                  <a:gd name="T16" fmla="*/ 7 w 7"/>
                  <a:gd name="T17" fmla="*/ 7 h 7"/>
                  <a:gd name="T18" fmla="*/ 5 w 7"/>
                  <a:gd name="T19"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7">
                    <a:moveTo>
                      <a:pt x="5" y="5"/>
                    </a:moveTo>
                    <a:lnTo>
                      <a:pt x="2" y="5"/>
                    </a:lnTo>
                    <a:lnTo>
                      <a:pt x="0" y="3"/>
                    </a:lnTo>
                    <a:lnTo>
                      <a:pt x="0" y="3"/>
                    </a:lnTo>
                    <a:lnTo>
                      <a:pt x="0" y="0"/>
                    </a:lnTo>
                    <a:lnTo>
                      <a:pt x="0" y="3"/>
                    </a:lnTo>
                    <a:lnTo>
                      <a:pt x="2" y="7"/>
                    </a:lnTo>
                    <a:lnTo>
                      <a:pt x="5" y="7"/>
                    </a:lnTo>
                    <a:lnTo>
                      <a:pt x="7" y="7"/>
                    </a:lnTo>
                    <a:lnTo>
                      <a:pt x="5" y="5"/>
                    </a:lnTo>
                    <a:close/>
                  </a:path>
                </a:pathLst>
              </a:custGeom>
              <a:solidFill>
                <a:srgbClr val="8787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3" name="Freeform 175"/>
              <p:cNvSpPr>
                <a:spLocks/>
              </p:cNvSpPr>
              <p:nvPr/>
            </p:nvSpPr>
            <p:spPr bwMode="auto">
              <a:xfrm>
                <a:off x="1469" y="2537"/>
                <a:ext cx="7" cy="7"/>
              </a:xfrm>
              <a:custGeom>
                <a:avLst/>
                <a:gdLst>
                  <a:gd name="T0" fmla="*/ 5 w 7"/>
                  <a:gd name="T1" fmla="*/ 5 h 7"/>
                  <a:gd name="T2" fmla="*/ 2 w 7"/>
                  <a:gd name="T3" fmla="*/ 5 h 7"/>
                  <a:gd name="T4" fmla="*/ 0 w 7"/>
                  <a:gd name="T5" fmla="*/ 3 h 7"/>
                  <a:gd name="T6" fmla="*/ 0 w 7"/>
                  <a:gd name="T7" fmla="*/ 3 h 7"/>
                  <a:gd name="T8" fmla="*/ 0 w 7"/>
                  <a:gd name="T9" fmla="*/ 0 h 7"/>
                  <a:gd name="T10" fmla="*/ 0 w 7"/>
                  <a:gd name="T11" fmla="*/ 3 h 7"/>
                  <a:gd name="T12" fmla="*/ 2 w 7"/>
                  <a:gd name="T13" fmla="*/ 7 h 7"/>
                  <a:gd name="T14" fmla="*/ 5 w 7"/>
                  <a:gd name="T15" fmla="*/ 7 h 7"/>
                  <a:gd name="T16" fmla="*/ 7 w 7"/>
                  <a:gd name="T17" fmla="*/ 7 h 7"/>
                  <a:gd name="T18" fmla="*/ 5 w 7"/>
                  <a:gd name="T19"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7">
                    <a:moveTo>
                      <a:pt x="5" y="5"/>
                    </a:moveTo>
                    <a:lnTo>
                      <a:pt x="2" y="5"/>
                    </a:lnTo>
                    <a:lnTo>
                      <a:pt x="0" y="3"/>
                    </a:lnTo>
                    <a:lnTo>
                      <a:pt x="0" y="3"/>
                    </a:lnTo>
                    <a:lnTo>
                      <a:pt x="0" y="0"/>
                    </a:lnTo>
                    <a:lnTo>
                      <a:pt x="0" y="3"/>
                    </a:lnTo>
                    <a:lnTo>
                      <a:pt x="2" y="7"/>
                    </a:lnTo>
                    <a:lnTo>
                      <a:pt x="5" y="7"/>
                    </a:lnTo>
                    <a:lnTo>
                      <a:pt x="7" y="7"/>
                    </a:lnTo>
                    <a:lnTo>
                      <a:pt x="5" y="5"/>
                    </a:lnTo>
                    <a:close/>
                  </a:path>
                </a:pathLst>
              </a:custGeom>
              <a:noFill/>
              <a:ln w="3175" cap="rnd">
                <a:solidFill>
                  <a:srgbClr val="F9F9F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04" name="Freeform 176"/>
              <p:cNvSpPr>
                <a:spLocks noEditPoints="1"/>
              </p:cNvSpPr>
              <p:nvPr/>
            </p:nvSpPr>
            <p:spPr bwMode="auto">
              <a:xfrm>
                <a:off x="1202" y="2310"/>
                <a:ext cx="191" cy="71"/>
              </a:xfrm>
              <a:custGeom>
                <a:avLst/>
                <a:gdLst>
                  <a:gd name="T0" fmla="*/ 33 w 191"/>
                  <a:gd name="T1" fmla="*/ 28 h 71"/>
                  <a:gd name="T2" fmla="*/ 30 w 191"/>
                  <a:gd name="T3" fmla="*/ 33 h 71"/>
                  <a:gd name="T4" fmla="*/ 33 w 191"/>
                  <a:gd name="T5" fmla="*/ 38 h 71"/>
                  <a:gd name="T6" fmla="*/ 40 w 191"/>
                  <a:gd name="T7" fmla="*/ 31 h 71"/>
                  <a:gd name="T8" fmla="*/ 130 w 191"/>
                  <a:gd name="T9" fmla="*/ 26 h 71"/>
                  <a:gd name="T10" fmla="*/ 132 w 191"/>
                  <a:gd name="T11" fmla="*/ 24 h 71"/>
                  <a:gd name="T12" fmla="*/ 127 w 191"/>
                  <a:gd name="T13" fmla="*/ 21 h 71"/>
                  <a:gd name="T14" fmla="*/ 127 w 191"/>
                  <a:gd name="T15" fmla="*/ 19 h 71"/>
                  <a:gd name="T16" fmla="*/ 127 w 191"/>
                  <a:gd name="T17" fmla="*/ 21 h 71"/>
                  <a:gd name="T18" fmla="*/ 127 w 191"/>
                  <a:gd name="T19" fmla="*/ 19 h 71"/>
                  <a:gd name="T20" fmla="*/ 123 w 191"/>
                  <a:gd name="T21" fmla="*/ 16 h 71"/>
                  <a:gd name="T22" fmla="*/ 120 w 191"/>
                  <a:gd name="T23" fmla="*/ 16 h 71"/>
                  <a:gd name="T24" fmla="*/ 120 w 191"/>
                  <a:gd name="T25" fmla="*/ 14 h 71"/>
                  <a:gd name="T26" fmla="*/ 115 w 191"/>
                  <a:gd name="T27" fmla="*/ 14 h 71"/>
                  <a:gd name="T28" fmla="*/ 104 w 191"/>
                  <a:gd name="T29" fmla="*/ 12 h 71"/>
                  <a:gd name="T30" fmla="*/ 191 w 191"/>
                  <a:gd name="T31" fmla="*/ 61 h 71"/>
                  <a:gd name="T32" fmla="*/ 186 w 191"/>
                  <a:gd name="T33" fmla="*/ 59 h 71"/>
                  <a:gd name="T34" fmla="*/ 175 w 191"/>
                  <a:gd name="T35" fmla="*/ 52 h 71"/>
                  <a:gd name="T36" fmla="*/ 163 w 191"/>
                  <a:gd name="T37" fmla="*/ 52 h 71"/>
                  <a:gd name="T38" fmla="*/ 165 w 191"/>
                  <a:gd name="T39" fmla="*/ 47 h 71"/>
                  <a:gd name="T40" fmla="*/ 158 w 191"/>
                  <a:gd name="T41" fmla="*/ 43 h 71"/>
                  <a:gd name="T42" fmla="*/ 149 w 191"/>
                  <a:gd name="T43" fmla="*/ 38 h 71"/>
                  <a:gd name="T44" fmla="*/ 146 w 191"/>
                  <a:gd name="T45" fmla="*/ 38 h 71"/>
                  <a:gd name="T46" fmla="*/ 139 w 191"/>
                  <a:gd name="T47" fmla="*/ 35 h 71"/>
                  <a:gd name="T48" fmla="*/ 141 w 191"/>
                  <a:gd name="T49" fmla="*/ 33 h 71"/>
                  <a:gd name="T50" fmla="*/ 134 w 191"/>
                  <a:gd name="T51" fmla="*/ 28 h 71"/>
                  <a:gd name="T52" fmla="*/ 132 w 191"/>
                  <a:gd name="T53" fmla="*/ 28 h 71"/>
                  <a:gd name="T54" fmla="*/ 113 w 191"/>
                  <a:gd name="T55" fmla="*/ 16 h 71"/>
                  <a:gd name="T56" fmla="*/ 104 w 191"/>
                  <a:gd name="T57" fmla="*/ 16 h 71"/>
                  <a:gd name="T58" fmla="*/ 94 w 191"/>
                  <a:gd name="T59" fmla="*/ 7 h 71"/>
                  <a:gd name="T60" fmla="*/ 89 w 191"/>
                  <a:gd name="T61" fmla="*/ 5 h 71"/>
                  <a:gd name="T62" fmla="*/ 82 w 191"/>
                  <a:gd name="T63" fmla="*/ 2 h 71"/>
                  <a:gd name="T64" fmla="*/ 71 w 191"/>
                  <a:gd name="T65" fmla="*/ 2 h 71"/>
                  <a:gd name="T66" fmla="*/ 54 w 191"/>
                  <a:gd name="T67" fmla="*/ 0 h 71"/>
                  <a:gd name="T68" fmla="*/ 33 w 191"/>
                  <a:gd name="T69" fmla="*/ 5 h 71"/>
                  <a:gd name="T70" fmla="*/ 11 w 191"/>
                  <a:gd name="T71" fmla="*/ 19 h 71"/>
                  <a:gd name="T72" fmla="*/ 7 w 191"/>
                  <a:gd name="T73" fmla="*/ 24 h 71"/>
                  <a:gd name="T74" fmla="*/ 4 w 191"/>
                  <a:gd name="T75" fmla="*/ 28 h 71"/>
                  <a:gd name="T76" fmla="*/ 7 w 191"/>
                  <a:gd name="T77" fmla="*/ 31 h 71"/>
                  <a:gd name="T78" fmla="*/ 16 w 191"/>
                  <a:gd name="T79" fmla="*/ 26 h 71"/>
                  <a:gd name="T80" fmla="*/ 23 w 191"/>
                  <a:gd name="T81" fmla="*/ 21 h 71"/>
                  <a:gd name="T82" fmla="*/ 30 w 191"/>
                  <a:gd name="T83" fmla="*/ 19 h 71"/>
                  <a:gd name="T84" fmla="*/ 40 w 191"/>
                  <a:gd name="T85" fmla="*/ 12 h 71"/>
                  <a:gd name="T86" fmla="*/ 59 w 191"/>
                  <a:gd name="T87" fmla="*/ 12 h 71"/>
                  <a:gd name="T88" fmla="*/ 59 w 191"/>
                  <a:gd name="T89" fmla="*/ 14 h 71"/>
                  <a:gd name="T90" fmla="*/ 56 w 191"/>
                  <a:gd name="T91" fmla="*/ 21 h 71"/>
                  <a:gd name="T92" fmla="*/ 68 w 191"/>
                  <a:gd name="T93" fmla="*/ 21 h 71"/>
                  <a:gd name="T94" fmla="*/ 71 w 191"/>
                  <a:gd name="T95" fmla="*/ 24 h 71"/>
                  <a:gd name="T96" fmla="*/ 82 w 191"/>
                  <a:gd name="T97" fmla="*/ 24 h 71"/>
                  <a:gd name="T98" fmla="*/ 99 w 191"/>
                  <a:gd name="T99" fmla="*/ 33 h 71"/>
                  <a:gd name="T100" fmla="*/ 113 w 191"/>
                  <a:gd name="T101" fmla="*/ 35 h 71"/>
                  <a:gd name="T102" fmla="*/ 115 w 191"/>
                  <a:gd name="T103" fmla="*/ 47 h 71"/>
                  <a:gd name="T104" fmla="*/ 130 w 191"/>
                  <a:gd name="T105" fmla="*/ 52 h 71"/>
                  <a:gd name="T106" fmla="*/ 137 w 191"/>
                  <a:gd name="T107" fmla="*/ 54 h 71"/>
                  <a:gd name="T108" fmla="*/ 137 w 191"/>
                  <a:gd name="T109" fmla="*/ 61 h 71"/>
                  <a:gd name="T110" fmla="*/ 139 w 191"/>
                  <a:gd name="T111" fmla="*/ 69 h 71"/>
                  <a:gd name="T112" fmla="*/ 153 w 191"/>
                  <a:gd name="T113" fmla="*/ 69 h 71"/>
                  <a:gd name="T114" fmla="*/ 172 w 191"/>
                  <a:gd name="T115" fmla="*/ 69 h 71"/>
                  <a:gd name="T116" fmla="*/ 172 w 191"/>
                  <a:gd name="T117" fmla="*/ 69 h 71"/>
                  <a:gd name="T118" fmla="*/ 186 w 191"/>
                  <a:gd name="T119" fmla="*/ 66 h 71"/>
                  <a:gd name="T120" fmla="*/ 191 w 191"/>
                  <a:gd name="T121" fmla="*/ 6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1" h="71">
                    <a:moveTo>
                      <a:pt x="40" y="28"/>
                    </a:moveTo>
                    <a:lnTo>
                      <a:pt x="40" y="28"/>
                    </a:lnTo>
                    <a:lnTo>
                      <a:pt x="40" y="26"/>
                    </a:lnTo>
                    <a:lnTo>
                      <a:pt x="35" y="26"/>
                    </a:lnTo>
                    <a:lnTo>
                      <a:pt x="33" y="28"/>
                    </a:lnTo>
                    <a:lnTo>
                      <a:pt x="33" y="28"/>
                    </a:lnTo>
                    <a:lnTo>
                      <a:pt x="35" y="33"/>
                    </a:lnTo>
                    <a:lnTo>
                      <a:pt x="33" y="33"/>
                    </a:lnTo>
                    <a:lnTo>
                      <a:pt x="33" y="35"/>
                    </a:lnTo>
                    <a:lnTo>
                      <a:pt x="30" y="33"/>
                    </a:lnTo>
                    <a:lnTo>
                      <a:pt x="30" y="33"/>
                    </a:lnTo>
                    <a:lnTo>
                      <a:pt x="30" y="33"/>
                    </a:lnTo>
                    <a:lnTo>
                      <a:pt x="30" y="35"/>
                    </a:lnTo>
                    <a:lnTo>
                      <a:pt x="33" y="35"/>
                    </a:lnTo>
                    <a:lnTo>
                      <a:pt x="33" y="38"/>
                    </a:lnTo>
                    <a:lnTo>
                      <a:pt x="35" y="38"/>
                    </a:lnTo>
                    <a:lnTo>
                      <a:pt x="40" y="35"/>
                    </a:lnTo>
                    <a:lnTo>
                      <a:pt x="42" y="33"/>
                    </a:lnTo>
                    <a:lnTo>
                      <a:pt x="42" y="33"/>
                    </a:lnTo>
                    <a:lnTo>
                      <a:pt x="40" y="31"/>
                    </a:lnTo>
                    <a:lnTo>
                      <a:pt x="40" y="28"/>
                    </a:lnTo>
                    <a:close/>
                    <a:moveTo>
                      <a:pt x="127" y="24"/>
                    </a:moveTo>
                    <a:lnTo>
                      <a:pt x="127" y="24"/>
                    </a:lnTo>
                    <a:lnTo>
                      <a:pt x="130" y="26"/>
                    </a:lnTo>
                    <a:lnTo>
                      <a:pt x="130" y="26"/>
                    </a:lnTo>
                    <a:lnTo>
                      <a:pt x="130" y="26"/>
                    </a:lnTo>
                    <a:lnTo>
                      <a:pt x="132" y="26"/>
                    </a:lnTo>
                    <a:lnTo>
                      <a:pt x="132" y="26"/>
                    </a:lnTo>
                    <a:lnTo>
                      <a:pt x="132" y="26"/>
                    </a:lnTo>
                    <a:lnTo>
                      <a:pt x="132" y="24"/>
                    </a:lnTo>
                    <a:lnTo>
                      <a:pt x="130" y="24"/>
                    </a:lnTo>
                    <a:lnTo>
                      <a:pt x="130" y="24"/>
                    </a:lnTo>
                    <a:lnTo>
                      <a:pt x="127" y="24"/>
                    </a:lnTo>
                    <a:close/>
                    <a:moveTo>
                      <a:pt x="127" y="21"/>
                    </a:moveTo>
                    <a:lnTo>
                      <a:pt x="127" y="21"/>
                    </a:lnTo>
                    <a:lnTo>
                      <a:pt x="130" y="21"/>
                    </a:lnTo>
                    <a:lnTo>
                      <a:pt x="130" y="21"/>
                    </a:lnTo>
                    <a:lnTo>
                      <a:pt x="130" y="21"/>
                    </a:lnTo>
                    <a:lnTo>
                      <a:pt x="130" y="21"/>
                    </a:lnTo>
                    <a:lnTo>
                      <a:pt x="127" y="19"/>
                    </a:lnTo>
                    <a:lnTo>
                      <a:pt x="127" y="19"/>
                    </a:lnTo>
                    <a:lnTo>
                      <a:pt x="127" y="19"/>
                    </a:lnTo>
                    <a:lnTo>
                      <a:pt x="127" y="19"/>
                    </a:lnTo>
                    <a:lnTo>
                      <a:pt x="125" y="21"/>
                    </a:lnTo>
                    <a:lnTo>
                      <a:pt x="127" y="21"/>
                    </a:lnTo>
                    <a:close/>
                    <a:moveTo>
                      <a:pt x="123" y="16"/>
                    </a:moveTo>
                    <a:lnTo>
                      <a:pt x="125" y="19"/>
                    </a:lnTo>
                    <a:lnTo>
                      <a:pt x="125" y="19"/>
                    </a:lnTo>
                    <a:lnTo>
                      <a:pt x="125" y="19"/>
                    </a:lnTo>
                    <a:lnTo>
                      <a:pt x="127" y="19"/>
                    </a:lnTo>
                    <a:lnTo>
                      <a:pt x="125" y="19"/>
                    </a:lnTo>
                    <a:lnTo>
                      <a:pt x="125" y="16"/>
                    </a:lnTo>
                    <a:lnTo>
                      <a:pt x="125" y="16"/>
                    </a:lnTo>
                    <a:lnTo>
                      <a:pt x="123" y="16"/>
                    </a:lnTo>
                    <a:lnTo>
                      <a:pt x="123" y="16"/>
                    </a:lnTo>
                    <a:lnTo>
                      <a:pt x="123" y="16"/>
                    </a:lnTo>
                    <a:lnTo>
                      <a:pt x="123" y="16"/>
                    </a:lnTo>
                    <a:close/>
                    <a:moveTo>
                      <a:pt x="115" y="14"/>
                    </a:moveTo>
                    <a:lnTo>
                      <a:pt x="118" y="14"/>
                    </a:lnTo>
                    <a:lnTo>
                      <a:pt x="120" y="16"/>
                    </a:lnTo>
                    <a:lnTo>
                      <a:pt x="120" y="16"/>
                    </a:lnTo>
                    <a:lnTo>
                      <a:pt x="120" y="16"/>
                    </a:lnTo>
                    <a:lnTo>
                      <a:pt x="123" y="16"/>
                    </a:lnTo>
                    <a:lnTo>
                      <a:pt x="120" y="14"/>
                    </a:lnTo>
                    <a:lnTo>
                      <a:pt x="120" y="14"/>
                    </a:lnTo>
                    <a:lnTo>
                      <a:pt x="120" y="14"/>
                    </a:lnTo>
                    <a:lnTo>
                      <a:pt x="118" y="14"/>
                    </a:lnTo>
                    <a:lnTo>
                      <a:pt x="115" y="14"/>
                    </a:lnTo>
                    <a:lnTo>
                      <a:pt x="115" y="14"/>
                    </a:lnTo>
                    <a:lnTo>
                      <a:pt x="115" y="14"/>
                    </a:lnTo>
                    <a:lnTo>
                      <a:pt x="115" y="14"/>
                    </a:lnTo>
                    <a:close/>
                    <a:moveTo>
                      <a:pt x="101" y="9"/>
                    </a:moveTo>
                    <a:lnTo>
                      <a:pt x="104" y="12"/>
                    </a:lnTo>
                    <a:lnTo>
                      <a:pt x="104" y="12"/>
                    </a:lnTo>
                    <a:lnTo>
                      <a:pt x="104" y="12"/>
                    </a:lnTo>
                    <a:lnTo>
                      <a:pt x="99" y="7"/>
                    </a:lnTo>
                    <a:lnTo>
                      <a:pt x="99" y="7"/>
                    </a:lnTo>
                    <a:lnTo>
                      <a:pt x="99" y="9"/>
                    </a:lnTo>
                    <a:lnTo>
                      <a:pt x="101" y="9"/>
                    </a:lnTo>
                    <a:close/>
                    <a:moveTo>
                      <a:pt x="191" y="61"/>
                    </a:moveTo>
                    <a:lnTo>
                      <a:pt x="191" y="61"/>
                    </a:lnTo>
                    <a:lnTo>
                      <a:pt x="191" y="61"/>
                    </a:lnTo>
                    <a:lnTo>
                      <a:pt x="189" y="61"/>
                    </a:lnTo>
                    <a:lnTo>
                      <a:pt x="186" y="61"/>
                    </a:lnTo>
                    <a:lnTo>
                      <a:pt x="186" y="59"/>
                    </a:lnTo>
                    <a:lnTo>
                      <a:pt x="184" y="57"/>
                    </a:lnTo>
                    <a:lnTo>
                      <a:pt x="182" y="54"/>
                    </a:lnTo>
                    <a:lnTo>
                      <a:pt x="179" y="54"/>
                    </a:lnTo>
                    <a:lnTo>
                      <a:pt x="177" y="52"/>
                    </a:lnTo>
                    <a:lnTo>
                      <a:pt x="175" y="52"/>
                    </a:lnTo>
                    <a:lnTo>
                      <a:pt x="172" y="52"/>
                    </a:lnTo>
                    <a:lnTo>
                      <a:pt x="168" y="52"/>
                    </a:lnTo>
                    <a:lnTo>
                      <a:pt x="165" y="52"/>
                    </a:lnTo>
                    <a:lnTo>
                      <a:pt x="165" y="52"/>
                    </a:lnTo>
                    <a:lnTo>
                      <a:pt x="163" y="52"/>
                    </a:lnTo>
                    <a:lnTo>
                      <a:pt x="163" y="52"/>
                    </a:lnTo>
                    <a:lnTo>
                      <a:pt x="165" y="50"/>
                    </a:lnTo>
                    <a:lnTo>
                      <a:pt x="168" y="50"/>
                    </a:lnTo>
                    <a:lnTo>
                      <a:pt x="165" y="47"/>
                    </a:lnTo>
                    <a:lnTo>
                      <a:pt x="165" y="47"/>
                    </a:lnTo>
                    <a:lnTo>
                      <a:pt x="168" y="47"/>
                    </a:lnTo>
                    <a:lnTo>
                      <a:pt x="168" y="45"/>
                    </a:lnTo>
                    <a:lnTo>
                      <a:pt x="165" y="45"/>
                    </a:lnTo>
                    <a:lnTo>
                      <a:pt x="163" y="45"/>
                    </a:lnTo>
                    <a:lnTo>
                      <a:pt x="158" y="43"/>
                    </a:lnTo>
                    <a:lnTo>
                      <a:pt x="156" y="43"/>
                    </a:lnTo>
                    <a:lnTo>
                      <a:pt x="153" y="40"/>
                    </a:lnTo>
                    <a:lnTo>
                      <a:pt x="151" y="40"/>
                    </a:lnTo>
                    <a:lnTo>
                      <a:pt x="149" y="40"/>
                    </a:lnTo>
                    <a:lnTo>
                      <a:pt x="149" y="38"/>
                    </a:lnTo>
                    <a:lnTo>
                      <a:pt x="149" y="38"/>
                    </a:lnTo>
                    <a:lnTo>
                      <a:pt x="146" y="38"/>
                    </a:lnTo>
                    <a:lnTo>
                      <a:pt x="144" y="40"/>
                    </a:lnTo>
                    <a:lnTo>
                      <a:pt x="146" y="38"/>
                    </a:lnTo>
                    <a:lnTo>
                      <a:pt x="146" y="38"/>
                    </a:lnTo>
                    <a:lnTo>
                      <a:pt x="144" y="35"/>
                    </a:lnTo>
                    <a:lnTo>
                      <a:pt x="141" y="33"/>
                    </a:lnTo>
                    <a:lnTo>
                      <a:pt x="141" y="35"/>
                    </a:lnTo>
                    <a:lnTo>
                      <a:pt x="139" y="35"/>
                    </a:lnTo>
                    <a:lnTo>
                      <a:pt x="139" y="35"/>
                    </a:lnTo>
                    <a:lnTo>
                      <a:pt x="139" y="35"/>
                    </a:lnTo>
                    <a:lnTo>
                      <a:pt x="137" y="33"/>
                    </a:lnTo>
                    <a:lnTo>
                      <a:pt x="139" y="33"/>
                    </a:lnTo>
                    <a:lnTo>
                      <a:pt x="139" y="33"/>
                    </a:lnTo>
                    <a:lnTo>
                      <a:pt x="141" y="33"/>
                    </a:lnTo>
                    <a:lnTo>
                      <a:pt x="139" y="33"/>
                    </a:lnTo>
                    <a:lnTo>
                      <a:pt x="139" y="31"/>
                    </a:lnTo>
                    <a:lnTo>
                      <a:pt x="137" y="31"/>
                    </a:lnTo>
                    <a:lnTo>
                      <a:pt x="134" y="28"/>
                    </a:lnTo>
                    <a:lnTo>
                      <a:pt x="134" y="28"/>
                    </a:lnTo>
                    <a:lnTo>
                      <a:pt x="134" y="28"/>
                    </a:lnTo>
                    <a:lnTo>
                      <a:pt x="134" y="28"/>
                    </a:lnTo>
                    <a:lnTo>
                      <a:pt x="134" y="31"/>
                    </a:lnTo>
                    <a:lnTo>
                      <a:pt x="134" y="31"/>
                    </a:lnTo>
                    <a:lnTo>
                      <a:pt x="132" y="28"/>
                    </a:lnTo>
                    <a:lnTo>
                      <a:pt x="127" y="26"/>
                    </a:lnTo>
                    <a:lnTo>
                      <a:pt x="127" y="26"/>
                    </a:lnTo>
                    <a:lnTo>
                      <a:pt x="125" y="24"/>
                    </a:lnTo>
                    <a:lnTo>
                      <a:pt x="115" y="16"/>
                    </a:lnTo>
                    <a:lnTo>
                      <a:pt x="113" y="16"/>
                    </a:lnTo>
                    <a:lnTo>
                      <a:pt x="113" y="16"/>
                    </a:lnTo>
                    <a:lnTo>
                      <a:pt x="113" y="16"/>
                    </a:lnTo>
                    <a:lnTo>
                      <a:pt x="111" y="16"/>
                    </a:lnTo>
                    <a:lnTo>
                      <a:pt x="106" y="16"/>
                    </a:lnTo>
                    <a:lnTo>
                      <a:pt x="104" y="16"/>
                    </a:lnTo>
                    <a:lnTo>
                      <a:pt x="104" y="16"/>
                    </a:lnTo>
                    <a:lnTo>
                      <a:pt x="101" y="14"/>
                    </a:lnTo>
                    <a:lnTo>
                      <a:pt x="99" y="12"/>
                    </a:lnTo>
                    <a:lnTo>
                      <a:pt x="99" y="9"/>
                    </a:lnTo>
                    <a:lnTo>
                      <a:pt x="94" y="7"/>
                    </a:lnTo>
                    <a:lnTo>
                      <a:pt x="97" y="7"/>
                    </a:lnTo>
                    <a:lnTo>
                      <a:pt x="94" y="7"/>
                    </a:lnTo>
                    <a:lnTo>
                      <a:pt x="92" y="7"/>
                    </a:lnTo>
                    <a:lnTo>
                      <a:pt x="92" y="5"/>
                    </a:lnTo>
                    <a:lnTo>
                      <a:pt x="89" y="5"/>
                    </a:lnTo>
                    <a:lnTo>
                      <a:pt x="87" y="5"/>
                    </a:lnTo>
                    <a:lnTo>
                      <a:pt x="85" y="5"/>
                    </a:lnTo>
                    <a:lnTo>
                      <a:pt x="85" y="5"/>
                    </a:lnTo>
                    <a:lnTo>
                      <a:pt x="82" y="5"/>
                    </a:lnTo>
                    <a:lnTo>
                      <a:pt x="82" y="2"/>
                    </a:lnTo>
                    <a:lnTo>
                      <a:pt x="80" y="2"/>
                    </a:lnTo>
                    <a:lnTo>
                      <a:pt x="75" y="2"/>
                    </a:lnTo>
                    <a:lnTo>
                      <a:pt x="73" y="2"/>
                    </a:lnTo>
                    <a:lnTo>
                      <a:pt x="71" y="2"/>
                    </a:lnTo>
                    <a:lnTo>
                      <a:pt x="71" y="2"/>
                    </a:lnTo>
                    <a:lnTo>
                      <a:pt x="71" y="0"/>
                    </a:lnTo>
                    <a:lnTo>
                      <a:pt x="68" y="2"/>
                    </a:lnTo>
                    <a:lnTo>
                      <a:pt x="63" y="2"/>
                    </a:lnTo>
                    <a:lnTo>
                      <a:pt x="59" y="0"/>
                    </a:lnTo>
                    <a:lnTo>
                      <a:pt x="54" y="0"/>
                    </a:lnTo>
                    <a:lnTo>
                      <a:pt x="49" y="0"/>
                    </a:lnTo>
                    <a:lnTo>
                      <a:pt x="45" y="2"/>
                    </a:lnTo>
                    <a:lnTo>
                      <a:pt x="45" y="2"/>
                    </a:lnTo>
                    <a:lnTo>
                      <a:pt x="35" y="5"/>
                    </a:lnTo>
                    <a:lnTo>
                      <a:pt x="33" y="5"/>
                    </a:lnTo>
                    <a:lnTo>
                      <a:pt x="18" y="12"/>
                    </a:lnTo>
                    <a:lnTo>
                      <a:pt x="16" y="12"/>
                    </a:lnTo>
                    <a:lnTo>
                      <a:pt x="14" y="14"/>
                    </a:lnTo>
                    <a:lnTo>
                      <a:pt x="11" y="16"/>
                    </a:lnTo>
                    <a:lnTo>
                      <a:pt x="11" y="19"/>
                    </a:lnTo>
                    <a:lnTo>
                      <a:pt x="11" y="24"/>
                    </a:lnTo>
                    <a:lnTo>
                      <a:pt x="9" y="24"/>
                    </a:lnTo>
                    <a:lnTo>
                      <a:pt x="9" y="24"/>
                    </a:lnTo>
                    <a:lnTo>
                      <a:pt x="7" y="24"/>
                    </a:lnTo>
                    <a:lnTo>
                      <a:pt x="7" y="24"/>
                    </a:lnTo>
                    <a:lnTo>
                      <a:pt x="0" y="28"/>
                    </a:lnTo>
                    <a:lnTo>
                      <a:pt x="0" y="28"/>
                    </a:lnTo>
                    <a:lnTo>
                      <a:pt x="0" y="28"/>
                    </a:lnTo>
                    <a:lnTo>
                      <a:pt x="2" y="28"/>
                    </a:lnTo>
                    <a:lnTo>
                      <a:pt x="4" y="28"/>
                    </a:lnTo>
                    <a:lnTo>
                      <a:pt x="4" y="26"/>
                    </a:lnTo>
                    <a:lnTo>
                      <a:pt x="7" y="26"/>
                    </a:lnTo>
                    <a:lnTo>
                      <a:pt x="7" y="26"/>
                    </a:lnTo>
                    <a:lnTo>
                      <a:pt x="7" y="28"/>
                    </a:lnTo>
                    <a:lnTo>
                      <a:pt x="7" y="31"/>
                    </a:lnTo>
                    <a:lnTo>
                      <a:pt x="7" y="28"/>
                    </a:lnTo>
                    <a:lnTo>
                      <a:pt x="11" y="28"/>
                    </a:lnTo>
                    <a:lnTo>
                      <a:pt x="14" y="26"/>
                    </a:lnTo>
                    <a:lnTo>
                      <a:pt x="16" y="26"/>
                    </a:lnTo>
                    <a:lnTo>
                      <a:pt x="16" y="26"/>
                    </a:lnTo>
                    <a:lnTo>
                      <a:pt x="18" y="24"/>
                    </a:lnTo>
                    <a:lnTo>
                      <a:pt x="18" y="21"/>
                    </a:lnTo>
                    <a:lnTo>
                      <a:pt x="18" y="21"/>
                    </a:lnTo>
                    <a:lnTo>
                      <a:pt x="23" y="21"/>
                    </a:lnTo>
                    <a:lnTo>
                      <a:pt x="23" y="21"/>
                    </a:lnTo>
                    <a:lnTo>
                      <a:pt x="26" y="21"/>
                    </a:lnTo>
                    <a:lnTo>
                      <a:pt x="26" y="21"/>
                    </a:lnTo>
                    <a:lnTo>
                      <a:pt x="26" y="21"/>
                    </a:lnTo>
                    <a:lnTo>
                      <a:pt x="28" y="21"/>
                    </a:lnTo>
                    <a:lnTo>
                      <a:pt x="30" y="19"/>
                    </a:lnTo>
                    <a:lnTo>
                      <a:pt x="33" y="16"/>
                    </a:lnTo>
                    <a:lnTo>
                      <a:pt x="33" y="16"/>
                    </a:lnTo>
                    <a:lnTo>
                      <a:pt x="35" y="16"/>
                    </a:lnTo>
                    <a:lnTo>
                      <a:pt x="35" y="14"/>
                    </a:lnTo>
                    <a:lnTo>
                      <a:pt x="40" y="12"/>
                    </a:lnTo>
                    <a:lnTo>
                      <a:pt x="40" y="12"/>
                    </a:lnTo>
                    <a:lnTo>
                      <a:pt x="42" y="9"/>
                    </a:lnTo>
                    <a:lnTo>
                      <a:pt x="56" y="12"/>
                    </a:lnTo>
                    <a:lnTo>
                      <a:pt x="59" y="12"/>
                    </a:lnTo>
                    <a:lnTo>
                      <a:pt x="59" y="12"/>
                    </a:lnTo>
                    <a:lnTo>
                      <a:pt x="59" y="12"/>
                    </a:lnTo>
                    <a:lnTo>
                      <a:pt x="61" y="12"/>
                    </a:lnTo>
                    <a:lnTo>
                      <a:pt x="61" y="14"/>
                    </a:lnTo>
                    <a:lnTo>
                      <a:pt x="59" y="14"/>
                    </a:lnTo>
                    <a:lnTo>
                      <a:pt x="59" y="14"/>
                    </a:lnTo>
                    <a:lnTo>
                      <a:pt x="54" y="16"/>
                    </a:lnTo>
                    <a:lnTo>
                      <a:pt x="54" y="16"/>
                    </a:lnTo>
                    <a:lnTo>
                      <a:pt x="54" y="19"/>
                    </a:lnTo>
                    <a:lnTo>
                      <a:pt x="56" y="21"/>
                    </a:lnTo>
                    <a:lnTo>
                      <a:pt x="56" y="21"/>
                    </a:lnTo>
                    <a:lnTo>
                      <a:pt x="63" y="21"/>
                    </a:lnTo>
                    <a:lnTo>
                      <a:pt x="66" y="24"/>
                    </a:lnTo>
                    <a:lnTo>
                      <a:pt x="66" y="24"/>
                    </a:lnTo>
                    <a:lnTo>
                      <a:pt x="68" y="21"/>
                    </a:lnTo>
                    <a:lnTo>
                      <a:pt x="68" y="21"/>
                    </a:lnTo>
                    <a:lnTo>
                      <a:pt x="68" y="19"/>
                    </a:lnTo>
                    <a:lnTo>
                      <a:pt x="71" y="21"/>
                    </a:lnTo>
                    <a:lnTo>
                      <a:pt x="71" y="21"/>
                    </a:lnTo>
                    <a:lnTo>
                      <a:pt x="71" y="24"/>
                    </a:lnTo>
                    <a:lnTo>
                      <a:pt x="71" y="24"/>
                    </a:lnTo>
                    <a:lnTo>
                      <a:pt x="73" y="24"/>
                    </a:lnTo>
                    <a:lnTo>
                      <a:pt x="80" y="24"/>
                    </a:lnTo>
                    <a:lnTo>
                      <a:pt x="80" y="24"/>
                    </a:lnTo>
                    <a:lnTo>
                      <a:pt x="80" y="24"/>
                    </a:lnTo>
                    <a:lnTo>
                      <a:pt x="82" y="24"/>
                    </a:lnTo>
                    <a:lnTo>
                      <a:pt x="85" y="26"/>
                    </a:lnTo>
                    <a:lnTo>
                      <a:pt x="85" y="28"/>
                    </a:lnTo>
                    <a:lnTo>
                      <a:pt x="87" y="28"/>
                    </a:lnTo>
                    <a:lnTo>
                      <a:pt x="89" y="31"/>
                    </a:lnTo>
                    <a:lnTo>
                      <a:pt x="99" y="33"/>
                    </a:lnTo>
                    <a:lnTo>
                      <a:pt x="101" y="35"/>
                    </a:lnTo>
                    <a:lnTo>
                      <a:pt x="104" y="35"/>
                    </a:lnTo>
                    <a:lnTo>
                      <a:pt x="111" y="33"/>
                    </a:lnTo>
                    <a:lnTo>
                      <a:pt x="111" y="33"/>
                    </a:lnTo>
                    <a:lnTo>
                      <a:pt x="113" y="35"/>
                    </a:lnTo>
                    <a:lnTo>
                      <a:pt x="113" y="38"/>
                    </a:lnTo>
                    <a:lnTo>
                      <a:pt x="113" y="40"/>
                    </a:lnTo>
                    <a:lnTo>
                      <a:pt x="115" y="45"/>
                    </a:lnTo>
                    <a:lnTo>
                      <a:pt x="115" y="45"/>
                    </a:lnTo>
                    <a:lnTo>
                      <a:pt x="115" y="47"/>
                    </a:lnTo>
                    <a:lnTo>
                      <a:pt x="118" y="47"/>
                    </a:lnTo>
                    <a:lnTo>
                      <a:pt x="120" y="52"/>
                    </a:lnTo>
                    <a:lnTo>
                      <a:pt x="123" y="52"/>
                    </a:lnTo>
                    <a:lnTo>
                      <a:pt x="125" y="52"/>
                    </a:lnTo>
                    <a:lnTo>
                      <a:pt x="130" y="52"/>
                    </a:lnTo>
                    <a:lnTo>
                      <a:pt x="132" y="52"/>
                    </a:lnTo>
                    <a:lnTo>
                      <a:pt x="134" y="52"/>
                    </a:lnTo>
                    <a:lnTo>
                      <a:pt x="137" y="54"/>
                    </a:lnTo>
                    <a:lnTo>
                      <a:pt x="137" y="54"/>
                    </a:lnTo>
                    <a:lnTo>
                      <a:pt x="137" y="54"/>
                    </a:lnTo>
                    <a:lnTo>
                      <a:pt x="139" y="57"/>
                    </a:lnTo>
                    <a:lnTo>
                      <a:pt x="139" y="57"/>
                    </a:lnTo>
                    <a:lnTo>
                      <a:pt x="139" y="59"/>
                    </a:lnTo>
                    <a:lnTo>
                      <a:pt x="137" y="59"/>
                    </a:lnTo>
                    <a:lnTo>
                      <a:pt x="137" y="61"/>
                    </a:lnTo>
                    <a:lnTo>
                      <a:pt x="130" y="66"/>
                    </a:lnTo>
                    <a:lnTo>
                      <a:pt x="125" y="71"/>
                    </a:lnTo>
                    <a:lnTo>
                      <a:pt x="130" y="71"/>
                    </a:lnTo>
                    <a:lnTo>
                      <a:pt x="134" y="69"/>
                    </a:lnTo>
                    <a:lnTo>
                      <a:pt x="139" y="69"/>
                    </a:lnTo>
                    <a:lnTo>
                      <a:pt x="141" y="69"/>
                    </a:lnTo>
                    <a:lnTo>
                      <a:pt x="141" y="69"/>
                    </a:lnTo>
                    <a:lnTo>
                      <a:pt x="149" y="69"/>
                    </a:lnTo>
                    <a:lnTo>
                      <a:pt x="153" y="69"/>
                    </a:lnTo>
                    <a:lnTo>
                      <a:pt x="153" y="69"/>
                    </a:lnTo>
                    <a:lnTo>
                      <a:pt x="160" y="69"/>
                    </a:lnTo>
                    <a:lnTo>
                      <a:pt x="163" y="69"/>
                    </a:lnTo>
                    <a:lnTo>
                      <a:pt x="165" y="69"/>
                    </a:lnTo>
                    <a:lnTo>
                      <a:pt x="170" y="69"/>
                    </a:lnTo>
                    <a:lnTo>
                      <a:pt x="172" y="69"/>
                    </a:lnTo>
                    <a:lnTo>
                      <a:pt x="172" y="69"/>
                    </a:lnTo>
                    <a:lnTo>
                      <a:pt x="172" y="66"/>
                    </a:lnTo>
                    <a:lnTo>
                      <a:pt x="172" y="69"/>
                    </a:lnTo>
                    <a:lnTo>
                      <a:pt x="172" y="69"/>
                    </a:lnTo>
                    <a:lnTo>
                      <a:pt x="172" y="69"/>
                    </a:lnTo>
                    <a:lnTo>
                      <a:pt x="175" y="69"/>
                    </a:lnTo>
                    <a:lnTo>
                      <a:pt x="177" y="69"/>
                    </a:lnTo>
                    <a:lnTo>
                      <a:pt x="179" y="66"/>
                    </a:lnTo>
                    <a:lnTo>
                      <a:pt x="182" y="66"/>
                    </a:lnTo>
                    <a:lnTo>
                      <a:pt x="186" y="66"/>
                    </a:lnTo>
                    <a:lnTo>
                      <a:pt x="189" y="66"/>
                    </a:lnTo>
                    <a:lnTo>
                      <a:pt x="191" y="64"/>
                    </a:lnTo>
                    <a:lnTo>
                      <a:pt x="191" y="64"/>
                    </a:lnTo>
                    <a:lnTo>
                      <a:pt x="191" y="61"/>
                    </a:lnTo>
                    <a:lnTo>
                      <a:pt x="191" y="61"/>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177"/>
              <p:cNvSpPr>
                <a:spLocks noEditPoints="1"/>
              </p:cNvSpPr>
              <p:nvPr/>
            </p:nvSpPr>
            <p:spPr bwMode="auto">
              <a:xfrm>
                <a:off x="2995" y="1820"/>
                <a:ext cx="99" cy="85"/>
              </a:xfrm>
              <a:custGeom>
                <a:avLst/>
                <a:gdLst>
                  <a:gd name="T0" fmla="*/ 68 w 99"/>
                  <a:gd name="T1" fmla="*/ 78 h 85"/>
                  <a:gd name="T2" fmla="*/ 54 w 99"/>
                  <a:gd name="T3" fmla="*/ 73 h 85"/>
                  <a:gd name="T4" fmla="*/ 64 w 99"/>
                  <a:gd name="T5" fmla="*/ 73 h 85"/>
                  <a:gd name="T6" fmla="*/ 80 w 99"/>
                  <a:gd name="T7" fmla="*/ 80 h 85"/>
                  <a:gd name="T8" fmla="*/ 71 w 99"/>
                  <a:gd name="T9" fmla="*/ 76 h 85"/>
                  <a:gd name="T10" fmla="*/ 71 w 99"/>
                  <a:gd name="T11" fmla="*/ 76 h 85"/>
                  <a:gd name="T12" fmla="*/ 85 w 99"/>
                  <a:gd name="T13" fmla="*/ 83 h 85"/>
                  <a:gd name="T14" fmla="*/ 52 w 99"/>
                  <a:gd name="T15" fmla="*/ 68 h 85"/>
                  <a:gd name="T16" fmla="*/ 56 w 99"/>
                  <a:gd name="T17" fmla="*/ 68 h 85"/>
                  <a:gd name="T18" fmla="*/ 49 w 99"/>
                  <a:gd name="T19" fmla="*/ 66 h 85"/>
                  <a:gd name="T20" fmla="*/ 30 w 99"/>
                  <a:gd name="T21" fmla="*/ 54 h 85"/>
                  <a:gd name="T22" fmla="*/ 28 w 99"/>
                  <a:gd name="T23" fmla="*/ 49 h 85"/>
                  <a:gd name="T24" fmla="*/ 23 w 99"/>
                  <a:gd name="T25" fmla="*/ 49 h 85"/>
                  <a:gd name="T26" fmla="*/ 30 w 99"/>
                  <a:gd name="T27" fmla="*/ 54 h 85"/>
                  <a:gd name="T28" fmla="*/ 28 w 99"/>
                  <a:gd name="T29" fmla="*/ 47 h 85"/>
                  <a:gd name="T30" fmla="*/ 23 w 99"/>
                  <a:gd name="T31" fmla="*/ 40 h 85"/>
                  <a:gd name="T32" fmla="*/ 23 w 99"/>
                  <a:gd name="T33" fmla="*/ 42 h 85"/>
                  <a:gd name="T34" fmla="*/ 21 w 99"/>
                  <a:gd name="T35" fmla="*/ 35 h 85"/>
                  <a:gd name="T36" fmla="*/ 16 w 99"/>
                  <a:gd name="T37" fmla="*/ 35 h 85"/>
                  <a:gd name="T38" fmla="*/ 14 w 99"/>
                  <a:gd name="T39" fmla="*/ 28 h 85"/>
                  <a:gd name="T40" fmla="*/ 16 w 99"/>
                  <a:gd name="T41" fmla="*/ 38 h 85"/>
                  <a:gd name="T42" fmla="*/ 21 w 99"/>
                  <a:gd name="T43" fmla="*/ 28 h 85"/>
                  <a:gd name="T44" fmla="*/ 16 w 99"/>
                  <a:gd name="T45" fmla="*/ 28 h 85"/>
                  <a:gd name="T46" fmla="*/ 99 w 99"/>
                  <a:gd name="T47" fmla="*/ 26 h 85"/>
                  <a:gd name="T48" fmla="*/ 92 w 99"/>
                  <a:gd name="T49" fmla="*/ 21 h 85"/>
                  <a:gd name="T50" fmla="*/ 90 w 99"/>
                  <a:gd name="T51" fmla="*/ 19 h 85"/>
                  <a:gd name="T52" fmla="*/ 90 w 99"/>
                  <a:gd name="T53" fmla="*/ 12 h 85"/>
                  <a:gd name="T54" fmla="*/ 85 w 99"/>
                  <a:gd name="T55" fmla="*/ 14 h 85"/>
                  <a:gd name="T56" fmla="*/ 73 w 99"/>
                  <a:gd name="T57" fmla="*/ 14 h 85"/>
                  <a:gd name="T58" fmla="*/ 64 w 99"/>
                  <a:gd name="T59" fmla="*/ 9 h 85"/>
                  <a:gd name="T60" fmla="*/ 54 w 99"/>
                  <a:gd name="T61" fmla="*/ 2 h 85"/>
                  <a:gd name="T62" fmla="*/ 47 w 99"/>
                  <a:gd name="T63" fmla="*/ 0 h 85"/>
                  <a:gd name="T64" fmla="*/ 42 w 99"/>
                  <a:gd name="T65" fmla="*/ 4 h 85"/>
                  <a:gd name="T66" fmla="*/ 35 w 99"/>
                  <a:gd name="T67" fmla="*/ 7 h 85"/>
                  <a:gd name="T68" fmla="*/ 35 w 99"/>
                  <a:gd name="T69" fmla="*/ 12 h 85"/>
                  <a:gd name="T70" fmla="*/ 30 w 99"/>
                  <a:gd name="T71" fmla="*/ 16 h 85"/>
                  <a:gd name="T72" fmla="*/ 30 w 99"/>
                  <a:gd name="T73" fmla="*/ 21 h 85"/>
                  <a:gd name="T74" fmla="*/ 21 w 99"/>
                  <a:gd name="T75" fmla="*/ 19 h 85"/>
                  <a:gd name="T76" fmla="*/ 16 w 99"/>
                  <a:gd name="T77" fmla="*/ 19 h 85"/>
                  <a:gd name="T78" fmla="*/ 9 w 99"/>
                  <a:gd name="T79" fmla="*/ 19 h 85"/>
                  <a:gd name="T80" fmla="*/ 2 w 99"/>
                  <a:gd name="T81" fmla="*/ 19 h 85"/>
                  <a:gd name="T82" fmla="*/ 7 w 99"/>
                  <a:gd name="T83" fmla="*/ 35 h 85"/>
                  <a:gd name="T84" fmla="*/ 14 w 99"/>
                  <a:gd name="T85" fmla="*/ 23 h 85"/>
                  <a:gd name="T86" fmla="*/ 23 w 99"/>
                  <a:gd name="T87" fmla="*/ 33 h 85"/>
                  <a:gd name="T88" fmla="*/ 33 w 99"/>
                  <a:gd name="T89" fmla="*/ 47 h 85"/>
                  <a:gd name="T90" fmla="*/ 28 w 99"/>
                  <a:gd name="T91" fmla="*/ 49 h 85"/>
                  <a:gd name="T92" fmla="*/ 42 w 99"/>
                  <a:gd name="T93" fmla="*/ 61 h 85"/>
                  <a:gd name="T94" fmla="*/ 54 w 99"/>
                  <a:gd name="T95" fmla="*/ 64 h 85"/>
                  <a:gd name="T96" fmla="*/ 71 w 99"/>
                  <a:gd name="T97" fmla="*/ 73 h 85"/>
                  <a:gd name="T98" fmla="*/ 66 w 99"/>
                  <a:gd name="T99" fmla="*/ 66 h 85"/>
                  <a:gd name="T100" fmla="*/ 54 w 99"/>
                  <a:gd name="T101" fmla="*/ 57 h 85"/>
                  <a:gd name="T102" fmla="*/ 45 w 99"/>
                  <a:gd name="T103" fmla="*/ 45 h 85"/>
                  <a:gd name="T104" fmla="*/ 37 w 99"/>
                  <a:gd name="T105" fmla="*/ 35 h 85"/>
                  <a:gd name="T106" fmla="*/ 42 w 99"/>
                  <a:gd name="T107" fmla="*/ 26 h 85"/>
                  <a:gd name="T108" fmla="*/ 52 w 99"/>
                  <a:gd name="T109" fmla="*/ 26 h 85"/>
                  <a:gd name="T110" fmla="*/ 64 w 99"/>
                  <a:gd name="T111" fmla="*/ 26 h 85"/>
                  <a:gd name="T112" fmla="*/ 73 w 99"/>
                  <a:gd name="T113" fmla="*/ 28 h 85"/>
                  <a:gd name="T114" fmla="*/ 80 w 99"/>
                  <a:gd name="T115" fmla="*/ 28 h 85"/>
                  <a:gd name="T116" fmla="*/ 90 w 99"/>
                  <a:gd name="T117" fmla="*/ 33 h 85"/>
                  <a:gd name="T118" fmla="*/ 92 w 99"/>
                  <a:gd name="T119" fmla="*/ 33 h 85"/>
                  <a:gd name="T120" fmla="*/ 94 w 99"/>
                  <a:gd name="T121" fmla="*/ 28 h 85"/>
                  <a:gd name="T122" fmla="*/ 99 w 99"/>
                  <a:gd name="T123" fmla="*/ 2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9" h="85">
                    <a:moveTo>
                      <a:pt x="68" y="78"/>
                    </a:moveTo>
                    <a:lnTo>
                      <a:pt x="66" y="78"/>
                    </a:lnTo>
                    <a:lnTo>
                      <a:pt x="66" y="78"/>
                    </a:lnTo>
                    <a:lnTo>
                      <a:pt x="73" y="78"/>
                    </a:lnTo>
                    <a:lnTo>
                      <a:pt x="71" y="78"/>
                    </a:lnTo>
                    <a:lnTo>
                      <a:pt x="68" y="78"/>
                    </a:lnTo>
                    <a:close/>
                    <a:moveTo>
                      <a:pt x="61" y="73"/>
                    </a:moveTo>
                    <a:lnTo>
                      <a:pt x="59" y="73"/>
                    </a:lnTo>
                    <a:lnTo>
                      <a:pt x="56" y="73"/>
                    </a:lnTo>
                    <a:lnTo>
                      <a:pt x="54" y="73"/>
                    </a:lnTo>
                    <a:lnTo>
                      <a:pt x="54" y="73"/>
                    </a:lnTo>
                    <a:lnTo>
                      <a:pt x="54" y="73"/>
                    </a:lnTo>
                    <a:lnTo>
                      <a:pt x="56" y="76"/>
                    </a:lnTo>
                    <a:lnTo>
                      <a:pt x="59" y="76"/>
                    </a:lnTo>
                    <a:lnTo>
                      <a:pt x="59" y="76"/>
                    </a:lnTo>
                    <a:lnTo>
                      <a:pt x="61" y="76"/>
                    </a:lnTo>
                    <a:lnTo>
                      <a:pt x="64" y="76"/>
                    </a:lnTo>
                    <a:lnTo>
                      <a:pt x="64" y="73"/>
                    </a:lnTo>
                    <a:lnTo>
                      <a:pt x="61" y="73"/>
                    </a:lnTo>
                    <a:close/>
                    <a:moveTo>
                      <a:pt x="85" y="83"/>
                    </a:moveTo>
                    <a:lnTo>
                      <a:pt x="85" y="83"/>
                    </a:lnTo>
                    <a:lnTo>
                      <a:pt x="82" y="80"/>
                    </a:lnTo>
                    <a:lnTo>
                      <a:pt x="82" y="80"/>
                    </a:lnTo>
                    <a:lnTo>
                      <a:pt x="80" y="80"/>
                    </a:lnTo>
                    <a:lnTo>
                      <a:pt x="78" y="78"/>
                    </a:lnTo>
                    <a:lnTo>
                      <a:pt x="75" y="78"/>
                    </a:lnTo>
                    <a:lnTo>
                      <a:pt x="75" y="76"/>
                    </a:lnTo>
                    <a:lnTo>
                      <a:pt x="73" y="76"/>
                    </a:lnTo>
                    <a:lnTo>
                      <a:pt x="73" y="76"/>
                    </a:lnTo>
                    <a:lnTo>
                      <a:pt x="71" y="76"/>
                    </a:lnTo>
                    <a:lnTo>
                      <a:pt x="73" y="76"/>
                    </a:lnTo>
                    <a:lnTo>
                      <a:pt x="64" y="73"/>
                    </a:lnTo>
                    <a:lnTo>
                      <a:pt x="64" y="73"/>
                    </a:lnTo>
                    <a:lnTo>
                      <a:pt x="61" y="73"/>
                    </a:lnTo>
                    <a:lnTo>
                      <a:pt x="64" y="73"/>
                    </a:lnTo>
                    <a:lnTo>
                      <a:pt x="71" y="76"/>
                    </a:lnTo>
                    <a:lnTo>
                      <a:pt x="75" y="78"/>
                    </a:lnTo>
                    <a:lnTo>
                      <a:pt x="80" y="80"/>
                    </a:lnTo>
                    <a:lnTo>
                      <a:pt x="82" y="83"/>
                    </a:lnTo>
                    <a:lnTo>
                      <a:pt x="87" y="85"/>
                    </a:lnTo>
                    <a:lnTo>
                      <a:pt x="85" y="83"/>
                    </a:lnTo>
                    <a:lnTo>
                      <a:pt x="85" y="83"/>
                    </a:lnTo>
                    <a:close/>
                    <a:moveTo>
                      <a:pt x="61" y="71"/>
                    </a:moveTo>
                    <a:lnTo>
                      <a:pt x="64" y="71"/>
                    </a:lnTo>
                    <a:lnTo>
                      <a:pt x="61" y="71"/>
                    </a:lnTo>
                    <a:lnTo>
                      <a:pt x="54" y="68"/>
                    </a:lnTo>
                    <a:lnTo>
                      <a:pt x="54" y="68"/>
                    </a:lnTo>
                    <a:lnTo>
                      <a:pt x="52" y="68"/>
                    </a:lnTo>
                    <a:lnTo>
                      <a:pt x="49" y="68"/>
                    </a:lnTo>
                    <a:lnTo>
                      <a:pt x="49" y="68"/>
                    </a:lnTo>
                    <a:lnTo>
                      <a:pt x="52" y="71"/>
                    </a:lnTo>
                    <a:lnTo>
                      <a:pt x="54" y="71"/>
                    </a:lnTo>
                    <a:lnTo>
                      <a:pt x="61" y="71"/>
                    </a:lnTo>
                    <a:close/>
                    <a:moveTo>
                      <a:pt x="56" y="68"/>
                    </a:moveTo>
                    <a:lnTo>
                      <a:pt x="59" y="66"/>
                    </a:lnTo>
                    <a:lnTo>
                      <a:pt x="59" y="66"/>
                    </a:lnTo>
                    <a:lnTo>
                      <a:pt x="56" y="66"/>
                    </a:lnTo>
                    <a:lnTo>
                      <a:pt x="54" y="66"/>
                    </a:lnTo>
                    <a:lnTo>
                      <a:pt x="52" y="66"/>
                    </a:lnTo>
                    <a:lnTo>
                      <a:pt x="49" y="66"/>
                    </a:lnTo>
                    <a:lnTo>
                      <a:pt x="49" y="66"/>
                    </a:lnTo>
                    <a:lnTo>
                      <a:pt x="52" y="66"/>
                    </a:lnTo>
                    <a:lnTo>
                      <a:pt x="54" y="68"/>
                    </a:lnTo>
                    <a:lnTo>
                      <a:pt x="56" y="68"/>
                    </a:lnTo>
                    <a:close/>
                    <a:moveTo>
                      <a:pt x="30" y="52"/>
                    </a:moveTo>
                    <a:lnTo>
                      <a:pt x="30" y="54"/>
                    </a:lnTo>
                    <a:lnTo>
                      <a:pt x="33" y="54"/>
                    </a:lnTo>
                    <a:lnTo>
                      <a:pt x="33" y="54"/>
                    </a:lnTo>
                    <a:lnTo>
                      <a:pt x="33" y="52"/>
                    </a:lnTo>
                    <a:lnTo>
                      <a:pt x="30" y="52"/>
                    </a:lnTo>
                    <a:close/>
                    <a:moveTo>
                      <a:pt x="28" y="49"/>
                    </a:moveTo>
                    <a:lnTo>
                      <a:pt x="28" y="49"/>
                    </a:lnTo>
                    <a:lnTo>
                      <a:pt x="28" y="49"/>
                    </a:lnTo>
                    <a:lnTo>
                      <a:pt x="30" y="52"/>
                    </a:lnTo>
                    <a:lnTo>
                      <a:pt x="30" y="52"/>
                    </a:lnTo>
                    <a:lnTo>
                      <a:pt x="28" y="49"/>
                    </a:lnTo>
                    <a:close/>
                    <a:moveTo>
                      <a:pt x="26" y="49"/>
                    </a:moveTo>
                    <a:lnTo>
                      <a:pt x="23" y="49"/>
                    </a:lnTo>
                    <a:lnTo>
                      <a:pt x="23" y="49"/>
                    </a:lnTo>
                    <a:lnTo>
                      <a:pt x="28" y="54"/>
                    </a:lnTo>
                    <a:lnTo>
                      <a:pt x="28" y="54"/>
                    </a:lnTo>
                    <a:lnTo>
                      <a:pt x="30" y="54"/>
                    </a:lnTo>
                    <a:lnTo>
                      <a:pt x="30" y="54"/>
                    </a:lnTo>
                    <a:lnTo>
                      <a:pt x="30" y="54"/>
                    </a:lnTo>
                    <a:lnTo>
                      <a:pt x="26" y="49"/>
                    </a:lnTo>
                    <a:close/>
                    <a:moveTo>
                      <a:pt x="23" y="42"/>
                    </a:moveTo>
                    <a:lnTo>
                      <a:pt x="26" y="45"/>
                    </a:lnTo>
                    <a:lnTo>
                      <a:pt x="26" y="45"/>
                    </a:lnTo>
                    <a:lnTo>
                      <a:pt x="28" y="45"/>
                    </a:lnTo>
                    <a:lnTo>
                      <a:pt x="28" y="47"/>
                    </a:lnTo>
                    <a:lnTo>
                      <a:pt x="28" y="45"/>
                    </a:lnTo>
                    <a:lnTo>
                      <a:pt x="30" y="45"/>
                    </a:lnTo>
                    <a:lnTo>
                      <a:pt x="30" y="45"/>
                    </a:lnTo>
                    <a:lnTo>
                      <a:pt x="28" y="45"/>
                    </a:lnTo>
                    <a:lnTo>
                      <a:pt x="26" y="42"/>
                    </a:lnTo>
                    <a:lnTo>
                      <a:pt x="23" y="40"/>
                    </a:lnTo>
                    <a:lnTo>
                      <a:pt x="23" y="40"/>
                    </a:lnTo>
                    <a:lnTo>
                      <a:pt x="23" y="40"/>
                    </a:lnTo>
                    <a:lnTo>
                      <a:pt x="21" y="38"/>
                    </a:lnTo>
                    <a:lnTo>
                      <a:pt x="21" y="40"/>
                    </a:lnTo>
                    <a:lnTo>
                      <a:pt x="23" y="42"/>
                    </a:lnTo>
                    <a:lnTo>
                      <a:pt x="23" y="42"/>
                    </a:lnTo>
                    <a:close/>
                    <a:moveTo>
                      <a:pt x="23" y="38"/>
                    </a:moveTo>
                    <a:lnTo>
                      <a:pt x="23" y="38"/>
                    </a:lnTo>
                    <a:lnTo>
                      <a:pt x="21" y="35"/>
                    </a:lnTo>
                    <a:lnTo>
                      <a:pt x="21" y="35"/>
                    </a:lnTo>
                    <a:lnTo>
                      <a:pt x="21" y="35"/>
                    </a:lnTo>
                    <a:lnTo>
                      <a:pt x="21" y="35"/>
                    </a:lnTo>
                    <a:lnTo>
                      <a:pt x="21" y="35"/>
                    </a:lnTo>
                    <a:lnTo>
                      <a:pt x="21" y="38"/>
                    </a:lnTo>
                    <a:lnTo>
                      <a:pt x="21" y="38"/>
                    </a:lnTo>
                    <a:lnTo>
                      <a:pt x="23" y="38"/>
                    </a:lnTo>
                    <a:close/>
                    <a:moveTo>
                      <a:pt x="16" y="38"/>
                    </a:moveTo>
                    <a:lnTo>
                      <a:pt x="16" y="35"/>
                    </a:lnTo>
                    <a:lnTo>
                      <a:pt x="16" y="33"/>
                    </a:lnTo>
                    <a:lnTo>
                      <a:pt x="16" y="31"/>
                    </a:lnTo>
                    <a:lnTo>
                      <a:pt x="16" y="28"/>
                    </a:lnTo>
                    <a:lnTo>
                      <a:pt x="14" y="26"/>
                    </a:lnTo>
                    <a:lnTo>
                      <a:pt x="14" y="26"/>
                    </a:lnTo>
                    <a:lnTo>
                      <a:pt x="14" y="28"/>
                    </a:lnTo>
                    <a:lnTo>
                      <a:pt x="14" y="31"/>
                    </a:lnTo>
                    <a:lnTo>
                      <a:pt x="14" y="33"/>
                    </a:lnTo>
                    <a:lnTo>
                      <a:pt x="14" y="33"/>
                    </a:lnTo>
                    <a:lnTo>
                      <a:pt x="14" y="33"/>
                    </a:lnTo>
                    <a:lnTo>
                      <a:pt x="16" y="38"/>
                    </a:lnTo>
                    <a:lnTo>
                      <a:pt x="16" y="38"/>
                    </a:lnTo>
                    <a:lnTo>
                      <a:pt x="16" y="40"/>
                    </a:lnTo>
                    <a:lnTo>
                      <a:pt x="16" y="40"/>
                    </a:lnTo>
                    <a:lnTo>
                      <a:pt x="16" y="38"/>
                    </a:lnTo>
                    <a:lnTo>
                      <a:pt x="16" y="38"/>
                    </a:lnTo>
                    <a:close/>
                    <a:moveTo>
                      <a:pt x="23" y="33"/>
                    </a:moveTo>
                    <a:lnTo>
                      <a:pt x="21" y="28"/>
                    </a:lnTo>
                    <a:lnTo>
                      <a:pt x="21" y="28"/>
                    </a:lnTo>
                    <a:lnTo>
                      <a:pt x="19" y="26"/>
                    </a:lnTo>
                    <a:lnTo>
                      <a:pt x="19" y="26"/>
                    </a:lnTo>
                    <a:lnTo>
                      <a:pt x="19" y="28"/>
                    </a:lnTo>
                    <a:lnTo>
                      <a:pt x="16" y="28"/>
                    </a:lnTo>
                    <a:lnTo>
                      <a:pt x="16" y="28"/>
                    </a:lnTo>
                    <a:lnTo>
                      <a:pt x="19" y="31"/>
                    </a:lnTo>
                    <a:lnTo>
                      <a:pt x="19" y="31"/>
                    </a:lnTo>
                    <a:lnTo>
                      <a:pt x="19" y="33"/>
                    </a:lnTo>
                    <a:lnTo>
                      <a:pt x="21" y="33"/>
                    </a:lnTo>
                    <a:lnTo>
                      <a:pt x="23" y="33"/>
                    </a:lnTo>
                    <a:close/>
                    <a:moveTo>
                      <a:pt x="99" y="26"/>
                    </a:moveTo>
                    <a:lnTo>
                      <a:pt x="99" y="26"/>
                    </a:lnTo>
                    <a:lnTo>
                      <a:pt x="99" y="26"/>
                    </a:lnTo>
                    <a:lnTo>
                      <a:pt x="99" y="26"/>
                    </a:lnTo>
                    <a:lnTo>
                      <a:pt x="97" y="23"/>
                    </a:lnTo>
                    <a:lnTo>
                      <a:pt x="94" y="23"/>
                    </a:lnTo>
                    <a:lnTo>
                      <a:pt x="92" y="21"/>
                    </a:lnTo>
                    <a:lnTo>
                      <a:pt x="92" y="21"/>
                    </a:lnTo>
                    <a:lnTo>
                      <a:pt x="92" y="21"/>
                    </a:lnTo>
                    <a:lnTo>
                      <a:pt x="94" y="19"/>
                    </a:lnTo>
                    <a:lnTo>
                      <a:pt x="92" y="19"/>
                    </a:lnTo>
                    <a:lnTo>
                      <a:pt x="92" y="19"/>
                    </a:lnTo>
                    <a:lnTo>
                      <a:pt x="90" y="19"/>
                    </a:lnTo>
                    <a:lnTo>
                      <a:pt x="92" y="16"/>
                    </a:lnTo>
                    <a:lnTo>
                      <a:pt x="90" y="14"/>
                    </a:lnTo>
                    <a:lnTo>
                      <a:pt x="90" y="14"/>
                    </a:lnTo>
                    <a:lnTo>
                      <a:pt x="90" y="12"/>
                    </a:lnTo>
                    <a:lnTo>
                      <a:pt x="90" y="12"/>
                    </a:lnTo>
                    <a:lnTo>
                      <a:pt x="90" y="12"/>
                    </a:lnTo>
                    <a:lnTo>
                      <a:pt x="90" y="12"/>
                    </a:lnTo>
                    <a:lnTo>
                      <a:pt x="90" y="12"/>
                    </a:lnTo>
                    <a:lnTo>
                      <a:pt x="87" y="12"/>
                    </a:lnTo>
                    <a:lnTo>
                      <a:pt x="87" y="12"/>
                    </a:lnTo>
                    <a:lnTo>
                      <a:pt x="85" y="14"/>
                    </a:lnTo>
                    <a:lnTo>
                      <a:pt x="85" y="14"/>
                    </a:lnTo>
                    <a:lnTo>
                      <a:pt x="82" y="14"/>
                    </a:lnTo>
                    <a:lnTo>
                      <a:pt x="82" y="14"/>
                    </a:lnTo>
                    <a:lnTo>
                      <a:pt x="80" y="14"/>
                    </a:lnTo>
                    <a:lnTo>
                      <a:pt x="80" y="14"/>
                    </a:lnTo>
                    <a:lnTo>
                      <a:pt x="75" y="14"/>
                    </a:lnTo>
                    <a:lnTo>
                      <a:pt x="73" y="14"/>
                    </a:lnTo>
                    <a:lnTo>
                      <a:pt x="71" y="14"/>
                    </a:lnTo>
                    <a:lnTo>
                      <a:pt x="68" y="12"/>
                    </a:lnTo>
                    <a:lnTo>
                      <a:pt x="68" y="12"/>
                    </a:lnTo>
                    <a:lnTo>
                      <a:pt x="68" y="12"/>
                    </a:lnTo>
                    <a:lnTo>
                      <a:pt x="66" y="12"/>
                    </a:lnTo>
                    <a:lnTo>
                      <a:pt x="64" y="9"/>
                    </a:lnTo>
                    <a:lnTo>
                      <a:pt x="64" y="9"/>
                    </a:lnTo>
                    <a:lnTo>
                      <a:pt x="61" y="7"/>
                    </a:lnTo>
                    <a:lnTo>
                      <a:pt x="59" y="7"/>
                    </a:lnTo>
                    <a:lnTo>
                      <a:pt x="56" y="4"/>
                    </a:lnTo>
                    <a:lnTo>
                      <a:pt x="56" y="2"/>
                    </a:lnTo>
                    <a:lnTo>
                      <a:pt x="54" y="2"/>
                    </a:lnTo>
                    <a:lnTo>
                      <a:pt x="52" y="0"/>
                    </a:lnTo>
                    <a:lnTo>
                      <a:pt x="49" y="0"/>
                    </a:lnTo>
                    <a:lnTo>
                      <a:pt x="49" y="0"/>
                    </a:lnTo>
                    <a:lnTo>
                      <a:pt x="47" y="0"/>
                    </a:lnTo>
                    <a:lnTo>
                      <a:pt x="47" y="0"/>
                    </a:lnTo>
                    <a:lnTo>
                      <a:pt x="47" y="0"/>
                    </a:lnTo>
                    <a:lnTo>
                      <a:pt x="45" y="0"/>
                    </a:lnTo>
                    <a:lnTo>
                      <a:pt x="47" y="2"/>
                    </a:lnTo>
                    <a:lnTo>
                      <a:pt x="45" y="2"/>
                    </a:lnTo>
                    <a:lnTo>
                      <a:pt x="45" y="2"/>
                    </a:lnTo>
                    <a:lnTo>
                      <a:pt x="42" y="2"/>
                    </a:lnTo>
                    <a:lnTo>
                      <a:pt x="42" y="4"/>
                    </a:lnTo>
                    <a:lnTo>
                      <a:pt x="40" y="4"/>
                    </a:lnTo>
                    <a:lnTo>
                      <a:pt x="40" y="4"/>
                    </a:lnTo>
                    <a:lnTo>
                      <a:pt x="37" y="4"/>
                    </a:lnTo>
                    <a:lnTo>
                      <a:pt x="37" y="4"/>
                    </a:lnTo>
                    <a:lnTo>
                      <a:pt x="35" y="4"/>
                    </a:lnTo>
                    <a:lnTo>
                      <a:pt x="35" y="7"/>
                    </a:lnTo>
                    <a:lnTo>
                      <a:pt x="35" y="7"/>
                    </a:lnTo>
                    <a:lnTo>
                      <a:pt x="35" y="7"/>
                    </a:lnTo>
                    <a:lnTo>
                      <a:pt x="37" y="9"/>
                    </a:lnTo>
                    <a:lnTo>
                      <a:pt x="37" y="9"/>
                    </a:lnTo>
                    <a:lnTo>
                      <a:pt x="37" y="12"/>
                    </a:lnTo>
                    <a:lnTo>
                      <a:pt x="35" y="12"/>
                    </a:lnTo>
                    <a:lnTo>
                      <a:pt x="35" y="14"/>
                    </a:lnTo>
                    <a:lnTo>
                      <a:pt x="33" y="14"/>
                    </a:lnTo>
                    <a:lnTo>
                      <a:pt x="30" y="16"/>
                    </a:lnTo>
                    <a:lnTo>
                      <a:pt x="30" y="16"/>
                    </a:lnTo>
                    <a:lnTo>
                      <a:pt x="30" y="16"/>
                    </a:lnTo>
                    <a:lnTo>
                      <a:pt x="30" y="16"/>
                    </a:lnTo>
                    <a:lnTo>
                      <a:pt x="30" y="19"/>
                    </a:lnTo>
                    <a:lnTo>
                      <a:pt x="30" y="19"/>
                    </a:lnTo>
                    <a:lnTo>
                      <a:pt x="30" y="19"/>
                    </a:lnTo>
                    <a:lnTo>
                      <a:pt x="30" y="21"/>
                    </a:lnTo>
                    <a:lnTo>
                      <a:pt x="30" y="21"/>
                    </a:lnTo>
                    <a:lnTo>
                      <a:pt x="30" y="21"/>
                    </a:lnTo>
                    <a:lnTo>
                      <a:pt x="28" y="21"/>
                    </a:lnTo>
                    <a:lnTo>
                      <a:pt x="26" y="21"/>
                    </a:lnTo>
                    <a:lnTo>
                      <a:pt x="23" y="21"/>
                    </a:lnTo>
                    <a:lnTo>
                      <a:pt x="23" y="21"/>
                    </a:lnTo>
                    <a:lnTo>
                      <a:pt x="21" y="21"/>
                    </a:lnTo>
                    <a:lnTo>
                      <a:pt x="21" y="19"/>
                    </a:lnTo>
                    <a:lnTo>
                      <a:pt x="19" y="19"/>
                    </a:lnTo>
                    <a:lnTo>
                      <a:pt x="19" y="19"/>
                    </a:lnTo>
                    <a:lnTo>
                      <a:pt x="19" y="16"/>
                    </a:lnTo>
                    <a:lnTo>
                      <a:pt x="19" y="16"/>
                    </a:lnTo>
                    <a:lnTo>
                      <a:pt x="19" y="16"/>
                    </a:lnTo>
                    <a:lnTo>
                      <a:pt x="16" y="19"/>
                    </a:lnTo>
                    <a:lnTo>
                      <a:pt x="16" y="21"/>
                    </a:lnTo>
                    <a:lnTo>
                      <a:pt x="14" y="21"/>
                    </a:lnTo>
                    <a:lnTo>
                      <a:pt x="14" y="21"/>
                    </a:lnTo>
                    <a:lnTo>
                      <a:pt x="11" y="21"/>
                    </a:lnTo>
                    <a:lnTo>
                      <a:pt x="9" y="21"/>
                    </a:lnTo>
                    <a:lnTo>
                      <a:pt x="9" y="19"/>
                    </a:lnTo>
                    <a:lnTo>
                      <a:pt x="9" y="21"/>
                    </a:lnTo>
                    <a:lnTo>
                      <a:pt x="9" y="21"/>
                    </a:lnTo>
                    <a:lnTo>
                      <a:pt x="7" y="21"/>
                    </a:lnTo>
                    <a:lnTo>
                      <a:pt x="7" y="21"/>
                    </a:lnTo>
                    <a:lnTo>
                      <a:pt x="2" y="21"/>
                    </a:lnTo>
                    <a:lnTo>
                      <a:pt x="2" y="19"/>
                    </a:lnTo>
                    <a:lnTo>
                      <a:pt x="0" y="21"/>
                    </a:lnTo>
                    <a:lnTo>
                      <a:pt x="2" y="26"/>
                    </a:lnTo>
                    <a:lnTo>
                      <a:pt x="2" y="26"/>
                    </a:lnTo>
                    <a:lnTo>
                      <a:pt x="2" y="28"/>
                    </a:lnTo>
                    <a:lnTo>
                      <a:pt x="4" y="33"/>
                    </a:lnTo>
                    <a:lnTo>
                      <a:pt x="7" y="35"/>
                    </a:lnTo>
                    <a:lnTo>
                      <a:pt x="7" y="35"/>
                    </a:lnTo>
                    <a:lnTo>
                      <a:pt x="9" y="35"/>
                    </a:lnTo>
                    <a:lnTo>
                      <a:pt x="9" y="33"/>
                    </a:lnTo>
                    <a:lnTo>
                      <a:pt x="11" y="33"/>
                    </a:lnTo>
                    <a:lnTo>
                      <a:pt x="14" y="28"/>
                    </a:lnTo>
                    <a:lnTo>
                      <a:pt x="14" y="23"/>
                    </a:lnTo>
                    <a:lnTo>
                      <a:pt x="14" y="23"/>
                    </a:lnTo>
                    <a:lnTo>
                      <a:pt x="16" y="23"/>
                    </a:lnTo>
                    <a:lnTo>
                      <a:pt x="19" y="23"/>
                    </a:lnTo>
                    <a:lnTo>
                      <a:pt x="19" y="26"/>
                    </a:lnTo>
                    <a:lnTo>
                      <a:pt x="23" y="28"/>
                    </a:lnTo>
                    <a:lnTo>
                      <a:pt x="23" y="33"/>
                    </a:lnTo>
                    <a:lnTo>
                      <a:pt x="23" y="35"/>
                    </a:lnTo>
                    <a:lnTo>
                      <a:pt x="23" y="38"/>
                    </a:lnTo>
                    <a:lnTo>
                      <a:pt x="26" y="40"/>
                    </a:lnTo>
                    <a:lnTo>
                      <a:pt x="30" y="45"/>
                    </a:lnTo>
                    <a:lnTo>
                      <a:pt x="33" y="45"/>
                    </a:lnTo>
                    <a:lnTo>
                      <a:pt x="33" y="47"/>
                    </a:lnTo>
                    <a:lnTo>
                      <a:pt x="33" y="47"/>
                    </a:lnTo>
                    <a:lnTo>
                      <a:pt x="30" y="47"/>
                    </a:lnTo>
                    <a:lnTo>
                      <a:pt x="30" y="47"/>
                    </a:lnTo>
                    <a:lnTo>
                      <a:pt x="28" y="47"/>
                    </a:lnTo>
                    <a:lnTo>
                      <a:pt x="28" y="47"/>
                    </a:lnTo>
                    <a:lnTo>
                      <a:pt x="28" y="49"/>
                    </a:lnTo>
                    <a:lnTo>
                      <a:pt x="35" y="54"/>
                    </a:lnTo>
                    <a:lnTo>
                      <a:pt x="37" y="57"/>
                    </a:lnTo>
                    <a:lnTo>
                      <a:pt x="40" y="59"/>
                    </a:lnTo>
                    <a:lnTo>
                      <a:pt x="42" y="59"/>
                    </a:lnTo>
                    <a:lnTo>
                      <a:pt x="42" y="61"/>
                    </a:lnTo>
                    <a:lnTo>
                      <a:pt x="42" y="61"/>
                    </a:lnTo>
                    <a:lnTo>
                      <a:pt x="42" y="61"/>
                    </a:lnTo>
                    <a:lnTo>
                      <a:pt x="45" y="64"/>
                    </a:lnTo>
                    <a:lnTo>
                      <a:pt x="45" y="64"/>
                    </a:lnTo>
                    <a:lnTo>
                      <a:pt x="47" y="61"/>
                    </a:lnTo>
                    <a:lnTo>
                      <a:pt x="49" y="61"/>
                    </a:lnTo>
                    <a:lnTo>
                      <a:pt x="54" y="64"/>
                    </a:lnTo>
                    <a:lnTo>
                      <a:pt x="59" y="66"/>
                    </a:lnTo>
                    <a:lnTo>
                      <a:pt x="64" y="68"/>
                    </a:lnTo>
                    <a:lnTo>
                      <a:pt x="66" y="71"/>
                    </a:lnTo>
                    <a:lnTo>
                      <a:pt x="68" y="73"/>
                    </a:lnTo>
                    <a:lnTo>
                      <a:pt x="71" y="73"/>
                    </a:lnTo>
                    <a:lnTo>
                      <a:pt x="71" y="73"/>
                    </a:lnTo>
                    <a:lnTo>
                      <a:pt x="71" y="73"/>
                    </a:lnTo>
                    <a:lnTo>
                      <a:pt x="71" y="73"/>
                    </a:lnTo>
                    <a:lnTo>
                      <a:pt x="71" y="73"/>
                    </a:lnTo>
                    <a:lnTo>
                      <a:pt x="66" y="68"/>
                    </a:lnTo>
                    <a:lnTo>
                      <a:pt x="66" y="66"/>
                    </a:lnTo>
                    <a:lnTo>
                      <a:pt x="66" y="66"/>
                    </a:lnTo>
                    <a:lnTo>
                      <a:pt x="64" y="64"/>
                    </a:lnTo>
                    <a:lnTo>
                      <a:pt x="64" y="64"/>
                    </a:lnTo>
                    <a:lnTo>
                      <a:pt x="61" y="61"/>
                    </a:lnTo>
                    <a:lnTo>
                      <a:pt x="59" y="59"/>
                    </a:lnTo>
                    <a:lnTo>
                      <a:pt x="54" y="57"/>
                    </a:lnTo>
                    <a:lnTo>
                      <a:pt x="54" y="57"/>
                    </a:lnTo>
                    <a:lnTo>
                      <a:pt x="54" y="54"/>
                    </a:lnTo>
                    <a:lnTo>
                      <a:pt x="52" y="52"/>
                    </a:lnTo>
                    <a:lnTo>
                      <a:pt x="49" y="52"/>
                    </a:lnTo>
                    <a:lnTo>
                      <a:pt x="47" y="49"/>
                    </a:lnTo>
                    <a:lnTo>
                      <a:pt x="47" y="47"/>
                    </a:lnTo>
                    <a:lnTo>
                      <a:pt x="45" y="45"/>
                    </a:lnTo>
                    <a:lnTo>
                      <a:pt x="45" y="42"/>
                    </a:lnTo>
                    <a:lnTo>
                      <a:pt x="45" y="42"/>
                    </a:lnTo>
                    <a:lnTo>
                      <a:pt x="45" y="42"/>
                    </a:lnTo>
                    <a:lnTo>
                      <a:pt x="40" y="38"/>
                    </a:lnTo>
                    <a:lnTo>
                      <a:pt x="37" y="38"/>
                    </a:lnTo>
                    <a:lnTo>
                      <a:pt x="37" y="35"/>
                    </a:lnTo>
                    <a:lnTo>
                      <a:pt x="37" y="31"/>
                    </a:lnTo>
                    <a:lnTo>
                      <a:pt x="40" y="26"/>
                    </a:lnTo>
                    <a:lnTo>
                      <a:pt x="40" y="26"/>
                    </a:lnTo>
                    <a:lnTo>
                      <a:pt x="40" y="26"/>
                    </a:lnTo>
                    <a:lnTo>
                      <a:pt x="42" y="26"/>
                    </a:lnTo>
                    <a:lnTo>
                      <a:pt x="42" y="26"/>
                    </a:lnTo>
                    <a:lnTo>
                      <a:pt x="45" y="28"/>
                    </a:lnTo>
                    <a:lnTo>
                      <a:pt x="47" y="31"/>
                    </a:lnTo>
                    <a:lnTo>
                      <a:pt x="47" y="31"/>
                    </a:lnTo>
                    <a:lnTo>
                      <a:pt x="49" y="28"/>
                    </a:lnTo>
                    <a:lnTo>
                      <a:pt x="49" y="26"/>
                    </a:lnTo>
                    <a:lnTo>
                      <a:pt x="52" y="26"/>
                    </a:lnTo>
                    <a:lnTo>
                      <a:pt x="56" y="26"/>
                    </a:lnTo>
                    <a:lnTo>
                      <a:pt x="56" y="26"/>
                    </a:lnTo>
                    <a:lnTo>
                      <a:pt x="61" y="26"/>
                    </a:lnTo>
                    <a:lnTo>
                      <a:pt x="64" y="28"/>
                    </a:lnTo>
                    <a:lnTo>
                      <a:pt x="64" y="26"/>
                    </a:lnTo>
                    <a:lnTo>
                      <a:pt x="64" y="26"/>
                    </a:lnTo>
                    <a:lnTo>
                      <a:pt x="66" y="28"/>
                    </a:lnTo>
                    <a:lnTo>
                      <a:pt x="68" y="28"/>
                    </a:lnTo>
                    <a:lnTo>
                      <a:pt x="68" y="28"/>
                    </a:lnTo>
                    <a:lnTo>
                      <a:pt x="71" y="26"/>
                    </a:lnTo>
                    <a:lnTo>
                      <a:pt x="71" y="28"/>
                    </a:lnTo>
                    <a:lnTo>
                      <a:pt x="73" y="28"/>
                    </a:lnTo>
                    <a:lnTo>
                      <a:pt x="73" y="28"/>
                    </a:lnTo>
                    <a:lnTo>
                      <a:pt x="75" y="28"/>
                    </a:lnTo>
                    <a:lnTo>
                      <a:pt x="75" y="28"/>
                    </a:lnTo>
                    <a:lnTo>
                      <a:pt x="78" y="28"/>
                    </a:lnTo>
                    <a:lnTo>
                      <a:pt x="80" y="28"/>
                    </a:lnTo>
                    <a:lnTo>
                      <a:pt x="80" y="28"/>
                    </a:lnTo>
                    <a:lnTo>
                      <a:pt x="82" y="28"/>
                    </a:lnTo>
                    <a:lnTo>
                      <a:pt x="82" y="28"/>
                    </a:lnTo>
                    <a:lnTo>
                      <a:pt x="85" y="28"/>
                    </a:lnTo>
                    <a:lnTo>
                      <a:pt x="87" y="28"/>
                    </a:lnTo>
                    <a:lnTo>
                      <a:pt x="87" y="31"/>
                    </a:lnTo>
                    <a:lnTo>
                      <a:pt x="90" y="33"/>
                    </a:lnTo>
                    <a:lnTo>
                      <a:pt x="90" y="33"/>
                    </a:lnTo>
                    <a:lnTo>
                      <a:pt x="90" y="33"/>
                    </a:lnTo>
                    <a:lnTo>
                      <a:pt x="90" y="35"/>
                    </a:lnTo>
                    <a:lnTo>
                      <a:pt x="92" y="35"/>
                    </a:lnTo>
                    <a:lnTo>
                      <a:pt x="92" y="35"/>
                    </a:lnTo>
                    <a:lnTo>
                      <a:pt x="92" y="33"/>
                    </a:lnTo>
                    <a:lnTo>
                      <a:pt x="92" y="33"/>
                    </a:lnTo>
                    <a:lnTo>
                      <a:pt x="94" y="33"/>
                    </a:lnTo>
                    <a:lnTo>
                      <a:pt x="94" y="33"/>
                    </a:lnTo>
                    <a:lnTo>
                      <a:pt x="94" y="33"/>
                    </a:lnTo>
                    <a:lnTo>
                      <a:pt x="94" y="33"/>
                    </a:lnTo>
                    <a:lnTo>
                      <a:pt x="94" y="28"/>
                    </a:lnTo>
                    <a:lnTo>
                      <a:pt x="94" y="28"/>
                    </a:lnTo>
                    <a:lnTo>
                      <a:pt x="94" y="26"/>
                    </a:lnTo>
                    <a:lnTo>
                      <a:pt x="94" y="26"/>
                    </a:lnTo>
                    <a:lnTo>
                      <a:pt x="97" y="26"/>
                    </a:lnTo>
                    <a:lnTo>
                      <a:pt x="97" y="26"/>
                    </a:lnTo>
                    <a:lnTo>
                      <a:pt x="99" y="26"/>
                    </a:lnTo>
                    <a:lnTo>
                      <a:pt x="99" y="26"/>
                    </a:lnTo>
                    <a:lnTo>
                      <a:pt x="99" y="26"/>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178"/>
              <p:cNvSpPr>
                <a:spLocks/>
              </p:cNvSpPr>
              <p:nvPr/>
            </p:nvSpPr>
            <p:spPr bwMode="auto">
              <a:xfrm>
                <a:off x="1154" y="2563"/>
                <a:ext cx="62" cy="67"/>
              </a:xfrm>
              <a:custGeom>
                <a:avLst/>
                <a:gdLst>
                  <a:gd name="T0" fmla="*/ 57 w 62"/>
                  <a:gd name="T1" fmla="*/ 31 h 67"/>
                  <a:gd name="T2" fmla="*/ 52 w 62"/>
                  <a:gd name="T3" fmla="*/ 24 h 67"/>
                  <a:gd name="T4" fmla="*/ 45 w 62"/>
                  <a:gd name="T5" fmla="*/ 10 h 67"/>
                  <a:gd name="T6" fmla="*/ 43 w 62"/>
                  <a:gd name="T7" fmla="*/ 7 h 67"/>
                  <a:gd name="T8" fmla="*/ 40 w 62"/>
                  <a:gd name="T9" fmla="*/ 10 h 67"/>
                  <a:gd name="T10" fmla="*/ 33 w 62"/>
                  <a:gd name="T11" fmla="*/ 10 h 67"/>
                  <a:gd name="T12" fmla="*/ 31 w 62"/>
                  <a:gd name="T13" fmla="*/ 7 h 67"/>
                  <a:gd name="T14" fmla="*/ 29 w 62"/>
                  <a:gd name="T15" fmla="*/ 5 h 67"/>
                  <a:gd name="T16" fmla="*/ 22 w 62"/>
                  <a:gd name="T17" fmla="*/ 5 h 67"/>
                  <a:gd name="T18" fmla="*/ 12 w 62"/>
                  <a:gd name="T19" fmla="*/ 3 h 67"/>
                  <a:gd name="T20" fmla="*/ 7 w 62"/>
                  <a:gd name="T21" fmla="*/ 0 h 67"/>
                  <a:gd name="T22" fmla="*/ 5 w 62"/>
                  <a:gd name="T23" fmla="*/ 3 h 67"/>
                  <a:gd name="T24" fmla="*/ 5 w 62"/>
                  <a:gd name="T25" fmla="*/ 3 h 67"/>
                  <a:gd name="T26" fmla="*/ 0 w 62"/>
                  <a:gd name="T27" fmla="*/ 7 h 67"/>
                  <a:gd name="T28" fmla="*/ 5 w 62"/>
                  <a:gd name="T29" fmla="*/ 10 h 67"/>
                  <a:gd name="T30" fmla="*/ 5 w 62"/>
                  <a:gd name="T31" fmla="*/ 14 h 67"/>
                  <a:gd name="T32" fmla="*/ 3 w 62"/>
                  <a:gd name="T33" fmla="*/ 24 h 67"/>
                  <a:gd name="T34" fmla="*/ 10 w 62"/>
                  <a:gd name="T35" fmla="*/ 29 h 67"/>
                  <a:gd name="T36" fmla="*/ 14 w 62"/>
                  <a:gd name="T37" fmla="*/ 33 h 67"/>
                  <a:gd name="T38" fmla="*/ 19 w 62"/>
                  <a:gd name="T39" fmla="*/ 29 h 67"/>
                  <a:gd name="T40" fmla="*/ 14 w 62"/>
                  <a:gd name="T41" fmla="*/ 26 h 67"/>
                  <a:gd name="T42" fmla="*/ 12 w 62"/>
                  <a:gd name="T43" fmla="*/ 22 h 67"/>
                  <a:gd name="T44" fmla="*/ 22 w 62"/>
                  <a:gd name="T45" fmla="*/ 29 h 67"/>
                  <a:gd name="T46" fmla="*/ 22 w 62"/>
                  <a:gd name="T47" fmla="*/ 33 h 67"/>
                  <a:gd name="T48" fmla="*/ 31 w 62"/>
                  <a:gd name="T49" fmla="*/ 38 h 67"/>
                  <a:gd name="T50" fmla="*/ 38 w 62"/>
                  <a:gd name="T51" fmla="*/ 43 h 67"/>
                  <a:gd name="T52" fmla="*/ 40 w 62"/>
                  <a:gd name="T53" fmla="*/ 50 h 67"/>
                  <a:gd name="T54" fmla="*/ 40 w 62"/>
                  <a:gd name="T55" fmla="*/ 57 h 67"/>
                  <a:gd name="T56" fmla="*/ 45 w 62"/>
                  <a:gd name="T57" fmla="*/ 59 h 67"/>
                  <a:gd name="T58" fmla="*/ 45 w 62"/>
                  <a:gd name="T59" fmla="*/ 57 h 67"/>
                  <a:gd name="T60" fmla="*/ 45 w 62"/>
                  <a:gd name="T61" fmla="*/ 52 h 67"/>
                  <a:gd name="T62" fmla="*/ 50 w 62"/>
                  <a:gd name="T63" fmla="*/ 57 h 67"/>
                  <a:gd name="T64" fmla="*/ 52 w 62"/>
                  <a:gd name="T65" fmla="*/ 64 h 67"/>
                  <a:gd name="T66" fmla="*/ 52 w 62"/>
                  <a:gd name="T67" fmla="*/ 64 h 67"/>
                  <a:gd name="T68" fmla="*/ 50 w 62"/>
                  <a:gd name="T69" fmla="*/ 62 h 67"/>
                  <a:gd name="T70" fmla="*/ 55 w 62"/>
                  <a:gd name="T71" fmla="*/ 57 h 67"/>
                  <a:gd name="T72" fmla="*/ 52 w 62"/>
                  <a:gd name="T73" fmla="*/ 52 h 67"/>
                  <a:gd name="T74" fmla="*/ 57 w 62"/>
                  <a:gd name="T75" fmla="*/ 50 h 67"/>
                  <a:gd name="T76" fmla="*/ 57 w 62"/>
                  <a:gd name="T77" fmla="*/ 48 h 67"/>
                  <a:gd name="T78" fmla="*/ 55 w 62"/>
                  <a:gd name="T79" fmla="*/ 40 h 67"/>
                  <a:gd name="T80" fmla="*/ 55 w 62"/>
                  <a:gd name="T81" fmla="*/ 36 h 67"/>
                  <a:gd name="T82" fmla="*/ 57 w 62"/>
                  <a:gd name="T83" fmla="*/ 33 h 67"/>
                  <a:gd name="T84" fmla="*/ 59 w 62"/>
                  <a:gd name="T85" fmla="*/ 36 h 67"/>
                  <a:gd name="T86" fmla="*/ 62 w 62"/>
                  <a:gd name="T87" fmla="*/ 36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2" h="67">
                    <a:moveTo>
                      <a:pt x="59" y="33"/>
                    </a:moveTo>
                    <a:lnTo>
                      <a:pt x="57" y="33"/>
                    </a:lnTo>
                    <a:lnTo>
                      <a:pt x="57" y="31"/>
                    </a:lnTo>
                    <a:lnTo>
                      <a:pt x="55" y="31"/>
                    </a:lnTo>
                    <a:lnTo>
                      <a:pt x="52" y="26"/>
                    </a:lnTo>
                    <a:lnTo>
                      <a:pt x="52" y="24"/>
                    </a:lnTo>
                    <a:lnTo>
                      <a:pt x="48" y="19"/>
                    </a:lnTo>
                    <a:lnTo>
                      <a:pt x="45" y="17"/>
                    </a:lnTo>
                    <a:lnTo>
                      <a:pt x="45" y="10"/>
                    </a:lnTo>
                    <a:lnTo>
                      <a:pt x="43" y="7"/>
                    </a:lnTo>
                    <a:lnTo>
                      <a:pt x="43" y="7"/>
                    </a:lnTo>
                    <a:lnTo>
                      <a:pt x="43" y="7"/>
                    </a:lnTo>
                    <a:lnTo>
                      <a:pt x="43" y="7"/>
                    </a:lnTo>
                    <a:lnTo>
                      <a:pt x="40" y="10"/>
                    </a:lnTo>
                    <a:lnTo>
                      <a:pt x="40" y="10"/>
                    </a:lnTo>
                    <a:lnTo>
                      <a:pt x="38" y="10"/>
                    </a:lnTo>
                    <a:lnTo>
                      <a:pt x="33" y="10"/>
                    </a:lnTo>
                    <a:lnTo>
                      <a:pt x="33" y="10"/>
                    </a:lnTo>
                    <a:lnTo>
                      <a:pt x="33" y="10"/>
                    </a:lnTo>
                    <a:lnTo>
                      <a:pt x="33" y="7"/>
                    </a:lnTo>
                    <a:lnTo>
                      <a:pt x="31" y="7"/>
                    </a:lnTo>
                    <a:lnTo>
                      <a:pt x="31" y="5"/>
                    </a:lnTo>
                    <a:lnTo>
                      <a:pt x="29" y="5"/>
                    </a:lnTo>
                    <a:lnTo>
                      <a:pt x="29" y="5"/>
                    </a:lnTo>
                    <a:lnTo>
                      <a:pt x="24" y="3"/>
                    </a:lnTo>
                    <a:lnTo>
                      <a:pt x="24" y="3"/>
                    </a:lnTo>
                    <a:lnTo>
                      <a:pt x="22" y="5"/>
                    </a:lnTo>
                    <a:lnTo>
                      <a:pt x="19" y="5"/>
                    </a:lnTo>
                    <a:lnTo>
                      <a:pt x="14" y="3"/>
                    </a:lnTo>
                    <a:lnTo>
                      <a:pt x="12" y="3"/>
                    </a:lnTo>
                    <a:lnTo>
                      <a:pt x="7" y="0"/>
                    </a:lnTo>
                    <a:lnTo>
                      <a:pt x="7" y="0"/>
                    </a:lnTo>
                    <a:lnTo>
                      <a:pt x="7" y="0"/>
                    </a:lnTo>
                    <a:lnTo>
                      <a:pt x="7" y="0"/>
                    </a:lnTo>
                    <a:lnTo>
                      <a:pt x="5" y="3"/>
                    </a:lnTo>
                    <a:lnTo>
                      <a:pt x="5" y="3"/>
                    </a:lnTo>
                    <a:lnTo>
                      <a:pt x="5" y="3"/>
                    </a:lnTo>
                    <a:lnTo>
                      <a:pt x="5" y="3"/>
                    </a:lnTo>
                    <a:lnTo>
                      <a:pt x="5" y="3"/>
                    </a:lnTo>
                    <a:lnTo>
                      <a:pt x="5" y="5"/>
                    </a:lnTo>
                    <a:lnTo>
                      <a:pt x="3" y="7"/>
                    </a:lnTo>
                    <a:lnTo>
                      <a:pt x="0" y="7"/>
                    </a:lnTo>
                    <a:lnTo>
                      <a:pt x="3" y="7"/>
                    </a:lnTo>
                    <a:lnTo>
                      <a:pt x="5" y="10"/>
                    </a:lnTo>
                    <a:lnTo>
                      <a:pt x="5" y="10"/>
                    </a:lnTo>
                    <a:lnTo>
                      <a:pt x="5" y="12"/>
                    </a:lnTo>
                    <a:lnTo>
                      <a:pt x="5" y="12"/>
                    </a:lnTo>
                    <a:lnTo>
                      <a:pt x="5" y="14"/>
                    </a:lnTo>
                    <a:lnTo>
                      <a:pt x="3" y="17"/>
                    </a:lnTo>
                    <a:lnTo>
                      <a:pt x="0" y="19"/>
                    </a:lnTo>
                    <a:lnTo>
                      <a:pt x="3" y="24"/>
                    </a:lnTo>
                    <a:lnTo>
                      <a:pt x="3" y="26"/>
                    </a:lnTo>
                    <a:lnTo>
                      <a:pt x="5" y="29"/>
                    </a:lnTo>
                    <a:lnTo>
                      <a:pt x="10" y="29"/>
                    </a:lnTo>
                    <a:lnTo>
                      <a:pt x="12" y="33"/>
                    </a:lnTo>
                    <a:lnTo>
                      <a:pt x="14" y="33"/>
                    </a:lnTo>
                    <a:lnTo>
                      <a:pt x="14" y="33"/>
                    </a:lnTo>
                    <a:lnTo>
                      <a:pt x="14" y="33"/>
                    </a:lnTo>
                    <a:lnTo>
                      <a:pt x="17" y="31"/>
                    </a:lnTo>
                    <a:lnTo>
                      <a:pt x="19" y="29"/>
                    </a:lnTo>
                    <a:lnTo>
                      <a:pt x="19" y="29"/>
                    </a:lnTo>
                    <a:lnTo>
                      <a:pt x="17" y="26"/>
                    </a:lnTo>
                    <a:lnTo>
                      <a:pt x="14" y="26"/>
                    </a:lnTo>
                    <a:lnTo>
                      <a:pt x="12" y="24"/>
                    </a:lnTo>
                    <a:lnTo>
                      <a:pt x="12" y="19"/>
                    </a:lnTo>
                    <a:lnTo>
                      <a:pt x="12" y="22"/>
                    </a:lnTo>
                    <a:lnTo>
                      <a:pt x="12" y="22"/>
                    </a:lnTo>
                    <a:lnTo>
                      <a:pt x="17" y="24"/>
                    </a:lnTo>
                    <a:lnTo>
                      <a:pt x="22" y="29"/>
                    </a:lnTo>
                    <a:lnTo>
                      <a:pt x="24" y="31"/>
                    </a:lnTo>
                    <a:lnTo>
                      <a:pt x="22" y="31"/>
                    </a:lnTo>
                    <a:lnTo>
                      <a:pt x="22" y="33"/>
                    </a:lnTo>
                    <a:lnTo>
                      <a:pt x="24" y="36"/>
                    </a:lnTo>
                    <a:lnTo>
                      <a:pt x="26" y="36"/>
                    </a:lnTo>
                    <a:lnTo>
                      <a:pt x="31" y="38"/>
                    </a:lnTo>
                    <a:lnTo>
                      <a:pt x="31" y="38"/>
                    </a:lnTo>
                    <a:lnTo>
                      <a:pt x="36" y="40"/>
                    </a:lnTo>
                    <a:lnTo>
                      <a:pt x="38" y="43"/>
                    </a:lnTo>
                    <a:lnTo>
                      <a:pt x="40" y="45"/>
                    </a:lnTo>
                    <a:lnTo>
                      <a:pt x="40" y="48"/>
                    </a:lnTo>
                    <a:lnTo>
                      <a:pt x="40" y="50"/>
                    </a:lnTo>
                    <a:lnTo>
                      <a:pt x="40" y="52"/>
                    </a:lnTo>
                    <a:lnTo>
                      <a:pt x="38" y="55"/>
                    </a:lnTo>
                    <a:lnTo>
                      <a:pt x="40" y="57"/>
                    </a:lnTo>
                    <a:lnTo>
                      <a:pt x="40" y="59"/>
                    </a:lnTo>
                    <a:lnTo>
                      <a:pt x="43" y="59"/>
                    </a:lnTo>
                    <a:lnTo>
                      <a:pt x="45" y="59"/>
                    </a:lnTo>
                    <a:lnTo>
                      <a:pt x="45" y="59"/>
                    </a:lnTo>
                    <a:lnTo>
                      <a:pt x="45" y="57"/>
                    </a:lnTo>
                    <a:lnTo>
                      <a:pt x="45" y="57"/>
                    </a:lnTo>
                    <a:lnTo>
                      <a:pt x="43" y="55"/>
                    </a:lnTo>
                    <a:lnTo>
                      <a:pt x="43" y="52"/>
                    </a:lnTo>
                    <a:lnTo>
                      <a:pt x="45" y="52"/>
                    </a:lnTo>
                    <a:lnTo>
                      <a:pt x="48" y="55"/>
                    </a:lnTo>
                    <a:lnTo>
                      <a:pt x="48" y="55"/>
                    </a:lnTo>
                    <a:lnTo>
                      <a:pt x="50" y="57"/>
                    </a:lnTo>
                    <a:lnTo>
                      <a:pt x="50" y="59"/>
                    </a:lnTo>
                    <a:lnTo>
                      <a:pt x="50" y="62"/>
                    </a:lnTo>
                    <a:lnTo>
                      <a:pt x="52" y="64"/>
                    </a:lnTo>
                    <a:lnTo>
                      <a:pt x="52" y="67"/>
                    </a:lnTo>
                    <a:lnTo>
                      <a:pt x="52" y="64"/>
                    </a:lnTo>
                    <a:lnTo>
                      <a:pt x="52" y="64"/>
                    </a:lnTo>
                    <a:lnTo>
                      <a:pt x="52" y="62"/>
                    </a:lnTo>
                    <a:lnTo>
                      <a:pt x="50" y="62"/>
                    </a:lnTo>
                    <a:lnTo>
                      <a:pt x="50" y="62"/>
                    </a:lnTo>
                    <a:lnTo>
                      <a:pt x="52" y="59"/>
                    </a:lnTo>
                    <a:lnTo>
                      <a:pt x="55" y="59"/>
                    </a:lnTo>
                    <a:lnTo>
                      <a:pt x="55" y="57"/>
                    </a:lnTo>
                    <a:lnTo>
                      <a:pt x="55" y="57"/>
                    </a:lnTo>
                    <a:lnTo>
                      <a:pt x="55" y="55"/>
                    </a:lnTo>
                    <a:lnTo>
                      <a:pt x="52" y="52"/>
                    </a:lnTo>
                    <a:lnTo>
                      <a:pt x="55" y="50"/>
                    </a:lnTo>
                    <a:lnTo>
                      <a:pt x="55" y="50"/>
                    </a:lnTo>
                    <a:lnTo>
                      <a:pt x="57" y="50"/>
                    </a:lnTo>
                    <a:lnTo>
                      <a:pt x="57" y="48"/>
                    </a:lnTo>
                    <a:lnTo>
                      <a:pt x="57" y="48"/>
                    </a:lnTo>
                    <a:lnTo>
                      <a:pt x="57" y="48"/>
                    </a:lnTo>
                    <a:lnTo>
                      <a:pt x="55" y="45"/>
                    </a:lnTo>
                    <a:lnTo>
                      <a:pt x="52" y="45"/>
                    </a:lnTo>
                    <a:lnTo>
                      <a:pt x="55" y="40"/>
                    </a:lnTo>
                    <a:lnTo>
                      <a:pt x="55" y="38"/>
                    </a:lnTo>
                    <a:lnTo>
                      <a:pt x="55" y="36"/>
                    </a:lnTo>
                    <a:lnTo>
                      <a:pt x="55" y="36"/>
                    </a:lnTo>
                    <a:lnTo>
                      <a:pt x="55" y="36"/>
                    </a:lnTo>
                    <a:lnTo>
                      <a:pt x="57" y="36"/>
                    </a:lnTo>
                    <a:lnTo>
                      <a:pt x="57" y="33"/>
                    </a:lnTo>
                    <a:lnTo>
                      <a:pt x="57" y="36"/>
                    </a:lnTo>
                    <a:lnTo>
                      <a:pt x="59" y="36"/>
                    </a:lnTo>
                    <a:lnTo>
                      <a:pt x="59" y="36"/>
                    </a:lnTo>
                    <a:lnTo>
                      <a:pt x="62" y="36"/>
                    </a:lnTo>
                    <a:lnTo>
                      <a:pt x="62" y="36"/>
                    </a:lnTo>
                    <a:lnTo>
                      <a:pt x="62" y="36"/>
                    </a:lnTo>
                    <a:lnTo>
                      <a:pt x="59" y="33"/>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179"/>
              <p:cNvSpPr>
                <a:spLocks/>
              </p:cNvSpPr>
              <p:nvPr/>
            </p:nvSpPr>
            <p:spPr bwMode="auto">
              <a:xfrm>
                <a:off x="2957" y="2722"/>
                <a:ext cx="139" cy="185"/>
              </a:xfrm>
              <a:custGeom>
                <a:avLst/>
                <a:gdLst>
                  <a:gd name="T0" fmla="*/ 132 w 139"/>
                  <a:gd name="T1" fmla="*/ 2 h 185"/>
                  <a:gd name="T2" fmla="*/ 125 w 139"/>
                  <a:gd name="T3" fmla="*/ 2 h 185"/>
                  <a:gd name="T4" fmla="*/ 116 w 139"/>
                  <a:gd name="T5" fmla="*/ 0 h 185"/>
                  <a:gd name="T6" fmla="*/ 102 w 139"/>
                  <a:gd name="T7" fmla="*/ 5 h 185"/>
                  <a:gd name="T8" fmla="*/ 99 w 139"/>
                  <a:gd name="T9" fmla="*/ 14 h 185"/>
                  <a:gd name="T10" fmla="*/ 94 w 139"/>
                  <a:gd name="T11" fmla="*/ 31 h 185"/>
                  <a:gd name="T12" fmla="*/ 92 w 139"/>
                  <a:gd name="T13" fmla="*/ 38 h 185"/>
                  <a:gd name="T14" fmla="*/ 90 w 139"/>
                  <a:gd name="T15" fmla="*/ 40 h 185"/>
                  <a:gd name="T16" fmla="*/ 75 w 139"/>
                  <a:gd name="T17" fmla="*/ 35 h 185"/>
                  <a:gd name="T18" fmla="*/ 68 w 139"/>
                  <a:gd name="T19" fmla="*/ 35 h 185"/>
                  <a:gd name="T20" fmla="*/ 66 w 139"/>
                  <a:gd name="T21" fmla="*/ 33 h 185"/>
                  <a:gd name="T22" fmla="*/ 45 w 139"/>
                  <a:gd name="T23" fmla="*/ 33 h 185"/>
                  <a:gd name="T24" fmla="*/ 38 w 139"/>
                  <a:gd name="T25" fmla="*/ 45 h 185"/>
                  <a:gd name="T26" fmla="*/ 40 w 139"/>
                  <a:gd name="T27" fmla="*/ 52 h 185"/>
                  <a:gd name="T28" fmla="*/ 57 w 139"/>
                  <a:gd name="T29" fmla="*/ 50 h 185"/>
                  <a:gd name="T30" fmla="*/ 61 w 139"/>
                  <a:gd name="T31" fmla="*/ 59 h 185"/>
                  <a:gd name="T32" fmla="*/ 57 w 139"/>
                  <a:gd name="T33" fmla="*/ 66 h 185"/>
                  <a:gd name="T34" fmla="*/ 49 w 139"/>
                  <a:gd name="T35" fmla="*/ 73 h 185"/>
                  <a:gd name="T36" fmla="*/ 54 w 139"/>
                  <a:gd name="T37" fmla="*/ 85 h 185"/>
                  <a:gd name="T38" fmla="*/ 61 w 139"/>
                  <a:gd name="T39" fmla="*/ 92 h 185"/>
                  <a:gd name="T40" fmla="*/ 61 w 139"/>
                  <a:gd name="T41" fmla="*/ 111 h 185"/>
                  <a:gd name="T42" fmla="*/ 59 w 139"/>
                  <a:gd name="T43" fmla="*/ 118 h 185"/>
                  <a:gd name="T44" fmla="*/ 57 w 139"/>
                  <a:gd name="T45" fmla="*/ 128 h 185"/>
                  <a:gd name="T46" fmla="*/ 49 w 139"/>
                  <a:gd name="T47" fmla="*/ 130 h 185"/>
                  <a:gd name="T48" fmla="*/ 47 w 139"/>
                  <a:gd name="T49" fmla="*/ 125 h 185"/>
                  <a:gd name="T50" fmla="*/ 33 w 139"/>
                  <a:gd name="T51" fmla="*/ 123 h 185"/>
                  <a:gd name="T52" fmla="*/ 23 w 139"/>
                  <a:gd name="T53" fmla="*/ 118 h 185"/>
                  <a:gd name="T54" fmla="*/ 23 w 139"/>
                  <a:gd name="T55" fmla="*/ 123 h 185"/>
                  <a:gd name="T56" fmla="*/ 14 w 139"/>
                  <a:gd name="T57" fmla="*/ 128 h 185"/>
                  <a:gd name="T58" fmla="*/ 7 w 139"/>
                  <a:gd name="T59" fmla="*/ 132 h 185"/>
                  <a:gd name="T60" fmla="*/ 9 w 139"/>
                  <a:gd name="T61" fmla="*/ 140 h 185"/>
                  <a:gd name="T62" fmla="*/ 12 w 139"/>
                  <a:gd name="T63" fmla="*/ 147 h 185"/>
                  <a:gd name="T64" fmla="*/ 12 w 139"/>
                  <a:gd name="T65" fmla="*/ 154 h 185"/>
                  <a:gd name="T66" fmla="*/ 9 w 139"/>
                  <a:gd name="T67" fmla="*/ 156 h 185"/>
                  <a:gd name="T68" fmla="*/ 0 w 139"/>
                  <a:gd name="T69" fmla="*/ 159 h 185"/>
                  <a:gd name="T70" fmla="*/ 12 w 139"/>
                  <a:gd name="T71" fmla="*/ 177 h 185"/>
                  <a:gd name="T72" fmla="*/ 16 w 139"/>
                  <a:gd name="T73" fmla="*/ 185 h 185"/>
                  <a:gd name="T74" fmla="*/ 23 w 139"/>
                  <a:gd name="T75" fmla="*/ 177 h 185"/>
                  <a:gd name="T76" fmla="*/ 31 w 139"/>
                  <a:gd name="T77" fmla="*/ 173 h 185"/>
                  <a:gd name="T78" fmla="*/ 38 w 139"/>
                  <a:gd name="T79" fmla="*/ 175 h 185"/>
                  <a:gd name="T80" fmla="*/ 42 w 139"/>
                  <a:gd name="T81" fmla="*/ 180 h 185"/>
                  <a:gd name="T82" fmla="*/ 47 w 139"/>
                  <a:gd name="T83" fmla="*/ 175 h 185"/>
                  <a:gd name="T84" fmla="*/ 52 w 139"/>
                  <a:gd name="T85" fmla="*/ 173 h 185"/>
                  <a:gd name="T86" fmla="*/ 59 w 139"/>
                  <a:gd name="T87" fmla="*/ 168 h 185"/>
                  <a:gd name="T88" fmla="*/ 61 w 139"/>
                  <a:gd name="T89" fmla="*/ 177 h 185"/>
                  <a:gd name="T90" fmla="*/ 64 w 139"/>
                  <a:gd name="T91" fmla="*/ 180 h 185"/>
                  <a:gd name="T92" fmla="*/ 75 w 139"/>
                  <a:gd name="T93" fmla="*/ 168 h 185"/>
                  <a:gd name="T94" fmla="*/ 87 w 139"/>
                  <a:gd name="T95" fmla="*/ 161 h 185"/>
                  <a:gd name="T96" fmla="*/ 94 w 139"/>
                  <a:gd name="T97" fmla="*/ 125 h 185"/>
                  <a:gd name="T98" fmla="*/ 104 w 139"/>
                  <a:gd name="T99" fmla="*/ 106 h 185"/>
                  <a:gd name="T100" fmla="*/ 118 w 139"/>
                  <a:gd name="T101" fmla="*/ 95 h 185"/>
                  <a:gd name="T102" fmla="*/ 125 w 139"/>
                  <a:gd name="T103" fmla="*/ 59 h 185"/>
                  <a:gd name="T104" fmla="*/ 132 w 139"/>
                  <a:gd name="T105" fmla="*/ 26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9" h="185">
                    <a:moveTo>
                      <a:pt x="139" y="5"/>
                    </a:moveTo>
                    <a:lnTo>
                      <a:pt x="137" y="5"/>
                    </a:lnTo>
                    <a:lnTo>
                      <a:pt x="137" y="2"/>
                    </a:lnTo>
                    <a:lnTo>
                      <a:pt x="137" y="2"/>
                    </a:lnTo>
                    <a:lnTo>
                      <a:pt x="132" y="2"/>
                    </a:lnTo>
                    <a:lnTo>
                      <a:pt x="132" y="2"/>
                    </a:lnTo>
                    <a:lnTo>
                      <a:pt x="130" y="5"/>
                    </a:lnTo>
                    <a:lnTo>
                      <a:pt x="130" y="5"/>
                    </a:lnTo>
                    <a:lnTo>
                      <a:pt x="130" y="2"/>
                    </a:lnTo>
                    <a:lnTo>
                      <a:pt x="128" y="2"/>
                    </a:lnTo>
                    <a:lnTo>
                      <a:pt x="128" y="2"/>
                    </a:lnTo>
                    <a:lnTo>
                      <a:pt x="125" y="2"/>
                    </a:lnTo>
                    <a:lnTo>
                      <a:pt x="125" y="2"/>
                    </a:lnTo>
                    <a:lnTo>
                      <a:pt x="125" y="2"/>
                    </a:lnTo>
                    <a:lnTo>
                      <a:pt x="123" y="2"/>
                    </a:lnTo>
                    <a:lnTo>
                      <a:pt x="118" y="0"/>
                    </a:lnTo>
                    <a:lnTo>
                      <a:pt x="118" y="0"/>
                    </a:lnTo>
                    <a:lnTo>
                      <a:pt x="116" y="0"/>
                    </a:lnTo>
                    <a:lnTo>
                      <a:pt x="113" y="2"/>
                    </a:lnTo>
                    <a:lnTo>
                      <a:pt x="113" y="2"/>
                    </a:lnTo>
                    <a:lnTo>
                      <a:pt x="109" y="2"/>
                    </a:lnTo>
                    <a:lnTo>
                      <a:pt x="104" y="2"/>
                    </a:lnTo>
                    <a:lnTo>
                      <a:pt x="102" y="2"/>
                    </a:lnTo>
                    <a:lnTo>
                      <a:pt x="102" y="5"/>
                    </a:lnTo>
                    <a:lnTo>
                      <a:pt x="102" y="5"/>
                    </a:lnTo>
                    <a:lnTo>
                      <a:pt x="99" y="7"/>
                    </a:lnTo>
                    <a:lnTo>
                      <a:pt x="99" y="9"/>
                    </a:lnTo>
                    <a:lnTo>
                      <a:pt x="99" y="12"/>
                    </a:lnTo>
                    <a:lnTo>
                      <a:pt x="99" y="12"/>
                    </a:lnTo>
                    <a:lnTo>
                      <a:pt x="99" y="14"/>
                    </a:lnTo>
                    <a:lnTo>
                      <a:pt x="99" y="16"/>
                    </a:lnTo>
                    <a:lnTo>
                      <a:pt x="99" y="19"/>
                    </a:lnTo>
                    <a:lnTo>
                      <a:pt x="97" y="21"/>
                    </a:lnTo>
                    <a:lnTo>
                      <a:pt x="97" y="24"/>
                    </a:lnTo>
                    <a:lnTo>
                      <a:pt x="94" y="28"/>
                    </a:lnTo>
                    <a:lnTo>
                      <a:pt x="94" y="31"/>
                    </a:lnTo>
                    <a:lnTo>
                      <a:pt x="94" y="31"/>
                    </a:lnTo>
                    <a:lnTo>
                      <a:pt x="94" y="31"/>
                    </a:lnTo>
                    <a:lnTo>
                      <a:pt x="92" y="33"/>
                    </a:lnTo>
                    <a:lnTo>
                      <a:pt x="92" y="33"/>
                    </a:lnTo>
                    <a:lnTo>
                      <a:pt x="92" y="35"/>
                    </a:lnTo>
                    <a:lnTo>
                      <a:pt x="92" y="38"/>
                    </a:lnTo>
                    <a:lnTo>
                      <a:pt x="92" y="40"/>
                    </a:lnTo>
                    <a:lnTo>
                      <a:pt x="92" y="43"/>
                    </a:lnTo>
                    <a:lnTo>
                      <a:pt x="92" y="43"/>
                    </a:lnTo>
                    <a:lnTo>
                      <a:pt x="92" y="43"/>
                    </a:lnTo>
                    <a:lnTo>
                      <a:pt x="92" y="43"/>
                    </a:lnTo>
                    <a:lnTo>
                      <a:pt x="90" y="40"/>
                    </a:lnTo>
                    <a:lnTo>
                      <a:pt x="87" y="40"/>
                    </a:lnTo>
                    <a:lnTo>
                      <a:pt x="85" y="38"/>
                    </a:lnTo>
                    <a:lnTo>
                      <a:pt x="83" y="38"/>
                    </a:lnTo>
                    <a:lnTo>
                      <a:pt x="80" y="38"/>
                    </a:lnTo>
                    <a:lnTo>
                      <a:pt x="78" y="38"/>
                    </a:lnTo>
                    <a:lnTo>
                      <a:pt x="75" y="35"/>
                    </a:lnTo>
                    <a:lnTo>
                      <a:pt x="75" y="35"/>
                    </a:lnTo>
                    <a:lnTo>
                      <a:pt x="75" y="35"/>
                    </a:lnTo>
                    <a:lnTo>
                      <a:pt x="73" y="35"/>
                    </a:lnTo>
                    <a:lnTo>
                      <a:pt x="73" y="35"/>
                    </a:lnTo>
                    <a:lnTo>
                      <a:pt x="71" y="35"/>
                    </a:lnTo>
                    <a:lnTo>
                      <a:pt x="68" y="35"/>
                    </a:lnTo>
                    <a:lnTo>
                      <a:pt x="68" y="35"/>
                    </a:lnTo>
                    <a:lnTo>
                      <a:pt x="68" y="33"/>
                    </a:lnTo>
                    <a:lnTo>
                      <a:pt x="66" y="35"/>
                    </a:lnTo>
                    <a:lnTo>
                      <a:pt x="66" y="33"/>
                    </a:lnTo>
                    <a:lnTo>
                      <a:pt x="66" y="33"/>
                    </a:lnTo>
                    <a:lnTo>
                      <a:pt x="66" y="33"/>
                    </a:lnTo>
                    <a:lnTo>
                      <a:pt x="64" y="31"/>
                    </a:lnTo>
                    <a:lnTo>
                      <a:pt x="61" y="33"/>
                    </a:lnTo>
                    <a:lnTo>
                      <a:pt x="59" y="33"/>
                    </a:lnTo>
                    <a:lnTo>
                      <a:pt x="54" y="33"/>
                    </a:lnTo>
                    <a:lnTo>
                      <a:pt x="49" y="33"/>
                    </a:lnTo>
                    <a:lnTo>
                      <a:pt x="45" y="33"/>
                    </a:lnTo>
                    <a:lnTo>
                      <a:pt x="40" y="33"/>
                    </a:lnTo>
                    <a:lnTo>
                      <a:pt x="40" y="33"/>
                    </a:lnTo>
                    <a:lnTo>
                      <a:pt x="38" y="38"/>
                    </a:lnTo>
                    <a:lnTo>
                      <a:pt x="38" y="40"/>
                    </a:lnTo>
                    <a:lnTo>
                      <a:pt x="38" y="43"/>
                    </a:lnTo>
                    <a:lnTo>
                      <a:pt x="38" y="45"/>
                    </a:lnTo>
                    <a:lnTo>
                      <a:pt x="38" y="47"/>
                    </a:lnTo>
                    <a:lnTo>
                      <a:pt x="38" y="50"/>
                    </a:lnTo>
                    <a:lnTo>
                      <a:pt x="38" y="50"/>
                    </a:lnTo>
                    <a:lnTo>
                      <a:pt x="38" y="52"/>
                    </a:lnTo>
                    <a:lnTo>
                      <a:pt x="38" y="52"/>
                    </a:lnTo>
                    <a:lnTo>
                      <a:pt x="40" y="52"/>
                    </a:lnTo>
                    <a:lnTo>
                      <a:pt x="40" y="52"/>
                    </a:lnTo>
                    <a:lnTo>
                      <a:pt x="45" y="50"/>
                    </a:lnTo>
                    <a:lnTo>
                      <a:pt x="47" y="50"/>
                    </a:lnTo>
                    <a:lnTo>
                      <a:pt x="49" y="47"/>
                    </a:lnTo>
                    <a:lnTo>
                      <a:pt x="54" y="50"/>
                    </a:lnTo>
                    <a:lnTo>
                      <a:pt x="57" y="50"/>
                    </a:lnTo>
                    <a:lnTo>
                      <a:pt x="57" y="50"/>
                    </a:lnTo>
                    <a:lnTo>
                      <a:pt x="59" y="54"/>
                    </a:lnTo>
                    <a:lnTo>
                      <a:pt x="59" y="54"/>
                    </a:lnTo>
                    <a:lnTo>
                      <a:pt x="59" y="57"/>
                    </a:lnTo>
                    <a:lnTo>
                      <a:pt x="61" y="59"/>
                    </a:lnTo>
                    <a:lnTo>
                      <a:pt x="61" y="59"/>
                    </a:lnTo>
                    <a:lnTo>
                      <a:pt x="61" y="61"/>
                    </a:lnTo>
                    <a:lnTo>
                      <a:pt x="59" y="61"/>
                    </a:lnTo>
                    <a:lnTo>
                      <a:pt x="59" y="64"/>
                    </a:lnTo>
                    <a:lnTo>
                      <a:pt x="59" y="64"/>
                    </a:lnTo>
                    <a:lnTo>
                      <a:pt x="59" y="66"/>
                    </a:lnTo>
                    <a:lnTo>
                      <a:pt x="57" y="66"/>
                    </a:lnTo>
                    <a:lnTo>
                      <a:pt x="54" y="66"/>
                    </a:lnTo>
                    <a:lnTo>
                      <a:pt x="54" y="66"/>
                    </a:lnTo>
                    <a:lnTo>
                      <a:pt x="54" y="69"/>
                    </a:lnTo>
                    <a:lnTo>
                      <a:pt x="52" y="71"/>
                    </a:lnTo>
                    <a:lnTo>
                      <a:pt x="52" y="71"/>
                    </a:lnTo>
                    <a:lnTo>
                      <a:pt x="49" y="73"/>
                    </a:lnTo>
                    <a:lnTo>
                      <a:pt x="52" y="76"/>
                    </a:lnTo>
                    <a:lnTo>
                      <a:pt x="49" y="80"/>
                    </a:lnTo>
                    <a:lnTo>
                      <a:pt x="49" y="83"/>
                    </a:lnTo>
                    <a:lnTo>
                      <a:pt x="52" y="83"/>
                    </a:lnTo>
                    <a:lnTo>
                      <a:pt x="54" y="83"/>
                    </a:lnTo>
                    <a:lnTo>
                      <a:pt x="54" y="85"/>
                    </a:lnTo>
                    <a:lnTo>
                      <a:pt x="57" y="85"/>
                    </a:lnTo>
                    <a:lnTo>
                      <a:pt x="57" y="87"/>
                    </a:lnTo>
                    <a:lnTo>
                      <a:pt x="59" y="87"/>
                    </a:lnTo>
                    <a:lnTo>
                      <a:pt x="61" y="90"/>
                    </a:lnTo>
                    <a:lnTo>
                      <a:pt x="61" y="90"/>
                    </a:lnTo>
                    <a:lnTo>
                      <a:pt x="61" y="92"/>
                    </a:lnTo>
                    <a:lnTo>
                      <a:pt x="61" y="95"/>
                    </a:lnTo>
                    <a:lnTo>
                      <a:pt x="61" y="99"/>
                    </a:lnTo>
                    <a:lnTo>
                      <a:pt x="61" y="102"/>
                    </a:lnTo>
                    <a:lnTo>
                      <a:pt x="61" y="104"/>
                    </a:lnTo>
                    <a:lnTo>
                      <a:pt x="61" y="109"/>
                    </a:lnTo>
                    <a:lnTo>
                      <a:pt x="61" y="111"/>
                    </a:lnTo>
                    <a:lnTo>
                      <a:pt x="61" y="111"/>
                    </a:lnTo>
                    <a:lnTo>
                      <a:pt x="61" y="114"/>
                    </a:lnTo>
                    <a:lnTo>
                      <a:pt x="61" y="114"/>
                    </a:lnTo>
                    <a:lnTo>
                      <a:pt x="59" y="118"/>
                    </a:lnTo>
                    <a:lnTo>
                      <a:pt x="59" y="118"/>
                    </a:lnTo>
                    <a:lnTo>
                      <a:pt x="59" y="118"/>
                    </a:lnTo>
                    <a:lnTo>
                      <a:pt x="57" y="121"/>
                    </a:lnTo>
                    <a:lnTo>
                      <a:pt x="57" y="123"/>
                    </a:lnTo>
                    <a:lnTo>
                      <a:pt x="57" y="123"/>
                    </a:lnTo>
                    <a:lnTo>
                      <a:pt x="57" y="125"/>
                    </a:lnTo>
                    <a:lnTo>
                      <a:pt x="57" y="125"/>
                    </a:lnTo>
                    <a:lnTo>
                      <a:pt x="57" y="128"/>
                    </a:lnTo>
                    <a:lnTo>
                      <a:pt x="57" y="128"/>
                    </a:lnTo>
                    <a:lnTo>
                      <a:pt x="54" y="130"/>
                    </a:lnTo>
                    <a:lnTo>
                      <a:pt x="54" y="130"/>
                    </a:lnTo>
                    <a:lnTo>
                      <a:pt x="52" y="130"/>
                    </a:lnTo>
                    <a:lnTo>
                      <a:pt x="49" y="130"/>
                    </a:lnTo>
                    <a:lnTo>
                      <a:pt x="49" y="130"/>
                    </a:lnTo>
                    <a:lnTo>
                      <a:pt x="49" y="128"/>
                    </a:lnTo>
                    <a:lnTo>
                      <a:pt x="49" y="128"/>
                    </a:lnTo>
                    <a:lnTo>
                      <a:pt x="49" y="125"/>
                    </a:lnTo>
                    <a:lnTo>
                      <a:pt x="49" y="123"/>
                    </a:lnTo>
                    <a:lnTo>
                      <a:pt x="47" y="123"/>
                    </a:lnTo>
                    <a:lnTo>
                      <a:pt x="47" y="125"/>
                    </a:lnTo>
                    <a:lnTo>
                      <a:pt x="45" y="125"/>
                    </a:lnTo>
                    <a:lnTo>
                      <a:pt x="42" y="128"/>
                    </a:lnTo>
                    <a:lnTo>
                      <a:pt x="40" y="128"/>
                    </a:lnTo>
                    <a:lnTo>
                      <a:pt x="38" y="128"/>
                    </a:lnTo>
                    <a:lnTo>
                      <a:pt x="33" y="128"/>
                    </a:lnTo>
                    <a:lnTo>
                      <a:pt x="33" y="123"/>
                    </a:lnTo>
                    <a:lnTo>
                      <a:pt x="31" y="121"/>
                    </a:lnTo>
                    <a:lnTo>
                      <a:pt x="31" y="118"/>
                    </a:lnTo>
                    <a:lnTo>
                      <a:pt x="28" y="118"/>
                    </a:lnTo>
                    <a:lnTo>
                      <a:pt x="28" y="116"/>
                    </a:lnTo>
                    <a:lnTo>
                      <a:pt x="26" y="116"/>
                    </a:lnTo>
                    <a:lnTo>
                      <a:pt x="23" y="118"/>
                    </a:lnTo>
                    <a:lnTo>
                      <a:pt x="23" y="118"/>
                    </a:lnTo>
                    <a:lnTo>
                      <a:pt x="23" y="121"/>
                    </a:lnTo>
                    <a:lnTo>
                      <a:pt x="23" y="121"/>
                    </a:lnTo>
                    <a:lnTo>
                      <a:pt x="23" y="123"/>
                    </a:lnTo>
                    <a:lnTo>
                      <a:pt x="23" y="123"/>
                    </a:lnTo>
                    <a:lnTo>
                      <a:pt x="23" y="123"/>
                    </a:lnTo>
                    <a:lnTo>
                      <a:pt x="23" y="125"/>
                    </a:lnTo>
                    <a:lnTo>
                      <a:pt x="23" y="128"/>
                    </a:lnTo>
                    <a:lnTo>
                      <a:pt x="16" y="130"/>
                    </a:lnTo>
                    <a:lnTo>
                      <a:pt x="16" y="128"/>
                    </a:lnTo>
                    <a:lnTo>
                      <a:pt x="14" y="128"/>
                    </a:lnTo>
                    <a:lnTo>
                      <a:pt x="14" y="128"/>
                    </a:lnTo>
                    <a:lnTo>
                      <a:pt x="9" y="128"/>
                    </a:lnTo>
                    <a:lnTo>
                      <a:pt x="9" y="128"/>
                    </a:lnTo>
                    <a:lnTo>
                      <a:pt x="7" y="128"/>
                    </a:lnTo>
                    <a:lnTo>
                      <a:pt x="7" y="128"/>
                    </a:lnTo>
                    <a:lnTo>
                      <a:pt x="7" y="128"/>
                    </a:lnTo>
                    <a:lnTo>
                      <a:pt x="7" y="132"/>
                    </a:lnTo>
                    <a:lnTo>
                      <a:pt x="7" y="135"/>
                    </a:lnTo>
                    <a:lnTo>
                      <a:pt x="7" y="137"/>
                    </a:lnTo>
                    <a:lnTo>
                      <a:pt x="7" y="137"/>
                    </a:lnTo>
                    <a:lnTo>
                      <a:pt x="9" y="140"/>
                    </a:lnTo>
                    <a:lnTo>
                      <a:pt x="9" y="140"/>
                    </a:lnTo>
                    <a:lnTo>
                      <a:pt x="9" y="140"/>
                    </a:lnTo>
                    <a:lnTo>
                      <a:pt x="12" y="142"/>
                    </a:lnTo>
                    <a:lnTo>
                      <a:pt x="12" y="142"/>
                    </a:lnTo>
                    <a:lnTo>
                      <a:pt x="9" y="142"/>
                    </a:lnTo>
                    <a:lnTo>
                      <a:pt x="9" y="144"/>
                    </a:lnTo>
                    <a:lnTo>
                      <a:pt x="9" y="144"/>
                    </a:lnTo>
                    <a:lnTo>
                      <a:pt x="12" y="147"/>
                    </a:lnTo>
                    <a:lnTo>
                      <a:pt x="14" y="147"/>
                    </a:lnTo>
                    <a:lnTo>
                      <a:pt x="14" y="149"/>
                    </a:lnTo>
                    <a:lnTo>
                      <a:pt x="14" y="149"/>
                    </a:lnTo>
                    <a:lnTo>
                      <a:pt x="14" y="151"/>
                    </a:lnTo>
                    <a:lnTo>
                      <a:pt x="14" y="151"/>
                    </a:lnTo>
                    <a:lnTo>
                      <a:pt x="12" y="154"/>
                    </a:lnTo>
                    <a:lnTo>
                      <a:pt x="12" y="154"/>
                    </a:lnTo>
                    <a:lnTo>
                      <a:pt x="14" y="154"/>
                    </a:lnTo>
                    <a:lnTo>
                      <a:pt x="14" y="156"/>
                    </a:lnTo>
                    <a:lnTo>
                      <a:pt x="12" y="156"/>
                    </a:lnTo>
                    <a:lnTo>
                      <a:pt x="12" y="156"/>
                    </a:lnTo>
                    <a:lnTo>
                      <a:pt x="9" y="156"/>
                    </a:lnTo>
                    <a:lnTo>
                      <a:pt x="9" y="156"/>
                    </a:lnTo>
                    <a:lnTo>
                      <a:pt x="7" y="154"/>
                    </a:lnTo>
                    <a:lnTo>
                      <a:pt x="7" y="151"/>
                    </a:lnTo>
                    <a:lnTo>
                      <a:pt x="2" y="156"/>
                    </a:lnTo>
                    <a:lnTo>
                      <a:pt x="2" y="156"/>
                    </a:lnTo>
                    <a:lnTo>
                      <a:pt x="0" y="159"/>
                    </a:lnTo>
                    <a:lnTo>
                      <a:pt x="0" y="161"/>
                    </a:lnTo>
                    <a:lnTo>
                      <a:pt x="5" y="166"/>
                    </a:lnTo>
                    <a:lnTo>
                      <a:pt x="5" y="168"/>
                    </a:lnTo>
                    <a:lnTo>
                      <a:pt x="9" y="173"/>
                    </a:lnTo>
                    <a:lnTo>
                      <a:pt x="12" y="175"/>
                    </a:lnTo>
                    <a:lnTo>
                      <a:pt x="12" y="177"/>
                    </a:lnTo>
                    <a:lnTo>
                      <a:pt x="12" y="177"/>
                    </a:lnTo>
                    <a:lnTo>
                      <a:pt x="12" y="177"/>
                    </a:lnTo>
                    <a:lnTo>
                      <a:pt x="14" y="180"/>
                    </a:lnTo>
                    <a:lnTo>
                      <a:pt x="14" y="182"/>
                    </a:lnTo>
                    <a:lnTo>
                      <a:pt x="16" y="185"/>
                    </a:lnTo>
                    <a:lnTo>
                      <a:pt x="16" y="185"/>
                    </a:lnTo>
                    <a:lnTo>
                      <a:pt x="16" y="182"/>
                    </a:lnTo>
                    <a:lnTo>
                      <a:pt x="19" y="180"/>
                    </a:lnTo>
                    <a:lnTo>
                      <a:pt x="19" y="180"/>
                    </a:lnTo>
                    <a:lnTo>
                      <a:pt x="21" y="180"/>
                    </a:lnTo>
                    <a:lnTo>
                      <a:pt x="21" y="177"/>
                    </a:lnTo>
                    <a:lnTo>
                      <a:pt x="23" y="177"/>
                    </a:lnTo>
                    <a:lnTo>
                      <a:pt x="23" y="175"/>
                    </a:lnTo>
                    <a:lnTo>
                      <a:pt x="26" y="175"/>
                    </a:lnTo>
                    <a:lnTo>
                      <a:pt x="28" y="173"/>
                    </a:lnTo>
                    <a:lnTo>
                      <a:pt x="28" y="173"/>
                    </a:lnTo>
                    <a:lnTo>
                      <a:pt x="31" y="173"/>
                    </a:lnTo>
                    <a:lnTo>
                      <a:pt x="31" y="173"/>
                    </a:lnTo>
                    <a:lnTo>
                      <a:pt x="33" y="173"/>
                    </a:lnTo>
                    <a:lnTo>
                      <a:pt x="33" y="175"/>
                    </a:lnTo>
                    <a:lnTo>
                      <a:pt x="35" y="175"/>
                    </a:lnTo>
                    <a:lnTo>
                      <a:pt x="35" y="175"/>
                    </a:lnTo>
                    <a:lnTo>
                      <a:pt x="35" y="175"/>
                    </a:lnTo>
                    <a:lnTo>
                      <a:pt x="38" y="175"/>
                    </a:lnTo>
                    <a:lnTo>
                      <a:pt x="38" y="175"/>
                    </a:lnTo>
                    <a:lnTo>
                      <a:pt x="38" y="177"/>
                    </a:lnTo>
                    <a:lnTo>
                      <a:pt x="38" y="177"/>
                    </a:lnTo>
                    <a:lnTo>
                      <a:pt x="40" y="180"/>
                    </a:lnTo>
                    <a:lnTo>
                      <a:pt x="40" y="180"/>
                    </a:lnTo>
                    <a:lnTo>
                      <a:pt x="42" y="180"/>
                    </a:lnTo>
                    <a:lnTo>
                      <a:pt x="42" y="180"/>
                    </a:lnTo>
                    <a:lnTo>
                      <a:pt x="45" y="177"/>
                    </a:lnTo>
                    <a:lnTo>
                      <a:pt x="47" y="177"/>
                    </a:lnTo>
                    <a:lnTo>
                      <a:pt x="47" y="177"/>
                    </a:lnTo>
                    <a:lnTo>
                      <a:pt x="47" y="175"/>
                    </a:lnTo>
                    <a:lnTo>
                      <a:pt x="47" y="175"/>
                    </a:lnTo>
                    <a:lnTo>
                      <a:pt x="47" y="173"/>
                    </a:lnTo>
                    <a:lnTo>
                      <a:pt x="47" y="173"/>
                    </a:lnTo>
                    <a:lnTo>
                      <a:pt x="49" y="173"/>
                    </a:lnTo>
                    <a:lnTo>
                      <a:pt x="49" y="173"/>
                    </a:lnTo>
                    <a:lnTo>
                      <a:pt x="49" y="173"/>
                    </a:lnTo>
                    <a:lnTo>
                      <a:pt x="52" y="173"/>
                    </a:lnTo>
                    <a:lnTo>
                      <a:pt x="52" y="173"/>
                    </a:lnTo>
                    <a:lnTo>
                      <a:pt x="54" y="170"/>
                    </a:lnTo>
                    <a:lnTo>
                      <a:pt x="54" y="170"/>
                    </a:lnTo>
                    <a:lnTo>
                      <a:pt x="57" y="170"/>
                    </a:lnTo>
                    <a:lnTo>
                      <a:pt x="59" y="168"/>
                    </a:lnTo>
                    <a:lnTo>
                      <a:pt x="59" y="168"/>
                    </a:lnTo>
                    <a:lnTo>
                      <a:pt x="61" y="170"/>
                    </a:lnTo>
                    <a:lnTo>
                      <a:pt x="61" y="170"/>
                    </a:lnTo>
                    <a:lnTo>
                      <a:pt x="61" y="173"/>
                    </a:lnTo>
                    <a:lnTo>
                      <a:pt x="61" y="173"/>
                    </a:lnTo>
                    <a:lnTo>
                      <a:pt x="59" y="175"/>
                    </a:lnTo>
                    <a:lnTo>
                      <a:pt x="61" y="177"/>
                    </a:lnTo>
                    <a:lnTo>
                      <a:pt x="61" y="180"/>
                    </a:lnTo>
                    <a:lnTo>
                      <a:pt x="61" y="180"/>
                    </a:lnTo>
                    <a:lnTo>
                      <a:pt x="61" y="180"/>
                    </a:lnTo>
                    <a:lnTo>
                      <a:pt x="61" y="180"/>
                    </a:lnTo>
                    <a:lnTo>
                      <a:pt x="61" y="180"/>
                    </a:lnTo>
                    <a:lnTo>
                      <a:pt x="64" y="180"/>
                    </a:lnTo>
                    <a:lnTo>
                      <a:pt x="64" y="182"/>
                    </a:lnTo>
                    <a:lnTo>
                      <a:pt x="66" y="182"/>
                    </a:lnTo>
                    <a:lnTo>
                      <a:pt x="66" y="180"/>
                    </a:lnTo>
                    <a:lnTo>
                      <a:pt x="71" y="177"/>
                    </a:lnTo>
                    <a:lnTo>
                      <a:pt x="73" y="173"/>
                    </a:lnTo>
                    <a:lnTo>
                      <a:pt x="75" y="168"/>
                    </a:lnTo>
                    <a:lnTo>
                      <a:pt x="78" y="168"/>
                    </a:lnTo>
                    <a:lnTo>
                      <a:pt x="80" y="166"/>
                    </a:lnTo>
                    <a:lnTo>
                      <a:pt x="80" y="166"/>
                    </a:lnTo>
                    <a:lnTo>
                      <a:pt x="83" y="163"/>
                    </a:lnTo>
                    <a:lnTo>
                      <a:pt x="85" y="163"/>
                    </a:lnTo>
                    <a:lnTo>
                      <a:pt x="87" y="161"/>
                    </a:lnTo>
                    <a:lnTo>
                      <a:pt x="90" y="159"/>
                    </a:lnTo>
                    <a:lnTo>
                      <a:pt x="92" y="151"/>
                    </a:lnTo>
                    <a:lnTo>
                      <a:pt x="94" y="147"/>
                    </a:lnTo>
                    <a:lnTo>
                      <a:pt x="94" y="142"/>
                    </a:lnTo>
                    <a:lnTo>
                      <a:pt x="94" y="130"/>
                    </a:lnTo>
                    <a:lnTo>
                      <a:pt x="94" y="125"/>
                    </a:lnTo>
                    <a:lnTo>
                      <a:pt x="94" y="123"/>
                    </a:lnTo>
                    <a:lnTo>
                      <a:pt x="94" y="123"/>
                    </a:lnTo>
                    <a:lnTo>
                      <a:pt x="99" y="121"/>
                    </a:lnTo>
                    <a:lnTo>
                      <a:pt x="99" y="116"/>
                    </a:lnTo>
                    <a:lnTo>
                      <a:pt x="102" y="114"/>
                    </a:lnTo>
                    <a:lnTo>
                      <a:pt x="104" y="106"/>
                    </a:lnTo>
                    <a:lnTo>
                      <a:pt x="106" y="104"/>
                    </a:lnTo>
                    <a:lnTo>
                      <a:pt x="106" y="104"/>
                    </a:lnTo>
                    <a:lnTo>
                      <a:pt x="109" y="102"/>
                    </a:lnTo>
                    <a:lnTo>
                      <a:pt x="111" y="102"/>
                    </a:lnTo>
                    <a:lnTo>
                      <a:pt x="113" y="99"/>
                    </a:lnTo>
                    <a:lnTo>
                      <a:pt x="118" y="95"/>
                    </a:lnTo>
                    <a:lnTo>
                      <a:pt x="123" y="90"/>
                    </a:lnTo>
                    <a:lnTo>
                      <a:pt x="123" y="85"/>
                    </a:lnTo>
                    <a:lnTo>
                      <a:pt x="123" y="78"/>
                    </a:lnTo>
                    <a:lnTo>
                      <a:pt x="125" y="73"/>
                    </a:lnTo>
                    <a:lnTo>
                      <a:pt x="125" y="66"/>
                    </a:lnTo>
                    <a:lnTo>
                      <a:pt x="125" y="59"/>
                    </a:lnTo>
                    <a:lnTo>
                      <a:pt x="125" y="54"/>
                    </a:lnTo>
                    <a:lnTo>
                      <a:pt x="128" y="47"/>
                    </a:lnTo>
                    <a:lnTo>
                      <a:pt x="128" y="45"/>
                    </a:lnTo>
                    <a:lnTo>
                      <a:pt x="130" y="43"/>
                    </a:lnTo>
                    <a:lnTo>
                      <a:pt x="128" y="35"/>
                    </a:lnTo>
                    <a:lnTo>
                      <a:pt x="132" y="26"/>
                    </a:lnTo>
                    <a:lnTo>
                      <a:pt x="135" y="21"/>
                    </a:lnTo>
                    <a:lnTo>
                      <a:pt x="137" y="16"/>
                    </a:lnTo>
                    <a:lnTo>
                      <a:pt x="137" y="12"/>
                    </a:lnTo>
                    <a:lnTo>
                      <a:pt x="139" y="9"/>
                    </a:lnTo>
                    <a:lnTo>
                      <a:pt x="139" y="5"/>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180"/>
              <p:cNvSpPr>
                <a:spLocks noEditPoints="1"/>
              </p:cNvSpPr>
              <p:nvPr/>
            </p:nvSpPr>
            <p:spPr bwMode="auto">
              <a:xfrm>
                <a:off x="3551" y="3042"/>
                <a:ext cx="23" cy="18"/>
              </a:xfrm>
              <a:custGeom>
                <a:avLst/>
                <a:gdLst>
                  <a:gd name="T0" fmla="*/ 9 w 23"/>
                  <a:gd name="T1" fmla="*/ 16 h 18"/>
                  <a:gd name="T2" fmla="*/ 7 w 23"/>
                  <a:gd name="T3" fmla="*/ 16 h 18"/>
                  <a:gd name="T4" fmla="*/ 7 w 23"/>
                  <a:gd name="T5" fmla="*/ 18 h 18"/>
                  <a:gd name="T6" fmla="*/ 9 w 23"/>
                  <a:gd name="T7" fmla="*/ 18 h 18"/>
                  <a:gd name="T8" fmla="*/ 11 w 23"/>
                  <a:gd name="T9" fmla="*/ 18 h 18"/>
                  <a:gd name="T10" fmla="*/ 11 w 23"/>
                  <a:gd name="T11" fmla="*/ 18 h 18"/>
                  <a:gd name="T12" fmla="*/ 9 w 23"/>
                  <a:gd name="T13" fmla="*/ 16 h 18"/>
                  <a:gd name="T14" fmla="*/ 4 w 23"/>
                  <a:gd name="T15" fmla="*/ 4 h 18"/>
                  <a:gd name="T16" fmla="*/ 4 w 23"/>
                  <a:gd name="T17" fmla="*/ 0 h 18"/>
                  <a:gd name="T18" fmla="*/ 2 w 23"/>
                  <a:gd name="T19" fmla="*/ 0 h 18"/>
                  <a:gd name="T20" fmla="*/ 2 w 23"/>
                  <a:gd name="T21" fmla="*/ 0 h 18"/>
                  <a:gd name="T22" fmla="*/ 2 w 23"/>
                  <a:gd name="T23" fmla="*/ 0 h 18"/>
                  <a:gd name="T24" fmla="*/ 2 w 23"/>
                  <a:gd name="T25" fmla="*/ 0 h 18"/>
                  <a:gd name="T26" fmla="*/ 0 w 23"/>
                  <a:gd name="T27" fmla="*/ 7 h 18"/>
                  <a:gd name="T28" fmla="*/ 2 w 23"/>
                  <a:gd name="T29" fmla="*/ 9 h 18"/>
                  <a:gd name="T30" fmla="*/ 2 w 23"/>
                  <a:gd name="T31" fmla="*/ 9 h 18"/>
                  <a:gd name="T32" fmla="*/ 4 w 23"/>
                  <a:gd name="T33" fmla="*/ 9 h 18"/>
                  <a:gd name="T34" fmla="*/ 4 w 23"/>
                  <a:gd name="T35" fmla="*/ 9 h 18"/>
                  <a:gd name="T36" fmla="*/ 4 w 23"/>
                  <a:gd name="T37" fmla="*/ 9 h 18"/>
                  <a:gd name="T38" fmla="*/ 4 w 23"/>
                  <a:gd name="T39" fmla="*/ 7 h 18"/>
                  <a:gd name="T40" fmla="*/ 4 w 23"/>
                  <a:gd name="T41" fmla="*/ 4 h 18"/>
                  <a:gd name="T42" fmla="*/ 23 w 23"/>
                  <a:gd name="T43" fmla="*/ 14 h 18"/>
                  <a:gd name="T44" fmla="*/ 23 w 23"/>
                  <a:gd name="T45" fmla="*/ 14 h 18"/>
                  <a:gd name="T46" fmla="*/ 23 w 23"/>
                  <a:gd name="T47" fmla="*/ 14 h 18"/>
                  <a:gd name="T48" fmla="*/ 23 w 23"/>
                  <a:gd name="T49" fmla="*/ 14 h 18"/>
                  <a:gd name="T50" fmla="*/ 21 w 23"/>
                  <a:gd name="T51" fmla="*/ 16 h 18"/>
                  <a:gd name="T52" fmla="*/ 21 w 23"/>
                  <a:gd name="T53" fmla="*/ 16 h 18"/>
                  <a:gd name="T54" fmla="*/ 21 w 23"/>
                  <a:gd name="T55" fmla="*/ 16 h 18"/>
                  <a:gd name="T56" fmla="*/ 18 w 23"/>
                  <a:gd name="T57" fmla="*/ 16 h 18"/>
                  <a:gd name="T58" fmla="*/ 21 w 23"/>
                  <a:gd name="T59" fmla="*/ 16 h 18"/>
                  <a:gd name="T60" fmla="*/ 23 w 23"/>
                  <a:gd name="T61" fmla="*/ 18 h 18"/>
                  <a:gd name="T62" fmla="*/ 23 w 23"/>
                  <a:gd name="T63" fmla="*/ 18 h 18"/>
                  <a:gd name="T64" fmla="*/ 23 w 23"/>
                  <a:gd name="T65" fmla="*/ 18 h 18"/>
                  <a:gd name="T66" fmla="*/ 23 w 23"/>
                  <a:gd name="T67" fmla="*/ 16 h 18"/>
                  <a:gd name="T68" fmla="*/ 23 w 23"/>
                  <a:gd name="T69" fmla="*/ 1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 h="18">
                    <a:moveTo>
                      <a:pt x="9" y="16"/>
                    </a:moveTo>
                    <a:lnTo>
                      <a:pt x="7" y="16"/>
                    </a:lnTo>
                    <a:lnTo>
                      <a:pt x="7" y="18"/>
                    </a:lnTo>
                    <a:lnTo>
                      <a:pt x="9" y="18"/>
                    </a:lnTo>
                    <a:lnTo>
                      <a:pt x="11" y="18"/>
                    </a:lnTo>
                    <a:lnTo>
                      <a:pt x="11" y="18"/>
                    </a:lnTo>
                    <a:lnTo>
                      <a:pt x="9" y="16"/>
                    </a:lnTo>
                    <a:close/>
                    <a:moveTo>
                      <a:pt x="4" y="4"/>
                    </a:moveTo>
                    <a:lnTo>
                      <a:pt x="4" y="0"/>
                    </a:lnTo>
                    <a:lnTo>
                      <a:pt x="2" y="0"/>
                    </a:lnTo>
                    <a:lnTo>
                      <a:pt x="2" y="0"/>
                    </a:lnTo>
                    <a:lnTo>
                      <a:pt x="2" y="0"/>
                    </a:lnTo>
                    <a:lnTo>
                      <a:pt x="2" y="0"/>
                    </a:lnTo>
                    <a:lnTo>
                      <a:pt x="0" y="7"/>
                    </a:lnTo>
                    <a:lnTo>
                      <a:pt x="2" y="9"/>
                    </a:lnTo>
                    <a:lnTo>
                      <a:pt x="2" y="9"/>
                    </a:lnTo>
                    <a:lnTo>
                      <a:pt x="4" y="9"/>
                    </a:lnTo>
                    <a:lnTo>
                      <a:pt x="4" y="9"/>
                    </a:lnTo>
                    <a:lnTo>
                      <a:pt x="4" y="9"/>
                    </a:lnTo>
                    <a:lnTo>
                      <a:pt x="4" y="7"/>
                    </a:lnTo>
                    <a:lnTo>
                      <a:pt x="4" y="4"/>
                    </a:lnTo>
                    <a:close/>
                    <a:moveTo>
                      <a:pt x="23" y="14"/>
                    </a:moveTo>
                    <a:lnTo>
                      <a:pt x="23" y="14"/>
                    </a:lnTo>
                    <a:lnTo>
                      <a:pt x="23" y="14"/>
                    </a:lnTo>
                    <a:lnTo>
                      <a:pt x="23" y="14"/>
                    </a:lnTo>
                    <a:lnTo>
                      <a:pt x="21" y="16"/>
                    </a:lnTo>
                    <a:lnTo>
                      <a:pt x="21" y="16"/>
                    </a:lnTo>
                    <a:lnTo>
                      <a:pt x="21" y="16"/>
                    </a:lnTo>
                    <a:lnTo>
                      <a:pt x="18" y="16"/>
                    </a:lnTo>
                    <a:lnTo>
                      <a:pt x="21" y="16"/>
                    </a:lnTo>
                    <a:lnTo>
                      <a:pt x="23" y="18"/>
                    </a:lnTo>
                    <a:lnTo>
                      <a:pt x="23" y="18"/>
                    </a:lnTo>
                    <a:lnTo>
                      <a:pt x="23" y="18"/>
                    </a:lnTo>
                    <a:lnTo>
                      <a:pt x="23" y="16"/>
                    </a:lnTo>
                    <a:lnTo>
                      <a:pt x="23" y="14"/>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181"/>
              <p:cNvSpPr>
                <a:spLocks noEditPoints="1"/>
              </p:cNvSpPr>
              <p:nvPr/>
            </p:nvSpPr>
            <p:spPr bwMode="auto">
              <a:xfrm>
                <a:off x="1275" y="2537"/>
                <a:ext cx="225" cy="353"/>
              </a:xfrm>
              <a:custGeom>
                <a:avLst/>
                <a:gdLst>
                  <a:gd name="T0" fmla="*/ 225 w 225"/>
                  <a:gd name="T1" fmla="*/ 235 h 353"/>
                  <a:gd name="T2" fmla="*/ 220 w 225"/>
                  <a:gd name="T3" fmla="*/ 218 h 353"/>
                  <a:gd name="T4" fmla="*/ 213 w 225"/>
                  <a:gd name="T5" fmla="*/ 204 h 353"/>
                  <a:gd name="T6" fmla="*/ 218 w 225"/>
                  <a:gd name="T7" fmla="*/ 192 h 353"/>
                  <a:gd name="T8" fmla="*/ 210 w 225"/>
                  <a:gd name="T9" fmla="*/ 171 h 353"/>
                  <a:gd name="T10" fmla="*/ 213 w 225"/>
                  <a:gd name="T11" fmla="*/ 142 h 353"/>
                  <a:gd name="T12" fmla="*/ 206 w 225"/>
                  <a:gd name="T13" fmla="*/ 133 h 353"/>
                  <a:gd name="T14" fmla="*/ 180 w 225"/>
                  <a:gd name="T15" fmla="*/ 133 h 353"/>
                  <a:gd name="T16" fmla="*/ 161 w 225"/>
                  <a:gd name="T17" fmla="*/ 114 h 353"/>
                  <a:gd name="T18" fmla="*/ 135 w 225"/>
                  <a:gd name="T19" fmla="*/ 116 h 353"/>
                  <a:gd name="T20" fmla="*/ 125 w 225"/>
                  <a:gd name="T21" fmla="*/ 100 h 353"/>
                  <a:gd name="T22" fmla="*/ 123 w 225"/>
                  <a:gd name="T23" fmla="*/ 76 h 353"/>
                  <a:gd name="T24" fmla="*/ 111 w 225"/>
                  <a:gd name="T25" fmla="*/ 69 h 353"/>
                  <a:gd name="T26" fmla="*/ 125 w 225"/>
                  <a:gd name="T27" fmla="*/ 36 h 353"/>
                  <a:gd name="T28" fmla="*/ 151 w 225"/>
                  <a:gd name="T29" fmla="*/ 12 h 353"/>
                  <a:gd name="T30" fmla="*/ 142 w 225"/>
                  <a:gd name="T31" fmla="*/ 3 h 353"/>
                  <a:gd name="T32" fmla="*/ 109 w 225"/>
                  <a:gd name="T33" fmla="*/ 24 h 353"/>
                  <a:gd name="T34" fmla="*/ 92 w 225"/>
                  <a:gd name="T35" fmla="*/ 36 h 353"/>
                  <a:gd name="T36" fmla="*/ 78 w 225"/>
                  <a:gd name="T37" fmla="*/ 36 h 353"/>
                  <a:gd name="T38" fmla="*/ 71 w 225"/>
                  <a:gd name="T39" fmla="*/ 50 h 353"/>
                  <a:gd name="T40" fmla="*/ 59 w 225"/>
                  <a:gd name="T41" fmla="*/ 66 h 353"/>
                  <a:gd name="T42" fmla="*/ 45 w 225"/>
                  <a:gd name="T43" fmla="*/ 95 h 353"/>
                  <a:gd name="T44" fmla="*/ 40 w 225"/>
                  <a:gd name="T45" fmla="*/ 85 h 353"/>
                  <a:gd name="T46" fmla="*/ 38 w 225"/>
                  <a:gd name="T47" fmla="*/ 90 h 353"/>
                  <a:gd name="T48" fmla="*/ 31 w 225"/>
                  <a:gd name="T49" fmla="*/ 102 h 353"/>
                  <a:gd name="T50" fmla="*/ 24 w 225"/>
                  <a:gd name="T51" fmla="*/ 109 h 353"/>
                  <a:gd name="T52" fmla="*/ 31 w 225"/>
                  <a:gd name="T53" fmla="*/ 130 h 353"/>
                  <a:gd name="T54" fmla="*/ 33 w 225"/>
                  <a:gd name="T55" fmla="*/ 156 h 353"/>
                  <a:gd name="T56" fmla="*/ 28 w 225"/>
                  <a:gd name="T57" fmla="*/ 173 h 353"/>
                  <a:gd name="T58" fmla="*/ 35 w 225"/>
                  <a:gd name="T59" fmla="*/ 183 h 353"/>
                  <a:gd name="T60" fmla="*/ 26 w 225"/>
                  <a:gd name="T61" fmla="*/ 199 h 353"/>
                  <a:gd name="T62" fmla="*/ 19 w 225"/>
                  <a:gd name="T63" fmla="*/ 209 h 353"/>
                  <a:gd name="T64" fmla="*/ 7 w 225"/>
                  <a:gd name="T65" fmla="*/ 213 h 353"/>
                  <a:gd name="T66" fmla="*/ 2 w 225"/>
                  <a:gd name="T67" fmla="*/ 232 h 353"/>
                  <a:gd name="T68" fmla="*/ 24 w 225"/>
                  <a:gd name="T69" fmla="*/ 246 h 353"/>
                  <a:gd name="T70" fmla="*/ 35 w 225"/>
                  <a:gd name="T71" fmla="*/ 256 h 353"/>
                  <a:gd name="T72" fmla="*/ 47 w 225"/>
                  <a:gd name="T73" fmla="*/ 258 h 353"/>
                  <a:gd name="T74" fmla="*/ 59 w 225"/>
                  <a:gd name="T75" fmla="*/ 261 h 353"/>
                  <a:gd name="T76" fmla="*/ 76 w 225"/>
                  <a:gd name="T77" fmla="*/ 268 h 353"/>
                  <a:gd name="T78" fmla="*/ 85 w 225"/>
                  <a:gd name="T79" fmla="*/ 275 h 353"/>
                  <a:gd name="T80" fmla="*/ 95 w 225"/>
                  <a:gd name="T81" fmla="*/ 287 h 353"/>
                  <a:gd name="T82" fmla="*/ 102 w 225"/>
                  <a:gd name="T83" fmla="*/ 299 h 353"/>
                  <a:gd name="T84" fmla="*/ 109 w 225"/>
                  <a:gd name="T85" fmla="*/ 310 h 353"/>
                  <a:gd name="T86" fmla="*/ 121 w 225"/>
                  <a:gd name="T87" fmla="*/ 313 h 353"/>
                  <a:gd name="T88" fmla="*/ 135 w 225"/>
                  <a:gd name="T89" fmla="*/ 308 h 353"/>
                  <a:gd name="T90" fmla="*/ 149 w 225"/>
                  <a:gd name="T91" fmla="*/ 310 h 353"/>
                  <a:gd name="T92" fmla="*/ 163 w 225"/>
                  <a:gd name="T93" fmla="*/ 317 h 353"/>
                  <a:gd name="T94" fmla="*/ 154 w 225"/>
                  <a:gd name="T95" fmla="*/ 344 h 353"/>
                  <a:gd name="T96" fmla="*/ 165 w 225"/>
                  <a:gd name="T97" fmla="*/ 348 h 353"/>
                  <a:gd name="T98" fmla="*/ 175 w 225"/>
                  <a:gd name="T99" fmla="*/ 313 h 353"/>
                  <a:gd name="T100" fmla="*/ 177 w 225"/>
                  <a:gd name="T101" fmla="*/ 284 h 353"/>
                  <a:gd name="T102" fmla="*/ 175 w 225"/>
                  <a:gd name="T103" fmla="*/ 277 h 353"/>
                  <a:gd name="T104" fmla="*/ 165 w 225"/>
                  <a:gd name="T105" fmla="*/ 265 h 353"/>
                  <a:gd name="T106" fmla="*/ 173 w 225"/>
                  <a:gd name="T107" fmla="*/ 249 h 353"/>
                  <a:gd name="T108" fmla="*/ 180 w 225"/>
                  <a:gd name="T109" fmla="*/ 249 h 353"/>
                  <a:gd name="T110" fmla="*/ 182 w 225"/>
                  <a:gd name="T111" fmla="*/ 246 h 353"/>
                  <a:gd name="T112" fmla="*/ 177 w 225"/>
                  <a:gd name="T113" fmla="*/ 242 h 353"/>
                  <a:gd name="T114" fmla="*/ 170 w 225"/>
                  <a:gd name="T115" fmla="*/ 228 h 353"/>
                  <a:gd name="T116" fmla="*/ 187 w 225"/>
                  <a:gd name="T117" fmla="*/ 228 h 353"/>
                  <a:gd name="T118" fmla="*/ 203 w 225"/>
                  <a:gd name="T119" fmla="*/ 223 h 353"/>
                  <a:gd name="T120" fmla="*/ 215 w 225"/>
                  <a:gd name="T121" fmla="*/ 218 h 353"/>
                  <a:gd name="T122" fmla="*/ 222 w 225"/>
                  <a:gd name="T123" fmla="*/ 237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5" h="353">
                    <a:moveTo>
                      <a:pt x="16" y="211"/>
                    </a:moveTo>
                    <a:lnTo>
                      <a:pt x="16" y="209"/>
                    </a:lnTo>
                    <a:lnTo>
                      <a:pt x="16" y="209"/>
                    </a:lnTo>
                    <a:lnTo>
                      <a:pt x="16" y="209"/>
                    </a:lnTo>
                    <a:lnTo>
                      <a:pt x="16" y="206"/>
                    </a:lnTo>
                    <a:lnTo>
                      <a:pt x="14" y="209"/>
                    </a:lnTo>
                    <a:lnTo>
                      <a:pt x="14" y="209"/>
                    </a:lnTo>
                    <a:lnTo>
                      <a:pt x="16" y="211"/>
                    </a:lnTo>
                    <a:close/>
                    <a:moveTo>
                      <a:pt x="225" y="237"/>
                    </a:moveTo>
                    <a:lnTo>
                      <a:pt x="225" y="235"/>
                    </a:lnTo>
                    <a:lnTo>
                      <a:pt x="225" y="232"/>
                    </a:lnTo>
                    <a:lnTo>
                      <a:pt x="225" y="230"/>
                    </a:lnTo>
                    <a:lnTo>
                      <a:pt x="225" y="230"/>
                    </a:lnTo>
                    <a:lnTo>
                      <a:pt x="225" y="228"/>
                    </a:lnTo>
                    <a:lnTo>
                      <a:pt x="222" y="225"/>
                    </a:lnTo>
                    <a:lnTo>
                      <a:pt x="222" y="223"/>
                    </a:lnTo>
                    <a:lnTo>
                      <a:pt x="222" y="220"/>
                    </a:lnTo>
                    <a:lnTo>
                      <a:pt x="222" y="220"/>
                    </a:lnTo>
                    <a:lnTo>
                      <a:pt x="222" y="218"/>
                    </a:lnTo>
                    <a:lnTo>
                      <a:pt x="220" y="218"/>
                    </a:lnTo>
                    <a:lnTo>
                      <a:pt x="220" y="216"/>
                    </a:lnTo>
                    <a:lnTo>
                      <a:pt x="220" y="213"/>
                    </a:lnTo>
                    <a:lnTo>
                      <a:pt x="220" y="213"/>
                    </a:lnTo>
                    <a:lnTo>
                      <a:pt x="220" y="211"/>
                    </a:lnTo>
                    <a:lnTo>
                      <a:pt x="218" y="211"/>
                    </a:lnTo>
                    <a:lnTo>
                      <a:pt x="218" y="209"/>
                    </a:lnTo>
                    <a:lnTo>
                      <a:pt x="215" y="206"/>
                    </a:lnTo>
                    <a:lnTo>
                      <a:pt x="213" y="206"/>
                    </a:lnTo>
                    <a:lnTo>
                      <a:pt x="213" y="206"/>
                    </a:lnTo>
                    <a:lnTo>
                      <a:pt x="213" y="204"/>
                    </a:lnTo>
                    <a:lnTo>
                      <a:pt x="213" y="204"/>
                    </a:lnTo>
                    <a:lnTo>
                      <a:pt x="210" y="204"/>
                    </a:lnTo>
                    <a:lnTo>
                      <a:pt x="210" y="204"/>
                    </a:lnTo>
                    <a:lnTo>
                      <a:pt x="208" y="204"/>
                    </a:lnTo>
                    <a:lnTo>
                      <a:pt x="208" y="204"/>
                    </a:lnTo>
                    <a:lnTo>
                      <a:pt x="208" y="201"/>
                    </a:lnTo>
                    <a:lnTo>
                      <a:pt x="215" y="197"/>
                    </a:lnTo>
                    <a:lnTo>
                      <a:pt x="218" y="192"/>
                    </a:lnTo>
                    <a:lnTo>
                      <a:pt x="218" y="192"/>
                    </a:lnTo>
                    <a:lnTo>
                      <a:pt x="218" y="192"/>
                    </a:lnTo>
                    <a:lnTo>
                      <a:pt x="218" y="192"/>
                    </a:lnTo>
                    <a:lnTo>
                      <a:pt x="218" y="190"/>
                    </a:lnTo>
                    <a:lnTo>
                      <a:pt x="215" y="185"/>
                    </a:lnTo>
                    <a:lnTo>
                      <a:pt x="215" y="185"/>
                    </a:lnTo>
                    <a:lnTo>
                      <a:pt x="213" y="183"/>
                    </a:lnTo>
                    <a:lnTo>
                      <a:pt x="213" y="183"/>
                    </a:lnTo>
                    <a:lnTo>
                      <a:pt x="210" y="178"/>
                    </a:lnTo>
                    <a:lnTo>
                      <a:pt x="210" y="175"/>
                    </a:lnTo>
                    <a:lnTo>
                      <a:pt x="210" y="173"/>
                    </a:lnTo>
                    <a:lnTo>
                      <a:pt x="210" y="171"/>
                    </a:lnTo>
                    <a:lnTo>
                      <a:pt x="210" y="168"/>
                    </a:lnTo>
                    <a:lnTo>
                      <a:pt x="208" y="168"/>
                    </a:lnTo>
                    <a:lnTo>
                      <a:pt x="208" y="164"/>
                    </a:lnTo>
                    <a:lnTo>
                      <a:pt x="210" y="159"/>
                    </a:lnTo>
                    <a:lnTo>
                      <a:pt x="210" y="154"/>
                    </a:lnTo>
                    <a:lnTo>
                      <a:pt x="210" y="152"/>
                    </a:lnTo>
                    <a:lnTo>
                      <a:pt x="210" y="149"/>
                    </a:lnTo>
                    <a:lnTo>
                      <a:pt x="213" y="147"/>
                    </a:lnTo>
                    <a:lnTo>
                      <a:pt x="213" y="145"/>
                    </a:lnTo>
                    <a:lnTo>
                      <a:pt x="213" y="142"/>
                    </a:lnTo>
                    <a:lnTo>
                      <a:pt x="215" y="140"/>
                    </a:lnTo>
                    <a:lnTo>
                      <a:pt x="218" y="138"/>
                    </a:lnTo>
                    <a:lnTo>
                      <a:pt x="218" y="135"/>
                    </a:lnTo>
                    <a:lnTo>
                      <a:pt x="218" y="133"/>
                    </a:lnTo>
                    <a:lnTo>
                      <a:pt x="218" y="133"/>
                    </a:lnTo>
                    <a:lnTo>
                      <a:pt x="215" y="130"/>
                    </a:lnTo>
                    <a:lnTo>
                      <a:pt x="213" y="130"/>
                    </a:lnTo>
                    <a:lnTo>
                      <a:pt x="210" y="130"/>
                    </a:lnTo>
                    <a:lnTo>
                      <a:pt x="208" y="130"/>
                    </a:lnTo>
                    <a:lnTo>
                      <a:pt x="206" y="133"/>
                    </a:lnTo>
                    <a:lnTo>
                      <a:pt x="199" y="133"/>
                    </a:lnTo>
                    <a:lnTo>
                      <a:pt x="194" y="133"/>
                    </a:lnTo>
                    <a:lnTo>
                      <a:pt x="189" y="133"/>
                    </a:lnTo>
                    <a:lnTo>
                      <a:pt x="187" y="133"/>
                    </a:lnTo>
                    <a:lnTo>
                      <a:pt x="184" y="133"/>
                    </a:lnTo>
                    <a:lnTo>
                      <a:pt x="184" y="135"/>
                    </a:lnTo>
                    <a:lnTo>
                      <a:pt x="182" y="133"/>
                    </a:lnTo>
                    <a:lnTo>
                      <a:pt x="182" y="133"/>
                    </a:lnTo>
                    <a:lnTo>
                      <a:pt x="180" y="133"/>
                    </a:lnTo>
                    <a:lnTo>
                      <a:pt x="180" y="133"/>
                    </a:lnTo>
                    <a:lnTo>
                      <a:pt x="177" y="130"/>
                    </a:lnTo>
                    <a:lnTo>
                      <a:pt x="175" y="126"/>
                    </a:lnTo>
                    <a:lnTo>
                      <a:pt x="173" y="121"/>
                    </a:lnTo>
                    <a:lnTo>
                      <a:pt x="170" y="116"/>
                    </a:lnTo>
                    <a:lnTo>
                      <a:pt x="168" y="116"/>
                    </a:lnTo>
                    <a:lnTo>
                      <a:pt x="168" y="116"/>
                    </a:lnTo>
                    <a:lnTo>
                      <a:pt x="165" y="116"/>
                    </a:lnTo>
                    <a:lnTo>
                      <a:pt x="163" y="116"/>
                    </a:lnTo>
                    <a:lnTo>
                      <a:pt x="163" y="114"/>
                    </a:lnTo>
                    <a:lnTo>
                      <a:pt x="161" y="114"/>
                    </a:lnTo>
                    <a:lnTo>
                      <a:pt x="158" y="114"/>
                    </a:lnTo>
                    <a:lnTo>
                      <a:pt x="158" y="114"/>
                    </a:lnTo>
                    <a:lnTo>
                      <a:pt x="156" y="114"/>
                    </a:lnTo>
                    <a:lnTo>
                      <a:pt x="151" y="116"/>
                    </a:lnTo>
                    <a:lnTo>
                      <a:pt x="149" y="116"/>
                    </a:lnTo>
                    <a:lnTo>
                      <a:pt x="149" y="116"/>
                    </a:lnTo>
                    <a:lnTo>
                      <a:pt x="144" y="114"/>
                    </a:lnTo>
                    <a:lnTo>
                      <a:pt x="142" y="114"/>
                    </a:lnTo>
                    <a:lnTo>
                      <a:pt x="137" y="114"/>
                    </a:lnTo>
                    <a:lnTo>
                      <a:pt x="135" y="116"/>
                    </a:lnTo>
                    <a:lnTo>
                      <a:pt x="135" y="114"/>
                    </a:lnTo>
                    <a:lnTo>
                      <a:pt x="132" y="114"/>
                    </a:lnTo>
                    <a:lnTo>
                      <a:pt x="130" y="109"/>
                    </a:lnTo>
                    <a:lnTo>
                      <a:pt x="130" y="107"/>
                    </a:lnTo>
                    <a:lnTo>
                      <a:pt x="128" y="107"/>
                    </a:lnTo>
                    <a:lnTo>
                      <a:pt x="128" y="107"/>
                    </a:lnTo>
                    <a:lnTo>
                      <a:pt x="125" y="104"/>
                    </a:lnTo>
                    <a:lnTo>
                      <a:pt x="125" y="104"/>
                    </a:lnTo>
                    <a:lnTo>
                      <a:pt x="125" y="102"/>
                    </a:lnTo>
                    <a:lnTo>
                      <a:pt x="125" y="100"/>
                    </a:lnTo>
                    <a:lnTo>
                      <a:pt x="125" y="97"/>
                    </a:lnTo>
                    <a:lnTo>
                      <a:pt x="125" y="95"/>
                    </a:lnTo>
                    <a:lnTo>
                      <a:pt x="128" y="93"/>
                    </a:lnTo>
                    <a:lnTo>
                      <a:pt x="128" y="93"/>
                    </a:lnTo>
                    <a:lnTo>
                      <a:pt x="128" y="90"/>
                    </a:lnTo>
                    <a:lnTo>
                      <a:pt x="128" y="88"/>
                    </a:lnTo>
                    <a:lnTo>
                      <a:pt x="128" y="85"/>
                    </a:lnTo>
                    <a:lnTo>
                      <a:pt x="125" y="83"/>
                    </a:lnTo>
                    <a:lnTo>
                      <a:pt x="123" y="81"/>
                    </a:lnTo>
                    <a:lnTo>
                      <a:pt x="123" y="76"/>
                    </a:lnTo>
                    <a:lnTo>
                      <a:pt x="121" y="71"/>
                    </a:lnTo>
                    <a:lnTo>
                      <a:pt x="121" y="69"/>
                    </a:lnTo>
                    <a:lnTo>
                      <a:pt x="118" y="71"/>
                    </a:lnTo>
                    <a:lnTo>
                      <a:pt x="118" y="69"/>
                    </a:lnTo>
                    <a:lnTo>
                      <a:pt x="118" y="69"/>
                    </a:lnTo>
                    <a:lnTo>
                      <a:pt x="116" y="66"/>
                    </a:lnTo>
                    <a:lnTo>
                      <a:pt x="116" y="69"/>
                    </a:lnTo>
                    <a:lnTo>
                      <a:pt x="113" y="69"/>
                    </a:lnTo>
                    <a:lnTo>
                      <a:pt x="111" y="69"/>
                    </a:lnTo>
                    <a:lnTo>
                      <a:pt x="111" y="69"/>
                    </a:lnTo>
                    <a:lnTo>
                      <a:pt x="111" y="69"/>
                    </a:lnTo>
                    <a:lnTo>
                      <a:pt x="111" y="66"/>
                    </a:lnTo>
                    <a:lnTo>
                      <a:pt x="113" y="64"/>
                    </a:lnTo>
                    <a:lnTo>
                      <a:pt x="116" y="62"/>
                    </a:lnTo>
                    <a:lnTo>
                      <a:pt x="116" y="59"/>
                    </a:lnTo>
                    <a:lnTo>
                      <a:pt x="118" y="57"/>
                    </a:lnTo>
                    <a:lnTo>
                      <a:pt x="118" y="50"/>
                    </a:lnTo>
                    <a:lnTo>
                      <a:pt x="121" y="48"/>
                    </a:lnTo>
                    <a:lnTo>
                      <a:pt x="121" y="40"/>
                    </a:lnTo>
                    <a:lnTo>
                      <a:pt x="125" y="36"/>
                    </a:lnTo>
                    <a:lnTo>
                      <a:pt x="125" y="33"/>
                    </a:lnTo>
                    <a:lnTo>
                      <a:pt x="128" y="31"/>
                    </a:lnTo>
                    <a:lnTo>
                      <a:pt x="128" y="29"/>
                    </a:lnTo>
                    <a:lnTo>
                      <a:pt x="130" y="29"/>
                    </a:lnTo>
                    <a:lnTo>
                      <a:pt x="135" y="26"/>
                    </a:lnTo>
                    <a:lnTo>
                      <a:pt x="139" y="17"/>
                    </a:lnTo>
                    <a:lnTo>
                      <a:pt x="139" y="17"/>
                    </a:lnTo>
                    <a:lnTo>
                      <a:pt x="144" y="14"/>
                    </a:lnTo>
                    <a:lnTo>
                      <a:pt x="149" y="14"/>
                    </a:lnTo>
                    <a:lnTo>
                      <a:pt x="151" y="12"/>
                    </a:lnTo>
                    <a:lnTo>
                      <a:pt x="151" y="12"/>
                    </a:lnTo>
                    <a:lnTo>
                      <a:pt x="151" y="12"/>
                    </a:lnTo>
                    <a:lnTo>
                      <a:pt x="154" y="12"/>
                    </a:lnTo>
                    <a:lnTo>
                      <a:pt x="156" y="7"/>
                    </a:lnTo>
                    <a:lnTo>
                      <a:pt x="156" y="5"/>
                    </a:lnTo>
                    <a:lnTo>
                      <a:pt x="154" y="3"/>
                    </a:lnTo>
                    <a:lnTo>
                      <a:pt x="149" y="0"/>
                    </a:lnTo>
                    <a:lnTo>
                      <a:pt x="149" y="0"/>
                    </a:lnTo>
                    <a:lnTo>
                      <a:pt x="147" y="0"/>
                    </a:lnTo>
                    <a:lnTo>
                      <a:pt x="142" y="3"/>
                    </a:lnTo>
                    <a:lnTo>
                      <a:pt x="142" y="3"/>
                    </a:lnTo>
                    <a:lnTo>
                      <a:pt x="142" y="5"/>
                    </a:lnTo>
                    <a:lnTo>
                      <a:pt x="139" y="5"/>
                    </a:lnTo>
                    <a:lnTo>
                      <a:pt x="137" y="5"/>
                    </a:lnTo>
                    <a:lnTo>
                      <a:pt x="137" y="7"/>
                    </a:lnTo>
                    <a:lnTo>
                      <a:pt x="135" y="12"/>
                    </a:lnTo>
                    <a:lnTo>
                      <a:pt x="132" y="14"/>
                    </a:lnTo>
                    <a:lnTo>
                      <a:pt x="125" y="14"/>
                    </a:lnTo>
                    <a:lnTo>
                      <a:pt x="113" y="24"/>
                    </a:lnTo>
                    <a:lnTo>
                      <a:pt x="109" y="24"/>
                    </a:lnTo>
                    <a:lnTo>
                      <a:pt x="106" y="24"/>
                    </a:lnTo>
                    <a:lnTo>
                      <a:pt x="104" y="24"/>
                    </a:lnTo>
                    <a:lnTo>
                      <a:pt x="102" y="24"/>
                    </a:lnTo>
                    <a:lnTo>
                      <a:pt x="99" y="24"/>
                    </a:lnTo>
                    <a:lnTo>
                      <a:pt x="97" y="24"/>
                    </a:lnTo>
                    <a:lnTo>
                      <a:pt x="97" y="29"/>
                    </a:lnTo>
                    <a:lnTo>
                      <a:pt x="95" y="31"/>
                    </a:lnTo>
                    <a:lnTo>
                      <a:pt x="95" y="33"/>
                    </a:lnTo>
                    <a:lnTo>
                      <a:pt x="95" y="36"/>
                    </a:lnTo>
                    <a:lnTo>
                      <a:pt x="92" y="36"/>
                    </a:lnTo>
                    <a:lnTo>
                      <a:pt x="92" y="33"/>
                    </a:lnTo>
                    <a:lnTo>
                      <a:pt x="92" y="31"/>
                    </a:lnTo>
                    <a:lnTo>
                      <a:pt x="95" y="31"/>
                    </a:lnTo>
                    <a:lnTo>
                      <a:pt x="95" y="31"/>
                    </a:lnTo>
                    <a:lnTo>
                      <a:pt x="95" y="31"/>
                    </a:lnTo>
                    <a:lnTo>
                      <a:pt x="92" y="31"/>
                    </a:lnTo>
                    <a:lnTo>
                      <a:pt x="85" y="29"/>
                    </a:lnTo>
                    <a:lnTo>
                      <a:pt x="85" y="29"/>
                    </a:lnTo>
                    <a:lnTo>
                      <a:pt x="80" y="33"/>
                    </a:lnTo>
                    <a:lnTo>
                      <a:pt x="78" y="36"/>
                    </a:lnTo>
                    <a:lnTo>
                      <a:pt x="78" y="36"/>
                    </a:lnTo>
                    <a:lnTo>
                      <a:pt x="73" y="38"/>
                    </a:lnTo>
                    <a:lnTo>
                      <a:pt x="73" y="40"/>
                    </a:lnTo>
                    <a:lnTo>
                      <a:pt x="71" y="45"/>
                    </a:lnTo>
                    <a:lnTo>
                      <a:pt x="68" y="48"/>
                    </a:lnTo>
                    <a:lnTo>
                      <a:pt x="68" y="48"/>
                    </a:lnTo>
                    <a:lnTo>
                      <a:pt x="68" y="48"/>
                    </a:lnTo>
                    <a:lnTo>
                      <a:pt x="71" y="48"/>
                    </a:lnTo>
                    <a:lnTo>
                      <a:pt x="71" y="48"/>
                    </a:lnTo>
                    <a:lnTo>
                      <a:pt x="71" y="50"/>
                    </a:lnTo>
                    <a:lnTo>
                      <a:pt x="71" y="52"/>
                    </a:lnTo>
                    <a:lnTo>
                      <a:pt x="68" y="55"/>
                    </a:lnTo>
                    <a:lnTo>
                      <a:pt x="68" y="57"/>
                    </a:lnTo>
                    <a:lnTo>
                      <a:pt x="68" y="59"/>
                    </a:lnTo>
                    <a:lnTo>
                      <a:pt x="68" y="62"/>
                    </a:lnTo>
                    <a:lnTo>
                      <a:pt x="68" y="64"/>
                    </a:lnTo>
                    <a:lnTo>
                      <a:pt x="66" y="64"/>
                    </a:lnTo>
                    <a:lnTo>
                      <a:pt x="64" y="64"/>
                    </a:lnTo>
                    <a:lnTo>
                      <a:pt x="61" y="64"/>
                    </a:lnTo>
                    <a:lnTo>
                      <a:pt x="59" y="66"/>
                    </a:lnTo>
                    <a:lnTo>
                      <a:pt x="57" y="74"/>
                    </a:lnTo>
                    <a:lnTo>
                      <a:pt x="47" y="78"/>
                    </a:lnTo>
                    <a:lnTo>
                      <a:pt x="47" y="81"/>
                    </a:lnTo>
                    <a:lnTo>
                      <a:pt x="45" y="81"/>
                    </a:lnTo>
                    <a:lnTo>
                      <a:pt x="45" y="81"/>
                    </a:lnTo>
                    <a:lnTo>
                      <a:pt x="45" y="83"/>
                    </a:lnTo>
                    <a:lnTo>
                      <a:pt x="45" y="83"/>
                    </a:lnTo>
                    <a:lnTo>
                      <a:pt x="47" y="88"/>
                    </a:lnTo>
                    <a:lnTo>
                      <a:pt x="47" y="95"/>
                    </a:lnTo>
                    <a:lnTo>
                      <a:pt x="45" y="95"/>
                    </a:lnTo>
                    <a:lnTo>
                      <a:pt x="45" y="95"/>
                    </a:lnTo>
                    <a:lnTo>
                      <a:pt x="42" y="95"/>
                    </a:lnTo>
                    <a:lnTo>
                      <a:pt x="42" y="95"/>
                    </a:lnTo>
                    <a:lnTo>
                      <a:pt x="42" y="93"/>
                    </a:lnTo>
                    <a:lnTo>
                      <a:pt x="45" y="93"/>
                    </a:lnTo>
                    <a:lnTo>
                      <a:pt x="45" y="93"/>
                    </a:lnTo>
                    <a:lnTo>
                      <a:pt x="45" y="90"/>
                    </a:lnTo>
                    <a:lnTo>
                      <a:pt x="42" y="90"/>
                    </a:lnTo>
                    <a:lnTo>
                      <a:pt x="42" y="88"/>
                    </a:lnTo>
                    <a:lnTo>
                      <a:pt x="40" y="85"/>
                    </a:lnTo>
                    <a:lnTo>
                      <a:pt x="38" y="83"/>
                    </a:lnTo>
                    <a:lnTo>
                      <a:pt x="35" y="81"/>
                    </a:lnTo>
                    <a:lnTo>
                      <a:pt x="35" y="81"/>
                    </a:lnTo>
                    <a:lnTo>
                      <a:pt x="35" y="81"/>
                    </a:lnTo>
                    <a:lnTo>
                      <a:pt x="33" y="83"/>
                    </a:lnTo>
                    <a:lnTo>
                      <a:pt x="33" y="83"/>
                    </a:lnTo>
                    <a:lnTo>
                      <a:pt x="35" y="85"/>
                    </a:lnTo>
                    <a:lnTo>
                      <a:pt x="35" y="85"/>
                    </a:lnTo>
                    <a:lnTo>
                      <a:pt x="35" y="88"/>
                    </a:lnTo>
                    <a:lnTo>
                      <a:pt x="38" y="90"/>
                    </a:lnTo>
                    <a:lnTo>
                      <a:pt x="38" y="93"/>
                    </a:lnTo>
                    <a:lnTo>
                      <a:pt x="38" y="95"/>
                    </a:lnTo>
                    <a:lnTo>
                      <a:pt x="38" y="95"/>
                    </a:lnTo>
                    <a:lnTo>
                      <a:pt x="35" y="95"/>
                    </a:lnTo>
                    <a:lnTo>
                      <a:pt x="35" y="97"/>
                    </a:lnTo>
                    <a:lnTo>
                      <a:pt x="35" y="100"/>
                    </a:lnTo>
                    <a:lnTo>
                      <a:pt x="35" y="100"/>
                    </a:lnTo>
                    <a:lnTo>
                      <a:pt x="31" y="102"/>
                    </a:lnTo>
                    <a:lnTo>
                      <a:pt x="31" y="104"/>
                    </a:lnTo>
                    <a:lnTo>
                      <a:pt x="31" y="102"/>
                    </a:lnTo>
                    <a:lnTo>
                      <a:pt x="28" y="102"/>
                    </a:lnTo>
                    <a:lnTo>
                      <a:pt x="28" y="100"/>
                    </a:lnTo>
                    <a:lnTo>
                      <a:pt x="28" y="100"/>
                    </a:lnTo>
                    <a:lnTo>
                      <a:pt x="28" y="100"/>
                    </a:lnTo>
                    <a:lnTo>
                      <a:pt x="28" y="100"/>
                    </a:lnTo>
                    <a:lnTo>
                      <a:pt x="26" y="102"/>
                    </a:lnTo>
                    <a:lnTo>
                      <a:pt x="28" y="104"/>
                    </a:lnTo>
                    <a:lnTo>
                      <a:pt x="26" y="104"/>
                    </a:lnTo>
                    <a:lnTo>
                      <a:pt x="26" y="107"/>
                    </a:lnTo>
                    <a:lnTo>
                      <a:pt x="24" y="109"/>
                    </a:lnTo>
                    <a:lnTo>
                      <a:pt x="26" y="111"/>
                    </a:lnTo>
                    <a:lnTo>
                      <a:pt x="28" y="116"/>
                    </a:lnTo>
                    <a:lnTo>
                      <a:pt x="28" y="119"/>
                    </a:lnTo>
                    <a:lnTo>
                      <a:pt x="28" y="119"/>
                    </a:lnTo>
                    <a:lnTo>
                      <a:pt x="31" y="121"/>
                    </a:lnTo>
                    <a:lnTo>
                      <a:pt x="33" y="121"/>
                    </a:lnTo>
                    <a:lnTo>
                      <a:pt x="33" y="123"/>
                    </a:lnTo>
                    <a:lnTo>
                      <a:pt x="33" y="126"/>
                    </a:lnTo>
                    <a:lnTo>
                      <a:pt x="33" y="130"/>
                    </a:lnTo>
                    <a:lnTo>
                      <a:pt x="31" y="130"/>
                    </a:lnTo>
                    <a:lnTo>
                      <a:pt x="31" y="130"/>
                    </a:lnTo>
                    <a:lnTo>
                      <a:pt x="31" y="133"/>
                    </a:lnTo>
                    <a:lnTo>
                      <a:pt x="33" y="138"/>
                    </a:lnTo>
                    <a:lnTo>
                      <a:pt x="35" y="140"/>
                    </a:lnTo>
                    <a:lnTo>
                      <a:pt x="33" y="142"/>
                    </a:lnTo>
                    <a:lnTo>
                      <a:pt x="28" y="147"/>
                    </a:lnTo>
                    <a:lnTo>
                      <a:pt x="31" y="149"/>
                    </a:lnTo>
                    <a:lnTo>
                      <a:pt x="33" y="149"/>
                    </a:lnTo>
                    <a:lnTo>
                      <a:pt x="33" y="152"/>
                    </a:lnTo>
                    <a:lnTo>
                      <a:pt x="33" y="156"/>
                    </a:lnTo>
                    <a:lnTo>
                      <a:pt x="33" y="161"/>
                    </a:lnTo>
                    <a:lnTo>
                      <a:pt x="33" y="161"/>
                    </a:lnTo>
                    <a:lnTo>
                      <a:pt x="33" y="164"/>
                    </a:lnTo>
                    <a:lnTo>
                      <a:pt x="33" y="166"/>
                    </a:lnTo>
                    <a:lnTo>
                      <a:pt x="33" y="168"/>
                    </a:lnTo>
                    <a:lnTo>
                      <a:pt x="31" y="171"/>
                    </a:lnTo>
                    <a:lnTo>
                      <a:pt x="31" y="171"/>
                    </a:lnTo>
                    <a:lnTo>
                      <a:pt x="31" y="173"/>
                    </a:lnTo>
                    <a:lnTo>
                      <a:pt x="28" y="173"/>
                    </a:lnTo>
                    <a:lnTo>
                      <a:pt x="28" y="173"/>
                    </a:lnTo>
                    <a:lnTo>
                      <a:pt x="31" y="173"/>
                    </a:lnTo>
                    <a:lnTo>
                      <a:pt x="31" y="175"/>
                    </a:lnTo>
                    <a:lnTo>
                      <a:pt x="31" y="175"/>
                    </a:lnTo>
                    <a:lnTo>
                      <a:pt x="31" y="178"/>
                    </a:lnTo>
                    <a:lnTo>
                      <a:pt x="31" y="180"/>
                    </a:lnTo>
                    <a:lnTo>
                      <a:pt x="33" y="178"/>
                    </a:lnTo>
                    <a:lnTo>
                      <a:pt x="33" y="178"/>
                    </a:lnTo>
                    <a:lnTo>
                      <a:pt x="33" y="180"/>
                    </a:lnTo>
                    <a:lnTo>
                      <a:pt x="33" y="180"/>
                    </a:lnTo>
                    <a:lnTo>
                      <a:pt x="35" y="183"/>
                    </a:lnTo>
                    <a:lnTo>
                      <a:pt x="35" y="180"/>
                    </a:lnTo>
                    <a:lnTo>
                      <a:pt x="38" y="180"/>
                    </a:lnTo>
                    <a:lnTo>
                      <a:pt x="33" y="187"/>
                    </a:lnTo>
                    <a:lnTo>
                      <a:pt x="31" y="190"/>
                    </a:lnTo>
                    <a:lnTo>
                      <a:pt x="31" y="192"/>
                    </a:lnTo>
                    <a:lnTo>
                      <a:pt x="31" y="192"/>
                    </a:lnTo>
                    <a:lnTo>
                      <a:pt x="28" y="194"/>
                    </a:lnTo>
                    <a:lnTo>
                      <a:pt x="28" y="197"/>
                    </a:lnTo>
                    <a:lnTo>
                      <a:pt x="26" y="199"/>
                    </a:lnTo>
                    <a:lnTo>
                      <a:pt x="26" y="199"/>
                    </a:lnTo>
                    <a:lnTo>
                      <a:pt x="24" y="199"/>
                    </a:lnTo>
                    <a:lnTo>
                      <a:pt x="24" y="199"/>
                    </a:lnTo>
                    <a:lnTo>
                      <a:pt x="26" y="201"/>
                    </a:lnTo>
                    <a:lnTo>
                      <a:pt x="26" y="201"/>
                    </a:lnTo>
                    <a:lnTo>
                      <a:pt x="24" y="204"/>
                    </a:lnTo>
                    <a:lnTo>
                      <a:pt x="21" y="206"/>
                    </a:lnTo>
                    <a:lnTo>
                      <a:pt x="21" y="206"/>
                    </a:lnTo>
                    <a:lnTo>
                      <a:pt x="21" y="206"/>
                    </a:lnTo>
                    <a:lnTo>
                      <a:pt x="21" y="206"/>
                    </a:lnTo>
                    <a:lnTo>
                      <a:pt x="19" y="209"/>
                    </a:lnTo>
                    <a:lnTo>
                      <a:pt x="19" y="209"/>
                    </a:lnTo>
                    <a:lnTo>
                      <a:pt x="19" y="209"/>
                    </a:lnTo>
                    <a:lnTo>
                      <a:pt x="16" y="211"/>
                    </a:lnTo>
                    <a:lnTo>
                      <a:pt x="16" y="211"/>
                    </a:lnTo>
                    <a:lnTo>
                      <a:pt x="14" y="211"/>
                    </a:lnTo>
                    <a:lnTo>
                      <a:pt x="12" y="211"/>
                    </a:lnTo>
                    <a:lnTo>
                      <a:pt x="12" y="211"/>
                    </a:lnTo>
                    <a:lnTo>
                      <a:pt x="9" y="211"/>
                    </a:lnTo>
                    <a:lnTo>
                      <a:pt x="9" y="211"/>
                    </a:lnTo>
                    <a:lnTo>
                      <a:pt x="7" y="213"/>
                    </a:lnTo>
                    <a:lnTo>
                      <a:pt x="7" y="213"/>
                    </a:lnTo>
                    <a:lnTo>
                      <a:pt x="7" y="220"/>
                    </a:lnTo>
                    <a:lnTo>
                      <a:pt x="7" y="223"/>
                    </a:lnTo>
                    <a:lnTo>
                      <a:pt x="7" y="225"/>
                    </a:lnTo>
                    <a:lnTo>
                      <a:pt x="5" y="225"/>
                    </a:lnTo>
                    <a:lnTo>
                      <a:pt x="0" y="225"/>
                    </a:lnTo>
                    <a:lnTo>
                      <a:pt x="0" y="230"/>
                    </a:lnTo>
                    <a:lnTo>
                      <a:pt x="2" y="230"/>
                    </a:lnTo>
                    <a:lnTo>
                      <a:pt x="2" y="232"/>
                    </a:lnTo>
                    <a:lnTo>
                      <a:pt x="2" y="232"/>
                    </a:lnTo>
                    <a:lnTo>
                      <a:pt x="5" y="235"/>
                    </a:lnTo>
                    <a:lnTo>
                      <a:pt x="5" y="237"/>
                    </a:lnTo>
                    <a:lnTo>
                      <a:pt x="7" y="237"/>
                    </a:lnTo>
                    <a:lnTo>
                      <a:pt x="9" y="237"/>
                    </a:lnTo>
                    <a:lnTo>
                      <a:pt x="12" y="242"/>
                    </a:lnTo>
                    <a:lnTo>
                      <a:pt x="14" y="242"/>
                    </a:lnTo>
                    <a:lnTo>
                      <a:pt x="16" y="244"/>
                    </a:lnTo>
                    <a:lnTo>
                      <a:pt x="21" y="246"/>
                    </a:lnTo>
                    <a:lnTo>
                      <a:pt x="24" y="246"/>
                    </a:lnTo>
                    <a:lnTo>
                      <a:pt x="24" y="246"/>
                    </a:lnTo>
                    <a:lnTo>
                      <a:pt x="24" y="249"/>
                    </a:lnTo>
                    <a:lnTo>
                      <a:pt x="26" y="249"/>
                    </a:lnTo>
                    <a:lnTo>
                      <a:pt x="26" y="249"/>
                    </a:lnTo>
                    <a:lnTo>
                      <a:pt x="28" y="249"/>
                    </a:lnTo>
                    <a:lnTo>
                      <a:pt x="28" y="249"/>
                    </a:lnTo>
                    <a:lnTo>
                      <a:pt x="28" y="254"/>
                    </a:lnTo>
                    <a:lnTo>
                      <a:pt x="28" y="256"/>
                    </a:lnTo>
                    <a:lnTo>
                      <a:pt x="31" y="256"/>
                    </a:lnTo>
                    <a:lnTo>
                      <a:pt x="33" y="256"/>
                    </a:lnTo>
                    <a:lnTo>
                      <a:pt x="35" y="256"/>
                    </a:lnTo>
                    <a:lnTo>
                      <a:pt x="35" y="256"/>
                    </a:lnTo>
                    <a:lnTo>
                      <a:pt x="38" y="258"/>
                    </a:lnTo>
                    <a:lnTo>
                      <a:pt x="40" y="258"/>
                    </a:lnTo>
                    <a:lnTo>
                      <a:pt x="40" y="258"/>
                    </a:lnTo>
                    <a:lnTo>
                      <a:pt x="42" y="258"/>
                    </a:lnTo>
                    <a:lnTo>
                      <a:pt x="42" y="258"/>
                    </a:lnTo>
                    <a:lnTo>
                      <a:pt x="42" y="258"/>
                    </a:lnTo>
                    <a:lnTo>
                      <a:pt x="45" y="258"/>
                    </a:lnTo>
                    <a:lnTo>
                      <a:pt x="45" y="258"/>
                    </a:lnTo>
                    <a:lnTo>
                      <a:pt x="47" y="258"/>
                    </a:lnTo>
                    <a:lnTo>
                      <a:pt x="47" y="256"/>
                    </a:lnTo>
                    <a:lnTo>
                      <a:pt x="47" y="256"/>
                    </a:lnTo>
                    <a:lnTo>
                      <a:pt x="47" y="254"/>
                    </a:lnTo>
                    <a:lnTo>
                      <a:pt x="50" y="254"/>
                    </a:lnTo>
                    <a:lnTo>
                      <a:pt x="50" y="254"/>
                    </a:lnTo>
                    <a:lnTo>
                      <a:pt x="54" y="256"/>
                    </a:lnTo>
                    <a:lnTo>
                      <a:pt x="54" y="256"/>
                    </a:lnTo>
                    <a:lnTo>
                      <a:pt x="57" y="258"/>
                    </a:lnTo>
                    <a:lnTo>
                      <a:pt x="57" y="261"/>
                    </a:lnTo>
                    <a:lnTo>
                      <a:pt x="59" y="261"/>
                    </a:lnTo>
                    <a:lnTo>
                      <a:pt x="61" y="261"/>
                    </a:lnTo>
                    <a:lnTo>
                      <a:pt x="66" y="263"/>
                    </a:lnTo>
                    <a:lnTo>
                      <a:pt x="68" y="265"/>
                    </a:lnTo>
                    <a:lnTo>
                      <a:pt x="68" y="263"/>
                    </a:lnTo>
                    <a:lnTo>
                      <a:pt x="71" y="263"/>
                    </a:lnTo>
                    <a:lnTo>
                      <a:pt x="71" y="263"/>
                    </a:lnTo>
                    <a:lnTo>
                      <a:pt x="73" y="265"/>
                    </a:lnTo>
                    <a:lnTo>
                      <a:pt x="73" y="265"/>
                    </a:lnTo>
                    <a:lnTo>
                      <a:pt x="76" y="268"/>
                    </a:lnTo>
                    <a:lnTo>
                      <a:pt x="76" y="268"/>
                    </a:lnTo>
                    <a:lnTo>
                      <a:pt x="78" y="268"/>
                    </a:lnTo>
                    <a:lnTo>
                      <a:pt x="78" y="268"/>
                    </a:lnTo>
                    <a:lnTo>
                      <a:pt x="78" y="268"/>
                    </a:lnTo>
                    <a:lnTo>
                      <a:pt x="78" y="270"/>
                    </a:lnTo>
                    <a:lnTo>
                      <a:pt x="80" y="270"/>
                    </a:lnTo>
                    <a:lnTo>
                      <a:pt x="80" y="270"/>
                    </a:lnTo>
                    <a:lnTo>
                      <a:pt x="83" y="272"/>
                    </a:lnTo>
                    <a:lnTo>
                      <a:pt x="83" y="272"/>
                    </a:lnTo>
                    <a:lnTo>
                      <a:pt x="85" y="275"/>
                    </a:lnTo>
                    <a:lnTo>
                      <a:pt x="85" y="275"/>
                    </a:lnTo>
                    <a:lnTo>
                      <a:pt x="85" y="277"/>
                    </a:lnTo>
                    <a:lnTo>
                      <a:pt x="85" y="280"/>
                    </a:lnTo>
                    <a:lnTo>
                      <a:pt x="87" y="280"/>
                    </a:lnTo>
                    <a:lnTo>
                      <a:pt x="87" y="282"/>
                    </a:lnTo>
                    <a:lnTo>
                      <a:pt x="87" y="282"/>
                    </a:lnTo>
                    <a:lnTo>
                      <a:pt x="87" y="284"/>
                    </a:lnTo>
                    <a:lnTo>
                      <a:pt x="90" y="284"/>
                    </a:lnTo>
                    <a:lnTo>
                      <a:pt x="92" y="284"/>
                    </a:lnTo>
                    <a:lnTo>
                      <a:pt x="92" y="287"/>
                    </a:lnTo>
                    <a:lnTo>
                      <a:pt x="95" y="287"/>
                    </a:lnTo>
                    <a:lnTo>
                      <a:pt x="95" y="289"/>
                    </a:lnTo>
                    <a:lnTo>
                      <a:pt x="97" y="289"/>
                    </a:lnTo>
                    <a:lnTo>
                      <a:pt x="97" y="289"/>
                    </a:lnTo>
                    <a:lnTo>
                      <a:pt x="99" y="289"/>
                    </a:lnTo>
                    <a:lnTo>
                      <a:pt x="99" y="291"/>
                    </a:lnTo>
                    <a:lnTo>
                      <a:pt x="102" y="294"/>
                    </a:lnTo>
                    <a:lnTo>
                      <a:pt x="102" y="294"/>
                    </a:lnTo>
                    <a:lnTo>
                      <a:pt x="102" y="296"/>
                    </a:lnTo>
                    <a:lnTo>
                      <a:pt x="102" y="299"/>
                    </a:lnTo>
                    <a:lnTo>
                      <a:pt x="102" y="299"/>
                    </a:lnTo>
                    <a:lnTo>
                      <a:pt x="104" y="301"/>
                    </a:lnTo>
                    <a:lnTo>
                      <a:pt x="104" y="301"/>
                    </a:lnTo>
                    <a:lnTo>
                      <a:pt x="106" y="301"/>
                    </a:lnTo>
                    <a:lnTo>
                      <a:pt x="106" y="301"/>
                    </a:lnTo>
                    <a:lnTo>
                      <a:pt x="109" y="301"/>
                    </a:lnTo>
                    <a:lnTo>
                      <a:pt x="109" y="303"/>
                    </a:lnTo>
                    <a:lnTo>
                      <a:pt x="109" y="306"/>
                    </a:lnTo>
                    <a:lnTo>
                      <a:pt x="109" y="308"/>
                    </a:lnTo>
                    <a:lnTo>
                      <a:pt x="109" y="308"/>
                    </a:lnTo>
                    <a:lnTo>
                      <a:pt x="109" y="310"/>
                    </a:lnTo>
                    <a:lnTo>
                      <a:pt x="109" y="310"/>
                    </a:lnTo>
                    <a:lnTo>
                      <a:pt x="111" y="313"/>
                    </a:lnTo>
                    <a:lnTo>
                      <a:pt x="111" y="313"/>
                    </a:lnTo>
                    <a:lnTo>
                      <a:pt x="113" y="313"/>
                    </a:lnTo>
                    <a:lnTo>
                      <a:pt x="113" y="315"/>
                    </a:lnTo>
                    <a:lnTo>
                      <a:pt x="116" y="315"/>
                    </a:lnTo>
                    <a:lnTo>
                      <a:pt x="118" y="313"/>
                    </a:lnTo>
                    <a:lnTo>
                      <a:pt x="118" y="313"/>
                    </a:lnTo>
                    <a:lnTo>
                      <a:pt x="118" y="313"/>
                    </a:lnTo>
                    <a:lnTo>
                      <a:pt x="121" y="313"/>
                    </a:lnTo>
                    <a:lnTo>
                      <a:pt x="121" y="313"/>
                    </a:lnTo>
                    <a:lnTo>
                      <a:pt x="123" y="315"/>
                    </a:lnTo>
                    <a:lnTo>
                      <a:pt x="125" y="315"/>
                    </a:lnTo>
                    <a:lnTo>
                      <a:pt x="125" y="313"/>
                    </a:lnTo>
                    <a:lnTo>
                      <a:pt x="128" y="313"/>
                    </a:lnTo>
                    <a:lnTo>
                      <a:pt x="130" y="313"/>
                    </a:lnTo>
                    <a:lnTo>
                      <a:pt x="130" y="313"/>
                    </a:lnTo>
                    <a:lnTo>
                      <a:pt x="132" y="310"/>
                    </a:lnTo>
                    <a:lnTo>
                      <a:pt x="132" y="310"/>
                    </a:lnTo>
                    <a:lnTo>
                      <a:pt x="135" y="308"/>
                    </a:lnTo>
                    <a:lnTo>
                      <a:pt x="135" y="308"/>
                    </a:lnTo>
                    <a:lnTo>
                      <a:pt x="137" y="310"/>
                    </a:lnTo>
                    <a:lnTo>
                      <a:pt x="139" y="310"/>
                    </a:lnTo>
                    <a:lnTo>
                      <a:pt x="139" y="310"/>
                    </a:lnTo>
                    <a:lnTo>
                      <a:pt x="142" y="313"/>
                    </a:lnTo>
                    <a:lnTo>
                      <a:pt x="142" y="313"/>
                    </a:lnTo>
                    <a:lnTo>
                      <a:pt x="144" y="313"/>
                    </a:lnTo>
                    <a:lnTo>
                      <a:pt x="144" y="313"/>
                    </a:lnTo>
                    <a:lnTo>
                      <a:pt x="147" y="310"/>
                    </a:lnTo>
                    <a:lnTo>
                      <a:pt x="149" y="310"/>
                    </a:lnTo>
                    <a:lnTo>
                      <a:pt x="149" y="310"/>
                    </a:lnTo>
                    <a:lnTo>
                      <a:pt x="151" y="310"/>
                    </a:lnTo>
                    <a:lnTo>
                      <a:pt x="154" y="313"/>
                    </a:lnTo>
                    <a:lnTo>
                      <a:pt x="156" y="315"/>
                    </a:lnTo>
                    <a:lnTo>
                      <a:pt x="156" y="315"/>
                    </a:lnTo>
                    <a:lnTo>
                      <a:pt x="158" y="315"/>
                    </a:lnTo>
                    <a:lnTo>
                      <a:pt x="161" y="315"/>
                    </a:lnTo>
                    <a:lnTo>
                      <a:pt x="161" y="317"/>
                    </a:lnTo>
                    <a:lnTo>
                      <a:pt x="163" y="317"/>
                    </a:lnTo>
                    <a:lnTo>
                      <a:pt x="163" y="317"/>
                    </a:lnTo>
                    <a:lnTo>
                      <a:pt x="165" y="320"/>
                    </a:lnTo>
                    <a:lnTo>
                      <a:pt x="165" y="320"/>
                    </a:lnTo>
                    <a:lnTo>
                      <a:pt x="165" y="320"/>
                    </a:lnTo>
                    <a:lnTo>
                      <a:pt x="168" y="320"/>
                    </a:lnTo>
                    <a:lnTo>
                      <a:pt x="165" y="322"/>
                    </a:lnTo>
                    <a:lnTo>
                      <a:pt x="165" y="325"/>
                    </a:lnTo>
                    <a:lnTo>
                      <a:pt x="163" y="329"/>
                    </a:lnTo>
                    <a:lnTo>
                      <a:pt x="161" y="332"/>
                    </a:lnTo>
                    <a:lnTo>
                      <a:pt x="156" y="339"/>
                    </a:lnTo>
                    <a:lnTo>
                      <a:pt x="154" y="344"/>
                    </a:lnTo>
                    <a:lnTo>
                      <a:pt x="156" y="344"/>
                    </a:lnTo>
                    <a:lnTo>
                      <a:pt x="158" y="346"/>
                    </a:lnTo>
                    <a:lnTo>
                      <a:pt x="158" y="346"/>
                    </a:lnTo>
                    <a:lnTo>
                      <a:pt x="161" y="344"/>
                    </a:lnTo>
                    <a:lnTo>
                      <a:pt x="161" y="344"/>
                    </a:lnTo>
                    <a:lnTo>
                      <a:pt x="163" y="344"/>
                    </a:lnTo>
                    <a:lnTo>
                      <a:pt x="163" y="344"/>
                    </a:lnTo>
                    <a:lnTo>
                      <a:pt x="163" y="346"/>
                    </a:lnTo>
                    <a:lnTo>
                      <a:pt x="165" y="348"/>
                    </a:lnTo>
                    <a:lnTo>
                      <a:pt x="165" y="348"/>
                    </a:lnTo>
                    <a:lnTo>
                      <a:pt x="168" y="351"/>
                    </a:lnTo>
                    <a:lnTo>
                      <a:pt x="168" y="351"/>
                    </a:lnTo>
                    <a:lnTo>
                      <a:pt x="170" y="353"/>
                    </a:lnTo>
                    <a:lnTo>
                      <a:pt x="170" y="353"/>
                    </a:lnTo>
                    <a:lnTo>
                      <a:pt x="170" y="348"/>
                    </a:lnTo>
                    <a:lnTo>
                      <a:pt x="170" y="341"/>
                    </a:lnTo>
                    <a:lnTo>
                      <a:pt x="173" y="334"/>
                    </a:lnTo>
                    <a:lnTo>
                      <a:pt x="173" y="327"/>
                    </a:lnTo>
                    <a:lnTo>
                      <a:pt x="175" y="320"/>
                    </a:lnTo>
                    <a:lnTo>
                      <a:pt x="175" y="313"/>
                    </a:lnTo>
                    <a:lnTo>
                      <a:pt x="175" y="306"/>
                    </a:lnTo>
                    <a:lnTo>
                      <a:pt x="177" y="301"/>
                    </a:lnTo>
                    <a:lnTo>
                      <a:pt x="177" y="299"/>
                    </a:lnTo>
                    <a:lnTo>
                      <a:pt x="177" y="294"/>
                    </a:lnTo>
                    <a:lnTo>
                      <a:pt x="177" y="289"/>
                    </a:lnTo>
                    <a:lnTo>
                      <a:pt x="180" y="289"/>
                    </a:lnTo>
                    <a:lnTo>
                      <a:pt x="177" y="287"/>
                    </a:lnTo>
                    <a:lnTo>
                      <a:pt x="177" y="287"/>
                    </a:lnTo>
                    <a:lnTo>
                      <a:pt x="177" y="287"/>
                    </a:lnTo>
                    <a:lnTo>
                      <a:pt x="177" y="284"/>
                    </a:lnTo>
                    <a:lnTo>
                      <a:pt x="177" y="284"/>
                    </a:lnTo>
                    <a:lnTo>
                      <a:pt x="177" y="284"/>
                    </a:lnTo>
                    <a:lnTo>
                      <a:pt x="177" y="282"/>
                    </a:lnTo>
                    <a:lnTo>
                      <a:pt x="175" y="282"/>
                    </a:lnTo>
                    <a:lnTo>
                      <a:pt x="175" y="282"/>
                    </a:lnTo>
                    <a:lnTo>
                      <a:pt x="175" y="282"/>
                    </a:lnTo>
                    <a:lnTo>
                      <a:pt x="175" y="280"/>
                    </a:lnTo>
                    <a:lnTo>
                      <a:pt x="175" y="280"/>
                    </a:lnTo>
                    <a:lnTo>
                      <a:pt x="175" y="277"/>
                    </a:lnTo>
                    <a:lnTo>
                      <a:pt x="175" y="277"/>
                    </a:lnTo>
                    <a:lnTo>
                      <a:pt x="175" y="277"/>
                    </a:lnTo>
                    <a:lnTo>
                      <a:pt x="175" y="275"/>
                    </a:lnTo>
                    <a:lnTo>
                      <a:pt x="175" y="275"/>
                    </a:lnTo>
                    <a:lnTo>
                      <a:pt x="175" y="275"/>
                    </a:lnTo>
                    <a:lnTo>
                      <a:pt x="173" y="272"/>
                    </a:lnTo>
                    <a:lnTo>
                      <a:pt x="173" y="272"/>
                    </a:lnTo>
                    <a:lnTo>
                      <a:pt x="170" y="270"/>
                    </a:lnTo>
                    <a:lnTo>
                      <a:pt x="168" y="270"/>
                    </a:lnTo>
                    <a:lnTo>
                      <a:pt x="165" y="268"/>
                    </a:lnTo>
                    <a:lnTo>
                      <a:pt x="165" y="265"/>
                    </a:lnTo>
                    <a:lnTo>
                      <a:pt x="165" y="263"/>
                    </a:lnTo>
                    <a:lnTo>
                      <a:pt x="165" y="258"/>
                    </a:lnTo>
                    <a:lnTo>
                      <a:pt x="165" y="254"/>
                    </a:lnTo>
                    <a:lnTo>
                      <a:pt x="165" y="251"/>
                    </a:lnTo>
                    <a:lnTo>
                      <a:pt x="168" y="251"/>
                    </a:lnTo>
                    <a:lnTo>
                      <a:pt x="168" y="251"/>
                    </a:lnTo>
                    <a:lnTo>
                      <a:pt x="170" y="251"/>
                    </a:lnTo>
                    <a:lnTo>
                      <a:pt x="170" y="251"/>
                    </a:lnTo>
                    <a:lnTo>
                      <a:pt x="173" y="249"/>
                    </a:lnTo>
                    <a:lnTo>
                      <a:pt x="173" y="249"/>
                    </a:lnTo>
                    <a:lnTo>
                      <a:pt x="173" y="249"/>
                    </a:lnTo>
                    <a:lnTo>
                      <a:pt x="175" y="249"/>
                    </a:lnTo>
                    <a:lnTo>
                      <a:pt x="175" y="249"/>
                    </a:lnTo>
                    <a:lnTo>
                      <a:pt x="175" y="249"/>
                    </a:lnTo>
                    <a:lnTo>
                      <a:pt x="175" y="249"/>
                    </a:lnTo>
                    <a:lnTo>
                      <a:pt x="177" y="249"/>
                    </a:lnTo>
                    <a:lnTo>
                      <a:pt x="177" y="249"/>
                    </a:lnTo>
                    <a:lnTo>
                      <a:pt x="180" y="249"/>
                    </a:lnTo>
                    <a:lnTo>
                      <a:pt x="180" y="249"/>
                    </a:lnTo>
                    <a:lnTo>
                      <a:pt x="180" y="249"/>
                    </a:lnTo>
                    <a:lnTo>
                      <a:pt x="180" y="249"/>
                    </a:lnTo>
                    <a:lnTo>
                      <a:pt x="180" y="249"/>
                    </a:lnTo>
                    <a:lnTo>
                      <a:pt x="182" y="249"/>
                    </a:lnTo>
                    <a:lnTo>
                      <a:pt x="182" y="249"/>
                    </a:lnTo>
                    <a:lnTo>
                      <a:pt x="182" y="249"/>
                    </a:lnTo>
                    <a:lnTo>
                      <a:pt x="182" y="249"/>
                    </a:lnTo>
                    <a:lnTo>
                      <a:pt x="182" y="249"/>
                    </a:lnTo>
                    <a:lnTo>
                      <a:pt x="182" y="249"/>
                    </a:lnTo>
                    <a:lnTo>
                      <a:pt x="182" y="249"/>
                    </a:lnTo>
                    <a:lnTo>
                      <a:pt x="182" y="246"/>
                    </a:lnTo>
                    <a:lnTo>
                      <a:pt x="182" y="246"/>
                    </a:lnTo>
                    <a:lnTo>
                      <a:pt x="182" y="244"/>
                    </a:lnTo>
                    <a:lnTo>
                      <a:pt x="182" y="244"/>
                    </a:lnTo>
                    <a:lnTo>
                      <a:pt x="182" y="242"/>
                    </a:lnTo>
                    <a:lnTo>
                      <a:pt x="182" y="242"/>
                    </a:lnTo>
                    <a:lnTo>
                      <a:pt x="180" y="242"/>
                    </a:lnTo>
                    <a:lnTo>
                      <a:pt x="180" y="242"/>
                    </a:lnTo>
                    <a:lnTo>
                      <a:pt x="177" y="242"/>
                    </a:lnTo>
                    <a:lnTo>
                      <a:pt x="177" y="242"/>
                    </a:lnTo>
                    <a:lnTo>
                      <a:pt x="177" y="242"/>
                    </a:lnTo>
                    <a:lnTo>
                      <a:pt x="177" y="242"/>
                    </a:lnTo>
                    <a:lnTo>
                      <a:pt x="175" y="242"/>
                    </a:lnTo>
                    <a:lnTo>
                      <a:pt x="175" y="239"/>
                    </a:lnTo>
                    <a:lnTo>
                      <a:pt x="173" y="242"/>
                    </a:lnTo>
                    <a:lnTo>
                      <a:pt x="173" y="239"/>
                    </a:lnTo>
                    <a:lnTo>
                      <a:pt x="170" y="239"/>
                    </a:lnTo>
                    <a:lnTo>
                      <a:pt x="170" y="242"/>
                    </a:lnTo>
                    <a:lnTo>
                      <a:pt x="170" y="235"/>
                    </a:lnTo>
                    <a:lnTo>
                      <a:pt x="170" y="230"/>
                    </a:lnTo>
                    <a:lnTo>
                      <a:pt x="170" y="228"/>
                    </a:lnTo>
                    <a:lnTo>
                      <a:pt x="170" y="228"/>
                    </a:lnTo>
                    <a:lnTo>
                      <a:pt x="173" y="228"/>
                    </a:lnTo>
                    <a:lnTo>
                      <a:pt x="175" y="225"/>
                    </a:lnTo>
                    <a:lnTo>
                      <a:pt x="175" y="225"/>
                    </a:lnTo>
                    <a:lnTo>
                      <a:pt x="175" y="225"/>
                    </a:lnTo>
                    <a:lnTo>
                      <a:pt x="177" y="225"/>
                    </a:lnTo>
                    <a:lnTo>
                      <a:pt x="180" y="228"/>
                    </a:lnTo>
                    <a:lnTo>
                      <a:pt x="180" y="228"/>
                    </a:lnTo>
                    <a:lnTo>
                      <a:pt x="184" y="228"/>
                    </a:lnTo>
                    <a:lnTo>
                      <a:pt x="187" y="228"/>
                    </a:lnTo>
                    <a:lnTo>
                      <a:pt x="192" y="228"/>
                    </a:lnTo>
                    <a:lnTo>
                      <a:pt x="196" y="228"/>
                    </a:lnTo>
                    <a:lnTo>
                      <a:pt x="201" y="228"/>
                    </a:lnTo>
                    <a:lnTo>
                      <a:pt x="201" y="228"/>
                    </a:lnTo>
                    <a:lnTo>
                      <a:pt x="201" y="225"/>
                    </a:lnTo>
                    <a:lnTo>
                      <a:pt x="201" y="225"/>
                    </a:lnTo>
                    <a:lnTo>
                      <a:pt x="201" y="223"/>
                    </a:lnTo>
                    <a:lnTo>
                      <a:pt x="201" y="223"/>
                    </a:lnTo>
                    <a:lnTo>
                      <a:pt x="201" y="220"/>
                    </a:lnTo>
                    <a:lnTo>
                      <a:pt x="203" y="223"/>
                    </a:lnTo>
                    <a:lnTo>
                      <a:pt x="203" y="223"/>
                    </a:lnTo>
                    <a:lnTo>
                      <a:pt x="203" y="225"/>
                    </a:lnTo>
                    <a:lnTo>
                      <a:pt x="206" y="225"/>
                    </a:lnTo>
                    <a:lnTo>
                      <a:pt x="206" y="225"/>
                    </a:lnTo>
                    <a:lnTo>
                      <a:pt x="208" y="225"/>
                    </a:lnTo>
                    <a:lnTo>
                      <a:pt x="208" y="225"/>
                    </a:lnTo>
                    <a:lnTo>
                      <a:pt x="210" y="223"/>
                    </a:lnTo>
                    <a:lnTo>
                      <a:pt x="213" y="220"/>
                    </a:lnTo>
                    <a:lnTo>
                      <a:pt x="213" y="220"/>
                    </a:lnTo>
                    <a:lnTo>
                      <a:pt x="215" y="218"/>
                    </a:lnTo>
                    <a:lnTo>
                      <a:pt x="215" y="218"/>
                    </a:lnTo>
                    <a:lnTo>
                      <a:pt x="215" y="218"/>
                    </a:lnTo>
                    <a:lnTo>
                      <a:pt x="218" y="218"/>
                    </a:lnTo>
                    <a:lnTo>
                      <a:pt x="218" y="220"/>
                    </a:lnTo>
                    <a:lnTo>
                      <a:pt x="220" y="225"/>
                    </a:lnTo>
                    <a:lnTo>
                      <a:pt x="222" y="228"/>
                    </a:lnTo>
                    <a:lnTo>
                      <a:pt x="222" y="230"/>
                    </a:lnTo>
                    <a:lnTo>
                      <a:pt x="222" y="235"/>
                    </a:lnTo>
                    <a:lnTo>
                      <a:pt x="222" y="237"/>
                    </a:lnTo>
                    <a:lnTo>
                      <a:pt x="222" y="237"/>
                    </a:lnTo>
                    <a:lnTo>
                      <a:pt x="222" y="239"/>
                    </a:lnTo>
                    <a:lnTo>
                      <a:pt x="225" y="237"/>
                    </a:lnTo>
                    <a:lnTo>
                      <a:pt x="225" y="237"/>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182"/>
              <p:cNvSpPr>
                <a:spLocks noEditPoints="1"/>
              </p:cNvSpPr>
              <p:nvPr/>
            </p:nvSpPr>
            <p:spPr bwMode="auto">
              <a:xfrm>
                <a:off x="4033" y="1675"/>
                <a:ext cx="961" cy="739"/>
              </a:xfrm>
              <a:custGeom>
                <a:avLst/>
                <a:gdLst>
                  <a:gd name="T0" fmla="*/ 722 w 961"/>
                  <a:gd name="T1" fmla="*/ 737 h 739"/>
                  <a:gd name="T2" fmla="*/ 743 w 961"/>
                  <a:gd name="T3" fmla="*/ 680 h 739"/>
                  <a:gd name="T4" fmla="*/ 894 w 961"/>
                  <a:gd name="T5" fmla="*/ 583 h 739"/>
                  <a:gd name="T6" fmla="*/ 916 w 961"/>
                  <a:gd name="T7" fmla="*/ 490 h 739"/>
                  <a:gd name="T8" fmla="*/ 958 w 961"/>
                  <a:gd name="T9" fmla="*/ 145 h 739"/>
                  <a:gd name="T10" fmla="*/ 925 w 961"/>
                  <a:gd name="T11" fmla="*/ 112 h 739"/>
                  <a:gd name="T12" fmla="*/ 847 w 961"/>
                  <a:gd name="T13" fmla="*/ 86 h 739"/>
                  <a:gd name="T14" fmla="*/ 778 w 961"/>
                  <a:gd name="T15" fmla="*/ 43 h 739"/>
                  <a:gd name="T16" fmla="*/ 724 w 961"/>
                  <a:gd name="T17" fmla="*/ 7 h 739"/>
                  <a:gd name="T18" fmla="*/ 670 w 961"/>
                  <a:gd name="T19" fmla="*/ 26 h 739"/>
                  <a:gd name="T20" fmla="*/ 636 w 961"/>
                  <a:gd name="T21" fmla="*/ 95 h 739"/>
                  <a:gd name="T22" fmla="*/ 693 w 961"/>
                  <a:gd name="T23" fmla="*/ 119 h 739"/>
                  <a:gd name="T24" fmla="*/ 691 w 961"/>
                  <a:gd name="T25" fmla="*/ 145 h 739"/>
                  <a:gd name="T26" fmla="*/ 648 w 961"/>
                  <a:gd name="T27" fmla="*/ 171 h 739"/>
                  <a:gd name="T28" fmla="*/ 622 w 961"/>
                  <a:gd name="T29" fmla="*/ 204 h 739"/>
                  <a:gd name="T30" fmla="*/ 544 w 961"/>
                  <a:gd name="T31" fmla="*/ 235 h 739"/>
                  <a:gd name="T32" fmla="*/ 376 w 961"/>
                  <a:gd name="T33" fmla="*/ 223 h 739"/>
                  <a:gd name="T34" fmla="*/ 267 w 961"/>
                  <a:gd name="T35" fmla="*/ 173 h 739"/>
                  <a:gd name="T36" fmla="*/ 227 w 961"/>
                  <a:gd name="T37" fmla="*/ 123 h 739"/>
                  <a:gd name="T38" fmla="*/ 175 w 961"/>
                  <a:gd name="T39" fmla="*/ 95 h 739"/>
                  <a:gd name="T40" fmla="*/ 152 w 961"/>
                  <a:gd name="T41" fmla="*/ 126 h 739"/>
                  <a:gd name="T42" fmla="*/ 116 w 961"/>
                  <a:gd name="T43" fmla="*/ 166 h 739"/>
                  <a:gd name="T44" fmla="*/ 85 w 961"/>
                  <a:gd name="T45" fmla="*/ 187 h 739"/>
                  <a:gd name="T46" fmla="*/ 92 w 961"/>
                  <a:gd name="T47" fmla="*/ 237 h 739"/>
                  <a:gd name="T48" fmla="*/ 28 w 961"/>
                  <a:gd name="T49" fmla="*/ 268 h 739"/>
                  <a:gd name="T50" fmla="*/ 5 w 961"/>
                  <a:gd name="T51" fmla="*/ 303 h 739"/>
                  <a:gd name="T52" fmla="*/ 28 w 961"/>
                  <a:gd name="T53" fmla="*/ 341 h 739"/>
                  <a:gd name="T54" fmla="*/ 88 w 961"/>
                  <a:gd name="T55" fmla="*/ 374 h 739"/>
                  <a:gd name="T56" fmla="*/ 128 w 961"/>
                  <a:gd name="T57" fmla="*/ 424 h 739"/>
                  <a:gd name="T58" fmla="*/ 128 w 961"/>
                  <a:gd name="T59" fmla="*/ 457 h 739"/>
                  <a:gd name="T60" fmla="*/ 180 w 961"/>
                  <a:gd name="T61" fmla="*/ 488 h 739"/>
                  <a:gd name="T62" fmla="*/ 258 w 961"/>
                  <a:gd name="T63" fmla="*/ 526 h 739"/>
                  <a:gd name="T64" fmla="*/ 317 w 961"/>
                  <a:gd name="T65" fmla="*/ 531 h 739"/>
                  <a:gd name="T66" fmla="*/ 367 w 961"/>
                  <a:gd name="T67" fmla="*/ 531 h 739"/>
                  <a:gd name="T68" fmla="*/ 416 w 961"/>
                  <a:gd name="T69" fmla="*/ 512 h 739"/>
                  <a:gd name="T70" fmla="*/ 457 w 961"/>
                  <a:gd name="T71" fmla="*/ 521 h 739"/>
                  <a:gd name="T72" fmla="*/ 497 w 961"/>
                  <a:gd name="T73" fmla="*/ 540 h 739"/>
                  <a:gd name="T74" fmla="*/ 495 w 961"/>
                  <a:gd name="T75" fmla="*/ 602 h 739"/>
                  <a:gd name="T76" fmla="*/ 535 w 961"/>
                  <a:gd name="T77" fmla="*/ 640 h 739"/>
                  <a:gd name="T78" fmla="*/ 568 w 961"/>
                  <a:gd name="T79" fmla="*/ 668 h 739"/>
                  <a:gd name="T80" fmla="*/ 582 w 961"/>
                  <a:gd name="T81" fmla="*/ 651 h 739"/>
                  <a:gd name="T82" fmla="*/ 625 w 961"/>
                  <a:gd name="T83" fmla="*/ 644 h 739"/>
                  <a:gd name="T84" fmla="*/ 665 w 961"/>
                  <a:gd name="T85" fmla="*/ 654 h 739"/>
                  <a:gd name="T86" fmla="*/ 705 w 961"/>
                  <a:gd name="T87" fmla="*/ 666 h 739"/>
                  <a:gd name="T88" fmla="*/ 733 w 961"/>
                  <a:gd name="T89" fmla="*/ 696 h 739"/>
                  <a:gd name="T90" fmla="*/ 767 w 961"/>
                  <a:gd name="T91" fmla="*/ 663 h 739"/>
                  <a:gd name="T92" fmla="*/ 788 w 961"/>
                  <a:gd name="T93" fmla="*/ 642 h 739"/>
                  <a:gd name="T94" fmla="*/ 828 w 961"/>
                  <a:gd name="T95" fmla="*/ 644 h 739"/>
                  <a:gd name="T96" fmla="*/ 866 w 961"/>
                  <a:gd name="T97" fmla="*/ 616 h 739"/>
                  <a:gd name="T98" fmla="*/ 890 w 961"/>
                  <a:gd name="T99" fmla="*/ 583 h 739"/>
                  <a:gd name="T100" fmla="*/ 897 w 961"/>
                  <a:gd name="T101" fmla="*/ 552 h 739"/>
                  <a:gd name="T102" fmla="*/ 913 w 961"/>
                  <a:gd name="T103" fmla="*/ 509 h 739"/>
                  <a:gd name="T104" fmla="*/ 894 w 961"/>
                  <a:gd name="T105" fmla="*/ 462 h 739"/>
                  <a:gd name="T106" fmla="*/ 856 w 961"/>
                  <a:gd name="T107" fmla="*/ 415 h 739"/>
                  <a:gd name="T108" fmla="*/ 840 w 961"/>
                  <a:gd name="T109" fmla="*/ 355 h 739"/>
                  <a:gd name="T110" fmla="*/ 842 w 961"/>
                  <a:gd name="T111" fmla="*/ 329 h 739"/>
                  <a:gd name="T112" fmla="*/ 778 w 961"/>
                  <a:gd name="T113" fmla="*/ 296 h 739"/>
                  <a:gd name="T114" fmla="*/ 823 w 961"/>
                  <a:gd name="T115" fmla="*/ 287 h 739"/>
                  <a:gd name="T116" fmla="*/ 859 w 961"/>
                  <a:gd name="T117" fmla="*/ 282 h 739"/>
                  <a:gd name="T118" fmla="*/ 892 w 961"/>
                  <a:gd name="T119" fmla="*/ 244 h 739"/>
                  <a:gd name="T120" fmla="*/ 927 w 961"/>
                  <a:gd name="T121" fmla="*/ 237 h 739"/>
                  <a:gd name="T122" fmla="*/ 944 w 961"/>
                  <a:gd name="T123" fmla="*/ 223 h 739"/>
                  <a:gd name="T124" fmla="*/ 937 w 961"/>
                  <a:gd name="T125" fmla="*/ 171 h 7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61" h="739">
                    <a:moveTo>
                      <a:pt x="755" y="706"/>
                    </a:moveTo>
                    <a:lnTo>
                      <a:pt x="752" y="704"/>
                    </a:lnTo>
                    <a:lnTo>
                      <a:pt x="752" y="704"/>
                    </a:lnTo>
                    <a:lnTo>
                      <a:pt x="750" y="701"/>
                    </a:lnTo>
                    <a:lnTo>
                      <a:pt x="750" y="701"/>
                    </a:lnTo>
                    <a:lnTo>
                      <a:pt x="748" y="699"/>
                    </a:lnTo>
                    <a:lnTo>
                      <a:pt x="748" y="699"/>
                    </a:lnTo>
                    <a:lnTo>
                      <a:pt x="745" y="701"/>
                    </a:lnTo>
                    <a:lnTo>
                      <a:pt x="745" y="701"/>
                    </a:lnTo>
                    <a:lnTo>
                      <a:pt x="745" y="704"/>
                    </a:lnTo>
                    <a:lnTo>
                      <a:pt x="743" y="701"/>
                    </a:lnTo>
                    <a:lnTo>
                      <a:pt x="743" y="701"/>
                    </a:lnTo>
                    <a:lnTo>
                      <a:pt x="743" y="701"/>
                    </a:lnTo>
                    <a:lnTo>
                      <a:pt x="743" y="704"/>
                    </a:lnTo>
                    <a:lnTo>
                      <a:pt x="741" y="701"/>
                    </a:lnTo>
                    <a:lnTo>
                      <a:pt x="738" y="701"/>
                    </a:lnTo>
                    <a:lnTo>
                      <a:pt x="738" y="701"/>
                    </a:lnTo>
                    <a:lnTo>
                      <a:pt x="736" y="704"/>
                    </a:lnTo>
                    <a:lnTo>
                      <a:pt x="733" y="704"/>
                    </a:lnTo>
                    <a:lnTo>
                      <a:pt x="729" y="704"/>
                    </a:lnTo>
                    <a:lnTo>
                      <a:pt x="729" y="704"/>
                    </a:lnTo>
                    <a:lnTo>
                      <a:pt x="726" y="704"/>
                    </a:lnTo>
                    <a:lnTo>
                      <a:pt x="724" y="704"/>
                    </a:lnTo>
                    <a:lnTo>
                      <a:pt x="724" y="704"/>
                    </a:lnTo>
                    <a:lnTo>
                      <a:pt x="722" y="706"/>
                    </a:lnTo>
                    <a:lnTo>
                      <a:pt x="722" y="706"/>
                    </a:lnTo>
                    <a:lnTo>
                      <a:pt x="722" y="708"/>
                    </a:lnTo>
                    <a:lnTo>
                      <a:pt x="722" y="708"/>
                    </a:lnTo>
                    <a:lnTo>
                      <a:pt x="724" y="708"/>
                    </a:lnTo>
                    <a:lnTo>
                      <a:pt x="722" y="708"/>
                    </a:lnTo>
                    <a:lnTo>
                      <a:pt x="719" y="711"/>
                    </a:lnTo>
                    <a:lnTo>
                      <a:pt x="717" y="713"/>
                    </a:lnTo>
                    <a:lnTo>
                      <a:pt x="715" y="715"/>
                    </a:lnTo>
                    <a:lnTo>
                      <a:pt x="715" y="715"/>
                    </a:lnTo>
                    <a:lnTo>
                      <a:pt x="712" y="718"/>
                    </a:lnTo>
                    <a:lnTo>
                      <a:pt x="712" y="718"/>
                    </a:lnTo>
                    <a:lnTo>
                      <a:pt x="715" y="725"/>
                    </a:lnTo>
                    <a:lnTo>
                      <a:pt x="715" y="727"/>
                    </a:lnTo>
                    <a:lnTo>
                      <a:pt x="715" y="730"/>
                    </a:lnTo>
                    <a:lnTo>
                      <a:pt x="717" y="734"/>
                    </a:lnTo>
                    <a:lnTo>
                      <a:pt x="722" y="737"/>
                    </a:lnTo>
                    <a:lnTo>
                      <a:pt x="722" y="737"/>
                    </a:lnTo>
                    <a:lnTo>
                      <a:pt x="726" y="737"/>
                    </a:lnTo>
                    <a:lnTo>
                      <a:pt x="729" y="739"/>
                    </a:lnTo>
                    <a:lnTo>
                      <a:pt x="729" y="739"/>
                    </a:lnTo>
                    <a:lnTo>
                      <a:pt x="731" y="739"/>
                    </a:lnTo>
                    <a:lnTo>
                      <a:pt x="733" y="739"/>
                    </a:lnTo>
                    <a:lnTo>
                      <a:pt x="736" y="739"/>
                    </a:lnTo>
                    <a:lnTo>
                      <a:pt x="736" y="739"/>
                    </a:lnTo>
                    <a:lnTo>
                      <a:pt x="736" y="737"/>
                    </a:lnTo>
                    <a:lnTo>
                      <a:pt x="736" y="737"/>
                    </a:lnTo>
                    <a:lnTo>
                      <a:pt x="741" y="737"/>
                    </a:lnTo>
                    <a:lnTo>
                      <a:pt x="741" y="737"/>
                    </a:lnTo>
                    <a:lnTo>
                      <a:pt x="741" y="734"/>
                    </a:lnTo>
                    <a:lnTo>
                      <a:pt x="741" y="734"/>
                    </a:lnTo>
                    <a:lnTo>
                      <a:pt x="741" y="734"/>
                    </a:lnTo>
                    <a:lnTo>
                      <a:pt x="743" y="732"/>
                    </a:lnTo>
                    <a:lnTo>
                      <a:pt x="745" y="730"/>
                    </a:lnTo>
                    <a:lnTo>
                      <a:pt x="745" y="730"/>
                    </a:lnTo>
                    <a:lnTo>
                      <a:pt x="745" y="730"/>
                    </a:lnTo>
                    <a:lnTo>
                      <a:pt x="748" y="730"/>
                    </a:lnTo>
                    <a:lnTo>
                      <a:pt x="748" y="730"/>
                    </a:lnTo>
                    <a:lnTo>
                      <a:pt x="748" y="727"/>
                    </a:lnTo>
                    <a:lnTo>
                      <a:pt x="748" y="725"/>
                    </a:lnTo>
                    <a:lnTo>
                      <a:pt x="748" y="722"/>
                    </a:lnTo>
                    <a:lnTo>
                      <a:pt x="748" y="720"/>
                    </a:lnTo>
                    <a:lnTo>
                      <a:pt x="748" y="720"/>
                    </a:lnTo>
                    <a:lnTo>
                      <a:pt x="750" y="720"/>
                    </a:lnTo>
                    <a:lnTo>
                      <a:pt x="750" y="718"/>
                    </a:lnTo>
                    <a:lnTo>
                      <a:pt x="752" y="711"/>
                    </a:lnTo>
                    <a:lnTo>
                      <a:pt x="752" y="711"/>
                    </a:lnTo>
                    <a:lnTo>
                      <a:pt x="755" y="711"/>
                    </a:lnTo>
                    <a:lnTo>
                      <a:pt x="755" y="708"/>
                    </a:lnTo>
                    <a:lnTo>
                      <a:pt x="755" y="706"/>
                    </a:lnTo>
                    <a:close/>
                    <a:moveTo>
                      <a:pt x="741" y="680"/>
                    </a:moveTo>
                    <a:lnTo>
                      <a:pt x="738" y="680"/>
                    </a:lnTo>
                    <a:lnTo>
                      <a:pt x="738" y="680"/>
                    </a:lnTo>
                    <a:lnTo>
                      <a:pt x="738" y="680"/>
                    </a:lnTo>
                    <a:lnTo>
                      <a:pt x="738" y="682"/>
                    </a:lnTo>
                    <a:lnTo>
                      <a:pt x="738" y="682"/>
                    </a:lnTo>
                    <a:lnTo>
                      <a:pt x="741" y="680"/>
                    </a:lnTo>
                    <a:lnTo>
                      <a:pt x="741" y="682"/>
                    </a:lnTo>
                    <a:lnTo>
                      <a:pt x="743" y="680"/>
                    </a:lnTo>
                    <a:lnTo>
                      <a:pt x="743" y="680"/>
                    </a:lnTo>
                    <a:lnTo>
                      <a:pt x="741" y="680"/>
                    </a:lnTo>
                    <a:lnTo>
                      <a:pt x="741" y="680"/>
                    </a:lnTo>
                    <a:close/>
                    <a:moveTo>
                      <a:pt x="776" y="668"/>
                    </a:moveTo>
                    <a:lnTo>
                      <a:pt x="776" y="668"/>
                    </a:lnTo>
                    <a:lnTo>
                      <a:pt x="776" y="668"/>
                    </a:lnTo>
                    <a:lnTo>
                      <a:pt x="778" y="668"/>
                    </a:lnTo>
                    <a:lnTo>
                      <a:pt x="778" y="666"/>
                    </a:lnTo>
                    <a:lnTo>
                      <a:pt x="776" y="668"/>
                    </a:lnTo>
                    <a:close/>
                    <a:moveTo>
                      <a:pt x="781" y="666"/>
                    </a:moveTo>
                    <a:lnTo>
                      <a:pt x="781" y="666"/>
                    </a:lnTo>
                    <a:lnTo>
                      <a:pt x="781" y="666"/>
                    </a:lnTo>
                    <a:lnTo>
                      <a:pt x="781" y="668"/>
                    </a:lnTo>
                    <a:lnTo>
                      <a:pt x="781" y="668"/>
                    </a:lnTo>
                    <a:lnTo>
                      <a:pt x="781" y="668"/>
                    </a:lnTo>
                    <a:lnTo>
                      <a:pt x="781" y="668"/>
                    </a:lnTo>
                    <a:lnTo>
                      <a:pt x="781" y="666"/>
                    </a:lnTo>
                    <a:lnTo>
                      <a:pt x="781" y="666"/>
                    </a:lnTo>
                    <a:lnTo>
                      <a:pt x="783" y="666"/>
                    </a:lnTo>
                    <a:lnTo>
                      <a:pt x="781" y="666"/>
                    </a:lnTo>
                    <a:lnTo>
                      <a:pt x="781" y="666"/>
                    </a:lnTo>
                    <a:close/>
                    <a:moveTo>
                      <a:pt x="790" y="642"/>
                    </a:moveTo>
                    <a:lnTo>
                      <a:pt x="790" y="642"/>
                    </a:lnTo>
                    <a:lnTo>
                      <a:pt x="788" y="642"/>
                    </a:lnTo>
                    <a:lnTo>
                      <a:pt x="788" y="642"/>
                    </a:lnTo>
                    <a:lnTo>
                      <a:pt x="790" y="642"/>
                    </a:lnTo>
                    <a:lnTo>
                      <a:pt x="790" y="642"/>
                    </a:lnTo>
                    <a:lnTo>
                      <a:pt x="793" y="644"/>
                    </a:lnTo>
                    <a:lnTo>
                      <a:pt x="790" y="642"/>
                    </a:lnTo>
                    <a:lnTo>
                      <a:pt x="790" y="642"/>
                    </a:lnTo>
                    <a:close/>
                    <a:moveTo>
                      <a:pt x="868" y="606"/>
                    </a:moveTo>
                    <a:lnTo>
                      <a:pt x="868" y="606"/>
                    </a:lnTo>
                    <a:lnTo>
                      <a:pt x="868" y="606"/>
                    </a:lnTo>
                    <a:lnTo>
                      <a:pt x="868" y="606"/>
                    </a:lnTo>
                    <a:lnTo>
                      <a:pt x="868" y="609"/>
                    </a:lnTo>
                    <a:lnTo>
                      <a:pt x="868" y="609"/>
                    </a:lnTo>
                    <a:lnTo>
                      <a:pt x="868" y="606"/>
                    </a:lnTo>
                    <a:lnTo>
                      <a:pt x="868" y="606"/>
                    </a:lnTo>
                    <a:lnTo>
                      <a:pt x="868" y="606"/>
                    </a:lnTo>
                    <a:close/>
                    <a:moveTo>
                      <a:pt x="894" y="585"/>
                    </a:moveTo>
                    <a:lnTo>
                      <a:pt x="894" y="585"/>
                    </a:lnTo>
                    <a:lnTo>
                      <a:pt x="894" y="583"/>
                    </a:lnTo>
                    <a:lnTo>
                      <a:pt x="894" y="583"/>
                    </a:lnTo>
                    <a:lnTo>
                      <a:pt x="892" y="583"/>
                    </a:lnTo>
                    <a:lnTo>
                      <a:pt x="892" y="583"/>
                    </a:lnTo>
                    <a:lnTo>
                      <a:pt x="892" y="585"/>
                    </a:lnTo>
                    <a:lnTo>
                      <a:pt x="892" y="585"/>
                    </a:lnTo>
                    <a:lnTo>
                      <a:pt x="892" y="585"/>
                    </a:lnTo>
                    <a:lnTo>
                      <a:pt x="892" y="588"/>
                    </a:lnTo>
                    <a:lnTo>
                      <a:pt x="894" y="588"/>
                    </a:lnTo>
                    <a:lnTo>
                      <a:pt x="894" y="588"/>
                    </a:lnTo>
                    <a:lnTo>
                      <a:pt x="894" y="588"/>
                    </a:lnTo>
                    <a:lnTo>
                      <a:pt x="894" y="585"/>
                    </a:lnTo>
                    <a:lnTo>
                      <a:pt x="894" y="585"/>
                    </a:lnTo>
                    <a:close/>
                    <a:moveTo>
                      <a:pt x="906" y="528"/>
                    </a:moveTo>
                    <a:lnTo>
                      <a:pt x="906" y="528"/>
                    </a:lnTo>
                    <a:lnTo>
                      <a:pt x="904" y="531"/>
                    </a:lnTo>
                    <a:lnTo>
                      <a:pt x="906" y="531"/>
                    </a:lnTo>
                    <a:lnTo>
                      <a:pt x="906" y="531"/>
                    </a:lnTo>
                    <a:lnTo>
                      <a:pt x="906" y="531"/>
                    </a:lnTo>
                    <a:lnTo>
                      <a:pt x="906" y="531"/>
                    </a:lnTo>
                    <a:lnTo>
                      <a:pt x="906" y="528"/>
                    </a:lnTo>
                    <a:close/>
                    <a:moveTo>
                      <a:pt x="913" y="495"/>
                    </a:moveTo>
                    <a:lnTo>
                      <a:pt x="911" y="495"/>
                    </a:lnTo>
                    <a:lnTo>
                      <a:pt x="911" y="498"/>
                    </a:lnTo>
                    <a:lnTo>
                      <a:pt x="913" y="498"/>
                    </a:lnTo>
                    <a:lnTo>
                      <a:pt x="916" y="498"/>
                    </a:lnTo>
                    <a:lnTo>
                      <a:pt x="916" y="498"/>
                    </a:lnTo>
                    <a:lnTo>
                      <a:pt x="913" y="498"/>
                    </a:lnTo>
                    <a:lnTo>
                      <a:pt x="913" y="495"/>
                    </a:lnTo>
                    <a:close/>
                    <a:moveTo>
                      <a:pt x="918" y="493"/>
                    </a:moveTo>
                    <a:lnTo>
                      <a:pt x="916" y="493"/>
                    </a:lnTo>
                    <a:lnTo>
                      <a:pt x="916" y="493"/>
                    </a:lnTo>
                    <a:lnTo>
                      <a:pt x="918" y="493"/>
                    </a:lnTo>
                    <a:lnTo>
                      <a:pt x="918" y="495"/>
                    </a:lnTo>
                    <a:lnTo>
                      <a:pt x="918" y="493"/>
                    </a:lnTo>
                    <a:lnTo>
                      <a:pt x="918" y="493"/>
                    </a:lnTo>
                    <a:close/>
                    <a:moveTo>
                      <a:pt x="911" y="488"/>
                    </a:moveTo>
                    <a:lnTo>
                      <a:pt x="908" y="488"/>
                    </a:lnTo>
                    <a:lnTo>
                      <a:pt x="908" y="490"/>
                    </a:lnTo>
                    <a:lnTo>
                      <a:pt x="911" y="490"/>
                    </a:lnTo>
                    <a:lnTo>
                      <a:pt x="913" y="490"/>
                    </a:lnTo>
                    <a:lnTo>
                      <a:pt x="916" y="493"/>
                    </a:lnTo>
                    <a:lnTo>
                      <a:pt x="916" y="493"/>
                    </a:lnTo>
                    <a:lnTo>
                      <a:pt x="916" y="490"/>
                    </a:lnTo>
                    <a:lnTo>
                      <a:pt x="913" y="490"/>
                    </a:lnTo>
                    <a:lnTo>
                      <a:pt x="911" y="488"/>
                    </a:lnTo>
                    <a:close/>
                    <a:moveTo>
                      <a:pt x="892" y="457"/>
                    </a:moveTo>
                    <a:lnTo>
                      <a:pt x="890" y="455"/>
                    </a:lnTo>
                    <a:lnTo>
                      <a:pt x="890" y="455"/>
                    </a:lnTo>
                    <a:lnTo>
                      <a:pt x="887" y="455"/>
                    </a:lnTo>
                    <a:lnTo>
                      <a:pt x="885" y="453"/>
                    </a:lnTo>
                    <a:lnTo>
                      <a:pt x="882" y="453"/>
                    </a:lnTo>
                    <a:lnTo>
                      <a:pt x="885" y="455"/>
                    </a:lnTo>
                    <a:lnTo>
                      <a:pt x="887" y="457"/>
                    </a:lnTo>
                    <a:lnTo>
                      <a:pt x="890" y="457"/>
                    </a:lnTo>
                    <a:lnTo>
                      <a:pt x="897" y="460"/>
                    </a:lnTo>
                    <a:lnTo>
                      <a:pt x="897" y="460"/>
                    </a:lnTo>
                    <a:lnTo>
                      <a:pt x="897" y="460"/>
                    </a:lnTo>
                    <a:lnTo>
                      <a:pt x="897" y="457"/>
                    </a:lnTo>
                    <a:lnTo>
                      <a:pt x="892" y="457"/>
                    </a:lnTo>
                    <a:close/>
                    <a:moveTo>
                      <a:pt x="961" y="171"/>
                    </a:moveTo>
                    <a:lnTo>
                      <a:pt x="958" y="168"/>
                    </a:lnTo>
                    <a:lnTo>
                      <a:pt x="958" y="166"/>
                    </a:lnTo>
                    <a:lnTo>
                      <a:pt x="958" y="164"/>
                    </a:lnTo>
                    <a:lnTo>
                      <a:pt x="961" y="164"/>
                    </a:lnTo>
                    <a:lnTo>
                      <a:pt x="961" y="164"/>
                    </a:lnTo>
                    <a:lnTo>
                      <a:pt x="961" y="164"/>
                    </a:lnTo>
                    <a:lnTo>
                      <a:pt x="961" y="161"/>
                    </a:lnTo>
                    <a:lnTo>
                      <a:pt x="961" y="161"/>
                    </a:lnTo>
                    <a:lnTo>
                      <a:pt x="961" y="159"/>
                    </a:lnTo>
                    <a:lnTo>
                      <a:pt x="958" y="159"/>
                    </a:lnTo>
                    <a:lnTo>
                      <a:pt x="958" y="157"/>
                    </a:lnTo>
                    <a:lnTo>
                      <a:pt x="958" y="157"/>
                    </a:lnTo>
                    <a:lnTo>
                      <a:pt x="961" y="157"/>
                    </a:lnTo>
                    <a:lnTo>
                      <a:pt x="961" y="157"/>
                    </a:lnTo>
                    <a:lnTo>
                      <a:pt x="961" y="154"/>
                    </a:lnTo>
                    <a:lnTo>
                      <a:pt x="961" y="154"/>
                    </a:lnTo>
                    <a:lnTo>
                      <a:pt x="958" y="152"/>
                    </a:lnTo>
                    <a:lnTo>
                      <a:pt x="958" y="152"/>
                    </a:lnTo>
                    <a:lnTo>
                      <a:pt x="961" y="149"/>
                    </a:lnTo>
                    <a:lnTo>
                      <a:pt x="961" y="149"/>
                    </a:lnTo>
                    <a:lnTo>
                      <a:pt x="961" y="149"/>
                    </a:lnTo>
                    <a:lnTo>
                      <a:pt x="958" y="147"/>
                    </a:lnTo>
                    <a:lnTo>
                      <a:pt x="958" y="147"/>
                    </a:lnTo>
                    <a:lnTo>
                      <a:pt x="958" y="145"/>
                    </a:lnTo>
                    <a:lnTo>
                      <a:pt x="958" y="145"/>
                    </a:lnTo>
                    <a:lnTo>
                      <a:pt x="958" y="142"/>
                    </a:lnTo>
                    <a:lnTo>
                      <a:pt x="956" y="140"/>
                    </a:lnTo>
                    <a:lnTo>
                      <a:pt x="956" y="138"/>
                    </a:lnTo>
                    <a:lnTo>
                      <a:pt x="956" y="138"/>
                    </a:lnTo>
                    <a:lnTo>
                      <a:pt x="956" y="135"/>
                    </a:lnTo>
                    <a:lnTo>
                      <a:pt x="953" y="135"/>
                    </a:lnTo>
                    <a:lnTo>
                      <a:pt x="953" y="133"/>
                    </a:lnTo>
                    <a:lnTo>
                      <a:pt x="953" y="131"/>
                    </a:lnTo>
                    <a:lnTo>
                      <a:pt x="953" y="131"/>
                    </a:lnTo>
                    <a:lnTo>
                      <a:pt x="953" y="128"/>
                    </a:lnTo>
                    <a:lnTo>
                      <a:pt x="951" y="128"/>
                    </a:lnTo>
                    <a:lnTo>
                      <a:pt x="951" y="126"/>
                    </a:lnTo>
                    <a:lnTo>
                      <a:pt x="953" y="126"/>
                    </a:lnTo>
                    <a:lnTo>
                      <a:pt x="953" y="126"/>
                    </a:lnTo>
                    <a:lnTo>
                      <a:pt x="953" y="126"/>
                    </a:lnTo>
                    <a:lnTo>
                      <a:pt x="953" y="126"/>
                    </a:lnTo>
                    <a:lnTo>
                      <a:pt x="956" y="126"/>
                    </a:lnTo>
                    <a:lnTo>
                      <a:pt x="956" y="123"/>
                    </a:lnTo>
                    <a:lnTo>
                      <a:pt x="956" y="123"/>
                    </a:lnTo>
                    <a:lnTo>
                      <a:pt x="956" y="121"/>
                    </a:lnTo>
                    <a:lnTo>
                      <a:pt x="956" y="121"/>
                    </a:lnTo>
                    <a:lnTo>
                      <a:pt x="956" y="119"/>
                    </a:lnTo>
                    <a:lnTo>
                      <a:pt x="953" y="116"/>
                    </a:lnTo>
                    <a:lnTo>
                      <a:pt x="953" y="116"/>
                    </a:lnTo>
                    <a:lnTo>
                      <a:pt x="951" y="114"/>
                    </a:lnTo>
                    <a:lnTo>
                      <a:pt x="949" y="114"/>
                    </a:lnTo>
                    <a:lnTo>
                      <a:pt x="949" y="112"/>
                    </a:lnTo>
                    <a:lnTo>
                      <a:pt x="949" y="112"/>
                    </a:lnTo>
                    <a:lnTo>
                      <a:pt x="949" y="109"/>
                    </a:lnTo>
                    <a:lnTo>
                      <a:pt x="949" y="109"/>
                    </a:lnTo>
                    <a:lnTo>
                      <a:pt x="949" y="109"/>
                    </a:lnTo>
                    <a:lnTo>
                      <a:pt x="944" y="107"/>
                    </a:lnTo>
                    <a:lnTo>
                      <a:pt x="942" y="107"/>
                    </a:lnTo>
                    <a:lnTo>
                      <a:pt x="942" y="107"/>
                    </a:lnTo>
                    <a:lnTo>
                      <a:pt x="939" y="104"/>
                    </a:lnTo>
                    <a:lnTo>
                      <a:pt x="939" y="107"/>
                    </a:lnTo>
                    <a:lnTo>
                      <a:pt x="934" y="107"/>
                    </a:lnTo>
                    <a:lnTo>
                      <a:pt x="932" y="109"/>
                    </a:lnTo>
                    <a:lnTo>
                      <a:pt x="932" y="112"/>
                    </a:lnTo>
                    <a:lnTo>
                      <a:pt x="930" y="112"/>
                    </a:lnTo>
                    <a:lnTo>
                      <a:pt x="927" y="112"/>
                    </a:lnTo>
                    <a:lnTo>
                      <a:pt x="925" y="112"/>
                    </a:lnTo>
                    <a:lnTo>
                      <a:pt x="923" y="112"/>
                    </a:lnTo>
                    <a:lnTo>
                      <a:pt x="923" y="114"/>
                    </a:lnTo>
                    <a:lnTo>
                      <a:pt x="920" y="114"/>
                    </a:lnTo>
                    <a:lnTo>
                      <a:pt x="920" y="114"/>
                    </a:lnTo>
                    <a:lnTo>
                      <a:pt x="918" y="116"/>
                    </a:lnTo>
                    <a:lnTo>
                      <a:pt x="920" y="119"/>
                    </a:lnTo>
                    <a:lnTo>
                      <a:pt x="918" y="119"/>
                    </a:lnTo>
                    <a:lnTo>
                      <a:pt x="918" y="119"/>
                    </a:lnTo>
                    <a:lnTo>
                      <a:pt x="913" y="119"/>
                    </a:lnTo>
                    <a:lnTo>
                      <a:pt x="908" y="121"/>
                    </a:lnTo>
                    <a:lnTo>
                      <a:pt x="904" y="121"/>
                    </a:lnTo>
                    <a:lnTo>
                      <a:pt x="901" y="119"/>
                    </a:lnTo>
                    <a:lnTo>
                      <a:pt x="899" y="119"/>
                    </a:lnTo>
                    <a:lnTo>
                      <a:pt x="897" y="119"/>
                    </a:lnTo>
                    <a:lnTo>
                      <a:pt x="894" y="119"/>
                    </a:lnTo>
                    <a:lnTo>
                      <a:pt x="894" y="119"/>
                    </a:lnTo>
                    <a:lnTo>
                      <a:pt x="892" y="119"/>
                    </a:lnTo>
                    <a:lnTo>
                      <a:pt x="892" y="116"/>
                    </a:lnTo>
                    <a:lnTo>
                      <a:pt x="890" y="114"/>
                    </a:lnTo>
                    <a:lnTo>
                      <a:pt x="887" y="114"/>
                    </a:lnTo>
                    <a:lnTo>
                      <a:pt x="885" y="112"/>
                    </a:lnTo>
                    <a:lnTo>
                      <a:pt x="885" y="109"/>
                    </a:lnTo>
                    <a:lnTo>
                      <a:pt x="882" y="107"/>
                    </a:lnTo>
                    <a:lnTo>
                      <a:pt x="882" y="104"/>
                    </a:lnTo>
                    <a:lnTo>
                      <a:pt x="880" y="104"/>
                    </a:lnTo>
                    <a:lnTo>
                      <a:pt x="880" y="104"/>
                    </a:lnTo>
                    <a:lnTo>
                      <a:pt x="878" y="102"/>
                    </a:lnTo>
                    <a:lnTo>
                      <a:pt x="875" y="100"/>
                    </a:lnTo>
                    <a:lnTo>
                      <a:pt x="875" y="100"/>
                    </a:lnTo>
                    <a:lnTo>
                      <a:pt x="875" y="97"/>
                    </a:lnTo>
                    <a:lnTo>
                      <a:pt x="873" y="95"/>
                    </a:lnTo>
                    <a:lnTo>
                      <a:pt x="868" y="95"/>
                    </a:lnTo>
                    <a:lnTo>
                      <a:pt x="866" y="95"/>
                    </a:lnTo>
                    <a:lnTo>
                      <a:pt x="864" y="93"/>
                    </a:lnTo>
                    <a:lnTo>
                      <a:pt x="856" y="88"/>
                    </a:lnTo>
                    <a:lnTo>
                      <a:pt x="852" y="88"/>
                    </a:lnTo>
                    <a:lnTo>
                      <a:pt x="852" y="88"/>
                    </a:lnTo>
                    <a:lnTo>
                      <a:pt x="849" y="86"/>
                    </a:lnTo>
                    <a:lnTo>
                      <a:pt x="847" y="86"/>
                    </a:lnTo>
                    <a:lnTo>
                      <a:pt x="847" y="86"/>
                    </a:lnTo>
                    <a:lnTo>
                      <a:pt x="847" y="86"/>
                    </a:lnTo>
                    <a:lnTo>
                      <a:pt x="847" y="86"/>
                    </a:lnTo>
                    <a:lnTo>
                      <a:pt x="845" y="86"/>
                    </a:lnTo>
                    <a:lnTo>
                      <a:pt x="845" y="86"/>
                    </a:lnTo>
                    <a:lnTo>
                      <a:pt x="842" y="86"/>
                    </a:lnTo>
                    <a:lnTo>
                      <a:pt x="842" y="86"/>
                    </a:lnTo>
                    <a:lnTo>
                      <a:pt x="842" y="86"/>
                    </a:lnTo>
                    <a:lnTo>
                      <a:pt x="840" y="83"/>
                    </a:lnTo>
                    <a:lnTo>
                      <a:pt x="838" y="83"/>
                    </a:lnTo>
                    <a:lnTo>
                      <a:pt x="835" y="83"/>
                    </a:lnTo>
                    <a:lnTo>
                      <a:pt x="835" y="83"/>
                    </a:lnTo>
                    <a:lnTo>
                      <a:pt x="835" y="81"/>
                    </a:lnTo>
                    <a:lnTo>
                      <a:pt x="833" y="81"/>
                    </a:lnTo>
                    <a:lnTo>
                      <a:pt x="833" y="81"/>
                    </a:lnTo>
                    <a:lnTo>
                      <a:pt x="830" y="81"/>
                    </a:lnTo>
                    <a:lnTo>
                      <a:pt x="826" y="81"/>
                    </a:lnTo>
                    <a:lnTo>
                      <a:pt x="821" y="81"/>
                    </a:lnTo>
                    <a:lnTo>
                      <a:pt x="819" y="81"/>
                    </a:lnTo>
                    <a:lnTo>
                      <a:pt x="816" y="78"/>
                    </a:lnTo>
                    <a:lnTo>
                      <a:pt x="814" y="78"/>
                    </a:lnTo>
                    <a:lnTo>
                      <a:pt x="814" y="76"/>
                    </a:lnTo>
                    <a:lnTo>
                      <a:pt x="811" y="76"/>
                    </a:lnTo>
                    <a:lnTo>
                      <a:pt x="809" y="74"/>
                    </a:lnTo>
                    <a:lnTo>
                      <a:pt x="807" y="74"/>
                    </a:lnTo>
                    <a:lnTo>
                      <a:pt x="807" y="71"/>
                    </a:lnTo>
                    <a:lnTo>
                      <a:pt x="807" y="69"/>
                    </a:lnTo>
                    <a:lnTo>
                      <a:pt x="802" y="67"/>
                    </a:lnTo>
                    <a:lnTo>
                      <a:pt x="800" y="64"/>
                    </a:lnTo>
                    <a:lnTo>
                      <a:pt x="800" y="64"/>
                    </a:lnTo>
                    <a:lnTo>
                      <a:pt x="800" y="64"/>
                    </a:lnTo>
                    <a:lnTo>
                      <a:pt x="797" y="62"/>
                    </a:lnTo>
                    <a:lnTo>
                      <a:pt x="797" y="62"/>
                    </a:lnTo>
                    <a:lnTo>
                      <a:pt x="797" y="62"/>
                    </a:lnTo>
                    <a:lnTo>
                      <a:pt x="797" y="60"/>
                    </a:lnTo>
                    <a:lnTo>
                      <a:pt x="795" y="57"/>
                    </a:lnTo>
                    <a:lnTo>
                      <a:pt x="793" y="55"/>
                    </a:lnTo>
                    <a:lnTo>
                      <a:pt x="785" y="52"/>
                    </a:lnTo>
                    <a:lnTo>
                      <a:pt x="783" y="50"/>
                    </a:lnTo>
                    <a:lnTo>
                      <a:pt x="783" y="48"/>
                    </a:lnTo>
                    <a:lnTo>
                      <a:pt x="781" y="48"/>
                    </a:lnTo>
                    <a:lnTo>
                      <a:pt x="781" y="45"/>
                    </a:lnTo>
                    <a:lnTo>
                      <a:pt x="778" y="45"/>
                    </a:lnTo>
                    <a:lnTo>
                      <a:pt x="778" y="43"/>
                    </a:lnTo>
                    <a:lnTo>
                      <a:pt x="778" y="43"/>
                    </a:lnTo>
                    <a:lnTo>
                      <a:pt x="776" y="43"/>
                    </a:lnTo>
                    <a:lnTo>
                      <a:pt x="776" y="41"/>
                    </a:lnTo>
                    <a:lnTo>
                      <a:pt x="776" y="41"/>
                    </a:lnTo>
                    <a:lnTo>
                      <a:pt x="774" y="41"/>
                    </a:lnTo>
                    <a:lnTo>
                      <a:pt x="774" y="38"/>
                    </a:lnTo>
                    <a:lnTo>
                      <a:pt x="771" y="38"/>
                    </a:lnTo>
                    <a:lnTo>
                      <a:pt x="769" y="36"/>
                    </a:lnTo>
                    <a:lnTo>
                      <a:pt x="767" y="33"/>
                    </a:lnTo>
                    <a:lnTo>
                      <a:pt x="764" y="31"/>
                    </a:lnTo>
                    <a:lnTo>
                      <a:pt x="762" y="29"/>
                    </a:lnTo>
                    <a:lnTo>
                      <a:pt x="759" y="29"/>
                    </a:lnTo>
                    <a:lnTo>
                      <a:pt x="759" y="26"/>
                    </a:lnTo>
                    <a:lnTo>
                      <a:pt x="759" y="26"/>
                    </a:lnTo>
                    <a:lnTo>
                      <a:pt x="757" y="24"/>
                    </a:lnTo>
                    <a:lnTo>
                      <a:pt x="757" y="24"/>
                    </a:lnTo>
                    <a:lnTo>
                      <a:pt x="757" y="24"/>
                    </a:lnTo>
                    <a:lnTo>
                      <a:pt x="755" y="24"/>
                    </a:lnTo>
                    <a:lnTo>
                      <a:pt x="755" y="22"/>
                    </a:lnTo>
                    <a:lnTo>
                      <a:pt x="752" y="22"/>
                    </a:lnTo>
                    <a:lnTo>
                      <a:pt x="752" y="22"/>
                    </a:lnTo>
                    <a:lnTo>
                      <a:pt x="750" y="19"/>
                    </a:lnTo>
                    <a:lnTo>
                      <a:pt x="750" y="19"/>
                    </a:lnTo>
                    <a:lnTo>
                      <a:pt x="748" y="19"/>
                    </a:lnTo>
                    <a:lnTo>
                      <a:pt x="748" y="19"/>
                    </a:lnTo>
                    <a:lnTo>
                      <a:pt x="748" y="17"/>
                    </a:lnTo>
                    <a:lnTo>
                      <a:pt x="748" y="17"/>
                    </a:lnTo>
                    <a:lnTo>
                      <a:pt x="748" y="17"/>
                    </a:lnTo>
                    <a:lnTo>
                      <a:pt x="748" y="17"/>
                    </a:lnTo>
                    <a:lnTo>
                      <a:pt x="745" y="17"/>
                    </a:lnTo>
                    <a:lnTo>
                      <a:pt x="743" y="15"/>
                    </a:lnTo>
                    <a:lnTo>
                      <a:pt x="743" y="15"/>
                    </a:lnTo>
                    <a:lnTo>
                      <a:pt x="741" y="15"/>
                    </a:lnTo>
                    <a:lnTo>
                      <a:pt x="741" y="15"/>
                    </a:lnTo>
                    <a:lnTo>
                      <a:pt x="738" y="12"/>
                    </a:lnTo>
                    <a:lnTo>
                      <a:pt x="738" y="12"/>
                    </a:lnTo>
                    <a:lnTo>
                      <a:pt x="738" y="12"/>
                    </a:lnTo>
                    <a:lnTo>
                      <a:pt x="736" y="10"/>
                    </a:lnTo>
                    <a:lnTo>
                      <a:pt x="736" y="10"/>
                    </a:lnTo>
                    <a:lnTo>
                      <a:pt x="733" y="10"/>
                    </a:lnTo>
                    <a:lnTo>
                      <a:pt x="731" y="10"/>
                    </a:lnTo>
                    <a:lnTo>
                      <a:pt x="726" y="7"/>
                    </a:lnTo>
                    <a:lnTo>
                      <a:pt x="724" y="7"/>
                    </a:lnTo>
                    <a:lnTo>
                      <a:pt x="724" y="7"/>
                    </a:lnTo>
                    <a:lnTo>
                      <a:pt x="722" y="7"/>
                    </a:lnTo>
                    <a:lnTo>
                      <a:pt x="722" y="7"/>
                    </a:lnTo>
                    <a:lnTo>
                      <a:pt x="722" y="7"/>
                    </a:lnTo>
                    <a:lnTo>
                      <a:pt x="717" y="7"/>
                    </a:lnTo>
                    <a:lnTo>
                      <a:pt x="715" y="7"/>
                    </a:lnTo>
                    <a:lnTo>
                      <a:pt x="712" y="5"/>
                    </a:lnTo>
                    <a:lnTo>
                      <a:pt x="710" y="5"/>
                    </a:lnTo>
                    <a:lnTo>
                      <a:pt x="710" y="3"/>
                    </a:lnTo>
                    <a:lnTo>
                      <a:pt x="707" y="5"/>
                    </a:lnTo>
                    <a:lnTo>
                      <a:pt x="705" y="3"/>
                    </a:lnTo>
                    <a:lnTo>
                      <a:pt x="698" y="0"/>
                    </a:lnTo>
                    <a:lnTo>
                      <a:pt x="696" y="0"/>
                    </a:lnTo>
                    <a:lnTo>
                      <a:pt x="696" y="0"/>
                    </a:lnTo>
                    <a:lnTo>
                      <a:pt x="696" y="0"/>
                    </a:lnTo>
                    <a:lnTo>
                      <a:pt x="696" y="0"/>
                    </a:lnTo>
                    <a:lnTo>
                      <a:pt x="693" y="0"/>
                    </a:lnTo>
                    <a:lnTo>
                      <a:pt x="691" y="0"/>
                    </a:lnTo>
                    <a:lnTo>
                      <a:pt x="688" y="0"/>
                    </a:lnTo>
                    <a:lnTo>
                      <a:pt x="686" y="0"/>
                    </a:lnTo>
                    <a:lnTo>
                      <a:pt x="684" y="3"/>
                    </a:lnTo>
                    <a:lnTo>
                      <a:pt x="681" y="3"/>
                    </a:lnTo>
                    <a:lnTo>
                      <a:pt x="679" y="3"/>
                    </a:lnTo>
                    <a:lnTo>
                      <a:pt x="677" y="0"/>
                    </a:lnTo>
                    <a:lnTo>
                      <a:pt x="674" y="3"/>
                    </a:lnTo>
                    <a:lnTo>
                      <a:pt x="670" y="3"/>
                    </a:lnTo>
                    <a:lnTo>
                      <a:pt x="665" y="5"/>
                    </a:lnTo>
                    <a:lnTo>
                      <a:pt x="658" y="5"/>
                    </a:lnTo>
                    <a:lnTo>
                      <a:pt x="655" y="7"/>
                    </a:lnTo>
                    <a:lnTo>
                      <a:pt x="655" y="12"/>
                    </a:lnTo>
                    <a:lnTo>
                      <a:pt x="653" y="15"/>
                    </a:lnTo>
                    <a:lnTo>
                      <a:pt x="651" y="15"/>
                    </a:lnTo>
                    <a:lnTo>
                      <a:pt x="651" y="17"/>
                    </a:lnTo>
                    <a:lnTo>
                      <a:pt x="653" y="19"/>
                    </a:lnTo>
                    <a:lnTo>
                      <a:pt x="655" y="19"/>
                    </a:lnTo>
                    <a:lnTo>
                      <a:pt x="658" y="19"/>
                    </a:lnTo>
                    <a:lnTo>
                      <a:pt x="660" y="19"/>
                    </a:lnTo>
                    <a:lnTo>
                      <a:pt x="662" y="19"/>
                    </a:lnTo>
                    <a:lnTo>
                      <a:pt x="665" y="22"/>
                    </a:lnTo>
                    <a:lnTo>
                      <a:pt x="665" y="24"/>
                    </a:lnTo>
                    <a:lnTo>
                      <a:pt x="667" y="26"/>
                    </a:lnTo>
                    <a:lnTo>
                      <a:pt x="670" y="26"/>
                    </a:lnTo>
                    <a:lnTo>
                      <a:pt x="672" y="29"/>
                    </a:lnTo>
                    <a:lnTo>
                      <a:pt x="672" y="31"/>
                    </a:lnTo>
                    <a:lnTo>
                      <a:pt x="670" y="33"/>
                    </a:lnTo>
                    <a:lnTo>
                      <a:pt x="667" y="36"/>
                    </a:lnTo>
                    <a:lnTo>
                      <a:pt x="667" y="41"/>
                    </a:lnTo>
                    <a:lnTo>
                      <a:pt x="667" y="43"/>
                    </a:lnTo>
                    <a:lnTo>
                      <a:pt x="667" y="45"/>
                    </a:lnTo>
                    <a:lnTo>
                      <a:pt x="667" y="48"/>
                    </a:lnTo>
                    <a:lnTo>
                      <a:pt x="667" y="50"/>
                    </a:lnTo>
                    <a:lnTo>
                      <a:pt x="667" y="50"/>
                    </a:lnTo>
                    <a:lnTo>
                      <a:pt x="667" y="52"/>
                    </a:lnTo>
                    <a:lnTo>
                      <a:pt x="667" y="55"/>
                    </a:lnTo>
                    <a:lnTo>
                      <a:pt x="667" y="57"/>
                    </a:lnTo>
                    <a:lnTo>
                      <a:pt x="670" y="57"/>
                    </a:lnTo>
                    <a:lnTo>
                      <a:pt x="667" y="60"/>
                    </a:lnTo>
                    <a:lnTo>
                      <a:pt x="667" y="60"/>
                    </a:lnTo>
                    <a:lnTo>
                      <a:pt x="667" y="62"/>
                    </a:lnTo>
                    <a:lnTo>
                      <a:pt x="667" y="64"/>
                    </a:lnTo>
                    <a:lnTo>
                      <a:pt x="667" y="64"/>
                    </a:lnTo>
                    <a:lnTo>
                      <a:pt x="670" y="64"/>
                    </a:lnTo>
                    <a:lnTo>
                      <a:pt x="670" y="64"/>
                    </a:lnTo>
                    <a:lnTo>
                      <a:pt x="672" y="67"/>
                    </a:lnTo>
                    <a:lnTo>
                      <a:pt x="674" y="69"/>
                    </a:lnTo>
                    <a:lnTo>
                      <a:pt x="674" y="71"/>
                    </a:lnTo>
                    <a:lnTo>
                      <a:pt x="672" y="71"/>
                    </a:lnTo>
                    <a:lnTo>
                      <a:pt x="670" y="74"/>
                    </a:lnTo>
                    <a:lnTo>
                      <a:pt x="667" y="74"/>
                    </a:lnTo>
                    <a:lnTo>
                      <a:pt x="662" y="76"/>
                    </a:lnTo>
                    <a:lnTo>
                      <a:pt x="660" y="78"/>
                    </a:lnTo>
                    <a:lnTo>
                      <a:pt x="658" y="83"/>
                    </a:lnTo>
                    <a:lnTo>
                      <a:pt x="658" y="83"/>
                    </a:lnTo>
                    <a:lnTo>
                      <a:pt x="655" y="81"/>
                    </a:lnTo>
                    <a:lnTo>
                      <a:pt x="651" y="81"/>
                    </a:lnTo>
                    <a:lnTo>
                      <a:pt x="646" y="81"/>
                    </a:lnTo>
                    <a:lnTo>
                      <a:pt x="641" y="78"/>
                    </a:lnTo>
                    <a:lnTo>
                      <a:pt x="639" y="78"/>
                    </a:lnTo>
                    <a:lnTo>
                      <a:pt x="634" y="76"/>
                    </a:lnTo>
                    <a:lnTo>
                      <a:pt x="634" y="78"/>
                    </a:lnTo>
                    <a:lnTo>
                      <a:pt x="634" y="83"/>
                    </a:lnTo>
                    <a:lnTo>
                      <a:pt x="634" y="90"/>
                    </a:lnTo>
                    <a:lnTo>
                      <a:pt x="636" y="93"/>
                    </a:lnTo>
                    <a:lnTo>
                      <a:pt x="636" y="95"/>
                    </a:lnTo>
                    <a:lnTo>
                      <a:pt x="636" y="95"/>
                    </a:lnTo>
                    <a:lnTo>
                      <a:pt x="636" y="97"/>
                    </a:lnTo>
                    <a:lnTo>
                      <a:pt x="636" y="100"/>
                    </a:lnTo>
                    <a:lnTo>
                      <a:pt x="634" y="102"/>
                    </a:lnTo>
                    <a:lnTo>
                      <a:pt x="636" y="104"/>
                    </a:lnTo>
                    <a:lnTo>
                      <a:pt x="636" y="107"/>
                    </a:lnTo>
                    <a:lnTo>
                      <a:pt x="639" y="109"/>
                    </a:lnTo>
                    <a:lnTo>
                      <a:pt x="636" y="109"/>
                    </a:lnTo>
                    <a:lnTo>
                      <a:pt x="634" y="112"/>
                    </a:lnTo>
                    <a:lnTo>
                      <a:pt x="639" y="114"/>
                    </a:lnTo>
                    <a:lnTo>
                      <a:pt x="639" y="116"/>
                    </a:lnTo>
                    <a:lnTo>
                      <a:pt x="641" y="119"/>
                    </a:lnTo>
                    <a:lnTo>
                      <a:pt x="644" y="119"/>
                    </a:lnTo>
                    <a:lnTo>
                      <a:pt x="646" y="119"/>
                    </a:lnTo>
                    <a:lnTo>
                      <a:pt x="648" y="119"/>
                    </a:lnTo>
                    <a:lnTo>
                      <a:pt x="648" y="119"/>
                    </a:lnTo>
                    <a:lnTo>
                      <a:pt x="651" y="116"/>
                    </a:lnTo>
                    <a:lnTo>
                      <a:pt x="651" y="116"/>
                    </a:lnTo>
                    <a:lnTo>
                      <a:pt x="653" y="116"/>
                    </a:lnTo>
                    <a:lnTo>
                      <a:pt x="655" y="116"/>
                    </a:lnTo>
                    <a:lnTo>
                      <a:pt x="658" y="116"/>
                    </a:lnTo>
                    <a:lnTo>
                      <a:pt x="658" y="116"/>
                    </a:lnTo>
                    <a:lnTo>
                      <a:pt x="660" y="116"/>
                    </a:lnTo>
                    <a:lnTo>
                      <a:pt x="662" y="116"/>
                    </a:lnTo>
                    <a:lnTo>
                      <a:pt x="665" y="116"/>
                    </a:lnTo>
                    <a:lnTo>
                      <a:pt x="667" y="119"/>
                    </a:lnTo>
                    <a:lnTo>
                      <a:pt x="670" y="121"/>
                    </a:lnTo>
                    <a:lnTo>
                      <a:pt x="670" y="121"/>
                    </a:lnTo>
                    <a:lnTo>
                      <a:pt x="672" y="121"/>
                    </a:lnTo>
                    <a:lnTo>
                      <a:pt x="672" y="119"/>
                    </a:lnTo>
                    <a:lnTo>
                      <a:pt x="672" y="116"/>
                    </a:lnTo>
                    <a:lnTo>
                      <a:pt x="672" y="116"/>
                    </a:lnTo>
                    <a:lnTo>
                      <a:pt x="674" y="114"/>
                    </a:lnTo>
                    <a:lnTo>
                      <a:pt x="674" y="114"/>
                    </a:lnTo>
                    <a:lnTo>
                      <a:pt x="677" y="114"/>
                    </a:lnTo>
                    <a:lnTo>
                      <a:pt x="677" y="114"/>
                    </a:lnTo>
                    <a:lnTo>
                      <a:pt x="679" y="114"/>
                    </a:lnTo>
                    <a:lnTo>
                      <a:pt x="681" y="114"/>
                    </a:lnTo>
                    <a:lnTo>
                      <a:pt x="686" y="114"/>
                    </a:lnTo>
                    <a:lnTo>
                      <a:pt x="686" y="114"/>
                    </a:lnTo>
                    <a:lnTo>
                      <a:pt x="691" y="116"/>
                    </a:lnTo>
                    <a:lnTo>
                      <a:pt x="693" y="119"/>
                    </a:lnTo>
                    <a:lnTo>
                      <a:pt x="696" y="119"/>
                    </a:lnTo>
                    <a:lnTo>
                      <a:pt x="696" y="119"/>
                    </a:lnTo>
                    <a:lnTo>
                      <a:pt x="698" y="121"/>
                    </a:lnTo>
                    <a:lnTo>
                      <a:pt x="698" y="121"/>
                    </a:lnTo>
                    <a:lnTo>
                      <a:pt x="700" y="121"/>
                    </a:lnTo>
                    <a:lnTo>
                      <a:pt x="700" y="123"/>
                    </a:lnTo>
                    <a:lnTo>
                      <a:pt x="703" y="123"/>
                    </a:lnTo>
                    <a:lnTo>
                      <a:pt x="703" y="123"/>
                    </a:lnTo>
                    <a:lnTo>
                      <a:pt x="705" y="123"/>
                    </a:lnTo>
                    <a:lnTo>
                      <a:pt x="705" y="126"/>
                    </a:lnTo>
                    <a:lnTo>
                      <a:pt x="705" y="126"/>
                    </a:lnTo>
                    <a:lnTo>
                      <a:pt x="707" y="126"/>
                    </a:lnTo>
                    <a:lnTo>
                      <a:pt x="710" y="128"/>
                    </a:lnTo>
                    <a:lnTo>
                      <a:pt x="712" y="131"/>
                    </a:lnTo>
                    <a:lnTo>
                      <a:pt x="715" y="131"/>
                    </a:lnTo>
                    <a:lnTo>
                      <a:pt x="717" y="133"/>
                    </a:lnTo>
                    <a:lnTo>
                      <a:pt x="717" y="133"/>
                    </a:lnTo>
                    <a:lnTo>
                      <a:pt x="719" y="135"/>
                    </a:lnTo>
                    <a:lnTo>
                      <a:pt x="719" y="135"/>
                    </a:lnTo>
                    <a:lnTo>
                      <a:pt x="722" y="138"/>
                    </a:lnTo>
                    <a:lnTo>
                      <a:pt x="722" y="138"/>
                    </a:lnTo>
                    <a:lnTo>
                      <a:pt x="724" y="140"/>
                    </a:lnTo>
                    <a:lnTo>
                      <a:pt x="724" y="140"/>
                    </a:lnTo>
                    <a:lnTo>
                      <a:pt x="722" y="142"/>
                    </a:lnTo>
                    <a:lnTo>
                      <a:pt x="722" y="142"/>
                    </a:lnTo>
                    <a:lnTo>
                      <a:pt x="719" y="142"/>
                    </a:lnTo>
                    <a:lnTo>
                      <a:pt x="717" y="142"/>
                    </a:lnTo>
                    <a:lnTo>
                      <a:pt x="715" y="142"/>
                    </a:lnTo>
                    <a:lnTo>
                      <a:pt x="712" y="142"/>
                    </a:lnTo>
                    <a:lnTo>
                      <a:pt x="710" y="140"/>
                    </a:lnTo>
                    <a:lnTo>
                      <a:pt x="707" y="140"/>
                    </a:lnTo>
                    <a:lnTo>
                      <a:pt x="705" y="140"/>
                    </a:lnTo>
                    <a:lnTo>
                      <a:pt x="705" y="140"/>
                    </a:lnTo>
                    <a:lnTo>
                      <a:pt x="705" y="140"/>
                    </a:lnTo>
                    <a:lnTo>
                      <a:pt x="703" y="140"/>
                    </a:lnTo>
                    <a:lnTo>
                      <a:pt x="703" y="140"/>
                    </a:lnTo>
                    <a:lnTo>
                      <a:pt x="698" y="140"/>
                    </a:lnTo>
                    <a:lnTo>
                      <a:pt x="698" y="140"/>
                    </a:lnTo>
                    <a:lnTo>
                      <a:pt x="696" y="140"/>
                    </a:lnTo>
                    <a:lnTo>
                      <a:pt x="693" y="140"/>
                    </a:lnTo>
                    <a:lnTo>
                      <a:pt x="691" y="142"/>
                    </a:lnTo>
                    <a:lnTo>
                      <a:pt x="691" y="145"/>
                    </a:lnTo>
                    <a:lnTo>
                      <a:pt x="688" y="145"/>
                    </a:lnTo>
                    <a:lnTo>
                      <a:pt x="688" y="145"/>
                    </a:lnTo>
                    <a:lnTo>
                      <a:pt x="686" y="142"/>
                    </a:lnTo>
                    <a:lnTo>
                      <a:pt x="686" y="142"/>
                    </a:lnTo>
                    <a:lnTo>
                      <a:pt x="684" y="142"/>
                    </a:lnTo>
                    <a:lnTo>
                      <a:pt x="684" y="142"/>
                    </a:lnTo>
                    <a:lnTo>
                      <a:pt x="684" y="145"/>
                    </a:lnTo>
                    <a:lnTo>
                      <a:pt x="684" y="145"/>
                    </a:lnTo>
                    <a:lnTo>
                      <a:pt x="684" y="147"/>
                    </a:lnTo>
                    <a:lnTo>
                      <a:pt x="684" y="147"/>
                    </a:lnTo>
                    <a:lnTo>
                      <a:pt x="684" y="147"/>
                    </a:lnTo>
                    <a:lnTo>
                      <a:pt x="681" y="147"/>
                    </a:lnTo>
                    <a:lnTo>
                      <a:pt x="679" y="147"/>
                    </a:lnTo>
                    <a:lnTo>
                      <a:pt x="677" y="147"/>
                    </a:lnTo>
                    <a:lnTo>
                      <a:pt x="674" y="147"/>
                    </a:lnTo>
                    <a:lnTo>
                      <a:pt x="674" y="147"/>
                    </a:lnTo>
                    <a:lnTo>
                      <a:pt x="674" y="147"/>
                    </a:lnTo>
                    <a:lnTo>
                      <a:pt x="672" y="149"/>
                    </a:lnTo>
                    <a:lnTo>
                      <a:pt x="672" y="149"/>
                    </a:lnTo>
                    <a:lnTo>
                      <a:pt x="672" y="152"/>
                    </a:lnTo>
                    <a:lnTo>
                      <a:pt x="672" y="152"/>
                    </a:lnTo>
                    <a:lnTo>
                      <a:pt x="672" y="157"/>
                    </a:lnTo>
                    <a:lnTo>
                      <a:pt x="672" y="157"/>
                    </a:lnTo>
                    <a:lnTo>
                      <a:pt x="672" y="159"/>
                    </a:lnTo>
                    <a:lnTo>
                      <a:pt x="672" y="159"/>
                    </a:lnTo>
                    <a:lnTo>
                      <a:pt x="672" y="159"/>
                    </a:lnTo>
                    <a:lnTo>
                      <a:pt x="672" y="161"/>
                    </a:lnTo>
                    <a:lnTo>
                      <a:pt x="670" y="161"/>
                    </a:lnTo>
                    <a:lnTo>
                      <a:pt x="670" y="161"/>
                    </a:lnTo>
                    <a:lnTo>
                      <a:pt x="667" y="164"/>
                    </a:lnTo>
                    <a:lnTo>
                      <a:pt x="667" y="166"/>
                    </a:lnTo>
                    <a:lnTo>
                      <a:pt x="665" y="166"/>
                    </a:lnTo>
                    <a:lnTo>
                      <a:pt x="662" y="166"/>
                    </a:lnTo>
                    <a:lnTo>
                      <a:pt x="660" y="166"/>
                    </a:lnTo>
                    <a:lnTo>
                      <a:pt x="658" y="168"/>
                    </a:lnTo>
                    <a:lnTo>
                      <a:pt x="655" y="168"/>
                    </a:lnTo>
                    <a:lnTo>
                      <a:pt x="651" y="166"/>
                    </a:lnTo>
                    <a:lnTo>
                      <a:pt x="651" y="166"/>
                    </a:lnTo>
                    <a:lnTo>
                      <a:pt x="648" y="168"/>
                    </a:lnTo>
                    <a:lnTo>
                      <a:pt x="648" y="168"/>
                    </a:lnTo>
                    <a:lnTo>
                      <a:pt x="648" y="168"/>
                    </a:lnTo>
                    <a:lnTo>
                      <a:pt x="648" y="171"/>
                    </a:lnTo>
                    <a:lnTo>
                      <a:pt x="648" y="171"/>
                    </a:lnTo>
                    <a:lnTo>
                      <a:pt x="646" y="173"/>
                    </a:lnTo>
                    <a:lnTo>
                      <a:pt x="646" y="173"/>
                    </a:lnTo>
                    <a:lnTo>
                      <a:pt x="646" y="178"/>
                    </a:lnTo>
                    <a:lnTo>
                      <a:pt x="644" y="178"/>
                    </a:lnTo>
                    <a:lnTo>
                      <a:pt x="644" y="178"/>
                    </a:lnTo>
                    <a:lnTo>
                      <a:pt x="644" y="180"/>
                    </a:lnTo>
                    <a:lnTo>
                      <a:pt x="641" y="180"/>
                    </a:lnTo>
                    <a:lnTo>
                      <a:pt x="641" y="183"/>
                    </a:lnTo>
                    <a:lnTo>
                      <a:pt x="639" y="183"/>
                    </a:lnTo>
                    <a:lnTo>
                      <a:pt x="636" y="183"/>
                    </a:lnTo>
                    <a:lnTo>
                      <a:pt x="636" y="183"/>
                    </a:lnTo>
                    <a:lnTo>
                      <a:pt x="634" y="180"/>
                    </a:lnTo>
                    <a:lnTo>
                      <a:pt x="632" y="180"/>
                    </a:lnTo>
                    <a:lnTo>
                      <a:pt x="629" y="180"/>
                    </a:lnTo>
                    <a:lnTo>
                      <a:pt x="622" y="180"/>
                    </a:lnTo>
                    <a:lnTo>
                      <a:pt x="620" y="178"/>
                    </a:lnTo>
                    <a:lnTo>
                      <a:pt x="618" y="176"/>
                    </a:lnTo>
                    <a:lnTo>
                      <a:pt x="615" y="173"/>
                    </a:lnTo>
                    <a:lnTo>
                      <a:pt x="615" y="173"/>
                    </a:lnTo>
                    <a:lnTo>
                      <a:pt x="610" y="173"/>
                    </a:lnTo>
                    <a:lnTo>
                      <a:pt x="610" y="173"/>
                    </a:lnTo>
                    <a:lnTo>
                      <a:pt x="608" y="173"/>
                    </a:lnTo>
                    <a:lnTo>
                      <a:pt x="606" y="178"/>
                    </a:lnTo>
                    <a:lnTo>
                      <a:pt x="606" y="178"/>
                    </a:lnTo>
                    <a:lnTo>
                      <a:pt x="606" y="180"/>
                    </a:lnTo>
                    <a:lnTo>
                      <a:pt x="606" y="183"/>
                    </a:lnTo>
                    <a:lnTo>
                      <a:pt x="606" y="185"/>
                    </a:lnTo>
                    <a:lnTo>
                      <a:pt x="606" y="187"/>
                    </a:lnTo>
                    <a:lnTo>
                      <a:pt x="606" y="190"/>
                    </a:lnTo>
                    <a:lnTo>
                      <a:pt x="606" y="190"/>
                    </a:lnTo>
                    <a:lnTo>
                      <a:pt x="608" y="190"/>
                    </a:lnTo>
                    <a:lnTo>
                      <a:pt x="608" y="192"/>
                    </a:lnTo>
                    <a:lnTo>
                      <a:pt x="610" y="194"/>
                    </a:lnTo>
                    <a:lnTo>
                      <a:pt x="613" y="194"/>
                    </a:lnTo>
                    <a:lnTo>
                      <a:pt x="615" y="197"/>
                    </a:lnTo>
                    <a:lnTo>
                      <a:pt x="618" y="199"/>
                    </a:lnTo>
                    <a:lnTo>
                      <a:pt x="620" y="199"/>
                    </a:lnTo>
                    <a:lnTo>
                      <a:pt x="620" y="202"/>
                    </a:lnTo>
                    <a:lnTo>
                      <a:pt x="622" y="202"/>
                    </a:lnTo>
                    <a:lnTo>
                      <a:pt x="622" y="204"/>
                    </a:lnTo>
                    <a:lnTo>
                      <a:pt x="622" y="204"/>
                    </a:lnTo>
                    <a:lnTo>
                      <a:pt x="620" y="204"/>
                    </a:lnTo>
                    <a:lnTo>
                      <a:pt x="620" y="206"/>
                    </a:lnTo>
                    <a:lnTo>
                      <a:pt x="618" y="206"/>
                    </a:lnTo>
                    <a:lnTo>
                      <a:pt x="618" y="209"/>
                    </a:lnTo>
                    <a:lnTo>
                      <a:pt x="618" y="209"/>
                    </a:lnTo>
                    <a:lnTo>
                      <a:pt x="615" y="209"/>
                    </a:lnTo>
                    <a:lnTo>
                      <a:pt x="613" y="211"/>
                    </a:lnTo>
                    <a:lnTo>
                      <a:pt x="610" y="211"/>
                    </a:lnTo>
                    <a:lnTo>
                      <a:pt x="610" y="211"/>
                    </a:lnTo>
                    <a:lnTo>
                      <a:pt x="608" y="213"/>
                    </a:lnTo>
                    <a:lnTo>
                      <a:pt x="608" y="213"/>
                    </a:lnTo>
                    <a:lnTo>
                      <a:pt x="608" y="216"/>
                    </a:lnTo>
                    <a:lnTo>
                      <a:pt x="608" y="216"/>
                    </a:lnTo>
                    <a:lnTo>
                      <a:pt x="606" y="218"/>
                    </a:lnTo>
                    <a:lnTo>
                      <a:pt x="606" y="221"/>
                    </a:lnTo>
                    <a:lnTo>
                      <a:pt x="606" y="221"/>
                    </a:lnTo>
                    <a:lnTo>
                      <a:pt x="606" y="221"/>
                    </a:lnTo>
                    <a:lnTo>
                      <a:pt x="606" y="223"/>
                    </a:lnTo>
                    <a:lnTo>
                      <a:pt x="603" y="223"/>
                    </a:lnTo>
                    <a:lnTo>
                      <a:pt x="601" y="223"/>
                    </a:lnTo>
                    <a:lnTo>
                      <a:pt x="601" y="225"/>
                    </a:lnTo>
                    <a:lnTo>
                      <a:pt x="596" y="225"/>
                    </a:lnTo>
                    <a:lnTo>
                      <a:pt x="596" y="228"/>
                    </a:lnTo>
                    <a:lnTo>
                      <a:pt x="594" y="228"/>
                    </a:lnTo>
                    <a:lnTo>
                      <a:pt x="591" y="230"/>
                    </a:lnTo>
                    <a:lnTo>
                      <a:pt x="589" y="230"/>
                    </a:lnTo>
                    <a:lnTo>
                      <a:pt x="587" y="230"/>
                    </a:lnTo>
                    <a:lnTo>
                      <a:pt x="582" y="230"/>
                    </a:lnTo>
                    <a:lnTo>
                      <a:pt x="580" y="230"/>
                    </a:lnTo>
                    <a:lnTo>
                      <a:pt x="577" y="230"/>
                    </a:lnTo>
                    <a:lnTo>
                      <a:pt x="573" y="230"/>
                    </a:lnTo>
                    <a:lnTo>
                      <a:pt x="570" y="230"/>
                    </a:lnTo>
                    <a:lnTo>
                      <a:pt x="568" y="230"/>
                    </a:lnTo>
                    <a:lnTo>
                      <a:pt x="565" y="230"/>
                    </a:lnTo>
                    <a:lnTo>
                      <a:pt x="563" y="230"/>
                    </a:lnTo>
                    <a:lnTo>
                      <a:pt x="556" y="232"/>
                    </a:lnTo>
                    <a:lnTo>
                      <a:pt x="554" y="232"/>
                    </a:lnTo>
                    <a:lnTo>
                      <a:pt x="549" y="232"/>
                    </a:lnTo>
                    <a:lnTo>
                      <a:pt x="549" y="232"/>
                    </a:lnTo>
                    <a:lnTo>
                      <a:pt x="547" y="232"/>
                    </a:lnTo>
                    <a:lnTo>
                      <a:pt x="544" y="235"/>
                    </a:lnTo>
                    <a:lnTo>
                      <a:pt x="544" y="235"/>
                    </a:lnTo>
                    <a:lnTo>
                      <a:pt x="542" y="235"/>
                    </a:lnTo>
                    <a:lnTo>
                      <a:pt x="535" y="239"/>
                    </a:lnTo>
                    <a:lnTo>
                      <a:pt x="530" y="242"/>
                    </a:lnTo>
                    <a:lnTo>
                      <a:pt x="530" y="242"/>
                    </a:lnTo>
                    <a:lnTo>
                      <a:pt x="528" y="244"/>
                    </a:lnTo>
                    <a:lnTo>
                      <a:pt x="525" y="244"/>
                    </a:lnTo>
                    <a:lnTo>
                      <a:pt x="525" y="244"/>
                    </a:lnTo>
                    <a:lnTo>
                      <a:pt x="525" y="247"/>
                    </a:lnTo>
                    <a:lnTo>
                      <a:pt x="523" y="247"/>
                    </a:lnTo>
                    <a:lnTo>
                      <a:pt x="521" y="247"/>
                    </a:lnTo>
                    <a:lnTo>
                      <a:pt x="521" y="247"/>
                    </a:lnTo>
                    <a:lnTo>
                      <a:pt x="516" y="244"/>
                    </a:lnTo>
                    <a:lnTo>
                      <a:pt x="513" y="242"/>
                    </a:lnTo>
                    <a:lnTo>
                      <a:pt x="509" y="242"/>
                    </a:lnTo>
                    <a:lnTo>
                      <a:pt x="504" y="242"/>
                    </a:lnTo>
                    <a:lnTo>
                      <a:pt x="502" y="244"/>
                    </a:lnTo>
                    <a:lnTo>
                      <a:pt x="495" y="242"/>
                    </a:lnTo>
                    <a:lnTo>
                      <a:pt x="492" y="239"/>
                    </a:lnTo>
                    <a:lnTo>
                      <a:pt x="487" y="237"/>
                    </a:lnTo>
                    <a:lnTo>
                      <a:pt x="483" y="237"/>
                    </a:lnTo>
                    <a:lnTo>
                      <a:pt x="478" y="237"/>
                    </a:lnTo>
                    <a:lnTo>
                      <a:pt x="471" y="235"/>
                    </a:lnTo>
                    <a:lnTo>
                      <a:pt x="466" y="235"/>
                    </a:lnTo>
                    <a:lnTo>
                      <a:pt x="464" y="232"/>
                    </a:lnTo>
                    <a:lnTo>
                      <a:pt x="461" y="228"/>
                    </a:lnTo>
                    <a:lnTo>
                      <a:pt x="459" y="228"/>
                    </a:lnTo>
                    <a:lnTo>
                      <a:pt x="457" y="228"/>
                    </a:lnTo>
                    <a:lnTo>
                      <a:pt x="457" y="228"/>
                    </a:lnTo>
                    <a:lnTo>
                      <a:pt x="452" y="228"/>
                    </a:lnTo>
                    <a:lnTo>
                      <a:pt x="450" y="228"/>
                    </a:lnTo>
                    <a:lnTo>
                      <a:pt x="442" y="225"/>
                    </a:lnTo>
                    <a:lnTo>
                      <a:pt x="438" y="225"/>
                    </a:lnTo>
                    <a:lnTo>
                      <a:pt x="431" y="225"/>
                    </a:lnTo>
                    <a:lnTo>
                      <a:pt x="428" y="225"/>
                    </a:lnTo>
                    <a:lnTo>
                      <a:pt x="426" y="225"/>
                    </a:lnTo>
                    <a:lnTo>
                      <a:pt x="421" y="228"/>
                    </a:lnTo>
                    <a:lnTo>
                      <a:pt x="412" y="225"/>
                    </a:lnTo>
                    <a:lnTo>
                      <a:pt x="407" y="225"/>
                    </a:lnTo>
                    <a:lnTo>
                      <a:pt x="400" y="225"/>
                    </a:lnTo>
                    <a:lnTo>
                      <a:pt x="390" y="223"/>
                    </a:lnTo>
                    <a:lnTo>
                      <a:pt x="381" y="223"/>
                    </a:lnTo>
                    <a:lnTo>
                      <a:pt x="376" y="223"/>
                    </a:lnTo>
                    <a:lnTo>
                      <a:pt x="371" y="223"/>
                    </a:lnTo>
                    <a:lnTo>
                      <a:pt x="367" y="223"/>
                    </a:lnTo>
                    <a:lnTo>
                      <a:pt x="367" y="223"/>
                    </a:lnTo>
                    <a:lnTo>
                      <a:pt x="367" y="221"/>
                    </a:lnTo>
                    <a:lnTo>
                      <a:pt x="364" y="221"/>
                    </a:lnTo>
                    <a:lnTo>
                      <a:pt x="362" y="218"/>
                    </a:lnTo>
                    <a:lnTo>
                      <a:pt x="360" y="216"/>
                    </a:lnTo>
                    <a:lnTo>
                      <a:pt x="355" y="213"/>
                    </a:lnTo>
                    <a:lnTo>
                      <a:pt x="355" y="213"/>
                    </a:lnTo>
                    <a:lnTo>
                      <a:pt x="353" y="211"/>
                    </a:lnTo>
                    <a:lnTo>
                      <a:pt x="348" y="204"/>
                    </a:lnTo>
                    <a:lnTo>
                      <a:pt x="345" y="202"/>
                    </a:lnTo>
                    <a:lnTo>
                      <a:pt x="345" y="199"/>
                    </a:lnTo>
                    <a:lnTo>
                      <a:pt x="343" y="199"/>
                    </a:lnTo>
                    <a:lnTo>
                      <a:pt x="343" y="197"/>
                    </a:lnTo>
                    <a:lnTo>
                      <a:pt x="341" y="197"/>
                    </a:lnTo>
                    <a:lnTo>
                      <a:pt x="338" y="197"/>
                    </a:lnTo>
                    <a:lnTo>
                      <a:pt x="338" y="194"/>
                    </a:lnTo>
                    <a:lnTo>
                      <a:pt x="338" y="194"/>
                    </a:lnTo>
                    <a:lnTo>
                      <a:pt x="338" y="192"/>
                    </a:lnTo>
                    <a:lnTo>
                      <a:pt x="338" y="192"/>
                    </a:lnTo>
                    <a:lnTo>
                      <a:pt x="334" y="192"/>
                    </a:lnTo>
                    <a:lnTo>
                      <a:pt x="329" y="192"/>
                    </a:lnTo>
                    <a:lnTo>
                      <a:pt x="327" y="190"/>
                    </a:lnTo>
                    <a:lnTo>
                      <a:pt x="322" y="187"/>
                    </a:lnTo>
                    <a:lnTo>
                      <a:pt x="319" y="187"/>
                    </a:lnTo>
                    <a:lnTo>
                      <a:pt x="315" y="185"/>
                    </a:lnTo>
                    <a:lnTo>
                      <a:pt x="310" y="183"/>
                    </a:lnTo>
                    <a:lnTo>
                      <a:pt x="310" y="183"/>
                    </a:lnTo>
                    <a:lnTo>
                      <a:pt x="305" y="180"/>
                    </a:lnTo>
                    <a:lnTo>
                      <a:pt x="303" y="178"/>
                    </a:lnTo>
                    <a:lnTo>
                      <a:pt x="301" y="178"/>
                    </a:lnTo>
                    <a:lnTo>
                      <a:pt x="298" y="178"/>
                    </a:lnTo>
                    <a:lnTo>
                      <a:pt x="291" y="176"/>
                    </a:lnTo>
                    <a:lnTo>
                      <a:pt x="289" y="176"/>
                    </a:lnTo>
                    <a:lnTo>
                      <a:pt x="284" y="176"/>
                    </a:lnTo>
                    <a:lnTo>
                      <a:pt x="282" y="176"/>
                    </a:lnTo>
                    <a:lnTo>
                      <a:pt x="277" y="176"/>
                    </a:lnTo>
                    <a:lnTo>
                      <a:pt x="275" y="173"/>
                    </a:lnTo>
                    <a:lnTo>
                      <a:pt x="272" y="173"/>
                    </a:lnTo>
                    <a:lnTo>
                      <a:pt x="270" y="173"/>
                    </a:lnTo>
                    <a:lnTo>
                      <a:pt x="267" y="173"/>
                    </a:lnTo>
                    <a:lnTo>
                      <a:pt x="267" y="173"/>
                    </a:lnTo>
                    <a:lnTo>
                      <a:pt x="265" y="173"/>
                    </a:lnTo>
                    <a:lnTo>
                      <a:pt x="263" y="173"/>
                    </a:lnTo>
                    <a:lnTo>
                      <a:pt x="260" y="173"/>
                    </a:lnTo>
                    <a:lnTo>
                      <a:pt x="260" y="171"/>
                    </a:lnTo>
                    <a:lnTo>
                      <a:pt x="258" y="171"/>
                    </a:lnTo>
                    <a:lnTo>
                      <a:pt x="256" y="171"/>
                    </a:lnTo>
                    <a:lnTo>
                      <a:pt x="256" y="171"/>
                    </a:lnTo>
                    <a:lnTo>
                      <a:pt x="256" y="171"/>
                    </a:lnTo>
                    <a:lnTo>
                      <a:pt x="253" y="171"/>
                    </a:lnTo>
                    <a:lnTo>
                      <a:pt x="251" y="168"/>
                    </a:lnTo>
                    <a:lnTo>
                      <a:pt x="251" y="166"/>
                    </a:lnTo>
                    <a:lnTo>
                      <a:pt x="251" y="166"/>
                    </a:lnTo>
                    <a:lnTo>
                      <a:pt x="248" y="164"/>
                    </a:lnTo>
                    <a:lnTo>
                      <a:pt x="248" y="164"/>
                    </a:lnTo>
                    <a:lnTo>
                      <a:pt x="248" y="161"/>
                    </a:lnTo>
                    <a:lnTo>
                      <a:pt x="248" y="157"/>
                    </a:lnTo>
                    <a:lnTo>
                      <a:pt x="248" y="157"/>
                    </a:lnTo>
                    <a:lnTo>
                      <a:pt x="248" y="157"/>
                    </a:lnTo>
                    <a:lnTo>
                      <a:pt x="251" y="154"/>
                    </a:lnTo>
                    <a:lnTo>
                      <a:pt x="251" y="154"/>
                    </a:lnTo>
                    <a:lnTo>
                      <a:pt x="251" y="152"/>
                    </a:lnTo>
                    <a:lnTo>
                      <a:pt x="248" y="152"/>
                    </a:lnTo>
                    <a:lnTo>
                      <a:pt x="246" y="149"/>
                    </a:lnTo>
                    <a:lnTo>
                      <a:pt x="246" y="147"/>
                    </a:lnTo>
                    <a:lnTo>
                      <a:pt x="246" y="147"/>
                    </a:lnTo>
                    <a:lnTo>
                      <a:pt x="246" y="145"/>
                    </a:lnTo>
                    <a:lnTo>
                      <a:pt x="246" y="142"/>
                    </a:lnTo>
                    <a:lnTo>
                      <a:pt x="246" y="142"/>
                    </a:lnTo>
                    <a:lnTo>
                      <a:pt x="246" y="140"/>
                    </a:lnTo>
                    <a:lnTo>
                      <a:pt x="244" y="140"/>
                    </a:lnTo>
                    <a:lnTo>
                      <a:pt x="241" y="138"/>
                    </a:lnTo>
                    <a:lnTo>
                      <a:pt x="241" y="135"/>
                    </a:lnTo>
                    <a:lnTo>
                      <a:pt x="239" y="135"/>
                    </a:lnTo>
                    <a:lnTo>
                      <a:pt x="237" y="133"/>
                    </a:lnTo>
                    <a:lnTo>
                      <a:pt x="237" y="133"/>
                    </a:lnTo>
                    <a:lnTo>
                      <a:pt x="234" y="131"/>
                    </a:lnTo>
                    <a:lnTo>
                      <a:pt x="232" y="128"/>
                    </a:lnTo>
                    <a:lnTo>
                      <a:pt x="232" y="128"/>
                    </a:lnTo>
                    <a:lnTo>
                      <a:pt x="230" y="126"/>
                    </a:lnTo>
                    <a:lnTo>
                      <a:pt x="230" y="123"/>
                    </a:lnTo>
                    <a:lnTo>
                      <a:pt x="227" y="123"/>
                    </a:lnTo>
                    <a:lnTo>
                      <a:pt x="227" y="121"/>
                    </a:lnTo>
                    <a:lnTo>
                      <a:pt x="225" y="121"/>
                    </a:lnTo>
                    <a:lnTo>
                      <a:pt x="225" y="121"/>
                    </a:lnTo>
                    <a:lnTo>
                      <a:pt x="222" y="119"/>
                    </a:lnTo>
                    <a:lnTo>
                      <a:pt x="222" y="119"/>
                    </a:lnTo>
                    <a:lnTo>
                      <a:pt x="220" y="116"/>
                    </a:lnTo>
                    <a:lnTo>
                      <a:pt x="220" y="116"/>
                    </a:lnTo>
                    <a:lnTo>
                      <a:pt x="220" y="116"/>
                    </a:lnTo>
                    <a:lnTo>
                      <a:pt x="218" y="116"/>
                    </a:lnTo>
                    <a:lnTo>
                      <a:pt x="218" y="116"/>
                    </a:lnTo>
                    <a:lnTo>
                      <a:pt x="215" y="116"/>
                    </a:lnTo>
                    <a:lnTo>
                      <a:pt x="215" y="116"/>
                    </a:lnTo>
                    <a:lnTo>
                      <a:pt x="215" y="116"/>
                    </a:lnTo>
                    <a:lnTo>
                      <a:pt x="213" y="116"/>
                    </a:lnTo>
                    <a:lnTo>
                      <a:pt x="213" y="116"/>
                    </a:lnTo>
                    <a:lnTo>
                      <a:pt x="211" y="114"/>
                    </a:lnTo>
                    <a:lnTo>
                      <a:pt x="208" y="114"/>
                    </a:lnTo>
                    <a:lnTo>
                      <a:pt x="206" y="114"/>
                    </a:lnTo>
                    <a:lnTo>
                      <a:pt x="204" y="114"/>
                    </a:lnTo>
                    <a:lnTo>
                      <a:pt x="204" y="114"/>
                    </a:lnTo>
                    <a:lnTo>
                      <a:pt x="201" y="114"/>
                    </a:lnTo>
                    <a:lnTo>
                      <a:pt x="201" y="112"/>
                    </a:lnTo>
                    <a:lnTo>
                      <a:pt x="199" y="112"/>
                    </a:lnTo>
                    <a:lnTo>
                      <a:pt x="199" y="112"/>
                    </a:lnTo>
                    <a:lnTo>
                      <a:pt x="194" y="109"/>
                    </a:lnTo>
                    <a:lnTo>
                      <a:pt x="192" y="109"/>
                    </a:lnTo>
                    <a:lnTo>
                      <a:pt x="192" y="107"/>
                    </a:lnTo>
                    <a:lnTo>
                      <a:pt x="189" y="104"/>
                    </a:lnTo>
                    <a:lnTo>
                      <a:pt x="189" y="104"/>
                    </a:lnTo>
                    <a:lnTo>
                      <a:pt x="187" y="104"/>
                    </a:lnTo>
                    <a:lnTo>
                      <a:pt x="182" y="102"/>
                    </a:lnTo>
                    <a:lnTo>
                      <a:pt x="182" y="102"/>
                    </a:lnTo>
                    <a:lnTo>
                      <a:pt x="180" y="102"/>
                    </a:lnTo>
                    <a:lnTo>
                      <a:pt x="180" y="102"/>
                    </a:lnTo>
                    <a:lnTo>
                      <a:pt x="180" y="100"/>
                    </a:lnTo>
                    <a:lnTo>
                      <a:pt x="180" y="100"/>
                    </a:lnTo>
                    <a:lnTo>
                      <a:pt x="180" y="100"/>
                    </a:lnTo>
                    <a:lnTo>
                      <a:pt x="180" y="100"/>
                    </a:lnTo>
                    <a:lnTo>
                      <a:pt x="180" y="97"/>
                    </a:lnTo>
                    <a:lnTo>
                      <a:pt x="178" y="97"/>
                    </a:lnTo>
                    <a:lnTo>
                      <a:pt x="175" y="97"/>
                    </a:lnTo>
                    <a:lnTo>
                      <a:pt x="175" y="95"/>
                    </a:lnTo>
                    <a:lnTo>
                      <a:pt x="173" y="95"/>
                    </a:lnTo>
                    <a:lnTo>
                      <a:pt x="173" y="95"/>
                    </a:lnTo>
                    <a:lnTo>
                      <a:pt x="173" y="95"/>
                    </a:lnTo>
                    <a:lnTo>
                      <a:pt x="175" y="93"/>
                    </a:lnTo>
                    <a:lnTo>
                      <a:pt x="175" y="93"/>
                    </a:lnTo>
                    <a:lnTo>
                      <a:pt x="173" y="93"/>
                    </a:lnTo>
                    <a:lnTo>
                      <a:pt x="173" y="90"/>
                    </a:lnTo>
                    <a:lnTo>
                      <a:pt x="173" y="90"/>
                    </a:lnTo>
                    <a:lnTo>
                      <a:pt x="173" y="90"/>
                    </a:lnTo>
                    <a:lnTo>
                      <a:pt x="170" y="90"/>
                    </a:lnTo>
                    <a:lnTo>
                      <a:pt x="170" y="90"/>
                    </a:lnTo>
                    <a:lnTo>
                      <a:pt x="168" y="90"/>
                    </a:lnTo>
                    <a:lnTo>
                      <a:pt x="168" y="90"/>
                    </a:lnTo>
                    <a:lnTo>
                      <a:pt x="168" y="90"/>
                    </a:lnTo>
                    <a:lnTo>
                      <a:pt x="166" y="90"/>
                    </a:lnTo>
                    <a:lnTo>
                      <a:pt x="166" y="90"/>
                    </a:lnTo>
                    <a:lnTo>
                      <a:pt x="163" y="90"/>
                    </a:lnTo>
                    <a:lnTo>
                      <a:pt x="161" y="90"/>
                    </a:lnTo>
                    <a:lnTo>
                      <a:pt x="159" y="90"/>
                    </a:lnTo>
                    <a:lnTo>
                      <a:pt x="159" y="90"/>
                    </a:lnTo>
                    <a:lnTo>
                      <a:pt x="156" y="93"/>
                    </a:lnTo>
                    <a:lnTo>
                      <a:pt x="156" y="93"/>
                    </a:lnTo>
                    <a:lnTo>
                      <a:pt x="156" y="95"/>
                    </a:lnTo>
                    <a:lnTo>
                      <a:pt x="156" y="95"/>
                    </a:lnTo>
                    <a:lnTo>
                      <a:pt x="159" y="100"/>
                    </a:lnTo>
                    <a:lnTo>
                      <a:pt x="159" y="100"/>
                    </a:lnTo>
                    <a:lnTo>
                      <a:pt x="156" y="102"/>
                    </a:lnTo>
                    <a:lnTo>
                      <a:pt x="156" y="102"/>
                    </a:lnTo>
                    <a:lnTo>
                      <a:pt x="154" y="104"/>
                    </a:lnTo>
                    <a:lnTo>
                      <a:pt x="152" y="104"/>
                    </a:lnTo>
                    <a:lnTo>
                      <a:pt x="149" y="104"/>
                    </a:lnTo>
                    <a:lnTo>
                      <a:pt x="147" y="104"/>
                    </a:lnTo>
                    <a:lnTo>
                      <a:pt x="144" y="104"/>
                    </a:lnTo>
                    <a:lnTo>
                      <a:pt x="144" y="107"/>
                    </a:lnTo>
                    <a:lnTo>
                      <a:pt x="144" y="109"/>
                    </a:lnTo>
                    <a:lnTo>
                      <a:pt x="144" y="109"/>
                    </a:lnTo>
                    <a:lnTo>
                      <a:pt x="144" y="112"/>
                    </a:lnTo>
                    <a:lnTo>
                      <a:pt x="144" y="114"/>
                    </a:lnTo>
                    <a:lnTo>
                      <a:pt x="147" y="119"/>
                    </a:lnTo>
                    <a:lnTo>
                      <a:pt x="149" y="123"/>
                    </a:lnTo>
                    <a:lnTo>
                      <a:pt x="149" y="123"/>
                    </a:lnTo>
                    <a:lnTo>
                      <a:pt x="152" y="126"/>
                    </a:lnTo>
                    <a:lnTo>
                      <a:pt x="152" y="128"/>
                    </a:lnTo>
                    <a:lnTo>
                      <a:pt x="152" y="128"/>
                    </a:lnTo>
                    <a:lnTo>
                      <a:pt x="152" y="131"/>
                    </a:lnTo>
                    <a:lnTo>
                      <a:pt x="152" y="133"/>
                    </a:lnTo>
                    <a:lnTo>
                      <a:pt x="152" y="133"/>
                    </a:lnTo>
                    <a:lnTo>
                      <a:pt x="149" y="133"/>
                    </a:lnTo>
                    <a:lnTo>
                      <a:pt x="147" y="133"/>
                    </a:lnTo>
                    <a:lnTo>
                      <a:pt x="144" y="135"/>
                    </a:lnTo>
                    <a:lnTo>
                      <a:pt x="144" y="135"/>
                    </a:lnTo>
                    <a:lnTo>
                      <a:pt x="142" y="138"/>
                    </a:lnTo>
                    <a:lnTo>
                      <a:pt x="142" y="138"/>
                    </a:lnTo>
                    <a:lnTo>
                      <a:pt x="140" y="138"/>
                    </a:lnTo>
                    <a:lnTo>
                      <a:pt x="140" y="135"/>
                    </a:lnTo>
                    <a:lnTo>
                      <a:pt x="137" y="135"/>
                    </a:lnTo>
                    <a:lnTo>
                      <a:pt x="137" y="135"/>
                    </a:lnTo>
                    <a:lnTo>
                      <a:pt x="135" y="135"/>
                    </a:lnTo>
                    <a:lnTo>
                      <a:pt x="133" y="135"/>
                    </a:lnTo>
                    <a:lnTo>
                      <a:pt x="130" y="135"/>
                    </a:lnTo>
                    <a:lnTo>
                      <a:pt x="128" y="135"/>
                    </a:lnTo>
                    <a:lnTo>
                      <a:pt x="128" y="135"/>
                    </a:lnTo>
                    <a:lnTo>
                      <a:pt x="123" y="135"/>
                    </a:lnTo>
                    <a:lnTo>
                      <a:pt x="121" y="133"/>
                    </a:lnTo>
                    <a:lnTo>
                      <a:pt x="121" y="133"/>
                    </a:lnTo>
                    <a:lnTo>
                      <a:pt x="116" y="133"/>
                    </a:lnTo>
                    <a:lnTo>
                      <a:pt x="111" y="131"/>
                    </a:lnTo>
                    <a:lnTo>
                      <a:pt x="111" y="131"/>
                    </a:lnTo>
                    <a:lnTo>
                      <a:pt x="109" y="131"/>
                    </a:lnTo>
                    <a:lnTo>
                      <a:pt x="109" y="131"/>
                    </a:lnTo>
                    <a:lnTo>
                      <a:pt x="109" y="133"/>
                    </a:lnTo>
                    <a:lnTo>
                      <a:pt x="111" y="135"/>
                    </a:lnTo>
                    <a:lnTo>
                      <a:pt x="109" y="142"/>
                    </a:lnTo>
                    <a:lnTo>
                      <a:pt x="109" y="147"/>
                    </a:lnTo>
                    <a:lnTo>
                      <a:pt x="109" y="152"/>
                    </a:lnTo>
                    <a:lnTo>
                      <a:pt x="109" y="154"/>
                    </a:lnTo>
                    <a:lnTo>
                      <a:pt x="109" y="159"/>
                    </a:lnTo>
                    <a:lnTo>
                      <a:pt x="109" y="161"/>
                    </a:lnTo>
                    <a:lnTo>
                      <a:pt x="109" y="164"/>
                    </a:lnTo>
                    <a:lnTo>
                      <a:pt x="109" y="164"/>
                    </a:lnTo>
                    <a:lnTo>
                      <a:pt x="109" y="164"/>
                    </a:lnTo>
                    <a:lnTo>
                      <a:pt x="111" y="166"/>
                    </a:lnTo>
                    <a:lnTo>
                      <a:pt x="114" y="166"/>
                    </a:lnTo>
                    <a:lnTo>
                      <a:pt x="116" y="166"/>
                    </a:lnTo>
                    <a:lnTo>
                      <a:pt x="116" y="168"/>
                    </a:lnTo>
                    <a:lnTo>
                      <a:pt x="116" y="168"/>
                    </a:lnTo>
                    <a:lnTo>
                      <a:pt x="116" y="171"/>
                    </a:lnTo>
                    <a:lnTo>
                      <a:pt x="116" y="173"/>
                    </a:lnTo>
                    <a:lnTo>
                      <a:pt x="116" y="173"/>
                    </a:lnTo>
                    <a:lnTo>
                      <a:pt x="116" y="173"/>
                    </a:lnTo>
                    <a:lnTo>
                      <a:pt x="114" y="171"/>
                    </a:lnTo>
                    <a:lnTo>
                      <a:pt x="111" y="171"/>
                    </a:lnTo>
                    <a:lnTo>
                      <a:pt x="111" y="171"/>
                    </a:lnTo>
                    <a:lnTo>
                      <a:pt x="109" y="171"/>
                    </a:lnTo>
                    <a:lnTo>
                      <a:pt x="107" y="173"/>
                    </a:lnTo>
                    <a:lnTo>
                      <a:pt x="107" y="173"/>
                    </a:lnTo>
                    <a:lnTo>
                      <a:pt x="104" y="171"/>
                    </a:lnTo>
                    <a:lnTo>
                      <a:pt x="104" y="171"/>
                    </a:lnTo>
                    <a:lnTo>
                      <a:pt x="102" y="168"/>
                    </a:lnTo>
                    <a:lnTo>
                      <a:pt x="99" y="168"/>
                    </a:lnTo>
                    <a:lnTo>
                      <a:pt x="99" y="168"/>
                    </a:lnTo>
                    <a:lnTo>
                      <a:pt x="95" y="171"/>
                    </a:lnTo>
                    <a:lnTo>
                      <a:pt x="90" y="171"/>
                    </a:lnTo>
                    <a:lnTo>
                      <a:pt x="88" y="173"/>
                    </a:lnTo>
                    <a:lnTo>
                      <a:pt x="88" y="173"/>
                    </a:lnTo>
                    <a:lnTo>
                      <a:pt x="85" y="173"/>
                    </a:lnTo>
                    <a:lnTo>
                      <a:pt x="83" y="173"/>
                    </a:lnTo>
                    <a:lnTo>
                      <a:pt x="81" y="173"/>
                    </a:lnTo>
                    <a:lnTo>
                      <a:pt x="78" y="176"/>
                    </a:lnTo>
                    <a:lnTo>
                      <a:pt x="76" y="176"/>
                    </a:lnTo>
                    <a:lnTo>
                      <a:pt x="73" y="178"/>
                    </a:lnTo>
                    <a:lnTo>
                      <a:pt x="73" y="180"/>
                    </a:lnTo>
                    <a:lnTo>
                      <a:pt x="73" y="180"/>
                    </a:lnTo>
                    <a:lnTo>
                      <a:pt x="76" y="180"/>
                    </a:lnTo>
                    <a:lnTo>
                      <a:pt x="76" y="180"/>
                    </a:lnTo>
                    <a:lnTo>
                      <a:pt x="78" y="180"/>
                    </a:lnTo>
                    <a:lnTo>
                      <a:pt x="81" y="180"/>
                    </a:lnTo>
                    <a:lnTo>
                      <a:pt x="83" y="183"/>
                    </a:lnTo>
                    <a:lnTo>
                      <a:pt x="85" y="183"/>
                    </a:lnTo>
                    <a:lnTo>
                      <a:pt x="85" y="183"/>
                    </a:lnTo>
                    <a:lnTo>
                      <a:pt x="85" y="183"/>
                    </a:lnTo>
                    <a:lnTo>
                      <a:pt x="83" y="183"/>
                    </a:lnTo>
                    <a:lnTo>
                      <a:pt x="83" y="185"/>
                    </a:lnTo>
                    <a:lnTo>
                      <a:pt x="83" y="185"/>
                    </a:lnTo>
                    <a:lnTo>
                      <a:pt x="83" y="185"/>
                    </a:lnTo>
                    <a:lnTo>
                      <a:pt x="85" y="187"/>
                    </a:lnTo>
                    <a:lnTo>
                      <a:pt x="85" y="190"/>
                    </a:lnTo>
                    <a:lnTo>
                      <a:pt x="85" y="192"/>
                    </a:lnTo>
                    <a:lnTo>
                      <a:pt x="88" y="194"/>
                    </a:lnTo>
                    <a:lnTo>
                      <a:pt x="88" y="194"/>
                    </a:lnTo>
                    <a:lnTo>
                      <a:pt x="88" y="197"/>
                    </a:lnTo>
                    <a:lnTo>
                      <a:pt x="90" y="199"/>
                    </a:lnTo>
                    <a:lnTo>
                      <a:pt x="90" y="199"/>
                    </a:lnTo>
                    <a:lnTo>
                      <a:pt x="95" y="204"/>
                    </a:lnTo>
                    <a:lnTo>
                      <a:pt x="95" y="206"/>
                    </a:lnTo>
                    <a:lnTo>
                      <a:pt x="97" y="209"/>
                    </a:lnTo>
                    <a:lnTo>
                      <a:pt x="97" y="211"/>
                    </a:lnTo>
                    <a:lnTo>
                      <a:pt x="97" y="211"/>
                    </a:lnTo>
                    <a:lnTo>
                      <a:pt x="99" y="213"/>
                    </a:lnTo>
                    <a:lnTo>
                      <a:pt x="99" y="213"/>
                    </a:lnTo>
                    <a:lnTo>
                      <a:pt x="99" y="213"/>
                    </a:lnTo>
                    <a:lnTo>
                      <a:pt x="102" y="216"/>
                    </a:lnTo>
                    <a:lnTo>
                      <a:pt x="99" y="216"/>
                    </a:lnTo>
                    <a:lnTo>
                      <a:pt x="97" y="216"/>
                    </a:lnTo>
                    <a:lnTo>
                      <a:pt x="97" y="216"/>
                    </a:lnTo>
                    <a:lnTo>
                      <a:pt x="95" y="218"/>
                    </a:lnTo>
                    <a:lnTo>
                      <a:pt x="95" y="218"/>
                    </a:lnTo>
                    <a:lnTo>
                      <a:pt x="95" y="218"/>
                    </a:lnTo>
                    <a:lnTo>
                      <a:pt x="95" y="218"/>
                    </a:lnTo>
                    <a:lnTo>
                      <a:pt x="97" y="218"/>
                    </a:lnTo>
                    <a:lnTo>
                      <a:pt x="97" y="221"/>
                    </a:lnTo>
                    <a:lnTo>
                      <a:pt x="99" y="221"/>
                    </a:lnTo>
                    <a:lnTo>
                      <a:pt x="97" y="221"/>
                    </a:lnTo>
                    <a:lnTo>
                      <a:pt x="95" y="223"/>
                    </a:lnTo>
                    <a:lnTo>
                      <a:pt x="92" y="223"/>
                    </a:lnTo>
                    <a:lnTo>
                      <a:pt x="92" y="225"/>
                    </a:lnTo>
                    <a:lnTo>
                      <a:pt x="95" y="225"/>
                    </a:lnTo>
                    <a:lnTo>
                      <a:pt x="95" y="228"/>
                    </a:lnTo>
                    <a:lnTo>
                      <a:pt x="95" y="230"/>
                    </a:lnTo>
                    <a:lnTo>
                      <a:pt x="97" y="232"/>
                    </a:lnTo>
                    <a:lnTo>
                      <a:pt x="97" y="232"/>
                    </a:lnTo>
                    <a:lnTo>
                      <a:pt x="97" y="235"/>
                    </a:lnTo>
                    <a:lnTo>
                      <a:pt x="97" y="235"/>
                    </a:lnTo>
                    <a:lnTo>
                      <a:pt x="97" y="235"/>
                    </a:lnTo>
                    <a:lnTo>
                      <a:pt x="99" y="237"/>
                    </a:lnTo>
                    <a:lnTo>
                      <a:pt x="99" y="237"/>
                    </a:lnTo>
                    <a:lnTo>
                      <a:pt x="99" y="237"/>
                    </a:lnTo>
                    <a:lnTo>
                      <a:pt x="92" y="237"/>
                    </a:lnTo>
                    <a:lnTo>
                      <a:pt x="92" y="239"/>
                    </a:lnTo>
                    <a:lnTo>
                      <a:pt x="92" y="239"/>
                    </a:lnTo>
                    <a:lnTo>
                      <a:pt x="88" y="242"/>
                    </a:lnTo>
                    <a:lnTo>
                      <a:pt x="85" y="242"/>
                    </a:lnTo>
                    <a:lnTo>
                      <a:pt x="85" y="242"/>
                    </a:lnTo>
                    <a:lnTo>
                      <a:pt x="83" y="244"/>
                    </a:lnTo>
                    <a:lnTo>
                      <a:pt x="76" y="247"/>
                    </a:lnTo>
                    <a:lnTo>
                      <a:pt x="73" y="249"/>
                    </a:lnTo>
                    <a:lnTo>
                      <a:pt x="71" y="251"/>
                    </a:lnTo>
                    <a:lnTo>
                      <a:pt x="71" y="251"/>
                    </a:lnTo>
                    <a:lnTo>
                      <a:pt x="71" y="251"/>
                    </a:lnTo>
                    <a:lnTo>
                      <a:pt x="71" y="254"/>
                    </a:lnTo>
                    <a:lnTo>
                      <a:pt x="69" y="258"/>
                    </a:lnTo>
                    <a:lnTo>
                      <a:pt x="66" y="258"/>
                    </a:lnTo>
                    <a:lnTo>
                      <a:pt x="64" y="258"/>
                    </a:lnTo>
                    <a:lnTo>
                      <a:pt x="62" y="258"/>
                    </a:lnTo>
                    <a:lnTo>
                      <a:pt x="59" y="258"/>
                    </a:lnTo>
                    <a:lnTo>
                      <a:pt x="55" y="258"/>
                    </a:lnTo>
                    <a:lnTo>
                      <a:pt x="52" y="258"/>
                    </a:lnTo>
                    <a:lnTo>
                      <a:pt x="50" y="258"/>
                    </a:lnTo>
                    <a:lnTo>
                      <a:pt x="47" y="258"/>
                    </a:lnTo>
                    <a:lnTo>
                      <a:pt x="47" y="258"/>
                    </a:lnTo>
                    <a:lnTo>
                      <a:pt x="45" y="263"/>
                    </a:lnTo>
                    <a:lnTo>
                      <a:pt x="45" y="263"/>
                    </a:lnTo>
                    <a:lnTo>
                      <a:pt x="45" y="263"/>
                    </a:lnTo>
                    <a:lnTo>
                      <a:pt x="45" y="266"/>
                    </a:lnTo>
                    <a:lnTo>
                      <a:pt x="45" y="268"/>
                    </a:lnTo>
                    <a:lnTo>
                      <a:pt x="45" y="270"/>
                    </a:lnTo>
                    <a:lnTo>
                      <a:pt x="45" y="270"/>
                    </a:lnTo>
                    <a:lnTo>
                      <a:pt x="43" y="273"/>
                    </a:lnTo>
                    <a:lnTo>
                      <a:pt x="43" y="273"/>
                    </a:lnTo>
                    <a:lnTo>
                      <a:pt x="40" y="270"/>
                    </a:lnTo>
                    <a:lnTo>
                      <a:pt x="40" y="270"/>
                    </a:lnTo>
                    <a:lnTo>
                      <a:pt x="40" y="273"/>
                    </a:lnTo>
                    <a:lnTo>
                      <a:pt x="38" y="273"/>
                    </a:lnTo>
                    <a:lnTo>
                      <a:pt x="36" y="273"/>
                    </a:lnTo>
                    <a:lnTo>
                      <a:pt x="36" y="273"/>
                    </a:lnTo>
                    <a:lnTo>
                      <a:pt x="31" y="273"/>
                    </a:lnTo>
                    <a:lnTo>
                      <a:pt x="31" y="273"/>
                    </a:lnTo>
                    <a:lnTo>
                      <a:pt x="28" y="268"/>
                    </a:lnTo>
                    <a:lnTo>
                      <a:pt x="28" y="268"/>
                    </a:lnTo>
                    <a:lnTo>
                      <a:pt x="28" y="268"/>
                    </a:lnTo>
                    <a:lnTo>
                      <a:pt x="26" y="268"/>
                    </a:lnTo>
                    <a:lnTo>
                      <a:pt x="24" y="270"/>
                    </a:lnTo>
                    <a:lnTo>
                      <a:pt x="21" y="270"/>
                    </a:lnTo>
                    <a:lnTo>
                      <a:pt x="19" y="270"/>
                    </a:lnTo>
                    <a:lnTo>
                      <a:pt x="17" y="270"/>
                    </a:lnTo>
                    <a:lnTo>
                      <a:pt x="17" y="270"/>
                    </a:lnTo>
                    <a:lnTo>
                      <a:pt x="17" y="270"/>
                    </a:lnTo>
                    <a:lnTo>
                      <a:pt x="17" y="270"/>
                    </a:lnTo>
                    <a:lnTo>
                      <a:pt x="17" y="273"/>
                    </a:lnTo>
                    <a:lnTo>
                      <a:pt x="17" y="273"/>
                    </a:lnTo>
                    <a:lnTo>
                      <a:pt x="17" y="273"/>
                    </a:lnTo>
                    <a:lnTo>
                      <a:pt x="14" y="273"/>
                    </a:lnTo>
                    <a:lnTo>
                      <a:pt x="14" y="275"/>
                    </a:lnTo>
                    <a:lnTo>
                      <a:pt x="10" y="277"/>
                    </a:lnTo>
                    <a:lnTo>
                      <a:pt x="7" y="277"/>
                    </a:lnTo>
                    <a:lnTo>
                      <a:pt x="5" y="277"/>
                    </a:lnTo>
                    <a:lnTo>
                      <a:pt x="5" y="280"/>
                    </a:lnTo>
                    <a:lnTo>
                      <a:pt x="5" y="280"/>
                    </a:lnTo>
                    <a:lnTo>
                      <a:pt x="2" y="280"/>
                    </a:lnTo>
                    <a:lnTo>
                      <a:pt x="2" y="280"/>
                    </a:lnTo>
                    <a:lnTo>
                      <a:pt x="2" y="282"/>
                    </a:lnTo>
                    <a:lnTo>
                      <a:pt x="2" y="282"/>
                    </a:lnTo>
                    <a:lnTo>
                      <a:pt x="2" y="282"/>
                    </a:lnTo>
                    <a:lnTo>
                      <a:pt x="5" y="284"/>
                    </a:lnTo>
                    <a:lnTo>
                      <a:pt x="5" y="287"/>
                    </a:lnTo>
                    <a:lnTo>
                      <a:pt x="5" y="287"/>
                    </a:lnTo>
                    <a:lnTo>
                      <a:pt x="5" y="287"/>
                    </a:lnTo>
                    <a:lnTo>
                      <a:pt x="5" y="289"/>
                    </a:lnTo>
                    <a:lnTo>
                      <a:pt x="2" y="289"/>
                    </a:lnTo>
                    <a:lnTo>
                      <a:pt x="0" y="289"/>
                    </a:lnTo>
                    <a:lnTo>
                      <a:pt x="0" y="292"/>
                    </a:lnTo>
                    <a:lnTo>
                      <a:pt x="2" y="294"/>
                    </a:lnTo>
                    <a:lnTo>
                      <a:pt x="2" y="294"/>
                    </a:lnTo>
                    <a:lnTo>
                      <a:pt x="5" y="296"/>
                    </a:lnTo>
                    <a:lnTo>
                      <a:pt x="5" y="299"/>
                    </a:lnTo>
                    <a:lnTo>
                      <a:pt x="7" y="299"/>
                    </a:lnTo>
                    <a:lnTo>
                      <a:pt x="7" y="301"/>
                    </a:lnTo>
                    <a:lnTo>
                      <a:pt x="7" y="301"/>
                    </a:lnTo>
                    <a:lnTo>
                      <a:pt x="5" y="301"/>
                    </a:lnTo>
                    <a:lnTo>
                      <a:pt x="5" y="301"/>
                    </a:lnTo>
                    <a:lnTo>
                      <a:pt x="5" y="303"/>
                    </a:lnTo>
                    <a:lnTo>
                      <a:pt x="5" y="303"/>
                    </a:lnTo>
                    <a:lnTo>
                      <a:pt x="7" y="306"/>
                    </a:lnTo>
                    <a:lnTo>
                      <a:pt x="7" y="308"/>
                    </a:lnTo>
                    <a:lnTo>
                      <a:pt x="10" y="308"/>
                    </a:lnTo>
                    <a:lnTo>
                      <a:pt x="12" y="308"/>
                    </a:lnTo>
                    <a:lnTo>
                      <a:pt x="12" y="308"/>
                    </a:lnTo>
                    <a:lnTo>
                      <a:pt x="12" y="308"/>
                    </a:lnTo>
                    <a:lnTo>
                      <a:pt x="14" y="306"/>
                    </a:lnTo>
                    <a:lnTo>
                      <a:pt x="14" y="306"/>
                    </a:lnTo>
                    <a:lnTo>
                      <a:pt x="17" y="306"/>
                    </a:lnTo>
                    <a:lnTo>
                      <a:pt x="21" y="308"/>
                    </a:lnTo>
                    <a:lnTo>
                      <a:pt x="26" y="310"/>
                    </a:lnTo>
                    <a:lnTo>
                      <a:pt x="26" y="310"/>
                    </a:lnTo>
                    <a:lnTo>
                      <a:pt x="26" y="313"/>
                    </a:lnTo>
                    <a:lnTo>
                      <a:pt x="26" y="315"/>
                    </a:lnTo>
                    <a:lnTo>
                      <a:pt x="26" y="318"/>
                    </a:lnTo>
                    <a:lnTo>
                      <a:pt x="28" y="318"/>
                    </a:lnTo>
                    <a:lnTo>
                      <a:pt x="28" y="320"/>
                    </a:lnTo>
                    <a:lnTo>
                      <a:pt x="31" y="322"/>
                    </a:lnTo>
                    <a:lnTo>
                      <a:pt x="31" y="325"/>
                    </a:lnTo>
                    <a:lnTo>
                      <a:pt x="31" y="325"/>
                    </a:lnTo>
                    <a:lnTo>
                      <a:pt x="33" y="325"/>
                    </a:lnTo>
                    <a:lnTo>
                      <a:pt x="33" y="327"/>
                    </a:lnTo>
                    <a:lnTo>
                      <a:pt x="33" y="329"/>
                    </a:lnTo>
                    <a:lnTo>
                      <a:pt x="33" y="329"/>
                    </a:lnTo>
                    <a:lnTo>
                      <a:pt x="33" y="332"/>
                    </a:lnTo>
                    <a:lnTo>
                      <a:pt x="36" y="332"/>
                    </a:lnTo>
                    <a:lnTo>
                      <a:pt x="38" y="334"/>
                    </a:lnTo>
                    <a:lnTo>
                      <a:pt x="38" y="334"/>
                    </a:lnTo>
                    <a:lnTo>
                      <a:pt x="36" y="337"/>
                    </a:lnTo>
                    <a:lnTo>
                      <a:pt x="36" y="337"/>
                    </a:lnTo>
                    <a:lnTo>
                      <a:pt x="33" y="337"/>
                    </a:lnTo>
                    <a:lnTo>
                      <a:pt x="33" y="337"/>
                    </a:lnTo>
                    <a:lnTo>
                      <a:pt x="31" y="337"/>
                    </a:lnTo>
                    <a:lnTo>
                      <a:pt x="31" y="337"/>
                    </a:lnTo>
                    <a:lnTo>
                      <a:pt x="31" y="337"/>
                    </a:lnTo>
                    <a:lnTo>
                      <a:pt x="31" y="337"/>
                    </a:lnTo>
                    <a:lnTo>
                      <a:pt x="28" y="337"/>
                    </a:lnTo>
                    <a:lnTo>
                      <a:pt x="26" y="339"/>
                    </a:lnTo>
                    <a:lnTo>
                      <a:pt x="26" y="339"/>
                    </a:lnTo>
                    <a:lnTo>
                      <a:pt x="28" y="341"/>
                    </a:lnTo>
                    <a:lnTo>
                      <a:pt x="28" y="341"/>
                    </a:lnTo>
                    <a:lnTo>
                      <a:pt x="28" y="341"/>
                    </a:lnTo>
                    <a:lnTo>
                      <a:pt x="31" y="341"/>
                    </a:lnTo>
                    <a:lnTo>
                      <a:pt x="31" y="341"/>
                    </a:lnTo>
                    <a:lnTo>
                      <a:pt x="33" y="341"/>
                    </a:lnTo>
                    <a:lnTo>
                      <a:pt x="36" y="344"/>
                    </a:lnTo>
                    <a:lnTo>
                      <a:pt x="36" y="344"/>
                    </a:lnTo>
                    <a:lnTo>
                      <a:pt x="36" y="344"/>
                    </a:lnTo>
                    <a:lnTo>
                      <a:pt x="38" y="341"/>
                    </a:lnTo>
                    <a:lnTo>
                      <a:pt x="40" y="344"/>
                    </a:lnTo>
                    <a:lnTo>
                      <a:pt x="43" y="344"/>
                    </a:lnTo>
                    <a:lnTo>
                      <a:pt x="45" y="344"/>
                    </a:lnTo>
                    <a:lnTo>
                      <a:pt x="45" y="348"/>
                    </a:lnTo>
                    <a:lnTo>
                      <a:pt x="47" y="348"/>
                    </a:lnTo>
                    <a:lnTo>
                      <a:pt x="47" y="348"/>
                    </a:lnTo>
                    <a:lnTo>
                      <a:pt x="50" y="348"/>
                    </a:lnTo>
                    <a:lnTo>
                      <a:pt x="52" y="348"/>
                    </a:lnTo>
                    <a:lnTo>
                      <a:pt x="55" y="351"/>
                    </a:lnTo>
                    <a:lnTo>
                      <a:pt x="55" y="351"/>
                    </a:lnTo>
                    <a:lnTo>
                      <a:pt x="57" y="353"/>
                    </a:lnTo>
                    <a:lnTo>
                      <a:pt x="57" y="353"/>
                    </a:lnTo>
                    <a:lnTo>
                      <a:pt x="57" y="355"/>
                    </a:lnTo>
                    <a:lnTo>
                      <a:pt x="59" y="360"/>
                    </a:lnTo>
                    <a:lnTo>
                      <a:pt x="57" y="360"/>
                    </a:lnTo>
                    <a:lnTo>
                      <a:pt x="57" y="363"/>
                    </a:lnTo>
                    <a:lnTo>
                      <a:pt x="57" y="363"/>
                    </a:lnTo>
                    <a:lnTo>
                      <a:pt x="59" y="363"/>
                    </a:lnTo>
                    <a:lnTo>
                      <a:pt x="59" y="365"/>
                    </a:lnTo>
                    <a:lnTo>
                      <a:pt x="62" y="365"/>
                    </a:lnTo>
                    <a:lnTo>
                      <a:pt x="62" y="365"/>
                    </a:lnTo>
                    <a:lnTo>
                      <a:pt x="64" y="367"/>
                    </a:lnTo>
                    <a:lnTo>
                      <a:pt x="64" y="367"/>
                    </a:lnTo>
                    <a:lnTo>
                      <a:pt x="64" y="367"/>
                    </a:lnTo>
                    <a:lnTo>
                      <a:pt x="66" y="367"/>
                    </a:lnTo>
                    <a:lnTo>
                      <a:pt x="69" y="367"/>
                    </a:lnTo>
                    <a:lnTo>
                      <a:pt x="69" y="365"/>
                    </a:lnTo>
                    <a:lnTo>
                      <a:pt x="71" y="370"/>
                    </a:lnTo>
                    <a:lnTo>
                      <a:pt x="71" y="370"/>
                    </a:lnTo>
                    <a:lnTo>
                      <a:pt x="73" y="370"/>
                    </a:lnTo>
                    <a:lnTo>
                      <a:pt x="73" y="372"/>
                    </a:lnTo>
                    <a:lnTo>
                      <a:pt x="76" y="372"/>
                    </a:lnTo>
                    <a:lnTo>
                      <a:pt x="81" y="374"/>
                    </a:lnTo>
                    <a:lnTo>
                      <a:pt x="85" y="374"/>
                    </a:lnTo>
                    <a:lnTo>
                      <a:pt x="88" y="374"/>
                    </a:lnTo>
                    <a:lnTo>
                      <a:pt x="88" y="374"/>
                    </a:lnTo>
                    <a:lnTo>
                      <a:pt x="90" y="374"/>
                    </a:lnTo>
                    <a:lnTo>
                      <a:pt x="92" y="374"/>
                    </a:lnTo>
                    <a:lnTo>
                      <a:pt x="92" y="374"/>
                    </a:lnTo>
                    <a:lnTo>
                      <a:pt x="95" y="374"/>
                    </a:lnTo>
                    <a:lnTo>
                      <a:pt x="95" y="374"/>
                    </a:lnTo>
                    <a:lnTo>
                      <a:pt x="95" y="374"/>
                    </a:lnTo>
                    <a:lnTo>
                      <a:pt x="95" y="374"/>
                    </a:lnTo>
                    <a:lnTo>
                      <a:pt x="97" y="374"/>
                    </a:lnTo>
                    <a:lnTo>
                      <a:pt x="97" y="374"/>
                    </a:lnTo>
                    <a:lnTo>
                      <a:pt x="97" y="374"/>
                    </a:lnTo>
                    <a:lnTo>
                      <a:pt x="97" y="374"/>
                    </a:lnTo>
                    <a:lnTo>
                      <a:pt x="97" y="379"/>
                    </a:lnTo>
                    <a:lnTo>
                      <a:pt x="99" y="379"/>
                    </a:lnTo>
                    <a:lnTo>
                      <a:pt x="99" y="382"/>
                    </a:lnTo>
                    <a:lnTo>
                      <a:pt x="102" y="386"/>
                    </a:lnTo>
                    <a:lnTo>
                      <a:pt x="104" y="391"/>
                    </a:lnTo>
                    <a:lnTo>
                      <a:pt x="107" y="393"/>
                    </a:lnTo>
                    <a:lnTo>
                      <a:pt x="107" y="393"/>
                    </a:lnTo>
                    <a:lnTo>
                      <a:pt x="111" y="396"/>
                    </a:lnTo>
                    <a:lnTo>
                      <a:pt x="114" y="396"/>
                    </a:lnTo>
                    <a:lnTo>
                      <a:pt x="116" y="396"/>
                    </a:lnTo>
                    <a:lnTo>
                      <a:pt x="118" y="398"/>
                    </a:lnTo>
                    <a:lnTo>
                      <a:pt x="118" y="398"/>
                    </a:lnTo>
                    <a:lnTo>
                      <a:pt x="121" y="400"/>
                    </a:lnTo>
                    <a:lnTo>
                      <a:pt x="121" y="400"/>
                    </a:lnTo>
                    <a:lnTo>
                      <a:pt x="121" y="400"/>
                    </a:lnTo>
                    <a:lnTo>
                      <a:pt x="121" y="403"/>
                    </a:lnTo>
                    <a:lnTo>
                      <a:pt x="116" y="405"/>
                    </a:lnTo>
                    <a:lnTo>
                      <a:pt x="116" y="405"/>
                    </a:lnTo>
                    <a:lnTo>
                      <a:pt x="116" y="405"/>
                    </a:lnTo>
                    <a:lnTo>
                      <a:pt x="118" y="410"/>
                    </a:lnTo>
                    <a:lnTo>
                      <a:pt x="118" y="410"/>
                    </a:lnTo>
                    <a:lnTo>
                      <a:pt x="121" y="415"/>
                    </a:lnTo>
                    <a:lnTo>
                      <a:pt x="121" y="417"/>
                    </a:lnTo>
                    <a:lnTo>
                      <a:pt x="123" y="419"/>
                    </a:lnTo>
                    <a:lnTo>
                      <a:pt x="123" y="419"/>
                    </a:lnTo>
                    <a:lnTo>
                      <a:pt x="123" y="419"/>
                    </a:lnTo>
                    <a:lnTo>
                      <a:pt x="125" y="422"/>
                    </a:lnTo>
                    <a:lnTo>
                      <a:pt x="125" y="422"/>
                    </a:lnTo>
                    <a:lnTo>
                      <a:pt x="128" y="422"/>
                    </a:lnTo>
                    <a:lnTo>
                      <a:pt x="128" y="424"/>
                    </a:lnTo>
                    <a:lnTo>
                      <a:pt x="128" y="424"/>
                    </a:lnTo>
                    <a:lnTo>
                      <a:pt x="128" y="427"/>
                    </a:lnTo>
                    <a:lnTo>
                      <a:pt x="128" y="427"/>
                    </a:lnTo>
                    <a:lnTo>
                      <a:pt x="128" y="427"/>
                    </a:lnTo>
                    <a:lnTo>
                      <a:pt x="128" y="427"/>
                    </a:lnTo>
                    <a:lnTo>
                      <a:pt x="130" y="429"/>
                    </a:lnTo>
                    <a:lnTo>
                      <a:pt x="130" y="431"/>
                    </a:lnTo>
                    <a:lnTo>
                      <a:pt x="130" y="431"/>
                    </a:lnTo>
                    <a:lnTo>
                      <a:pt x="133" y="434"/>
                    </a:lnTo>
                    <a:lnTo>
                      <a:pt x="133" y="434"/>
                    </a:lnTo>
                    <a:lnTo>
                      <a:pt x="133" y="436"/>
                    </a:lnTo>
                    <a:lnTo>
                      <a:pt x="133" y="438"/>
                    </a:lnTo>
                    <a:lnTo>
                      <a:pt x="133" y="438"/>
                    </a:lnTo>
                    <a:lnTo>
                      <a:pt x="133" y="438"/>
                    </a:lnTo>
                    <a:lnTo>
                      <a:pt x="130" y="438"/>
                    </a:lnTo>
                    <a:lnTo>
                      <a:pt x="130" y="441"/>
                    </a:lnTo>
                    <a:lnTo>
                      <a:pt x="130" y="441"/>
                    </a:lnTo>
                    <a:lnTo>
                      <a:pt x="128" y="441"/>
                    </a:lnTo>
                    <a:lnTo>
                      <a:pt x="125" y="441"/>
                    </a:lnTo>
                    <a:lnTo>
                      <a:pt x="125" y="438"/>
                    </a:lnTo>
                    <a:lnTo>
                      <a:pt x="123" y="438"/>
                    </a:lnTo>
                    <a:lnTo>
                      <a:pt x="123" y="436"/>
                    </a:lnTo>
                    <a:lnTo>
                      <a:pt x="123" y="436"/>
                    </a:lnTo>
                    <a:lnTo>
                      <a:pt x="121" y="436"/>
                    </a:lnTo>
                    <a:lnTo>
                      <a:pt x="121" y="436"/>
                    </a:lnTo>
                    <a:lnTo>
                      <a:pt x="118" y="436"/>
                    </a:lnTo>
                    <a:lnTo>
                      <a:pt x="118" y="438"/>
                    </a:lnTo>
                    <a:lnTo>
                      <a:pt x="118" y="438"/>
                    </a:lnTo>
                    <a:lnTo>
                      <a:pt x="118" y="438"/>
                    </a:lnTo>
                    <a:lnTo>
                      <a:pt x="118" y="441"/>
                    </a:lnTo>
                    <a:lnTo>
                      <a:pt x="121" y="443"/>
                    </a:lnTo>
                    <a:lnTo>
                      <a:pt x="121" y="443"/>
                    </a:lnTo>
                    <a:lnTo>
                      <a:pt x="121" y="443"/>
                    </a:lnTo>
                    <a:lnTo>
                      <a:pt x="125" y="448"/>
                    </a:lnTo>
                    <a:lnTo>
                      <a:pt x="125" y="450"/>
                    </a:lnTo>
                    <a:lnTo>
                      <a:pt x="125" y="450"/>
                    </a:lnTo>
                    <a:lnTo>
                      <a:pt x="125" y="450"/>
                    </a:lnTo>
                    <a:lnTo>
                      <a:pt x="125" y="453"/>
                    </a:lnTo>
                    <a:lnTo>
                      <a:pt x="125" y="455"/>
                    </a:lnTo>
                    <a:lnTo>
                      <a:pt x="128" y="455"/>
                    </a:lnTo>
                    <a:lnTo>
                      <a:pt x="128" y="457"/>
                    </a:lnTo>
                    <a:lnTo>
                      <a:pt x="128" y="457"/>
                    </a:lnTo>
                    <a:lnTo>
                      <a:pt x="128" y="460"/>
                    </a:lnTo>
                    <a:lnTo>
                      <a:pt x="128" y="460"/>
                    </a:lnTo>
                    <a:lnTo>
                      <a:pt x="130" y="462"/>
                    </a:lnTo>
                    <a:lnTo>
                      <a:pt x="130" y="464"/>
                    </a:lnTo>
                    <a:lnTo>
                      <a:pt x="130" y="464"/>
                    </a:lnTo>
                    <a:lnTo>
                      <a:pt x="130" y="464"/>
                    </a:lnTo>
                    <a:lnTo>
                      <a:pt x="133" y="462"/>
                    </a:lnTo>
                    <a:lnTo>
                      <a:pt x="133" y="462"/>
                    </a:lnTo>
                    <a:lnTo>
                      <a:pt x="133" y="462"/>
                    </a:lnTo>
                    <a:lnTo>
                      <a:pt x="133" y="462"/>
                    </a:lnTo>
                    <a:lnTo>
                      <a:pt x="135" y="460"/>
                    </a:lnTo>
                    <a:lnTo>
                      <a:pt x="135" y="462"/>
                    </a:lnTo>
                    <a:lnTo>
                      <a:pt x="137" y="464"/>
                    </a:lnTo>
                    <a:lnTo>
                      <a:pt x="140" y="467"/>
                    </a:lnTo>
                    <a:lnTo>
                      <a:pt x="142" y="469"/>
                    </a:lnTo>
                    <a:lnTo>
                      <a:pt x="142" y="469"/>
                    </a:lnTo>
                    <a:lnTo>
                      <a:pt x="144" y="469"/>
                    </a:lnTo>
                    <a:lnTo>
                      <a:pt x="144" y="472"/>
                    </a:lnTo>
                    <a:lnTo>
                      <a:pt x="147" y="472"/>
                    </a:lnTo>
                    <a:lnTo>
                      <a:pt x="149" y="472"/>
                    </a:lnTo>
                    <a:lnTo>
                      <a:pt x="152" y="472"/>
                    </a:lnTo>
                    <a:lnTo>
                      <a:pt x="152" y="472"/>
                    </a:lnTo>
                    <a:lnTo>
                      <a:pt x="152" y="472"/>
                    </a:lnTo>
                    <a:lnTo>
                      <a:pt x="156" y="474"/>
                    </a:lnTo>
                    <a:lnTo>
                      <a:pt x="156" y="474"/>
                    </a:lnTo>
                    <a:lnTo>
                      <a:pt x="156" y="474"/>
                    </a:lnTo>
                    <a:lnTo>
                      <a:pt x="159" y="476"/>
                    </a:lnTo>
                    <a:lnTo>
                      <a:pt x="159" y="479"/>
                    </a:lnTo>
                    <a:lnTo>
                      <a:pt x="159" y="479"/>
                    </a:lnTo>
                    <a:lnTo>
                      <a:pt x="159" y="479"/>
                    </a:lnTo>
                    <a:lnTo>
                      <a:pt x="163" y="481"/>
                    </a:lnTo>
                    <a:lnTo>
                      <a:pt x="166" y="481"/>
                    </a:lnTo>
                    <a:lnTo>
                      <a:pt x="166" y="481"/>
                    </a:lnTo>
                    <a:lnTo>
                      <a:pt x="168" y="481"/>
                    </a:lnTo>
                    <a:lnTo>
                      <a:pt x="168" y="483"/>
                    </a:lnTo>
                    <a:lnTo>
                      <a:pt x="170" y="486"/>
                    </a:lnTo>
                    <a:lnTo>
                      <a:pt x="173" y="486"/>
                    </a:lnTo>
                    <a:lnTo>
                      <a:pt x="175" y="488"/>
                    </a:lnTo>
                    <a:lnTo>
                      <a:pt x="175" y="488"/>
                    </a:lnTo>
                    <a:lnTo>
                      <a:pt x="178" y="490"/>
                    </a:lnTo>
                    <a:lnTo>
                      <a:pt x="178" y="490"/>
                    </a:lnTo>
                    <a:lnTo>
                      <a:pt x="180" y="488"/>
                    </a:lnTo>
                    <a:lnTo>
                      <a:pt x="180" y="483"/>
                    </a:lnTo>
                    <a:lnTo>
                      <a:pt x="185" y="483"/>
                    </a:lnTo>
                    <a:lnTo>
                      <a:pt x="189" y="483"/>
                    </a:lnTo>
                    <a:lnTo>
                      <a:pt x="192" y="483"/>
                    </a:lnTo>
                    <a:lnTo>
                      <a:pt x="194" y="486"/>
                    </a:lnTo>
                    <a:lnTo>
                      <a:pt x="194" y="488"/>
                    </a:lnTo>
                    <a:lnTo>
                      <a:pt x="194" y="488"/>
                    </a:lnTo>
                    <a:lnTo>
                      <a:pt x="196" y="490"/>
                    </a:lnTo>
                    <a:lnTo>
                      <a:pt x="201" y="493"/>
                    </a:lnTo>
                    <a:lnTo>
                      <a:pt x="206" y="495"/>
                    </a:lnTo>
                    <a:lnTo>
                      <a:pt x="208" y="498"/>
                    </a:lnTo>
                    <a:lnTo>
                      <a:pt x="213" y="500"/>
                    </a:lnTo>
                    <a:lnTo>
                      <a:pt x="215" y="500"/>
                    </a:lnTo>
                    <a:lnTo>
                      <a:pt x="218" y="500"/>
                    </a:lnTo>
                    <a:lnTo>
                      <a:pt x="220" y="502"/>
                    </a:lnTo>
                    <a:lnTo>
                      <a:pt x="222" y="505"/>
                    </a:lnTo>
                    <a:lnTo>
                      <a:pt x="225" y="507"/>
                    </a:lnTo>
                    <a:lnTo>
                      <a:pt x="225" y="507"/>
                    </a:lnTo>
                    <a:lnTo>
                      <a:pt x="227" y="507"/>
                    </a:lnTo>
                    <a:lnTo>
                      <a:pt x="230" y="507"/>
                    </a:lnTo>
                    <a:lnTo>
                      <a:pt x="232" y="507"/>
                    </a:lnTo>
                    <a:lnTo>
                      <a:pt x="234" y="507"/>
                    </a:lnTo>
                    <a:lnTo>
                      <a:pt x="234" y="509"/>
                    </a:lnTo>
                    <a:lnTo>
                      <a:pt x="237" y="512"/>
                    </a:lnTo>
                    <a:lnTo>
                      <a:pt x="237" y="514"/>
                    </a:lnTo>
                    <a:lnTo>
                      <a:pt x="239" y="514"/>
                    </a:lnTo>
                    <a:lnTo>
                      <a:pt x="241" y="516"/>
                    </a:lnTo>
                    <a:lnTo>
                      <a:pt x="241" y="516"/>
                    </a:lnTo>
                    <a:lnTo>
                      <a:pt x="246" y="519"/>
                    </a:lnTo>
                    <a:lnTo>
                      <a:pt x="246" y="519"/>
                    </a:lnTo>
                    <a:lnTo>
                      <a:pt x="246" y="521"/>
                    </a:lnTo>
                    <a:lnTo>
                      <a:pt x="248" y="521"/>
                    </a:lnTo>
                    <a:lnTo>
                      <a:pt x="248" y="521"/>
                    </a:lnTo>
                    <a:lnTo>
                      <a:pt x="251" y="521"/>
                    </a:lnTo>
                    <a:lnTo>
                      <a:pt x="253" y="521"/>
                    </a:lnTo>
                    <a:lnTo>
                      <a:pt x="253" y="521"/>
                    </a:lnTo>
                    <a:lnTo>
                      <a:pt x="256" y="521"/>
                    </a:lnTo>
                    <a:lnTo>
                      <a:pt x="256" y="521"/>
                    </a:lnTo>
                    <a:lnTo>
                      <a:pt x="256" y="524"/>
                    </a:lnTo>
                    <a:lnTo>
                      <a:pt x="256" y="526"/>
                    </a:lnTo>
                    <a:lnTo>
                      <a:pt x="256" y="526"/>
                    </a:lnTo>
                    <a:lnTo>
                      <a:pt x="258" y="526"/>
                    </a:lnTo>
                    <a:lnTo>
                      <a:pt x="260" y="528"/>
                    </a:lnTo>
                    <a:lnTo>
                      <a:pt x="265" y="528"/>
                    </a:lnTo>
                    <a:lnTo>
                      <a:pt x="267" y="528"/>
                    </a:lnTo>
                    <a:lnTo>
                      <a:pt x="270" y="531"/>
                    </a:lnTo>
                    <a:lnTo>
                      <a:pt x="272" y="533"/>
                    </a:lnTo>
                    <a:lnTo>
                      <a:pt x="272" y="535"/>
                    </a:lnTo>
                    <a:lnTo>
                      <a:pt x="272" y="535"/>
                    </a:lnTo>
                    <a:lnTo>
                      <a:pt x="275" y="535"/>
                    </a:lnTo>
                    <a:lnTo>
                      <a:pt x="275" y="533"/>
                    </a:lnTo>
                    <a:lnTo>
                      <a:pt x="275" y="531"/>
                    </a:lnTo>
                    <a:lnTo>
                      <a:pt x="275" y="531"/>
                    </a:lnTo>
                    <a:lnTo>
                      <a:pt x="275" y="531"/>
                    </a:lnTo>
                    <a:lnTo>
                      <a:pt x="277" y="533"/>
                    </a:lnTo>
                    <a:lnTo>
                      <a:pt x="279" y="533"/>
                    </a:lnTo>
                    <a:lnTo>
                      <a:pt x="279" y="535"/>
                    </a:lnTo>
                    <a:lnTo>
                      <a:pt x="282" y="535"/>
                    </a:lnTo>
                    <a:lnTo>
                      <a:pt x="282" y="533"/>
                    </a:lnTo>
                    <a:lnTo>
                      <a:pt x="282" y="531"/>
                    </a:lnTo>
                    <a:lnTo>
                      <a:pt x="284" y="531"/>
                    </a:lnTo>
                    <a:lnTo>
                      <a:pt x="284" y="531"/>
                    </a:lnTo>
                    <a:lnTo>
                      <a:pt x="284" y="531"/>
                    </a:lnTo>
                    <a:lnTo>
                      <a:pt x="286" y="533"/>
                    </a:lnTo>
                    <a:lnTo>
                      <a:pt x="289" y="533"/>
                    </a:lnTo>
                    <a:lnTo>
                      <a:pt x="289" y="533"/>
                    </a:lnTo>
                    <a:lnTo>
                      <a:pt x="291" y="535"/>
                    </a:lnTo>
                    <a:lnTo>
                      <a:pt x="293" y="535"/>
                    </a:lnTo>
                    <a:lnTo>
                      <a:pt x="296" y="538"/>
                    </a:lnTo>
                    <a:lnTo>
                      <a:pt x="301" y="538"/>
                    </a:lnTo>
                    <a:lnTo>
                      <a:pt x="301" y="538"/>
                    </a:lnTo>
                    <a:lnTo>
                      <a:pt x="303" y="538"/>
                    </a:lnTo>
                    <a:lnTo>
                      <a:pt x="303" y="538"/>
                    </a:lnTo>
                    <a:lnTo>
                      <a:pt x="305" y="535"/>
                    </a:lnTo>
                    <a:lnTo>
                      <a:pt x="308" y="535"/>
                    </a:lnTo>
                    <a:lnTo>
                      <a:pt x="310" y="535"/>
                    </a:lnTo>
                    <a:lnTo>
                      <a:pt x="310" y="535"/>
                    </a:lnTo>
                    <a:lnTo>
                      <a:pt x="310" y="535"/>
                    </a:lnTo>
                    <a:lnTo>
                      <a:pt x="310" y="535"/>
                    </a:lnTo>
                    <a:lnTo>
                      <a:pt x="312" y="533"/>
                    </a:lnTo>
                    <a:lnTo>
                      <a:pt x="315" y="533"/>
                    </a:lnTo>
                    <a:lnTo>
                      <a:pt x="317" y="533"/>
                    </a:lnTo>
                    <a:lnTo>
                      <a:pt x="317" y="533"/>
                    </a:lnTo>
                    <a:lnTo>
                      <a:pt x="317" y="531"/>
                    </a:lnTo>
                    <a:lnTo>
                      <a:pt x="319" y="531"/>
                    </a:lnTo>
                    <a:lnTo>
                      <a:pt x="319" y="531"/>
                    </a:lnTo>
                    <a:lnTo>
                      <a:pt x="322" y="533"/>
                    </a:lnTo>
                    <a:lnTo>
                      <a:pt x="322" y="533"/>
                    </a:lnTo>
                    <a:lnTo>
                      <a:pt x="324" y="535"/>
                    </a:lnTo>
                    <a:lnTo>
                      <a:pt x="324" y="535"/>
                    </a:lnTo>
                    <a:lnTo>
                      <a:pt x="324" y="538"/>
                    </a:lnTo>
                    <a:lnTo>
                      <a:pt x="324" y="543"/>
                    </a:lnTo>
                    <a:lnTo>
                      <a:pt x="324" y="545"/>
                    </a:lnTo>
                    <a:lnTo>
                      <a:pt x="327" y="547"/>
                    </a:lnTo>
                    <a:lnTo>
                      <a:pt x="327" y="547"/>
                    </a:lnTo>
                    <a:lnTo>
                      <a:pt x="327" y="545"/>
                    </a:lnTo>
                    <a:lnTo>
                      <a:pt x="329" y="543"/>
                    </a:lnTo>
                    <a:lnTo>
                      <a:pt x="329" y="543"/>
                    </a:lnTo>
                    <a:lnTo>
                      <a:pt x="331" y="540"/>
                    </a:lnTo>
                    <a:lnTo>
                      <a:pt x="331" y="538"/>
                    </a:lnTo>
                    <a:lnTo>
                      <a:pt x="334" y="533"/>
                    </a:lnTo>
                    <a:lnTo>
                      <a:pt x="336" y="531"/>
                    </a:lnTo>
                    <a:lnTo>
                      <a:pt x="336" y="531"/>
                    </a:lnTo>
                    <a:lnTo>
                      <a:pt x="338" y="531"/>
                    </a:lnTo>
                    <a:lnTo>
                      <a:pt x="338" y="528"/>
                    </a:lnTo>
                    <a:lnTo>
                      <a:pt x="341" y="528"/>
                    </a:lnTo>
                    <a:lnTo>
                      <a:pt x="341" y="526"/>
                    </a:lnTo>
                    <a:lnTo>
                      <a:pt x="343" y="526"/>
                    </a:lnTo>
                    <a:lnTo>
                      <a:pt x="345" y="526"/>
                    </a:lnTo>
                    <a:lnTo>
                      <a:pt x="348" y="528"/>
                    </a:lnTo>
                    <a:lnTo>
                      <a:pt x="350" y="528"/>
                    </a:lnTo>
                    <a:lnTo>
                      <a:pt x="350" y="528"/>
                    </a:lnTo>
                    <a:lnTo>
                      <a:pt x="350" y="531"/>
                    </a:lnTo>
                    <a:lnTo>
                      <a:pt x="350" y="531"/>
                    </a:lnTo>
                    <a:lnTo>
                      <a:pt x="350" y="531"/>
                    </a:lnTo>
                    <a:lnTo>
                      <a:pt x="350" y="531"/>
                    </a:lnTo>
                    <a:lnTo>
                      <a:pt x="353" y="531"/>
                    </a:lnTo>
                    <a:lnTo>
                      <a:pt x="355" y="531"/>
                    </a:lnTo>
                    <a:lnTo>
                      <a:pt x="357" y="531"/>
                    </a:lnTo>
                    <a:lnTo>
                      <a:pt x="360" y="533"/>
                    </a:lnTo>
                    <a:lnTo>
                      <a:pt x="362" y="533"/>
                    </a:lnTo>
                    <a:lnTo>
                      <a:pt x="362" y="533"/>
                    </a:lnTo>
                    <a:lnTo>
                      <a:pt x="364" y="533"/>
                    </a:lnTo>
                    <a:lnTo>
                      <a:pt x="364" y="533"/>
                    </a:lnTo>
                    <a:lnTo>
                      <a:pt x="367" y="531"/>
                    </a:lnTo>
                    <a:lnTo>
                      <a:pt x="367" y="531"/>
                    </a:lnTo>
                    <a:lnTo>
                      <a:pt x="367" y="531"/>
                    </a:lnTo>
                    <a:lnTo>
                      <a:pt x="369" y="533"/>
                    </a:lnTo>
                    <a:lnTo>
                      <a:pt x="371" y="533"/>
                    </a:lnTo>
                    <a:lnTo>
                      <a:pt x="374" y="533"/>
                    </a:lnTo>
                    <a:lnTo>
                      <a:pt x="374" y="535"/>
                    </a:lnTo>
                    <a:lnTo>
                      <a:pt x="374" y="538"/>
                    </a:lnTo>
                    <a:lnTo>
                      <a:pt x="374" y="538"/>
                    </a:lnTo>
                    <a:lnTo>
                      <a:pt x="376" y="538"/>
                    </a:lnTo>
                    <a:lnTo>
                      <a:pt x="379" y="538"/>
                    </a:lnTo>
                    <a:lnTo>
                      <a:pt x="381" y="538"/>
                    </a:lnTo>
                    <a:lnTo>
                      <a:pt x="381" y="538"/>
                    </a:lnTo>
                    <a:lnTo>
                      <a:pt x="383" y="538"/>
                    </a:lnTo>
                    <a:lnTo>
                      <a:pt x="383" y="538"/>
                    </a:lnTo>
                    <a:lnTo>
                      <a:pt x="386" y="538"/>
                    </a:lnTo>
                    <a:lnTo>
                      <a:pt x="386" y="535"/>
                    </a:lnTo>
                    <a:lnTo>
                      <a:pt x="386" y="538"/>
                    </a:lnTo>
                    <a:lnTo>
                      <a:pt x="388" y="538"/>
                    </a:lnTo>
                    <a:lnTo>
                      <a:pt x="388" y="538"/>
                    </a:lnTo>
                    <a:lnTo>
                      <a:pt x="390" y="535"/>
                    </a:lnTo>
                    <a:lnTo>
                      <a:pt x="390" y="535"/>
                    </a:lnTo>
                    <a:lnTo>
                      <a:pt x="393" y="533"/>
                    </a:lnTo>
                    <a:lnTo>
                      <a:pt x="393" y="533"/>
                    </a:lnTo>
                    <a:lnTo>
                      <a:pt x="393" y="533"/>
                    </a:lnTo>
                    <a:lnTo>
                      <a:pt x="393" y="533"/>
                    </a:lnTo>
                    <a:lnTo>
                      <a:pt x="393" y="531"/>
                    </a:lnTo>
                    <a:lnTo>
                      <a:pt x="393" y="531"/>
                    </a:lnTo>
                    <a:lnTo>
                      <a:pt x="393" y="531"/>
                    </a:lnTo>
                    <a:lnTo>
                      <a:pt x="395" y="528"/>
                    </a:lnTo>
                    <a:lnTo>
                      <a:pt x="398" y="526"/>
                    </a:lnTo>
                    <a:lnTo>
                      <a:pt x="400" y="524"/>
                    </a:lnTo>
                    <a:lnTo>
                      <a:pt x="400" y="524"/>
                    </a:lnTo>
                    <a:lnTo>
                      <a:pt x="400" y="521"/>
                    </a:lnTo>
                    <a:lnTo>
                      <a:pt x="400" y="519"/>
                    </a:lnTo>
                    <a:lnTo>
                      <a:pt x="402" y="519"/>
                    </a:lnTo>
                    <a:lnTo>
                      <a:pt x="407" y="519"/>
                    </a:lnTo>
                    <a:lnTo>
                      <a:pt x="409" y="516"/>
                    </a:lnTo>
                    <a:lnTo>
                      <a:pt x="412" y="516"/>
                    </a:lnTo>
                    <a:lnTo>
                      <a:pt x="412" y="514"/>
                    </a:lnTo>
                    <a:lnTo>
                      <a:pt x="414" y="514"/>
                    </a:lnTo>
                    <a:lnTo>
                      <a:pt x="412" y="512"/>
                    </a:lnTo>
                    <a:lnTo>
                      <a:pt x="414" y="512"/>
                    </a:lnTo>
                    <a:lnTo>
                      <a:pt x="416" y="512"/>
                    </a:lnTo>
                    <a:lnTo>
                      <a:pt x="416" y="509"/>
                    </a:lnTo>
                    <a:lnTo>
                      <a:pt x="419" y="507"/>
                    </a:lnTo>
                    <a:lnTo>
                      <a:pt x="421" y="505"/>
                    </a:lnTo>
                    <a:lnTo>
                      <a:pt x="424" y="505"/>
                    </a:lnTo>
                    <a:lnTo>
                      <a:pt x="424" y="507"/>
                    </a:lnTo>
                    <a:lnTo>
                      <a:pt x="426" y="507"/>
                    </a:lnTo>
                    <a:lnTo>
                      <a:pt x="426" y="509"/>
                    </a:lnTo>
                    <a:lnTo>
                      <a:pt x="428" y="509"/>
                    </a:lnTo>
                    <a:lnTo>
                      <a:pt x="431" y="509"/>
                    </a:lnTo>
                    <a:lnTo>
                      <a:pt x="433" y="509"/>
                    </a:lnTo>
                    <a:lnTo>
                      <a:pt x="435" y="512"/>
                    </a:lnTo>
                    <a:lnTo>
                      <a:pt x="435" y="512"/>
                    </a:lnTo>
                    <a:lnTo>
                      <a:pt x="438" y="512"/>
                    </a:lnTo>
                    <a:lnTo>
                      <a:pt x="438" y="512"/>
                    </a:lnTo>
                    <a:lnTo>
                      <a:pt x="438" y="509"/>
                    </a:lnTo>
                    <a:lnTo>
                      <a:pt x="438" y="509"/>
                    </a:lnTo>
                    <a:lnTo>
                      <a:pt x="438" y="509"/>
                    </a:lnTo>
                    <a:lnTo>
                      <a:pt x="438" y="507"/>
                    </a:lnTo>
                    <a:lnTo>
                      <a:pt x="442" y="505"/>
                    </a:lnTo>
                    <a:lnTo>
                      <a:pt x="445" y="505"/>
                    </a:lnTo>
                    <a:lnTo>
                      <a:pt x="447" y="502"/>
                    </a:lnTo>
                    <a:lnTo>
                      <a:pt x="447" y="502"/>
                    </a:lnTo>
                    <a:lnTo>
                      <a:pt x="450" y="505"/>
                    </a:lnTo>
                    <a:lnTo>
                      <a:pt x="450" y="507"/>
                    </a:lnTo>
                    <a:lnTo>
                      <a:pt x="452" y="507"/>
                    </a:lnTo>
                    <a:lnTo>
                      <a:pt x="452" y="507"/>
                    </a:lnTo>
                    <a:lnTo>
                      <a:pt x="454" y="507"/>
                    </a:lnTo>
                    <a:lnTo>
                      <a:pt x="454" y="507"/>
                    </a:lnTo>
                    <a:lnTo>
                      <a:pt x="452" y="509"/>
                    </a:lnTo>
                    <a:lnTo>
                      <a:pt x="452" y="509"/>
                    </a:lnTo>
                    <a:lnTo>
                      <a:pt x="450" y="509"/>
                    </a:lnTo>
                    <a:lnTo>
                      <a:pt x="452" y="512"/>
                    </a:lnTo>
                    <a:lnTo>
                      <a:pt x="452" y="514"/>
                    </a:lnTo>
                    <a:lnTo>
                      <a:pt x="452" y="514"/>
                    </a:lnTo>
                    <a:lnTo>
                      <a:pt x="454" y="512"/>
                    </a:lnTo>
                    <a:lnTo>
                      <a:pt x="457" y="512"/>
                    </a:lnTo>
                    <a:lnTo>
                      <a:pt x="457" y="512"/>
                    </a:lnTo>
                    <a:lnTo>
                      <a:pt x="457" y="512"/>
                    </a:lnTo>
                    <a:lnTo>
                      <a:pt x="459" y="516"/>
                    </a:lnTo>
                    <a:lnTo>
                      <a:pt x="459" y="516"/>
                    </a:lnTo>
                    <a:lnTo>
                      <a:pt x="457" y="521"/>
                    </a:lnTo>
                    <a:lnTo>
                      <a:pt x="457" y="521"/>
                    </a:lnTo>
                    <a:lnTo>
                      <a:pt x="457" y="524"/>
                    </a:lnTo>
                    <a:lnTo>
                      <a:pt x="457" y="524"/>
                    </a:lnTo>
                    <a:lnTo>
                      <a:pt x="457" y="524"/>
                    </a:lnTo>
                    <a:lnTo>
                      <a:pt x="457" y="524"/>
                    </a:lnTo>
                    <a:lnTo>
                      <a:pt x="457" y="526"/>
                    </a:lnTo>
                    <a:lnTo>
                      <a:pt x="457" y="526"/>
                    </a:lnTo>
                    <a:lnTo>
                      <a:pt x="459" y="526"/>
                    </a:lnTo>
                    <a:lnTo>
                      <a:pt x="459" y="524"/>
                    </a:lnTo>
                    <a:lnTo>
                      <a:pt x="461" y="524"/>
                    </a:lnTo>
                    <a:lnTo>
                      <a:pt x="461" y="524"/>
                    </a:lnTo>
                    <a:lnTo>
                      <a:pt x="466" y="526"/>
                    </a:lnTo>
                    <a:lnTo>
                      <a:pt x="466" y="526"/>
                    </a:lnTo>
                    <a:lnTo>
                      <a:pt x="468" y="526"/>
                    </a:lnTo>
                    <a:lnTo>
                      <a:pt x="471" y="526"/>
                    </a:lnTo>
                    <a:lnTo>
                      <a:pt x="471" y="526"/>
                    </a:lnTo>
                    <a:lnTo>
                      <a:pt x="476" y="528"/>
                    </a:lnTo>
                    <a:lnTo>
                      <a:pt x="476" y="528"/>
                    </a:lnTo>
                    <a:lnTo>
                      <a:pt x="476" y="528"/>
                    </a:lnTo>
                    <a:lnTo>
                      <a:pt x="478" y="526"/>
                    </a:lnTo>
                    <a:lnTo>
                      <a:pt x="478" y="524"/>
                    </a:lnTo>
                    <a:lnTo>
                      <a:pt x="478" y="524"/>
                    </a:lnTo>
                    <a:lnTo>
                      <a:pt x="478" y="521"/>
                    </a:lnTo>
                    <a:lnTo>
                      <a:pt x="480" y="521"/>
                    </a:lnTo>
                    <a:lnTo>
                      <a:pt x="480" y="524"/>
                    </a:lnTo>
                    <a:lnTo>
                      <a:pt x="480" y="524"/>
                    </a:lnTo>
                    <a:lnTo>
                      <a:pt x="483" y="524"/>
                    </a:lnTo>
                    <a:lnTo>
                      <a:pt x="483" y="526"/>
                    </a:lnTo>
                    <a:lnTo>
                      <a:pt x="483" y="526"/>
                    </a:lnTo>
                    <a:lnTo>
                      <a:pt x="485" y="526"/>
                    </a:lnTo>
                    <a:lnTo>
                      <a:pt x="485" y="526"/>
                    </a:lnTo>
                    <a:lnTo>
                      <a:pt x="485" y="526"/>
                    </a:lnTo>
                    <a:lnTo>
                      <a:pt x="487" y="528"/>
                    </a:lnTo>
                    <a:lnTo>
                      <a:pt x="490" y="528"/>
                    </a:lnTo>
                    <a:lnTo>
                      <a:pt x="490" y="531"/>
                    </a:lnTo>
                    <a:lnTo>
                      <a:pt x="490" y="533"/>
                    </a:lnTo>
                    <a:lnTo>
                      <a:pt x="492" y="533"/>
                    </a:lnTo>
                    <a:lnTo>
                      <a:pt x="495" y="540"/>
                    </a:lnTo>
                    <a:lnTo>
                      <a:pt x="495" y="543"/>
                    </a:lnTo>
                    <a:lnTo>
                      <a:pt x="497" y="543"/>
                    </a:lnTo>
                    <a:lnTo>
                      <a:pt x="497" y="543"/>
                    </a:lnTo>
                    <a:lnTo>
                      <a:pt x="497" y="543"/>
                    </a:lnTo>
                    <a:lnTo>
                      <a:pt x="497" y="540"/>
                    </a:lnTo>
                    <a:lnTo>
                      <a:pt x="499" y="540"/>
                    </a:lnTo>
                    <a:lnTo>
                      <a:pt x="499" y="540"/>
                    </a:lnTo>
                    <a:lnTo>
                      <a:pt x="502" y="543"/>
                    </a:lnTo>
                    <a:lnTo>
                      <a:pt x="502" y="543"/>
                    </a:lnTo>
                    <a:lnTo>
                      <a:pt x="504" y="545"/>
                    </a:lnTo>
                    <a:lnTo>
                      <a:pt x="504" y="550"/>
                    </a:lnTo>
                    <a:lnTo>
                      <a:pt x="504" y="550"/>
                    </a:lnTo>
                    <a:lnTo>
                      <a:pt x="506" y="554"/>
                    </a:lnTo>
                    <a:lnTo>
                      <a:pt x="506" y="557"/>
                    </a:lnTo>
                    <a:lnTo>
                      <a:pt x="506" y="559"/>
                    </a:lnTo>
                    <a:lnTo>
                      <a:pt x="506" y="561"/>
                    </a:lnTo>
                    <a:lnTo>
                      <a:pt x="509" y="564"/>
                    </a:lnTo>
                    <a:lnTo>
                      <a:pt x="509" y="566"/>
                    </a:lnTo>
                    <a:lnTo>
                      <a:pt x="509" y="569"/>
                    </a:lnTo>
                    <a:lnTo>
                      <a:pt x="509" y="571"/>
                    </a:lnTo>
                    <a:lnTo>
                      <a:pt x="509" y="573"/>
                    </a:lnTo>
                    <a:lnTo>
                      <a:pt x="506" y="573"/>
                    </a:lnTo>
                    <a:lnTo>
                      <a:pt x="506" y="573"/>
                    </a:lnTo>
                    <a:lnTo>
                      <a:pt x="509" y="576"/>
                    </a:lnTo>
                    <a:lnTo>
                      <a:pt x="509" y="578"/>
                    </a:lnTo>
                    <a:lnTo>
                      <a:pt x="509" y="578"/>
                    </a:lnTo>
                    <a:lnTo>
                      <a:pt x="509" y="578"/>
                    </a:lnTo>
                    <a:lnTo>
                      <a:pt x="509" y="578"/>
                    </a:lnTo>
                    <a:lnTo>
                      <a:pt x="506" y="580"/>
                    </a:lnTo>
                    <a:lnTo>
                      <a:pt x="506" y="583"/>
                    </a:lnTo>
                    <a:lnTo>
                      <a:pt x="504" y="585"/>
                    </a:lnTo>
                    <a:lnTo>
                      <a:pt x="504" y="585"/>
                    </a:lnTo>
                    <a:lnTo>
                      <a:pt x="502" y="585"/>
                    </a:lnTo>
                    <a:lnTo>
                      <a:pt x="502" y="585"/>
                    </a:lnTo>
                    <a:lnTo>
                      <a:pt x="502" y="588"/>
                    </a:lnTo>
                    <a:lnTo>
                      <a:pt x="499" y="590"/>
                    </a:lnTo>
                    <a:lnTo>
                      <a:pt x="499" y="590"/>
                    </a:lnTo>
                    <a:lnTo>
                      <a:pt x="499" y="592"/>
                    </a:lnTo>
                    <a:lnTo>
                      <a:pt x="499" y="592"/>
                    </a:lnTo>
                    <a:lnTo>
                      <a:pt x="497" y="592"/>
                    </a:lnTo>
                    <a:lnTo>
                      <a:pt x="497" y="592"/>
                    </a:lnTo>
                    <a:lnTo>
                      <a:pt x="495" y="597"/>
                    </a:lnTo>
                    <a:lnTo>
                      <a:pt x="495" y="597"/>
                    </a:lnTo>
                    <a:lnTo>
                      <a:pt x="497" y="599"/>
                    </a:lnTo>
                    <a:lnTo>
                      <a:pt x="497" y="599"/>
                    </a:lnTo>
                    <a:lnTo>
                      <a:pt x="495" y="599"/>
                    </a:lnTo>
                    <a:lnTo>
                      <a:pt x="495" y="602"/>
                    </a:lnTo>
                    <a:lnTo>
                      <a:pt x="492" y="604"/>
                    </a:lnTo>
                    <a:lnTo>
                      <a:pt x="495" y="606"/>
                    </a:lnTo>
                    <a:lnTo>
                      <a:pt x="495" y="609"/>
                    </a:lnTo>
                    <a:lnTo>
                      <a:pt x="495" y="609"/>
                    </a:lnTo>
                    <a:lnTo>
                      <a:pt x="497" y="609"/>
                    </a:lnTo>
                    <a:lnTo>
                      <a:pt x="497" y="611"/>
                    </a:lnTo>
                    <a:lnTo>
                      <a:pt x="497" y="614"/>
                    </a:lnTo>
                    <a:lnTo>
                      <a:pt x="497" y="616"/>
                    </a:lnTo>
                    <a:lnTo>
                      <a:pt x="497" y="618"/>
                    </a:lnTo>
                    <a:lnTo>
                      <a:pt x="497" y="621"/>
                    </a:lnTo>
                    <a:lnTo>
                      <a:pt x="497" y="621"/>
                    </a:lnTo>
                    <a:lnTo>
                      <a:pt x="499" y="621"/>
                    </a:lnTo>
                    <a:lnTo>
                      <a:pt x="499" y="618"/>
                    </a:lnTo>
                    <a:lnTo>
                      <a:pt x="502" y="618"/>
                    </a:lnTo>
                    <a:lnTo>
                      <a:pt x="504" y="616"/>
                    </a:lnTo>
                    <a:lnTo>
                      <a:pt x="506" y="616"/>
                    </a:lnTo>
                    <a:lnTo>
                      <a:pt x="511" y="616"/>
                    </a:lnTo>
                    <a:lnTo>
                      <a:pt x="513" y="616"/>
                    </a:lnTo>
                    <a:lnTo>
                      <a:pt x="513" y="616"/>
                    </a:lnTo>
                    <a:lnTo>
                      <a:pt x="513" y="616"/>
                    </a:lnTo>
                    <a:lnTo>
                      <a:pt x="518" y="616"/>
                    </a:lnTo>
                    <a:lnTo>
                      <a:pt x="518" y="616"/>
                    </a:lnTo>
                    <a:lnTo>
                      <a:pt x="518" y="616"/>
                    </a:lnTo>
                    <a:lnTo>
                      <a:pt x="518" y="616"/>
                    </a:lnTo>
                    <a:lnTo>
                      <a:pt x="516" y="618"/>
                    </a:lnTo>
                    <a:lnTo>
                      <a:pt x="516" y="621"/>
                    </a:lnTo>
                    <a:lnTo>
                      <a:pt x="516" y="621"/>
                    </a:lnTo>
                    <a:lnTo>
                      <a:pt x="518" y="623"/>
                    </a:lnTo>
                    <a:lnTo>
                      <a:pt x="518" y="623"/>
                    </a:lnTo>
                    <a:lnTo>
                      <a:pt x="521" y="625"/>
                    </a:lnTo>
                    <a:lnTo>
                      <a:pt x="521" y="628"/>
                    </a:lnTo>
                    <a:lnTo>
                      <a:pt x="521" y="628"/>
                    </a:lnTo>
                    <a:lnTo>
                      <a:pt x="521" y="630"/>
                    </a:lnTo>
                    <a:lnTo>
                      <a:pt x="523" y="630"/>
                    </a:lnTo>
                    <a:lnTo>
                      <a:pt x="523" y="633"/>
                    </a:lnTo>
                    <a:lnTo>
                      <a:pt x="523" y="635"/>
                    </a:lnTo>
                    <a:lnTo>
                      <a:pt x="525" y="637"/>
                    </a:lnTo>
                    <a:lnTo>
                      <a:pt x="530" y="637"/>
                    </a:lnTo>
                    <a:lnTo>
                      <a:pt x="530" y="637"/>
                    </a:lnTo>
                    <a:lnTo>
                      <a:pt x="532" y="637"/>
                    </a:lnTo>
                    <a:lnTo>
                      <a:pt x="532" y="637"/>
                    </a:lnTo>
                    <a:lnTo>
                      <a:pt x="535" y="640"/>
                    </a:lnTo>
                    <a:lnTo>
                      <a:pt x="535" y="640"/>
                    </a:lnTo>
                    <a:lnTo>
                      <a:pt x="535" y="640"/>
                    </a:lnTo>
                    <a:lnTo>
                      <a:pt x="532" y="642"/>
                    </a:lnTo>
                    <a:lnTo>
                      <a:pt x="532" y="644"/>
                    </a:lnTo>
                    <a:lnTo>
                      <a:pt x="532" y="647"/>
                    </a:lnTo>
                    <a:lnTo>
                      <a:pt x="532" y="649"/>
                    </a:lnTo>
                    <a:lnTo>
                      <a:pt x="532" y="651"/>
                    </a:lnTo>
                    <a:lnTo>
                      <a:pt x="530" y="654"/>
                    </a:lnTo>
                    <a:lnTo>
                      <a:pt x="530" y="656"/>
                    </a:lnTo>
                    <a:lnTo>
                      <a:pt x="530" y="656"/>
                    </a:lnTo>
                    <a:lnTo>
                      <a:pt x="532" y="656"/>
                    </a:lnTo>
                    <a:lnTo>
                      <a:pt x="532" y="659"/>
                    </a:lnTo>
                    <a:lnTo>
                      <a:pt x="532" y="659"/>
                    </a:lnTo>
                    <a:lnTo>
                      <a:pt x="535" y="659"/>
                    </a:lnTo>
                    <a:lnTo>
                      <a:pt x="539" y="659"/>
                    </a:lnTo>
                    <a:lnTo>
                      <a:pt x="544" y="659"/>
                    </a:lnTo>
                    <a:lnTo>
                      <a:pt x="544" y="659"/>
                    </a:lnTo>
                    <a:lnTo>
                      <a:pt x="547" y="661"/>
                    </a:lnTo>
                    <a:lnTo>
                      <a:pt x="547" y="661"/>
                    </a:lnTo>
                    <a:lnTo>
                      <a:pt x="547" y="663"/>
                    </a:lnTo>
                    <a:lnTo>
                      <a:pt x="547" y="666"/>
                    </a:lnTo>
                    <a:lnTo>
                      <a:pt x="547" y="666"/>
                    </a:lnTo>
                    <a:lnTo>
                      <a:pt x="549" y="666"/>
                    </a:lnTo>
                    <a:lnTo>
                      <a:pt x="549" y="668"/>
                    </a:lnTo>
                    <a:lnTo>
                      <a:pt x="549" y="668"/>
                    </a:lnTo>
                    <a:lnTo>
                      <a:pt x="549" y="670"/>
                    </a:lnTo>
                    <a:lnTo>
                      <a:pt x="549" y="670"/>
                    </a:lnTo>
                    <a:lnTo>
                      <a:pt x="551" y="670"/>
                    </a:lnTo>
                    <a:lnTo>
                      <a:pt x="551" y="670"/>
                    </a:lnTo>
                    <a:lnTo>
                      <a:pt x="554" y="670"/>
                    </a:lnTo>
                    <a:lnTo>
                      <a:pt x="556" y="670"/>
                    </a:lnTo>
                    <a:lnTo>
                      <a:pt x="558" y="670"/>
                    </a:lnTo>
                    <a:lnTo>
                      <a:pt x="558" y="670"/>
                    </a:lnTo>
                    <a:lnTo>
                      <a:pt x="561" y="670"/>
                    </a:lnTo>
                    <a:lnTo>
                      <a:pt x="563" y="668"/>
                    </a:lnTo>
                    <a:lnTo>
                      <a:pt x="565" y="666"/>
                    </a:lnTo>
                    <a:lnTo>
                      <a:pt x="568" y="666"/>
                    </a:lnTo>
                    <a:lnTo>
                      <a:pt x="568" y="666"/>
                    </a:lnTo>
                    <a:lnTo>
                      <a:pt x="568" y="666"/>
                    </a:lnTo>
                    <a:lnTo>
                      <a:pt x="568" y="666"/>
                    </a:lnTo>
                    <a:lnTo>
                      <a:pt x="568" y="668"/>
                    </a:lnTo>
                    <a:lnTo>
                      <a:pt x="568" y="668"/>
                    </a:lnTo>
                    <a:lnTo>
                      <a:pt x="570" y="670"/>
                    </a:lnTo>
                    <a:lnTo>
                      <a:pt x="570" y="673"/>
                    </a:lnTo>
                    <a:lnTo>
                      <a:pt x="570" y="673"/>
                    </a:lnTo>
                    <a:lnTo>
                      <a:pt x="570" y="673"/>
                    </a:lnTo>
                    <a:lnTo>
                      <a:pt x="570" y="675"/>
                    </a:lnTo>
                    <a:lnTo>
                      <a:pt x="570" y="678"/>
                    </a:lnTo>
                    <a:lnTo>
                      <a:pt x="573" y="678"/>
                    </a:lnTo>
                    <a:lnTo>
                      <a:pt x="573" y="678"/>
                    </a:lnTo>
                    <a:lnTo>
                      <a:pt x="575" y="675"/>
                    </a:lnTo>
                    <a:lnTo>
                      <a:pt x="577" y="675"/>
                    </a:lnTo>
                    <a:lnTo>
                      <a:pt x="577" y="678"/>
                    </a:lnTo>
                    <a:lnTo>
                      <a:pt x="577" y="678"/>
                    </a:lnTo>
                    <a:lnTo>
                      <a:pt x="580" y="678"/>
                    </a:lnTo>
                    <a:lnTo>
                      <a:pt x="580" y="678"/>
                    </a:lnTo>
                    <a:lnTo>
                      <a:pt x="580" y="678"/>
                    </a:lnTo>
                    <a:lnTo>
                      <a:pt x="582" y="678"/>
                    </a:lnTo>
                    <a:lnTo>
                      <a:pt x="582" y="678"/>
                    </a:lnTo>
                    <a:lnTo>
                      <a:pt x="582" y="675"/>
                    </a:lnTo>
                    <a:lnTo>
                      <a:pt x="580" y="675"/>
                    </a:lnTo>
                    <a:lnTo>
                      <a:pt x="580" y="675"/>
                    </a:lnTo>
                    <a:lnTo>
                      <a:pt x="580" y="673"/>
                    </a:lnTo>
                    <a:lnTo>
                      <a:pt x="580" y="670"/>
                    </a:lnTo>
                    <a:lnTo>
                      <a:pt x="580" y="668"/>
                    </a:lnTo>
                    <a:lnTo>
                      <a:pt x="580" y="666"/>
                    </a:lnTo>
                    <a:lnTo>
                      <a:pt x="580" y="663"/>
                    </a:lnTo>
                    <a:lnTo>
                      <a:pt x="577" y="663"/>
                    </a:lnTo>
                    <a:lnTo>
                      <a:pt x="575" y="661"/>
                    </a:lnTo>
                    <a:lnTo>
                      <a:pt x="575" y="659"/>
                    </a:lnTo>
                    <a:lnTo>
                      <a:pt x="575" y="659"/>
                    </a:lnTo>
                    <a:lnTo>
                      <a:pt x="575" y="656"/>
                    </a:lnTo>
                    <a:lnTo>
                      <a:pt x="575" y="656"/>
                    </a:lnTo>
                    <a:lnTo>
                      <a:pt x="573" y="654"/>
                    </a:lnTo>
                    <a:lnTo>
                      <a:pt x="575" y="654"/>
                    </a:lnTo>
                    <a:lnTo>
                      <a:pt x="575" y="654"/>
                    </a:lnTo>
                    <a:lnTo>
                      <a:pt x="575" y="651"/>
                    </a:lnTo>
                    <a:lnTo>
                      <a:pt x="575" y="649"/>
                    </a:lnTo>
                    <a:lnTo>
                      <a:pt x="577" y="649"/>
                    </a:lnTo>
                    <a:lnTo>
                      <a:pt x="577" y="649"/>
                    </a:lnTo>
                    <a:lnTo>
                      <a:pt x="577" y="649"/>
                    </a:lnTo>
                    <a:lnTo>
                      <a:pt x="580" y="651"/>
                    </a:lnTo>
                    <a:lnTo>
                      <a:pt x="580" y="651"/>
                    </a:lnTo>
                    <a:lnTo>
                      <a:pt x="582" y="651"/>
                    </a:lnTo>
                    <a:lnTo>
                      <a:pt x="584" y="651"/>
                    </a:lnTo>
                    <a:lnTo>
                      <a:pt x="584" y="651"/>
                    </a:lnTo>
                    <a:lnTo>
                      <a:pt x="584" y="651"/>
                    </a:lnTo>
                    <a:lnTo>
                      <a:pt x="587" y="649"/>
                    </a:lnTo>
                    <a:lnTo>
                      <a:pt x="587" y="649"/>
                    </a:lnTo>
                    <a:lnTo>
                      <a:pt x="587" y="647"/>
                    </a:lnTo>
                    <a:lnTo>
                      <a:pt x="589" y="644"/>
                    </a:lnTo>
                    <a:lnTo>
                      <a:pt x="589" y="644"/>
                    </a:lnTo>
                    <a:lnTo>
                      <a:pt x="589" y="644"/>
                    </a:lnTo>
                    <a:lnTo>
                      <a:pt x="589" y="644"/>
                    </a:lnTo>
                    <a:lnTo>
                      <a:pt x="591" y="644"/>
                    </a:lnTo>
                    <a:lnTo>
                      <a:pt x="594" y="647"/>
                    </a:lnTo>
                    <a:lnTo>
                      <a:pt x="596" y="647"/>
                    </a:lnTo>
                    <a:lnTo>
                      <a:pt x="596" y="649"/>
                    </a:lnTo>
                    <a:lnTo>
                      <a:pt x="599" y="649"/>
                    </a:lnTo>
                    <a:lnTo>
                      <a:pt x="599" y="651"/>
                    </a:lnTo>
                    <a:lnTo>
                      <a:pt x="601" y="651"/>
                    </a:lnTo>
                    <a:lnTo>
                      <a:pt x="601" y="649"/>
                    </a:lnTo>
                    <a:lnTo>
                      <a:pt x="601" y="649"/>
                    </a:lnTo>
                    <a:lnTo>
                      <a:pt x="601" y="647"/>
                    </a:lnTo>
                    <a:lnTo>
                      <a:pt x="603" y="647"/>
                    </a:lnTo>
                    <a:lnTo>
                      <a:pt x="603" y="644"/>
                    </a:lnTo>
                    <a:lnTo>
                      <a:pt x="603" y="644"/>
                    </a:lnTo>
                    <a:lnTo>
                      <a:pt x="606" y="644"/>
                    </a:lnTo>
                    <a:lnTo>
                      <a:pt x="606" y="644"/>
                    </a:lnTo>
                    <a:lnTo>
                      <a:pt x="608" y="647"/>
                    </a:lnTo>
                    <a:lnTo>
                      <a:pt x="608" y="647"/>
                    </a:lnTo>
                    <a:lnTo>
                      <a:pt x="608" y="647"/>
                    </a:lnTo>
                    <a:lnTo>
                      <a:pt x="610" y="644"/>
                    </a:lnTo>
                    <a:lnTo>
                      <a:pt x="610" y="644"/>
                    </a:lnTo>
                    <a:lnTo>
                      <a:pt x="610" y="644"/>
                    </a:lnTo>
                    <a:lnTo>
                      <a:pt x="615" y="649"/>
                    </a:lnTo>
                    <a:lnTo>
                      <a:pt x="618" y="649"/>
                    </a:lnTo>
                    <a:lnTo>
                      <a:pt x="618" y="649"/>
                    </a:lnTo>
                    <a:lnTo>
                      <a:pt x="618" y="647"/>
                    </a:lnTo>
                    <a:lnTo>
                      <a:pt x="618" y="647"/>
                    </a:lnTo>
                    <a:lnTo>
                      <a:pt x="618" y="644"/>
                    </a:lnTo>
                    <a:lnTo>
                      <a:pt x="620" y="642"/>
                    </a:lnTo>
                    <a:lnTo>
                      <a:pt x="620" y="642"/>
                    </a:lnTo>
                    <a:lnTo>
                      <a:pt x="622" y="644"/>
                    </a:lnTo>
                    <a:lnTo>
                      <a:pt x="622" y="644"/>
                    </a:lnTo>
                    <a:lnTo>
                      <a:pt x="625" y="644"/>
                    </a:lnTo>
                    <a:lnTo>
                      <a:pt x="627" y="642"/>
                    </a:lnTo>
                    <a:lnTo>
                      <a:pt x="627" y="642"/>
                    </a:lnTo>
                    <a:lnTo>
                      <a:pt x="629" y="642"/>
                    </a:lnTo>
                    <a:lnTo>
                      <a:pt x="629" y="642"/>
                    </a:lnTo>
                    <a:lnTo>
                      <a:pt x="629" y="642"/>
                    </a:lnTo>
                    <a:lnTo>
                      <a:pt x="632" y="640"/>
                    </a:lnTo>
                    <a:lnTo>
                      <a:pt x="632" y="640"/>
                    </a:lnTo>
                    <a:lnTo>
                      <a:pt x="632" y="637"/>
                    </a:lnTo>
                    <a:lnTo>
                      <a:pt x="632" y="635"/>
                    </a:lnTo>
                    <a:lnTo>
                      <a:pt x="632" y="635"/>
                    </a:lnTo>
                    <a:lnTo>
                      <a:pt x="634" y="635"/>
                    </a:lnTo>
                    <a:lnTo>
                      <a:pt x="636" y="633"/>
                    </a:lnTo>
                    <a:lnTo>
                      <a:pt x="639" y="633"/>
                    </a:lnTo>
                    <a:lnTo>
                      <a:pt x="639" y="633"/>
                    </a:lnTo>
                    <a:lnTo>
                      <a:pt x="639" y="633"/>
                    </a:lnTo>
                    <a:lnTo>
                      <a:pt x="641" y="635"/>
                    </a:lnTo>
                    <a:lnTo>
                      <a:pt x="644" y="635"/>
                    </a:lnTo>
                    <a:lnTo>
                      <a:pt x="644" y="637"/>
                    </a:lnTo>
                    <a:lnTo>
                      <a:pt x="644" y="637"/>
                    </a:lnTo>
                    <a:lnTo>
                      <a:pt x="646" y="637"/>
                    </a:lnTo>
                    <a:lnTo>
                      <a:pt x="648" y="640"/>
                    </a:lnTo>
                    <a:lnTo>
                      <a:pt x="651" y="640"/>
                    </a:lnTo>
                    <a:lnTo>
                      <a:pt x="651" y="640"/>
                    </a:lnTo>
                    <a:lnTo>
                      <a:pt x="653" y="640"/>
                    </a:lnTo>
                    <a:lnTo>
                      <a:pt x="653" y="640"/>
                    </a:lnTo>
                    <a:lnTo>
                      <a:pt x="653" y="640"/>
                    </a:lnTo>
                    <a:lnTo>
                      <a:pt x="655" y="640"/>
                    </a:lnTo>
                    <a:lnTo>
                      <a:pt x="655" y="640"/>
                    </a:lnTo>
                    <a:lnTo>
                      <a:pt x="658" y="642"/>
                    </a:lnTo>
                    <a:lnTo>
                      <a:pt x="658" y="642"/>
                    </a:lnTo>
                    <a:lnTo>
                      <a:pt x="660" y="642"/>
                    </a:lnTo>
                    <a:lnTo>
                      <a:pt x="662" y="642"/>
                    </a:lnTo>
                    <a:lnTo>
                      <a:pt x="662" y="642"/>
                    </a:lnTo>
                    <a:lnTo>
                      <a:pt x="665" y="642"/>
                    </a:lnTo>
                    <a:lnTo>
                      <a:pt x="667" y="644"/>
                    </a:lnTo>
                    <a:lnTo>
                      <a:pt x="667" y="644"/>
                    </a:lnTo>
                    <a:lnTo>
                      <a:pt x="667" y="647"/>
                    </a:lnTo>
                    <a:lnTo>
                      <a:pt x="665" y="647"/>
                    </a:lnTo>
                    <a:lnTo>
                      <a:pt x="665" y="647"/>
                    </a:lnTo>
                    <a:lnTo>
                      <a:pt x="665" y="649"/>
                    </a:lnTo>
                    <a:lnTo>
                      <a:pt x="665" y="651"/>
                    </a:lnTo>
                    <a:lnTo>
                      <a:pt x="665" y="654"/>
                    </a:lnTo>
                    <a:lnTo>
                      <a:pt x="665" y="654"/>
                    </a:lnTo>
                    <a:lnTo>
                      <a:pt x="667" y="654"/>
                    </a:lnTo>
                    <a:lnTo>
                      <a:pt x="667" y="654"/>
                    </a:lnTo>
                    <a:lnTo>
                      <a:pt x="667" y="656"/>
                    </a:lnTo>
                    <a:lnTo>
                      <a:pt x="667" y="659"/>
                    </a:lnTo>
                    <a:lnTo>
                      <a:pt x="667" y="661"/>
                    </a:lnTo>
                    <a:lnTo>
                      <a:pt x="670" y="661"/>
                    </a:lnTo>
                    <a:lnTo>
                      <a:pt x="670" y="661"/>
                    </a:lnTo>
                    <a:lnTo>
                      <a:pt x="670" y="661"/>
                    </a:lnTo>
                    <a:lnTo>
                      <a:pt x="672" y="661"/>
                    </a:lnTo>
                    <a:lnTo>
                      <a:pt x="674" y="661"/>
                    </a:lnTo>
                    <a:lnTo>
                      <a:pt x="674" y="661"/>
                    </a:lnTo>
                    <a:lnTo>
                      <a:pt x="674" y="663"/>
                    </a:lnTo>
                    <a:lnTo>
                      <a:pt x="674" y="663"/>
                    </a:lnTo>
                    <a:lnTo>
                      <a:pt x="677" y="663"/>
                    </a:lnTo>
                    <a:lnTo>
                      <a:pt x="679" y="666"/>
                    </a:lnTo>
                    <a:lnTo>
                      <a:pt x="679" y="666"/>
                    </a:lnTo>
                    <a:lnTo>
                      <a:pt x="681" y="668"/>
                    </a:lnTo>
                    <a:lnTo>
                      <a:pt x="684" y="668"/>
                    </a:lnTo>
                    <a:lnTo>
                      <a:pt x="684" y="668"/>
                    </a:lnTo>
                    <a:lnTo>
                      <a:pt x="686" y="668"/>
                    </a:lnTo>
                    <a:lnTo>
                      <a:pt x="688" y="668"/>
                    </a:lnTo>
                    <a:lnTo>
                      <a:pt x="691" y="668"/>
                    </a:lnTo>
                    <a:lnTo>
                      <a:pt x="693" y="670"/>
                    </a:lnTo>
                    <a:lnTo>
                      <a:pt x="693" y="670"/>
                    </a:lnTo>
                    <a:lnTo>
                      <a:pt x="696" y="670"/>
                    </a:lnTo>
                    <a:lnTo>
                      <a:pt x="696" y="668"/>
                    </a:lnTo>
                    <a:lnTo>
                      <a:pt x="698" y="670"/>
                    </a:lnTo>
                    <a:lnTo>
                      <a:pt x="700" y="668"/>
                    </a:lnTo>
                    <a:lnTo>
                      <a:pt x="700" y="666"/>
                    </a:lnTo>
                    <a:lnTo>
                      <a:pt x="700" y="666"/>
                    </a:lnTo>
                    <a:lnTo>
                      <a:pt x="700" y="666"/>
                    </a:lnTo>
                    <a:lnTo>
                      <a:pt x="703" y="668"/>
                    </a:lnTo>
                    <a:lnTo>
                      <a:pt x="703" y="668"/>
                    </a:lnTo>
                    <a:lnTo>
                      <a:pt x="703" y="668"/>
                    </a:lnTo>
                    <a:lnTo>
                      <a:pt x="703" y="666"/>
                    </a:lnTo>
                    <a:lnTo>
                      <a:pt x="703" y="663"/>
                    </a:lnTo>
                    <a:lnTo>
                      <a:pt x="703" y="661"/>
                    </a:lnTo>
                    <a:lnTo>
                      <a:pt x="703" y="661"/>
                    </a:lnTo>
                    <a:lnTo>
                      <a:pt x="705" y="663"/>
                    </a:lnTo>
                    <a:lnTo>
                      <a:pt x="705" y="663"/>
                    </a:lnTo>
                    <a:lnTo>
                      <a:pt x="705" y="666"/>
                    </a:lnTo>
                    <a:lnTo>
                      <a:pt x="705" y="666"/>
                    </a:lnTo>
                    <a:lnTo>
                      <a:pt x="707" y="668"/>
                    </a:lnTo>
                    <a:lnTo>
                      <a:pt x="707" y="668"/>
                    </a:lnTo>
                    <a:lnTo>
                      <a:pt x="710" y="668"/>
                    </a:lnTo>
                    <a:lnTo>
                      <a:pt x="710" y="668"/>
                    </a:lnTo>
                    <a:lnTo>
                      <a:pt x="712" y="668"/>
                    </a:lnTo>
                    <a:lnTo>
                      <a:pt x="715" y="668"/>
                    </a:lnTo>
                    <a:lnTo>
                      <a:pt x="715" y="670"/>
                    </a:lnTo>
                    <a:lnTo>
                      <a:pt x="715" y="670"/>
                    </a:lnTo>
                    <a:lnTo>
                      <a:pt x="715" y="673"/>
                    </a:lnTo>
                    <a:lnTo>
                      <a:pt x="715" y="673"/>
                    </a:lnTo>
                    <a:lnTo>
                      <a:pt x="717" y="673"/>
                    </a:lnTo>
                    <a:lnTo>
                      <a:pt x="719" y="670"/>
                    </a:lnTo>
                    <a:lnTo>
                      <a:pt x="722" y="670"/>
                    </a:lnTo>
                    <a:lnTo>
                      <a:pt x="722" y="670"/>
                    </a:lnTo>
                    <a:lnTo>
                      <a:pt x="722" y="666"/>
                    </a:lnTo>
                    <a:lnTo>
                      <a:pt x="722" y="666"/>
                    </a:lnTo>
                    <a:lnTo>
                      <a:pt x="722" y="668"/>
                    </a:lnTo>
                    <a:lnTo>
                      <a:pt x="724" y="670"/>
                    </a:lnTo>
                    <a:lnTo>
                      <a:pt x="726" y="670"/>
                    </a:lnTo>
                    <a:lnTo>
                      <a:pt x="726" y="670"/>
                    </a:lnTo>
                    <a:lnTo>
                      <a:pt x="729" y="670"/>
                    </a:lnTo>
                    <a:lnTo>
                      <a:pt x="729" y="670"/>
                    </a:lnTo>
                    <a:lnTo>
                      <a:pt x="729" y="673"/>
                    </a:lnTo>
                    <a:lnTo>
                      <a:pt x="726" y="675"/>
                    </a:lnTo>
                    <a:lnTo>
                      <a:pt x="726" y="675"/>
                    </a:lnTo>
                    <a:lnTo>
                      <a:pt x="726" y="678"/>
                    </a:lnTo>
                    <a:lnTo>
                      <a:pt x="726" y="680"/>
                    </a:lnTo>
                    <a:lnTo>
                      <a:pt x="726" y="682"/>
                    </a:lnTo>
                    <a:lnTo>
                      <a:pt x="726" y="685"/>
                    </a:lnTo>
                    <a:lnTo>
                      <a:pt x="729" y="685"/>
                    </a:lnTo>
                    <a:lnTo>
                      <a:pt x="729" y="685"/>
                    </a:lnTo>
                    <a:lnTo>
                      <a:pt x="729" y="687"/>
                    </a:lnTo>
                    <a:lnTo>
                      <a:pt x="729" y="689"/>
                    </a:lnTo>
                    <a:lnTo>
                      <a:pt x="731" y="692"/>
                    </a:lnTo>
                    <a:lnTo>
                      <a:pt x="733" y="692"/>
                    </a:lnTo>
                    <a:lnTo>
                      <a:pt x="733" y="692"/>
                    </a:lnTo>
                    <a:lnTo>
                      <a:pt x="733" y="694"/>
                    </a:lnTo>
                    <a:lnTo>
                      <a:pt x="733" y="694"/>
                    </a:lnTo>
                    <a:lnTo>
                      <a:pt x="731" y="694"/>
                    </a:lnTo>
                    <a:lnTo>
                      <a:pt x="731" y="694"/>
                    </a:lnTo>
                    <a:lnTo>
                      <a:pt x="733" y="696"/>
                    </a:lnTo>
                    <a:lnTo>
                      <a:pt x="736" y="696"/>
                    </a:lnTo>
                    <a:lnTo>
                      <a:pt x="741" y="696"/>
                    </a:lnTo>
                    <a:lnTo>
                      <a:pt x="743" y="694"/>
                    </a:lnTo>
                    <a:lnTo>
                      <a:pt x="743" y="694"/>
                    </a:lnTo>
                    <a:lnTo>
                      <a:pt x="743" y="692"/>
                    </a:lnTo>
                    <a:lnTo>
                      <a:pt x="743" y="692"/>
                    </a:lnTo>
                    <a:lnTo>
                      <a:pt x="738" y="687"/>
                    </a:lnTo>
                    <a:lnTo>
                      <a:pt x="738" y="687"/>
                    </a:lnTo>
                    <a:lnTo>
                      <a:pt x="741" y="687"/>
                    </a:lnTo>
                    <a:lnTo>
                      <a:pt x="741" y="685"/>
                    </a:lnTo>
                    <a:lnTo>
                      <a:pt x="741" y="685"/>
                    </a:lnTo>
                    <a:lnTo>
                      <a:pt x="736" y="685"/>
                    </a:lnTo>
                    <a:lnTo>
                      <a:pt x="736" y="682"/>
                    </a:lnTo>
                    <a:lnTo>
                      <a:pt x="736" y="680"/>
                    </a:lnTo>
                    <a:lnTo>
                      <a:pt x="738" y="678"/>
                    </a:lnTo>
                    <a:lnTo>
                      <a:pt x="738" y="678"/>
                    </a:lnTo>
                    <a:lnTo>
                      <a:pt x="738" y="675"/>
                    </a:lnTo>
                    <a:lnTo>
                      <a:pt x="738" y="675"/>
                    </a:lnTo>
                    <a:lnTo>
                      <a:pt x="738" y="675"/>
                    </a:lnTo>
                    <a:lnTo>
                      <a:pt x="741" y="675"/>
                    </a:lnTo>
                    <a:lnTo>
                      <a:pt x="741" y="678"/>
                    </a:lnTo>
                    <a:lnTo>
                      <a:pt x="743" y="678"/>
                    </a:lnTo>
                    <a:lnTo>
                      <a:pt x="743" y="675"/>
                    </a:lnTo>
                    <a:lnTo>
                      <a:pt x="745" y="673"/>
                    </a:lnTo>
                    <a:lnTo>
                      <a:pt x="748" y="673"/>
                    </a:lnTo>
                    <a:lnTo>
                      <a:pt x="750" y="673"/>
                    </a:lnTo>
                    <a:lnTo>
                      <a:pt x="750" y="670"/>
                    </a:lnTo>
                    <a:lnTo>
                      <a:pt x="750" y="670"/>
                    </a:lnTo>
                    <a:lnTo>
                      <a:pt x="750" y="670"/>
                    </a:lnTo>
                    <a:lnTo>
                      <a:pt x="752" y="670"/>
                    </a:lnTo>
                    <a:lnTo>
                      <a:pt x="752" y="670"/>
                    </a:lnTo>
                    <a:lnTo>
                      <a:pt x="755" y="670"/>
                    </a:lnTo>
                    <a:lnTo>
                      <a:pt x="757" y="670"/>
                    </a:lnTo>
                    <a:lnTo>
                      <a:pt x="759" y="670"/>
                    </a:lnTo>
                    <a:lnTo>
                      <a:pt x="762" y="668"/>
                    </a:lnTo>
                    <a:lnTo>
                      <a:pt x="762" y="668"/>
                    </a:lnTo>
                    <a:lnTo>
                      <a:pt x="762" y="666"/>
                    </a:lnTo>
                    <a:lnTo>
                      <a:pt x="764" y="666"/>
                    </a:lnTo>
                    <a:lnTo>
                      <a:pt x="764" y="666"/>
                    </a:lnTo>
                    <a:lnTo>
                      <a:pt x="764" y="666"/>
                    </a:lnTo>
                    <a:lnTo>
                      <a:pt x="764" y="663"/>
                    </a:lnTo>
                    <a:lnTo>
                      <a:pt x="767" y="663"/>
                    </a:lnTo>
                    <a:lnTo>
                      <a:pt x="769" y="663"/>
                    </a:lnTo>
                    <a:lnTo>
                      <a:pt x="769" y="666"/>
                    </a:lnTo>
                    <a:lnTo>
                      <a:pt x="771" y="666"/>
                    </a:lnTo>
                    <a:lnTo>
                      <a:pt x="774" y="666"/>
                    </a:lnTo>
                    <a:lnTo>
                      <a:pt x="774" y="663"/>
                    </a:lnTo>
                    <a:lnTo>
                      <a:pt x="774" y="661"/>
                    </a:lnTo>
                    <a:lnTo>
                      <a:pt x="771" y="661"/>
                    </a:lnTo>
                    <a:lnTo>
                      <a:pt x="774" y="661"/>
                    </a:lnTo>
                    <a:lnTo>
                      <a:pt x="774" y="661"/>
                    </a:lnTo>
                    <a:lnTo>
                      <a:pt x="774" y="661"/>
                    </a:lnTo>
                    <a:lnTo>
                      <a:pt x="774" y="663"/>
                    </a:lnTo>
                    <a:lnTo>
                      <a:pt x="776" y="663"/>
                    </a:lnTo>
                    <a:lnTo>
                      <a:pt x="776" y="666"/>
                    </a:lnTo>
                    <a:lnTo>
                      <a:pt x="778" y="663"/>
                    </a:lnTo>
                    <a:lnTo>
                      <a:pt x="778" y="663"/>
                    </a:lnTo>
                    <a:lnTo>
                      <a:pt x="778" y="661"/>
                    </a:lnTo>
                    <a:lnTo>
                      <a:pt x="781" y="661"/>
                    </a:lnTo>
                    <a:lnTo>
                      <a:pt x="783" y="663"/>
                    </a:lnTo>
                    <a:lnTo>
                      <a:pt x="783" y="661"/>
                    </a:lnTo>
                    <a:lnTo>
                      <a:pt x="783" y="661"/>
                    </a:lnTo>
                    <a:lnTo>
                      <a:pt x="783" y="659"/>
                    </a:lnTo>
                    <a:lnTo>
                      <a:pt x="785" y="656"/>
                    </a:lnTo>
                    <a:lnTo>
                      <a:pt x="785" y="659"/>
                    </a:lnTo>
                    <a:lnTo>
                      <a:pt x="788" y="659"/>
                    </a:lnTo>
                    <a:lnTo>
                      <a:pt x="790" y="656"/>
                    </a:lnTo>
                    <a:lnTo>
                      <a:pt x="790" y="656"/>
                    </a:lnTo>
                    <a:lnTo>
                      <a:pt x="790" y="656"/>
                    </a:lnTo>
                    <a:lnTo>
                      <a:pt x="793" y="656"/>
                    </a:lnTo>
                    <a:lnTo>
                      <a:pt x="793" y="656"/>
                    </a:lnTo>
                    <a:lnTo>
                      <a:pt x="793" y="656"/>
                    </a:lnTo>
                    <a:lnTo>
                      <a:pt x="793" y="654"/>
                    </a:lnTo>
                    <a:lnTo>
                      <a:pt x="793" y="654"/>
                    </a:lnTo>
                    <a:lnTo>
                      <a:pt x="793" y="656"/>
                    </a:lnTo>
                    <a:lnTo>
                      <a:pt x="793" y="656"/>
                    </a:lnTo>
                    <a:lnTo>
                      <a:pt x="793" y="654"/>
                    </a:lnTo>
                    <a:lnTo>
                      <a:pt x="793" y="651"/>
                    </a:lnTo>
                    <a:lnTo>
                      <a:pt x="793" y="651"/>
                    </a:lnTo>
                    <a:lnTo>
                      <a:pt x="793" y="647"/>
                    </a:lnTo>
                    <a:lnTo>
                      <a:pt x="790" y="644"/>
                    </a:lnTo>
                    <a:lnTo>
                      <a:pt x="790" y="644"/>
                    </a:lnTo>
                    <a:lnTo>
                      <a:pt x="790" y="644"/>
                    </a:lnTo>
                    <a:lnTo>
                      <a:pt x="788" y="642"/>
                    </a:lnTo>
                    <a:lnTo>
                      <a:pt x="788" y="642"/>
                    </a:lnTo>
                    <a:lnTo>
                      <a:pt x="788" y="640"/>
                    </a:lnTo>
                    <a:lnTo>
                      <a:pt x="788" y="640"/>
                    </a:lnTo>
                    <a:lnTo>
                      <a:pt x="788" y="640"/>
                    </a:lnTo>
                    <a:lnTo>
                      <a:pt x="788" y="637"/>
                    </a:lnTo>
                    <a:lnTo>
                      <a:pt x="790" y="637"/>
                    </a:lnTo>
                    <a:lnTo>
                      <a:pt x="790" y="637"/>
                    </a:lnTo>
                    <a:lnTo>
                      <a:pt x="790" y="637"/>
                    </a:lnTo>
                    <a:lnTo>
                      <a:pt x="790" y="640"/>
                    </a:lnTo>
                    <a:lnTo>
                      <a:pt x="793" y="640"/>
                    </a:lnTo>
                    <a:lnTo>
                      <a:pt x="793" y="642"/>
                    </a:lnTo>
                    <a:lnTo>
                      <a:pt x="793" y="642"/>
                    </a:lnTo>
                    <a:lnTo>
                      <a:pt x="795" y="644"/>
                    </a:lnTo>
                    <a:lnTo>
                      <a:pt x="797" y="647"/>
                    </a:lnTo>
                    <a:lnTo>
                      <a:pt x="800" y="649"/>
                    </a:lnTo>
                    <a:lnTo>
                      <a:pt x="800" y="649"/>
                    </a:lnTo>
                    <a:lnTo>
                      <a:pt x="800" y="649"/>
                    </a:lnTo>
                    <a:lnTo>
                      <a:pt x="802" y="649"/>
                    </a:lnTo>
                    <a:lnTo>
                      <a:pt x="802" y="649"/>
                    </a:lnTo>
                    <a:lnTo>
                      <a:pt x="802" y="649"/>
                    </a:lnTo>
                    <a:lnTo>
                      <a:pt x="804" y="649"/>
                    </a:lnTo>
                    <a:lnTo>
                      <a:pt x="804" y="649"/>
                    </a:lnTo>
                    <a:lnTo>
                      <a:pt x="804" y="649"/>
                    </a:lnTo>
                    <a:lnTo>
                      <a:pt x="807" y="647"/>
                    </a:lnTo>
                    <a:lnTo>
                      <a:pt x="807" y="647"/>
                    </a:lnTo>
                    <a:lnTo>
                      <a:pt x="809" y="649"/>
                    </a:lnTo>
                    <a:lnTo>
                      <a:pt x="811" y="649"/>
                    </a:lnTo>
                    <a:lnTo>
                      <a:pt x="809" y="647"/>
                    </a:lnTo>
                    <a:lnTo>
                      <a:pt x="811" y="647"/>
                    </a:lnTo>
                    <a:lnTo>
                      <a:pt x="811" y="644"/>
                    </a:lnTo>
                    <a:lnTo>
                      <a:pt x="811" y="644"/>
                    </a:lnTo>
                    <a:lnTo>
                      <a:pt x="811" y="644"/>
                    </a:lnTo>
                    <a:lnTo>
                      <a:pt x="814" y="647"/>
                    </a:lnTo>
                    <a:lnTo>
                      <a:pt x="816" y="647"/>
                    </a:lnTo>
                    <a:lnTo>
                      <a:pt x="816" y="647"/>
                    </a:lnTo>
                    <a:lnTo>
                      <a:pt x="816" y="647"/>
                    </a:lnTo>
                    <a:lnTo>
                      <a:pt x="819" y="644"/>
                    </a:lnTo>
                    <a:lnTo>
                      <a:pt x="819" y="644"/>
                    </a:lnTo>
                    <a:lnTo>
                      <a:pt x="821" y="642"/>
                    </a:lnTo>
                    <a:lnTo>
                      <a:pt x="823" y="644"/>
                    </a:lnTo>
                    <a:lnTo>
                      <a:pt x="826" y="644"/>
                    </a:lnTo>
                    <a:lnTo>
                      <a:pt x="828" y="644"/>
                    </a:lnTo>
                    <a:lnTo>
                      <a:pt x="828" y="644"/>
                    </a:lnTo>
                    <a:lnTo>
                      <a:pt x="828" y="642"/>
                    </a:lnTo>
                    <a:lnTo>
                      <a:pt x="828" y="642"/>
                    </a:lnTo>
                    <a:lnTo>
                      <a:pt x="830" y="642"/>
                    </a:lnTo>
                    <a:lnTo>
                      <a:pt x="833" y="642"/>
                    </a:lnTo>
                    <a:lnTo>
                      <a:pt x="838" y="642"/>
                    </a:lnTo>
                    <a:lnTo>
                      <a:pt x="838" y="642"/>
                    </a:lnTo>
                    <a:lnTo>
                      <a:pt x="840" y="640"/>
                    </a:lnTo>
                    <a:lnTo>
                      <a:pt x="840" y="640"/>
                    </a:lnTo>
                    <a:lnTo>
                      <a:pt x="840" y="640"/>
                    </a:lnTo>
                    <a:lnTo>
                      <a:pt x="842" y="640"/>
                    </a:lnTo>
                    <a:lnTo>
                      <a:pt x="845" y="640"/>
                    </a:lnTo>
                    <a:lnTo>
                      <a:pt x="845" y="640"/>
                    </a:lnTo>
                    <a:lnTo>
                      <a:pt x="845" y="635"/>
                    </a:lnTo>
                    <a:lnTo>
                      <a:pt x="845" y="635"/>
                    </a:lnTo>
                    <a:lnTo>
                      <a:pt x="847" y="635"/>
                    </a:lnTo>
                    <a:lnTo>
                      <a:pt x="847" y="633"/>
                    </a:lnTo>
                    <a:lnTo>
                      <a:pt x="847" y="633"/>
                    </a:lnTo>
                    <a:lnTo>
                      <a:pt x="845" y="633"/>
                    </a:lnTo>
                    <a:lnTo>
                      <a:pt x="847" y="630"/>
                    </a:lnTo>
                    <a:lnTo>
                      <a:pt x="847" y="630"/>
                    </a:lnTo>
                    <a:lnTo>
                      <a:pt x="849" y="630"/>
                    </a:lnTo>
                    <a:lnTo>
                      <a:pt x="849" y="625"/>
                    </a:lnTo>
                    <a:lnTo>
                      <a:pt x="852" y="625"/>
                    </a:lnTo>
                    <a:lnTo>
                      <a:pt x="852" y="628"/>
                    </a:lnTo>
                    <a:lnTo>
                      <a:pt x="854" y="625"/>
                    </a:lnTo>
                    <a:lnTo>
                      <a:pt x="854" y="625"/>
                    </a:lnTo>
                    <a:lnTo>
                      <a:pt x="856" y="623"/>
                    </a:lnTo>
                    <a:lnTo>
                      <a:pt x="856" y="623"/>
                    </a:lnTo>
                    <a:lnTo>
                      <a:pt x="856" y="625"/>
                    </a:lnTo>
                    <a:lnTo>
                      <a:pt x="859" y="625"/>
                    </a:lnTo>
                    <a:lnTo>
                      <a:pt x="859" y="625"/>
                    </a:lnTo>
                    <a:lnTo>
                      <a:pt x="859" y="623"/>
                    </a:lnTo>
                    <a:lnTo>
                      <a:pt x="859" y="623"/>
                    </a:lnTo>
                    <a:lnTo>
                      <a:pt x="859" y="623"/>
                    </a:lnTo>
                    <a:lnTo>
                      <a:pt x="859" y="621"/>
                    </a:lnTo>
                    <a:lnTo>
                      <a:pt x="861" y="621"/>
                    </a:lnTo>
                    <a:lnTo>
                      <a:pt x="861" y="621"/>
                    </a:lnTo>
                    <a:lnTo>
                      <a:pt x="861" y="618"/>
                    </a:lnTo>
                    <a:lnTo>
                      <a:pt x="864" y="618"/>
                    </a:lnTo>
                    <a:lnTo>
                      <a:pt x="866" y="618"/>
                    </a:lnTo>
                    <a:lnTo>
                      <a:pt x="866" y="616"/>
                    </a:lnTo>
                    <a:lnTo>
                      <a:pt x="868" y="614"/>
                    </a:lnTo>
                    <a:lnTo>
                      <a:pt x="868" y="611"/>
                    </a:lnTo>
                    <a:lnTo>
                      <a:pt x="866" y="609"/>
                    </a:lnTo>
                    <a:lnTo>
                      <a:pt x="864" y="609"/>
                    </a:lnTo>
                    <a:lnTo>
                      <a:pt x="864" y="609"/>
                    </a:lnTo>
                    <a:lnTo>
                      <a:pt x="864" y="609"/>
                    </a:lnTo>
                    <a:lnTo>
                      <a:pt x="864" y="606"/>
                    </a:lnTo>
                    <a:lnTo>
                      <a:pt x="864" y="609"/>
                    </a:lnTo>
                    <a:lnTo>
                      <a:pt x="866" y="606"/>
                    </a:lnTo>
                    <a:lnTo>
                      <a:pt x="866" y="606"/>
                    </a:lnTo>
                    <a:lnTo>
                      <a:pt x="866" y="604"/>
                    </a:lnTo>
                    <a:lnTo>
                      <a:pt x="868" y="604"/>
                    </a:lnTo>
                    <a:lnTo>
                      <a:pt x="871" y="606"/>
                    </a:lnTo>
                    <a:lnTo>
                      <a:pt x="873" y="604"/>
                    </a:lnTo>
                    <a:lnTo>
                      <a:pt x="875" y="606"/>
                    </a:lnTo>
                    <a:lnTo>
                      <a:pt x="878" y="604"/>
                    </a:lnTo>
                    <a:lnTo>
                      <a:pt x="878" y="602"/>
                    </a:lnTo>
                    <a:lnTo>
                      <a:pt x="878" y="602"/>
                    </a:lnTo>
                    <a:lnTo>
                      <a:pt x="875" y="602"/>
                    </a:lnTo>
                    <a:lnTo>
                      <a:pt x="875" y="599"/>
                    </a:lnTo>
                    <a:lnTo>
                      <a:pt x="878" y="599"/>
                    </a:lnTo>
                    <a:lnTo>
                      <a:pt x="880" y="599"/>
                    </a:lnTo>
                    <a:lnTo>
                      <a:pt x="880" y="597"/>
                    </a:lnTo>
                    <a:lnTo>
                      <a:pt x="880" y="597"/>
                    </a:lnTo>
                    <a:lnTo>
                      <a:pt x="880" y="595"/>
                    </a:lnTo>
                    <a:lnTo>
                      <a:pt x="880" y="592"/>
                    </a:lnTo>
                    <a:lnTo>
                      <a:pt x="880" y="592"/>
                    </a:lnTo>
                    <a:lnTo>
                      <a:pt x="885" y="592"/>
                    </a:lnTo>
                    <a:lnTo>
                      <a:pt x="885" y="592"/>
                    </a:lnTo>
                    <a:lnTo>
                      <a:pt x="885" y="590"/>
                    </a:lnTo>
                    <a:lnTo>
                      <a:pt x="882" y="590"/>
                    </a:lnTo>
                    <a:lnTo>
                      <a:pt x="882" y="588"/>
                    </a:lnTo>
                    <a:lnTo>
                      <a:pt x="882" y="588"/>
                    </a:lnTo>
                    <a:lnTo>
                      <a:pt x="885" y="588"/>
                    </a:lnTo>
                    <a:lnTo>
                      <a:pt x="887" y="588"/>
                    </a:lnTo>
                    <a:lnTo>
                      <a:pt x="887" y="588"/>
                    </a:lnTo>
                    <a:lnTo>
                      <a:pt x="890" y="588"/>
                    </a:lnTo>
                    <a:lnTo>
                      <a:pt x="892" y="590"/>
                    </a:lnTo>
                    <a:lnTo>
                      <a:pt x="892" y="588"/>
                    </a:lnTo>
                    <a:lnTo>
                      <a:pt x="892" y="588"/>
                    </a:lnTo>
                    <a:lnTo>
                      <a:pt x="890" y="585"/>
                    </a:lnTo>
                    <a:lnTo>
                      <a:pt x="890" y="583"/>
                    </a:lnTo>
                    <a:lnTo>
                      <a:pt x="890" y="578"/>
                    </a:lnTo>
                    <a:lnTo>
                      <a:pt x="890" y="578"/>
                    </a:lnTo>
                    <a:lnTo>
                      <a:pt x="890" y="576"/>
                    </a:lnTo>
                    <a:lnTo>
                      <a:pt x="887" y="576"/>
                    </a:lnTo>
                    <a:lnTo>
                      <a:pt x="885" y="576"/>
                    </a:lnTo>
                    <a:lnTo>
                      <a:pt x="882" y="576"/>
                    </a:lnTo>
                    <a:lnTo>
                      <a:pt x="882" y="576"/>
                    </a:lnTo>
                    <a:lnTo>
                      <a:pt x="880" y="573"/>
                    </a:lnTo>
                    <a:lnTo>
                      <a:pt x="880" y="573"/>
                    </a:lnTo>
                    <a:lnTo>
                      <a:pt x="882" y="573"/>
                    </a:lnTo>
                    <a:lnTo>
                      <a:pt x="885" y="573"/>
                    </a:lnTo>
                    <a:lnTo>
                      <a:pt x="885" y="573"/>
                    </a:lnTo>
                    <a:lnTo>
                      <a:pt x="887" y="573"/>
                    </a:lnTo>
                    <a:lnTo>
                      <a:pt x="890" y="571"/>
                    </a:lnTo>
                    <a:lnTo>
                      <a:pt x="890" y="569"/>
                    </a:lnTo>
                    <a:lnTo>
                      <a:pt x="892" y="569"/>
                    </a:lnTo>
                    <a:lnTo>
                      <a:pt x="892" y="569"/>
                    </a:lnTo>
                    <a:lnTo>
                      <a:pt x="890" y="566"/>
                    </a:lnTo>
                    <a:lnTo>
                      <a:pt x="890" y="566"/>
                    </a:lnTo>
                    <a:lnTo>
                      <a:pt x="890" y="564"/>
                    </a:lnTo>
                    <a:lnTo>
                      <a:pt x="887" y="561"/>
                    </a:lnTo>
                    <a:lnTo>
                      <a:pt x="885" y="561"/>
                    </a:lnTo>
                    <a:lnTo>
                      <a:pt x="885" y="561"/>
                    </a:lnTo>
                    <a:lnTo>
                      <a:pt x="885" y="559"/>
                    </a:lnTo>
                    <a:lnTo>
                      <a:pt x="885" y="559"/>
                    </a:lnTo>
                    <a:lnTo>
                      <a:pt x="885" y="559"/>
                    </a:lnTo>
                    <a:lnTo>
                      <a:pt x="887" y="559"/>
                    </a:lnTo>
                    <a:lnTo>
                      <a:pt x="887" y="559"/>
                    </a:lnTo>
                    <a:lnTo>
                      <a:pt x="887" y="557"/>
                    </a:lnTo>
                    <a:lnTo>
                      <a:pt x="887" y="557"/>
                    </a:lnTo>
                    <a:lnTo>
                      <a:pt x="887" y="559"/>
                    </a:lnTo>
                    <a:lnTo>
                      <a:pt x="890" y="559"/>
                    </a:lnTo>
                    <a:lnTo>
                      <a:pt x="890" y="561"/>
                    </a:lnTo>
                    <a:lnTo>
                      <a:pt x="890" y="561"/>
                    </a:lnTo>
                    <a:lnTo>
                      <a:pt x="890" y="561"/>
                    </a:lnTo>
                    <a:lnTo>
                      <a:pt x="892" y="564"/>
                    </a:lnTo>
                    <a:lnTo>
                      <a:pt x="894" y="561"/>
                    </a:lnTo>
                    <a:lnTo>
                      <a:pt x="894" y="561"/>
                    </a:lnTo>
                    <a:lnTo>
                      <a:pt x="894" y="559"/>
                    </a:lnTo>
                    <a:lnTo>
                      <a:pt x="894" y="557"/>
                    </a:lnTo>
                    <a:lnTo>
                      <a:pt x="894" y="552"/>
                    </a:lnTo>
                    <a:lnTo>
                      <a:pt x="897" y="552"/>
                    </a:lnTo>
                    <a:lnTo>
                      <a:pt x="897" y="550"/>
                    </a:lnTo>
                    <a:lnTo>
                      <a:pt x="899" y="547"/>
                    </a:lnTo>
                    <a:lnTo>
                      <a:pt x="899" y="545"/>
                    </a:lnTo>
                    <a:lnTo>
                      <a:pt x="899" y="545"/>
                    </a:lnTo>
                    <a:lnTo>
                      <a:pt x="899" y="543"/>
                    </a:lnTo>
                    <a:lnTo>
                      <a:pt x="899" y="540"/>
                    </a:lnTo>
                    <a:lnTo>
                      <a:pt x="899" y="540"/>
                    </a:lnTo>
                    <a:lnTo>
                      <a:pt x="899" y="538"/>
                    </a:lnTo>
                    <a:lnTo>
                      <a:pt x="901" y="535"/>
                    </a:lnTo>
                    <a:lnTo>
                      <a:pt x="901" y="535"/>
                    </a:lnTo>
                    <a:lnTo>
                      <a:pt x="899" y="533"/>
                    </a:lnTo>
                    <a:lnTo>
                      <a:pt x="899" y="533"/>
                    </a:lnTo>
                    <a:lnTo>
                      <a:pt x="899" y="533"/>
                    </a:lnTo>
                    <a:lnTo>
                      <a:pt x="901" y="533"/>
                    </a:lnTo>
                    <a:lnTo>
                      <a:pt x="901" y="533"/>
                    </a:lnTo>
                    <a:lnTo>
                      <a:pt x="904" y="531"/>
                    </a:lnTo>
                    <a:lnTo>
                      <a:pt x="904" y="526"/>
                    </a:lnTo>
                    <a:lnTo>
                      <a:pt x="904" y="526"/>
                    </a:lnTo>
                    <a:lnTo>
                      <a:pt x="906" y="526"/>
                    </a:lnTo>
                    <a:lnTo>
                      <a:pt x="906" y="528"/>
                    </a:lnTo>
                    <a:lnTo>
                      <a:pt x="908" y="528"/>
                    </a:lnTo>
                    <a:lnTo>
                      <a:pt x="911" y="526"/>
                    </a:lnTo>
                    <a:lnTo>
                      <a:pt x="913" y="526"/>
                    </a:lnTo>
                    <a:lnTo>
                      <a:pt x="911" y="526"/>
                    </a:lnTo>
                    <a:lnTo>
                      <a:pt x="911" y="521"/>
                    </a:lnTo>
                    <a:lnTo>
                      <a:pt x="908" y="519"/>
                    </a:lnTo>
                    <a:lnTo>
                      <a:pt x="908" y="519"/>
                    </a:lnTo>
                    <a:lnTo>
                      <a:pt x="911" y="516"/>
                    </a:lnTo>
                    <a:lnTo>
                      <a:pt x="911" y="516"/>
                    </a:lnTo>
                    <a:lnTo>
                      <a:pt x="911" y="514"/>
                    </a:lnTo>
                    <a:lnTo>
                      <a:pt x="908" y="514"/>
                    </a:lnTo>
                    <a:lnTo>
                      <a:pt x="908" y="514"/>
                    </a:lnTo>
                    <a:lnTo>
                      <a:pt x="911" y="514"/>
                    </a:lnTo>
                    <a:lnTo>
                      <a:pt x="908" y="512"/>
                    </a:lnTo>
                    <a:lnTo>
                      <a:pt x="906" y="509"/>
                    </a:lnTo>
                    <a:lnTo>
                      <a:pt x="904" y="509"/>
                    </a:lnTo>
                    <a:lnTo>
                      <a:pt x="906" y="507"/>
                    </a:lnTo>
                    <a:lnTo>
                      <a:pt x="906" y="507"/>
                    </a:lnTo>
                    <a:lnTo>
                      <a:pt x="908" y="507"/>
                    </a:lnTo>
                    <a:lnTo>
                      <a:pt x="908" y="507"/>
                    </a:lnTo>
                    <a:lnTo>
                      <a:pt x="911" y="507"/>
                    </a:lnTo>
                    <a:lnTo>
                      <a:pt x="913" y="509"/>
                    </a:lnTo>
                    <a:lnTo>
                      <a:pt x="913" y="509"/>
                    </a:lnTo>
                    <a:lnTo>
                      <a:pt x="911" y="502"/>
                    </a:lnTo>
                    <a:lnTo>
                      <a:pt x="911" y="500"/>
                    </a:lnTo>
                    <a:lnTo>
                      <a:pt x="911" y="498"/>
                    </a:lnTo>
                    <a:lnTo>
                      <a:pt x="908" y="500"/>
                    </a:lnTo>
                    <a:lnTo>
                      <a:pt x="906" y="502"/>
                    </a:lnTo>
                    <a:lnTo>
                      <a:pt x="904" y="502"/>
                    </a:lnTo>
                    <a:lnTo>
                      <a:pt x="904" y="500"/>
                    </a:lnTo>
                    <a:lnTo>
                      <a:pt x="906" y="500"/>
                    </a:lnTo>
                    <a:lnTo>
                      <a:pt x="908" y="495"/>
                    </a:lnTo>
                    <a:lnTo>
                      <a:pt x="911" y="493"/>
                    </a:lnTo>
                    <a:lnTo>
                      <a:pt x="911" y="493"/>
                    </a:lnTo>
                    <a:lnTo>
                      <a:pt x="908" y="493"/>
                    </a:lnTo>
                    <a:lnTo>
                      <a:pt x="906" y="493"/>
                    </a:lnTo>
                    <a:lnTo>
                      <a:pt x="904" y="490"/>
                    </a:lnTo>
                    <a:lnTo>
                      <a:pt x="897" y="486"/>
                    </a:lnTo>
                    <a:lnTo>
                      <a:pt x="897" y="486"/>
                    </a:lnTo>
                    <a:lnTo>
                      <a:pt x="894" y="483"/>
                    </a:lnTo>
                    <a:lnTo>
                      <a:pt x="892" y="483"/>
                    </a:lnTo>
                    <a:lnTo>
                      <a:pt x="890" y="488"/>
                    </a:lnTo>
                    <a:lnTo>
                      <a:pt x="885" y="488"/>
                    </a:lnTo>
                    <a:lnTo>
                      <a:pt x="880" y="483"/>
                    </a:lnTo>
                    <a:lnTo>
                      <a:pt x="878" y="486"/>
                    </a:lnTo>
                    <a:lnTo>
                      <a:pt x="875" y="486"/>
                    </a:lnTo>
                    <a:lnTo>
                      <a:pt x="875" y="486"/>
                    </a:lnTo>
                    <a:lnTo>
                      <a:pt x="875" y="486"/>
                    </a:lnTo>
                    <a:lnTo>
                      <a:pt x="875" y="486"/>
                    </a:lnTo>
                    <a:lnTo>
                      <a:pt x="880" y="483"/>
                    </a:lnTo>
                    <a:lnTo>
                      <a:pt x="882" y="483"/>
                    </a:lnTo>
                    <a:lnTo>
                      <a:pt x="885" y="483"/>
                    </a:lnTo>
                    <a:lnTo>
                      <a:pt x="887" y="483"/>
                    </a:lnTo>
                    <a:lnTo>
                      <a:pt x="887" y="481"/>
                    </a:lnTo>
                    <a:lnTo>
                      <a:pt x="887" y="479"/>
                    </a:lnTo>
                    <a:lnTo>
                      <a:pt x="892" y="476"/>
                    </a:lnTo>
                    <a:lnTo>
                      <a:pt x="894" y="474"/>
                    </a:lnTo>
                    <a:lnTo>
                      <a:pt x="894" y="474"/>
                    </a:lnTo>
                    <a:lnTo>
                      <a:pt x="899" y="472"/>
                    </a:lnTo>
                    <a:lnTo>
                      <a:pt x="899" y="472"/>
                    </a:lnTo>
                    <a:lnTo>
                      <a:pt x="901" y="472"/>
                    </a:lnTo>
                    <a:lnTo>
                      <a:pt x="899" y="469"/>
                    </a:lnTo>
                    <a:lnTo>
                      <a:pt x="899" y="467"/>
                    </a:lnTo>
                    <a:lnTo>
                      <a:pt x="894" y="462"/>
                    </a:lnTo>
                    <a:lnTo>
                      <a:pt x="887" y="460"/>
                    </a:lnTo>
                    <a:lnTo>
                      <a:pt x="885" y="457"/>
                    </a:lnTo>
                    <a:lnTo>
                      <a:pt x="880" y="455"/>
                    </a:lnTo>
                    <a:lnTo>
                      <a:pt x="878" y="455"/>
                    </a:lnTo>
                    <a:lnTo>
                      <a:pt x="875" y="453"/>
                    </a:lnTo>
                    <a:lnTo>
                      <a:pt x="875" y="450"/>
                    </a:lnTo>
                    <a:lnTo>
                      <a:pt x="873" y="450"/>
                    </a:lnTo>
                    <a:lnTo>
                      <a:pt x="868" y="448"/>
                    </a:lnTo>
                    <a:lnTo>
                      <a:pt x="866" y="450"/>
                    </a:lnTo>
                    <a:lnTo>
                      <a:pt x="864" y="450"/>
                    </a:lnTo>
                    <a:lnTo>
                      <a:pt x="861" y="450"/>
                    </a:lnTo>
                    <a:lnTo>
                      <a:pt x="861" y="450"/>
                    </a:lnTo>
                    <a:lnTo>
                      <a:pt x="861" y="450"/>
                    </a:lnTo>
                    <a:lnTo>
                      <a:pt x="864" y="450"/>
                    </a:lnTo>
                    <a:lnTo>
                      <a:pt x="868" y="445"/>
                    </a:lnTo>
                    <a:lnTo>
                      <a:pt x="871" y="448"/>
                    </a:lnTo>
                    <a:lnTo>
                      <a:pt x="875" y="448"/>
                    </a:lnTo>
                    <a:lnTo>
                      <a:pt x="878" y="453"/>
                    </a:lnTo>
                    <a:lnTo>
                      <a:pt x="882" y="453"/>
                    </a:lnTo>
                    <a:lnTo>
                      <a:pt x="885" y="453"/>
                    </a:lnTo>
                    <a:lnTo>
                      <a:pt x="885" y="453"/>
                    </a:lnTo>
                    <a:lnTo>
                      <a:pt x="892" y="455"/>
                    </a:lnTo>
                    <a:lnTo>
                      <a:pt x="894" y="455"/>
                    </a:lnTo>
                    <a:lnTo>
                      <a:pt x="897" y="455"/>
                    </a:lnTo>
                    <a:lnTo>
                      <a:pt x="894" y="453"/>
                    </a:lnTo>
                    <a:lnTo>
                      <a:pt x="894" y="450"/>
                    </a:lnTo>
                    <a:lnTo>
                      <a:pt x="892" y="448"/>
                    </a:lnTo>
                    <a:lnTo>
                      <a:pt x="890" y="448"/>
                    </a:lnTo>
                    <a:lnTo>
                      <a:pt x="887" y="445"/>
                    </a:lnTo>
                    <a:lnTo>
                      <a:pt x="885" y="445"/>
                    </a:lnTo>
                    <a:lnTo>
                      <a:pt x="885" y="445"/>
                    </a:lnTo>
                    <a:lnTo>
                      <a:pt x="882" y="441"/>
                    </a:lnTo>
                    <a:lnTo>
                      <a:pt x="882" y="441"/>
                    </a:lnTo>
                    <a:lnTo>
                      <a:pt x="880" y="438"/>
                    </a:lnTo>
                    <a:lnTo>
                      <a:pt x="873" y="436"/>
                    </a:lnTo>
                    <a:lnTo>
                      <a:pt x="871" y="436"/>
                    </a:lnTo>
                    <a:lnTo>
                      <a:pt x="871" y="434"/>
                    </a:lnTo>
                    <a:lnTo>
                      <a:pt x="871" y="431"/>
                    </a:lnTo>
                    <a:lnTo>
                      <a:pt x="868" y="427"/>
                    </a:lnTo>
                    <a:lnTo>
                      <a:pt x="864" y="422"/>
                    </a:lnTo>
                    <a:lnTo>
                      <a:pt x="861" y="417"/>
                    </a:lnTo>
                    <a:lnTo>
                      <a:pt x="856" y="415"/>
                    </a:lnTo>
                    <a:lnTo>
                      <a:pt x="856" y="412"/>
                    </a:lnTo>
                    <a:lnTo>
                      <a:pt x="854" y="410"/>
                    </a:lnTo>
                    <a:lnTo>
                      <a:pt x="849" y="403"/>
                    </a:lnTo>
                    <a:lnTo>
                      <a:pt x="849" y="400"/>
                    </a:lnTo>
                    <a:lnTo>
                      <a:pt x="847" y="400"/>
                    </a:lnTo>
                    <a:lnTo>
                      <a:pt x="842" y="398"/>
                    </a:lnTo>
                    <a:lnTo>
                      <a:pt x="838" y="396"/>
                    </a:lnTo>
                    <a:lnTo>
                      <a:pt x="835" y="393"/>
                    </a:lnTo>
                    <a:lnTo>
                      <a:pt x="830" y="391"/>
                    </a:lnTo>
                    <a:lnTo>
                      <a:pt x="828" y="391"/>
                    </a:lnTo>
                    <a:lnTo>
                      <a:pt x="826" y="391"/>
                    </a:lnTo>
                    <a:lnTo>
                      <a:pt x="826" y="389"/>
                    </a:lnTo>
                    <a:lnTo>
                      <a:pt x="823" y="384"/>
                    </a:lnTo>
                    <a:lnTo>
                      <a:pt x="826" y="384"/>
                    </a:lnTo>
                    <a:lnTo>
                      <a:pt x="826" y="379"/>
                    </a:lnTo>
                    <a:lnTo>
                      <a:pt x="828" y="377"/>
                    </a:lnTo>
                    <a:lnTo>
                      <a:pt x="828" y="374"/>
                    </a:lnTo>
                    <a:lnTo>
                      <a:pt x="828" y="372"/>
                    </a:lnTo>
                    <a:lnTo>
                      <a:pt x="830" y="372"/>
                    </a:lnTo>
                    <a:lnTo>
                      <a:pt x="830" y="372"/>
                    </a:lnTo>
                    <a:lnTo>
                      <a:pt x="830" y="370"/>
                    </a:lnTo>
                    <a:lnTo>
                      <a:pt x="833" y="370"/>
                    </a:lnTo>
                    <a:lnTo>
                      <a:pt x="833" y="367"/>
                    </a:lnTo>
                    <a:lnTo>
                      <a:pt x="833" y="367"/>
                    </a:lnTo>
                    <a:lnTo>
                      <a:pt x="835" y="365"/>
                    </a:lnTo>
                    <a:lnTo>
                      <a:pt x="835" y="365"/>
                    </a:lnTo>
                    <a:lnTo>
                      <a:pt x="835" y="363"/>
                    </a:lnTo>
                    <a:lnTo>
                      <a:pt x="833" y="363"/>
                    </a:lnTo>
                    <a:lnTo>
                      <a:pt x="830" y="360"/>
                    </a:lnTo>
                    <a:lnTo>
                      <a:pt x="830" y="360"/>
                    </a:lnTo>
                    <a:lnTo>
                      <a:pt x="833" y="360"/>
                    </a:lnTo>
                    <a:lnTo>
                      <a:pt x="833" y="358"/>
                    </a:lnTo>
                    <a:lnTo>
                      <a:pt x="835" y="358"/>
                    </a:lnTo>
                    <a:lnTo>
                      <a:pt x="835" y="360"/>
                    </a:lnTo>
                    <a:lnTo>
                      <a:pt x="835" y="360"/>
                    </a:lnTo>
                    <a:lnTo>
                      <a:pt x="835" y="363"/>
                    </a:lnTo>
                    <a:lnTo>
                      <a:pt x="838" y="363"/>
                    </a:lnTo>
                    <a:lnTo>
                      <a:pt x="838" y="360"/>
                    </a:lnTo>
                    <a:lnTo>
                      <a:pt x="840" y="360"/>
                    </a:lnTo>
                    <a:lnTo>
                      <a:pt x="840" y="360"/>
                    </a:lnTo>
                    <a:lnTo>
                      <a:pt x="840" y="355"/>
                    </a:lnTo>
                    <a:lnTo>
                      <a:pt x="840" y="355"/>
                    </a:lnTo>
                    <a:lnTo>
                      <a:pt x="840" y="353"/>
                    </a:lnTo>
                    <a:lnTo>
                      <a:pt x="842" y="355"/>
                    </a:lnTo>
                    <a:lnTo>
                      <a:pt x="842" y="353"/>
                    </a:lnTo>
                    <a:lnTo>
                      <a:pt x="842" y="353"/>
                    </a:lnTo>
                    <a:lnTo>
                      <a:pt x="842" y="353"/>
                    </a:lnTo>
                    <a:lnTo>
                      <a:pt x="840" y="351"/>
                    </a:lnTo>
                    <a:lnTo>
                      <a:pt x="840" y="351"/>
                    </a:lnTo>
                    <a:lnTo>
                      <a:pt x="840" y="351"/>
                    </a:lnTo>
                    <a:lnTo>
                      <a:pt x="842" y="351"/>
                    </a:lnTo>
                    <a:lnTo>
                      <a:pt x="845" y="351"/>
                    </a:lnTo>
                    <a:lnTo>
                      <a:pt x="845" y="348"/>
                    </a:lnTo>
                    <a:lnTo>
                      <a:pt x="849" y="348"/>
                    </a:lnTo>
                    <a:lnTo>
                      <a:pt x="852" y="346"/>
                    </a:lnTo>
                    <a:lnTo>
                      <a:pt x="856" y="344"/>
                    </a:lnTo>
                    <a:lnTo>
                      <a:pt x="859" y="344"/>
                    </a:lnTo>
                    <a:lnTo>
                      <a:pt x="861" y="344"/>
                    </a:lnTo>
                    <a:lnTo>
                      <a:pt x="861" y="344"/>
                    </a:lnTo>
                    <a:lnTo>
                      <a:pt x="861" y="344"/>
                    </a:lnTo>
                    <a:lnTo>
                      <a:pt x="864" y="346"/>
                    </a:lnTo>
                    <a:lnTo>
                      <a:pt x="864" y="346"/>
                    </a:lnTo>
                    <a:lnTo>
                      <a:pt x="864" y="346"/>
                    </a:lnTo>
                    <a:lnTo>
                      <a:pt x="866" y="344"/>
                    </a:lnTo>
                    <a:lnTo>
                      <a:pt x="866" y="344"/>
                    </a:lnTo>
                    <a:lnTo>
                      <a:pt x="866" y="341"/>
                    </a:lnTo>
                    <a:lnTo>
                      <a:pt x="866" y="341"/>
                    </a:lnTo>
                    <a:lnTo>
                      <a:pt x="864" y="341"/>
                    </a:lnTo>
                    <a:lnTo>
                      <a:pt x="866" y="339"/>
                    </a:lnTo>
                    <a:lnTo>
                      <a:pt x="866" y="339"/>
                    </a:lnTo>
                    <a:lnTo>
                      <a:pt x="864" y="334"/>
                    </a:lnTo>
                    <a:lnTo>
                      <a:pt x="866" y="334"/>
                    </a:lnTo>
                    <a:lnTo>
                      <a:pt x="864" y="332"/>
                    </a:lnTo>
                    <a:lnTo>
                      <a:pt x="861" y="334"/>
                    </a:lnTo>
                    <a:lnTo>
                      <a:pt x="859" y="334"/>
                    </a:lnTo>
                    <a:lnTo>
                      <a:pt x="856" y="332"/>
                    </a:lnTo>
                    <a:lnTo>
                      <a:pt x="854" y="332"/>
                    </a:lnTo>
                    <a:lnTo>
                      <a:pt x="854" y="332"/>
                    </a:lnTo>
                    <a:lnTo>
                      <a:pt x="854" y="332"/>
                    </a:lnTo>
                    <a:lnTo>
                      <a:pt x="852" y="332"/>
                    </a:lnTo>
                    <a:lnTo>
                      <a:pt x="849" y="332"/>
                    </a:lnTo>
                    <a:lnTo>
                      <a:pt x="847" y="332"/>
                    </a:lnTo>
                    <a:lnTo>
                      <a:pt x="845" y="332"/>
                    </a:lnTo>
                    <a:lnTo>
                      <a:pt x="842" y="329"/>
                    </a:lnTo>
                    <a:lnTo>
                      <a:pt x="838" y="329"/>
                    </a:lnTo>
                    <a:lnTo>
                      <a:pt x="835" y="327"/>
                    </a:lnTo>
                    <a:lnTo>
                      <a:pt x="828" y="325"/>
                    </a:lnTo>
                    <a:lnTo>
                      <a:pt x="823" y="327"/>
                    </a:lnTo>
                    <a:lnTo>
                      <a:pt x="821" y="327"/>
                    </a:lnTo>
                    <a:lnTo>
                      <a:pt x="821" y="327"/>
                    </a:lnTo>
                    <a:lnTo>
                      <a:pt x="821" y="327"/>
                    </a:lnTo>
                    <a:lnTo>
                      <a:pt x="823" y="329"/>
                    </a:lnTo>
                    <a:lnTo>
                      <a:pt x="821" y="332"/>
                    </a:lnTo>
                    <a:lnTo>
                      <a:pt x="816" y="334"/>
                    </a:lnTo>
                    <a:lnTo>
                      <a:pt x="819" y="337"/>
                    </a:lnTo>
                    <a:lnTo>
                      <a:pt x="819" y="337"/>
                    </a:lnTo>
                    <a:lnTo>
                      <a:pt x="816" y="339"/>
                    </a:lnTo>
                    <a:lnTo>
                      <a:pt x="811" y="339"/>
                    </a:lnTo>
                    <a:lnTo>
                      <a:pt x="809" y="339"/>
                    </a:lnTo>
                    <a:lnTo>
                      <a:pt x="804" y="339"/>
                    </a:lnTo>
                    <a:lnTo>
                      <a:pt x="802" y="337"/>
                    </a:lnTo>
                    <a:lnTo>
                      <a:pt x="802" y="334"/>
                    </a:lnTo>
                    <a:lnTo>
                      <a:pt x="800" y="332"/>
                    </a:lnTo>
                    <a:lnTo>
                      <a:pt x="800" y="329"/>
                    </a:lnTo>
                    <a:lnTo>
                      <a:pt x="800" y="327"/>
                    </a:lnTo>
                    <a:lnTo>
                      <a:pt x="800" y="327"/>
                    </a:lnTo>
                    <a:lnTo>
                      <a:pt x="800" y="327"/>
                    </a:lnTo>
                    <a:lnTo>
                      <a:pt x="800" y="325"/>
                    </a:lnTo>
                    <a:lnTo>
                      <a:pt x="800" y="325"/>
                    </a:lnTo>
                    <a:lnTo>
                      <a:pt x="797" y="322"/>
                    </a:lnTo>
                    <a:lnTo>
                      <a:pt x="795" y="320"/>
                    </a:lnTo>
                    <a:lnTo>
                      <a:pt x="793" y="318"/>
                    </a:lnTo>
                    <a:lnTo>
                      <a:pt x="790" y="318"/>
                    </a:lnTo>
                    <a:lnTo>
                      <a:pt x="788" y="318"/>
                    </a:lnTo>
                    <a:lnTo>
                      <a:pt x="778" y="318"/>
                    </a:lnTo>
                    <a:lnTo>
                      <a:pt x="771" y="313"/>
                    </a:lnTo>
                    <a:lnTo>
                      <a:pt x="769" y="310"/>
                    </a:lnTo>
                    <a:lnTo>
                      <a:pt x="767" y="308"/>
                    </a:lnTo>
                    <a:lnTo>
                      <a:pt x="764" y="306"/>
                    </a:lnTo>
                    <a:lnTo>
                      <a:pt x="764" y="303"/>
                    </a:lnTo>
                    <a:lnTo>
                      <a:pt x="764" y="296"/>
                    </a:lnTo>
                    <a:lnTo>
                      <a:pt x="767" y="296"/>
                    </a:lnTo>
                    <a:lnTo>
                      <a:pt x="769" y="294"/>
                    </a:lnTo>
                    <a:lnTo>
                      <a:pt x="771" y="296"/>
                    </a:lnTo>
                    <a:lnTo>
                      <a:pt x="774" y="299"/>
                    </a:lnTo>
                    <a:lnTo>
                      <a:pt x="778" y="296"/>
                    </a:lnTo>
                    <a:lnTo>
                      <a:pt x="778" y="296"/>
                    </a:lnTo>
                    <a:lnTo>
                      <a:pt x="781" y="296"/>
                    </a:lnTo>
                    <a:lnTo>
                      <a:pt x="783" y="296"/>
                    </a:lnTo>
                    <a:lnTo>
                      <a:pt x="785" y="296"/>
                    </a:lnTo>
                    <a:lnTo>
                      <a:pt x="785" y="296"/>
                    </a:lnTo>
                    <a:lnTo>
                      <a:pt x="785" y="294"/>
                    </a:lnTo>
                    <a:lnTo>
                      <a:pt x="788" y="292"/>
                    </a:lnTo>
                    <a:lnTo>
                      <a:pt x="788" y="287"/>
                    </a:lnTo>
                    <a:lnTo>
                      <a:pt x="788" y="284"/>
                    </a:lnTo>
                    <a:lnTo>
                      <a:pt x="788" y="284"/>
                    </a:lnTo>
                    <a:lnTo>
                      <a:pt x="790" y="280"/>
                    </a:lnTo>
                    <a:lnTo>
                      <a:pt x="793" y="277"/>
                    </a:lnTo>
                    <a:lnTo>
                      <a:pt x="800" y="275"/>
                    </a:lnTo>
                    <a:lnTo>
                      <a:pt x="802" y="275"/>
                    </a:lnTo>
                    <a:lnTo>
                      <a:pt x="802" y="268"/>
                    </a:lnTo>
                    <a:lnTo>
                      <a:pt x="804" y="266"/>
                    </a:lnTo>
                    <a:lnTo>
                      <a:pt x="804" y="266"/>
                    </a:lnTo>
                    <a:lnTo>
                      <a:pt x="804" y="263"/>
                    </a:lnTo>
                    <a:lnTo>
                      <a:pt x="807" y="263"/>
                    </a:lnTo>
                    <a:lnTo>
                      <a:pt x="807" y="261"/>
                    </a:lnTo>
                    <a:lnTo>
                      <a:pt x="814" y="261"/>
                    </a:lnTo>
                    <a:lnTo>
                      <a:pt x="814" y="263"/>
                    </a:lnTo>
                    <a:lnTo>
                      <a:pt x="816" y="263"/>
                    </a:lnTo>
                    <a:lnTo>
                      <a:pt x="816" y="261"/>
                    </a:lnTo>
                    <a:lnTo>
                      <a:pt x="816" y="261"/>
                    </a:lnTo>
                    <a:lnTo>
                      <a:pt x="816" y="258"/>
                    </a:lnTo>
                    <a:lnTo>
                      <a:pt x="819" y="263"/>
                    </a:lnTo>
                    <a:lnTo>
                      <a:pt x="826" y="266"/>
                    </a:lnTo>
                    <a:lnTo>
                      <a:pt x="828" y="268"/>
                    </a:lnTo>
                    <a:lnTo>
                      <a:pt x="828" y="268"/>
                    </a:lnTo>
                    <a:lnTo>
                      <a:pt x="830" y="270"/>
                    </a:lnTo>
                    <a:lnTo>
                      <a:pt x="830" y="273"/>
                    </a:lnTo>
                    <a:lnTo>
                      <a:pt x="830" y="273"/>
                    </a:lnTo>
                    <a:lnTo>
                      <a:pt x="828" y="277"/>
                    </a:lnTo>
                    <a:lnTo>
                      <a:pt x="828" y="280"/>
                    </a:lnTo>
                    <a:lnTo>
                      <a:pt x="826" y="280"/>
                    </a:lnTo>
                    <a:lnTo>
                      <a:pt x="823" y="282"/>
                    </a:lnTo>
                    <a:lnTo>
                      <a:pt x="823" y="282"/>
                    </a:lnTo>
                    <a:lnTo>
                      <a:pt x="823" y="284"/>
                    </a:lnTo>
                    <a:lnTo>
                      <a:pt x="826" y="287"/>
                    </a:lnTo>
                    <a:lnTo>
                      <a:pt x="823" y="287"/>
                    </a:lnTo>
                    <a:lnTo>
                      <a:pt x="823" y="287"/>
                    </a:lnTo>
                    <a:lnTo>
                      <a:pt x="821" y="287"/>
                    </a:lnTo>
                    <a:lnTo>
                      <a:pt x="821" y="289"/>
                    </a:lnTo>
                    <a:lnTo>
                      <a:pt x="823" y="289"/>
                    </a:lnTo>
                    <a:lnTo>
                      <a:pt x="823" y="292"/>
                    </a:lnTo>
                    <a:lnTo>
                      <a:pt x="826" y="292"/>
                    </a:lnTo>
                    <a:lnTo>
                      <a:pt x="828" y="292"/>
                    </a:lnTo>
                    <a:lnTo>
                      <a:pt x="833" y="292"/>
                    </a:lnTo>
                    <a:lnTo>
                      <a:pt x="833" y="292"/>
                    </a:lnTo>
                    <a:lnTo>
                      <a:pt x="833" y="292"/>
                    </a:lnTo>
                    <a:lnTo>
                      <a:pt x="830" y="294"/>
                    </a:lnTo>
                    <a:lnTo>
                      <a:pt x="830" y="294"/>
                    </a:lnTo>
                    <a:lnTo>
                      <a:pt x="833" y="296"/>
                    </a:lnTo>
                    <a:lnTo>
                      <a:pt x="828" y="301"/>
                    </a:lnTo>
                    <a:lnTo>
                      <a:pt x="826" y="301"/>
                    </a:lnTo>
                    <a:lnTo>
                      <a:pt x="826" y="301"/>
                    </a:lnTo>
                    <a:lnTo>
                      <a:pt x="826" y="303"/>
                    </a:lnTo>
                    <a:lnTo>
                      <a:pt x="828" y="306"/>
                    </a:lnTo>
                    <a:lnTo>
                      <a:pt x="828" y="306"/>
                    </a:lnTo>
                    <a:lnTo>
                      <a:pt x="828" y="303"/>
                    </a:lnTo>
                    <a:lnTo>
                      <a:pt x="830" y="303"/>
                    </a:lnTo>
                    <a:lnTo>
                      <a:pt x="833" y="303"/>
                    </a:lnTo>
                    <a:lnTo>
                      <a:pt x="835" y="301"/>
                    </a:lnTo>
                    <a:lnTo>
                      <a:pt x="835" y="301"/>
                    </a:lnTo>
                    <a:lnTo>
                      <a:pt x="833" y="301"/>
                    </a:lnTo>
                    <a:lnTo>
                      <a:pt x="833" y="299"/>
                    </a:lnTo>
                    <a:lnTo>
                      <a:pt x="835" y="299"/>
                    </a:lnTo>
                    <a:lnTo>
                      <a:pt x="835" y="299"/>
                    </a:lnTo>
                    <a:lnTo>
                      <a:pt x="838" y="299"/>
                    </a:lnTo>
                    <a:lnTo>
                      <a:pt x="838" y="299"/>
                    </a:lnTo>
                    <a:lnTo>
                      <a:pt x="838" y="299"/>
                    </a:lnTo>
                    <a:lnTo>
                      <a:pt x="840" y="296"/>
                    </a:lnTo>
                    <a:lnTo>
                      <a:pt x="840" y="296"/>
                    </a:lnTo>
                    <a:lnTo>
                      <a:pt x="840" y="294"/>
                    </a:lnTo>
                    <a:lnTo>
                      <a:pt x="842" y="292"/>
                    </a:lnTo>
                    <a:lnTo>
                      <a:pt x="847" y="287"/>
                    </a:lnTo>
                    <a:lnTo>
                      <a:pt x="849" y="287"/>
                    </a:lnTo>
                    <a:lnTo>
                      <a:pt x="852" y="284"/>
                    </a:lnTo>
                    <a:lnTo>
                      <a:pt x="854" y="284"/>
                    </a:lnTo>
                    <a:lnTo>
                      <a:pt x="854" y="284"/>
                    </a:lnTo>
                    <a:lnTo>
                      <a:pt x="856" y="282"/>
                    </a:lnTo>
                    <a:lnTo>
                      <a:pt x="859" y="282"/>
                    </a:lnTo>
                    <a:lnTo>
                      <a:pt x="859" y="282"/>
                    </a:lnTo>
                    <a:lnTo>
                      <a:pt x="859" y="282"/>
                    </a:lnTo>
                    <a:lnTo>
                      <a:pt x="859" y="280"/>
                    </a:lnTo>
                    <a:lnTo>
                      <a:pt x="861" y="282"/>
                    </a:lnTo>
                    <a:lnTo>
                      <a:pt x="868" y="282"/>
                    </a:lnTo>
                    <a:lnTo>
                      <a:pt x="871" y="280"/>
                    </a:lnTo>
                    <a:lnTo>
                      <a:pt x="871" y="280"/>
                    </a:lnTo>
                    <a:lnTo>
                      <a:pt x="871" y="280"/>
                    </a:lnTo>
                    <a:lnTo>
                      <a:pt x="871" y="277"/>
                    </a:lnTo>
                    <a:lnTo>
                      <a:pt x="871" y="275"/>
                    </a:lnTo>
                    <a:lnTo>
                      <a:pt x="873" y="273"/>
                    </a:lnTo>
                    <a:lnTo>
                      <a:pt x="873" y="273"/>
                    </a:lnTo>
                    <a:lnTo>
                      <a:pt x="875" y="270"/>
                    </a:lnTo>
                    <a:lnTo>
                      <a:pt x="875" y="270"/>
                    </a:lnTo>
                    <a:lnTo>
                      <a:pt x="878" y="270"/>
                    </a:lnTo>
                    <a:lnTo>
                      <a:pt x="878" y="270"/>
                    </a:lnTo>
                    <a:lnTo>
                      <a:pt x="878" y="268"/>
                    </a:lnTo>
                    <a:lnTo>
                      <a:pt x="878" y="268"/>
                    </a:lnTo>
                    <a:lnTo>
                      <a:pt x="878" y="268"/>
                    </a:lnTo>
                    <a:lnTo>
                      <a:pt x="880" y="266"/>
                    </a:lnTo>
                    <a:lnTo>
                      <a:pt x="882" y="266"/>
                    </a:lnTo>
                    <a:lnTo>
                      <a:pt x="882" y="263"/>
                    </a:lnTo>
                    <a:lnTo>
                      <a:pt x="885" y="263"/>
                    </a:lnTo>
                    <a:lnTo>
                      <a:pt x="885" y="263"/>
                    </a:lnTo>
                    <a:lnTo>
                      <a:pt x="885" y="263"/>
                    </a:lnTo>
                    <a:lnTo>
                      <a:pt x="885" y="263"/>
                    </a:lnTo>
                    <a:lnTo>
                      <a:pt x="885" y="261"/>
                    </a:lnTo>
                    <a:lnTo>
                      <a:pt x="885" y="261"/>
                    </a:lnTo>
                    <a:lnTo>
                      <a:pt x="887" y="261"/>
                    </a:lnTo>
                    <a:lnTo>
                      <a:pt x="890" y="261"/>
                    </a:lnTo>
                    <a:lnTo>
                      <a:pt x="890" y="258"/>
                    </a:lnTo>
                    <a:lnTo>
                      <a:pt x="890" y="258"/>
                    </a:lnTo>
                    <a:lnTo>
                      <a:pt x="890" y="258"/>
                    </a:lnTo>
                    <a:lnTo>
                      <a:pt x="892" y="256"/>
                    </a:lnTo>
                    <a:lnTo>
                      <a:pt x="892" y="254"/>
                    </a:lnTo>
                    <a:lnTo>
                      <a:pt x="892" y="251"/>
                    </a:lnTo>
                    <a:lnTo>
                      <a:pt x="892" y="251"/>
                    </a:lnTo>
                    <a:lnTo>
                      <a:pt x="892" y="251"/>
                    </a:lnTo>
                    <a:lnTo>
                      <a:pt x="892" y="251"/>
                    </a:lnTo>
                    <a:lnTo>
                      <a:pt x="892" y="249"/>
                    </a:lnTo>
                    <a:lnTo>
                      <a:pt x="892" y="247"/>
                    </a:lnTo>
                    <a:lnTo>
                      <a:pt x="892" y="247"/>
                    </a:lnTo>
                    <a:lnTo>
                      <a:pt x="892" y="244"/>
                    </a:lnTo>
                    <a:lnTo>
                      <a:pt x="892" y="244"/>
                    </a:lnTo>
                    <a:lnTo>
                      <a:pt x="894" y="244"/>
                    </a:lnTo>
                    <a:lnTo>
                      <a:pt x="894" y="244"/>
                    </a:lnTo>
                    <a:lnTo>
                      <a:pt x="894" y="244"/>
                    </a:lnTo>
                    <a:lnTo>
                      <a:pt x="894" y="242"/>
                    </a:lnTo>
                    <a:lnTo>
                      <a:pt x="897" y="244"/>
                    </a:lnTo>
                    <a:lnTo>
                      <a:pt x="897" y="244"/>
                    </a:lnTo>
                    <a:lnTo>
                      <a:pt x="899" y="244"/>
                    </a:lnTo>
                    <a:lnTo>
                      <a:pt x="899" y="247"/>
                    </a:lnTo>
                    <a:lnTo>
                      <a:pt x="901" y="247"/>
                    </a:lnTo>
                    <a:lnTo>
                      <a:pt x="901" y="247"/>
                    </a:lnTo>
                    <a:lnTo>
                      <a:pt x="904" y="249"/>
                    </a:lnTo>
                    <a:lnTo>
                      <a:pt x="904" y="249"/>
                    </a:lnTo>
                    <a:lnTo>
                      <a:pt x="908" y="249"/>
                    </a:lnTo>
                    <a:lnTo>
                      <a:pt x="908" y="249"/>
                    </a:lnTo>
                    <a:lnTo>
                      <a:pt x="911" y="249"/>
                    </a:lnTo>
                    <a:lnTo>
                      <a:pt x="913" y="249"/>
                    </a:lnTo>
                    <a:lnTo>
                      <a:pt x="916" y="249"/>
                    </a:lnTo>
                    <a:lnTo>
                      <a:pt x="918" y="249"/>
                    </a:lnTo>
                    <a:lnTo>
                      <a:pt x="918" y="251"/>
                    </a:lnTo>
                    <a:lnTo>
                      <a:pt x="920" y="251"/>
                    </a:lnTo>
                    <a:lnTo>
                      <a:pt x="920" y="251"/>
                    </a:lnTo>
                    <a:lnTo>
                      <a:pt x="920" y="249"/>
                    </a:lnTo>
                    <a:lnTo>
                      <a:pt x="920" y="249"/>
                    </a:lnTo>
                    <a:lnTo>
                      <a:pt x="920" y="247"/>
                    </a:lnTo>
                    <a:lnTo>
                      <a:pt x="920" y="247"/>
                    </a:lnTo>
                    <a:lnTo>
                      <a:pt x="920" y="247"/>
                    </a:lnTo>
                    <a:lnTo>
                      <a:pt x="918" y="244"/>
                    </a:lnTo>
                    <a:lnTo>
                      <a:pt x="916" y="244"/>
                    </a:lnTo>
                    <a:lnTo>
                      <a:pt x="916" y="242"/>
                    </a:lnTo>
                    <a:lnTo>
                      <a:pt x="913" y="242"/>
                    </a:lnTo>
                    <a:lnTo>
                      <a:pt x="913" y="239"/>
                    </a:lnTo>
                    <a:lnTo>
                      <a:pt x="913" y="239"/>
                    </a:lnTo>
                    <a:lnTo>
                      <a:pt x="913" y="239"/>
                    </a:lnTo>
                    <a:lnTo>
                      <a:pt x="913" y="237"/>
                    </a:lnTo>
                    <a:lnTo>
                      <a:pt x="916" y="237"/>
                    </a:lnTo>
                    <a:lnTo>
                      <a:pt x="918" y="237"/>
                    </a:lnTo>
                    <a:lnTo>
                      <a:pt x="923" y="237"/>
                    </a:lnTo>
                    <a:lnTo>
                      <a:pt x="925" y="237"/>
                    </a:lnTo>
                    <a:lnTo>
                      <a:pt x="925" y="237"/>
                    </a:lnTo>
                    <a:lnTo>
                      <a:pt x="927" y="237"/>
                    </a:lnTo>
                    <a:lnTo>
                      <a:pt x="927" y="237"/>
                    </a:lnTo>
                    <a:lnTo>
                      <a:pt x="927" y="235"/>
                    </a:lnTo>
                    <a:lnTo>
                      <a:pt x="930" y="235"/>
                    </a:lnTo>
                    <a:lnTo>
                      <a:pt x="930" y="235"/>
                    </a:lnTo>
                    <a:lnTo>
                      <a:pt x="930" y="232"/>
                    </a:lnTo>
                    <a:lnTo>
                      <a:pt x="930" y="232"/>
                    </a:lnTo>
                    <a:lnTo>
                      <a:pt x="930" y="230"/>
                    </a:lnTo>
                    <a:lnTo>
                      <a:pt x="930" y="230"/>
                    </a:lnTo>
                    <a:lnTo>
                      <a:pt x="930" y="230"/>
                    </a:lnTo>
                    <a:lnTo>
                      <a:pt x="932" y="230"/>
                    </a:lnTo>
                    <a:lnTo>
                      <a:pt x="932" y="230"/>
                    </a:lnTo>
                    <a:lnTo>
                      <a:pt x="934" y="230"/>
                    </a:lnTo>
                    <a:lnTo>
                      <a:pt x="934" y="230"/>
                    </a:lnTo>
                    <a:lnTo>
                      <a:pt x="934" y="230"/>
                    </a:lnTo>
                    <a:lnTo>
                      <a:pt x="934" y="230"/>
                    </a:lnTo>
                    <a:lnTo>
                      <a:pt x="934" y="230"/>
                    </a:lnTo>
                    <a:lnTo>
                      <a:pt x="934" y="228"/>
                    </a:lnTo>
                    <a:lnTo>
                      <a:pt x="934" y="225"/>
                    </a:lnTo>
                    <a:lnTo>
                      <a:pt x="934" y="223"/>
                    </a:lnTo>
                    <a:lnTo>
                      <a:pt x="932" y="223"/>
                    </a:lnTo>
                    <a:lnTo>
                      <a:pt x="932" y="221"/>
                    </a:lnTo>
                    <a:lnTo>
                      <a:pt x="932" y="218"/>
                    </a:lnTo>
                    <a:lnTo>
                      <a:pt x="932" y="218"/>
                    </a:lnTo>
                    <a:lnTo>
                      <a:pt x="934" y="218"/>
                    </a:lnTo>
                    <a:lnTo>
                      <a:pt x="934" y="218"/>
                    </a:lnTo>
                    <a:lnTo>
                      <a:pt x="934" y="218"/>
                    </a:lnTo>
                    <a:lnTo>
                      <a:pt x="937" y="218"/>
                    </a:lnTo>
                    <a:lnTo>
                      <a:pt x="937" y="218"/>
                    </a:lnTo>
                    <a:lnTo>
                      <a:pt x="937" y="221"/>
                    </a:lnTo>
                    <a:lnTo>
                      <a:pt x="939" y="221"/>
                    </a:lnTo>
                    <a:lnTo>
                      <a:pt x="939" y="221"/>
                    </a:lnTo>
                    <a:lnTo>
                      <a:pt x="942" y="223"/>
                    </a:lnTo>
                    <a:lnTo>
                      <a:pt x="944" y="225"/>
                    </a:lnTo>
                    <a:lnTo>
                      <a:pt x="944" y="225"/>
                    </a:lnTo>
                    <a:lnTo>
                      <a:pt x="946" y="225"/>
                    </a:lnTo>
                    <a:lnTo>
                      <a:pt x="949" y="228"/>
                    </a:lnTo>
                    <a:lnTo>
                      <a:pt x="949" y="228"/>
                    </a:lnTo>
                    <a:lnTo>
                      <a:pt x="949" y="228"/>
                    </a:lnTo>
                    <a:lnTo>
                      <a:pt x="949" y="225"/>
                    </a:lnTo>
                    <a:lnTo>
                      <a:pt x="946" y="225"/>
                    </a:lnTo>
                    <a:lnTo>
                      <a:pt x="946" y="225"/>
                    </a:lnTo>
                    <a:lnTo>
                      <a:pt x="944" y="223"/>
                    </a:lnTo>
                    <a:lnTo>
                      <a:pt x="944" y="223"/>
                    </a:lnTo>
                    <a:lnTo>
                      <a:pt x="944" y="223"/>
                    </a:lnTo>
                    <a:lnTo>
                      <a:pt x="946" y="223"/>
                    </a:lnTo>
                    <a:lnTo>
                      <a:pt x="946" y="223"/>
                    </a:lnTo>
                    <a:lnTo>
                      <a:pt x="949" y="221"/>
                    </a:lnTo>
                    <a:lnTo>
                      <a:pt x="949" y="221"/>
                    </a:lnTo>
                    <a:lnTo>
                      <a:pt x="951" y="221"/>
                    </a:lnTo>
                    <a:lnTo>
                      <a:pt x="951" y="221"/>
                    </a:lnTo>
                    <a:lnTo>
                      <a:pt x="953" y="221"/>
                    </a:lnTo>
                    <a:lnTo>
                      <a:pt x="953" y="221"/>
                    </a:lnTo>
                    <a:lnTo>
                      <a:pt x="953" y="218"/>
                    </a:lnTo>
                    <a:lnTo>
                      <a:pt x="953" y="218"/>
                    </a:lnTo>
                    <a:lnTo>
                      <a:pt x="953" y="216"/>
                    </a:lnTo>
                    <a:lnTo>
                      <a:pt x="953" y="216"/>
                    </a:lnTo>
                    <a:lnTo>
                      <a:pt x="953" y="216"/>
                    </a:lnTo>
                    <a:lnTo>
                      <a:pt x="951" y="213"/>
                    </a:lnTo>
                    <a:lnTo>
                      <a:pt x="951" y="211"/>
                    </a:lnTo>
                    <a:lnTo>
                      <a:pt x="951" y="211"/>
                    </a:lnTo>
                    <a:lnTo>
                      <a:pt x="951" y="209"/>
                    </a:lnTo>
                    <a:lnTo>
                      <a:pt x="951" y="209"/>
                    </a:lnTo>
                    <a:lnTo>
                      <a:pt x="949" y="209"/>
                    </a:lnTo>
                    <a:lnTo>
                      <a:pt x="949" y="209"/>
                    </a:lnTo>
                    <a:lnTo>
                      <a:pt x="949" y="206"/>
                    </a:lnTo>
                    <a:lnTo>
                      <a:pt x="946" y="204"/>
                    </a:lnTo>
                    <a:lnTo>
                      <a:pt x="946" y="204"/>
                    </a:lnTo>
                    <a:lnTo>
                      <a:pt x="944" y="197"/>
                    </a:lnTo>
                    <a:lnTo>
                      <a:pt x="944" y="197"/>
                    </a:lnTo>
                    <a:lnTo>
                      <a:pt x="937" y="187"/>
                    </a:lnTo>
                    <a:lnTo>
                      <a:pt x="934" y="185"/>
                    </a:lnTo>
                    <a:lnTo>
                      <a:pt x="932" y="185"/>
                    </a:lnTo>
                    <a:lnTo>
                      <a:pt x="930" y="183"/>
                    </a:lnTo>
                    <a:lnTo>
                      <a:pt x="930" y="180"/>
                    </a:lnTo>
                    <a:lnTo>
                      <a:pt x="930" y="180"/>
                    </a:lnTo>
                    <a:lnTo>
                      <a:pt x="930" y="180"/>
                    </a:lnTo>
                    <a:lnTo>
                      <a:pt x="930" y="178"/>
                    </a:lnTo>
                    <a:lnTo>
                      <a:pt x="932" y="178"/>
                    </a:lnTo>
                    <a:lnTo>
                      <a:pt x="932" y="178"/>
                    </a:lnTo>
                    <a:lnTo>
                      <a:pt x="934" y="178"/>
                    </a:lnTo>
                    <a:lnTo>
                      <a:pt x="937" y="176"/>
                    </a:lnTo>
                    <a:lnTo>
                      <a:pt x="937" y="173"/>
                    </a:lnTo>
                    <a:lnTo>
                      <a:pt x="937" y="173"/>
                    </a:lnTo>
                    <a:lnTo>
                      <a:pt x="937" y="171"/>
                    </a:lnTo>
                    <a:lnTo>
                      <a:pt x="937" y="171"/>
                    </a:lnTo>
                    <a:lnTo>
                      <a:pt x="937" y="168"/>
                    </a:lnTo>
                    <a:lnTo>
                      <a:pt x="937" y="168"/>
                    </a:lnTo>
                    <a:lnTo>
                      <a:pt x="939" y="171"/>
                    </a:lnTo>
                    <a:lnTo>
                      <a:pt x="942" y="171"/>
                    </a:lnTo>
                    <a:lnTo>
                      <a:pt x="944" y="171"/>
                    </a:lnTo>
                    <a:lnTo>
                      <a:pt x="944" y="171"/>
                    </a:lnTo>
                    <a:lnTo>
                      <a:pt x="949" y="173"/>
                    </a:lnTo>
                    <a:lnTo>
                      <a:pt x="951" y="173"/>
                    </a:lnTo>
                    <a:lnTo>
                      <a:pt x="953" y="173"/>
                    </a:lnTo>
                    <a:lnTo>
                      <a:pt x="956" y="173"/>
                    </a:lnTo>
                    <a:lnTo>
                      <a:pt x="958" y="173"/>
                    </a:lnTo>
                    <a:lnTo>
                      <a:pt x="958" y="176"/>
                    </a:lnTo>
                    <a:lnTo>
                      <a:pt x="961" y="176"/>
                    </a:lnTo>
                    <a:lnTo>
                      <a:pt x="961" y="173"/>
                    </a:lnTo>
                    <a:lnTo>
                      <a:pt x="961" y="173"/>
                    </a:lnTo>
                    <a:lnTo>
                      <a:pt x="961" y="171"/>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183"/>
              <p:cNvSpPr>
                <a:spLocks noEditPoints="1"/>
              </p:cNvSpPr>
              <p:nvPr/>
            </p:nvSpPr>
            <p:spPr bwMode="auto">
              <a:xfrm>
                <a:off x="1457" y="3169"/>
                <a:ext cx="291" cy="803"/>
              </a:xfrm>
              <a:custGeom>
                <a:avLst/>
                <a:gdLst>
                  <a:gd name="T0" fmla="*/ 289 w 291"/>
                  <a:gd name="T1" fmla="*/ 789 h 803"/>
                  <a:gd name="T2" fmla="*/ 277 w 291"/>
                  <a:gd name="T3" fmla="*/ 789 h 803"/>
                  <a:gd name="T4" fmla="*/ 244 w 291"/>
                  <a:gd name="T5" fmla="*/ 791 h 803"/>
                  <a:gd name="T6" fmla="*/ 272 w 291"/>
                  <a:gd name="T7" fmla="*/ 798 h 803"/>
                  <a:gd name="T8" fmla="*/ 227 w 291"/>
                  <a:gd name="T9" fmla="*/ 787 h 803"/>
                  <a:gd name="T10" fmla="*/ 201 w 291"/>
                  <a:gd name="T11" fmla="*/ 770 h 803"/>
                  <a:gd name="T12" fmla="*/ 170 w 291"/>
                  <a:gd name="T13" fmla="*/ 763 h 803"/>
                  <a:gd name="T14" fmla="*/ 161 w 291"/>
                  <a:gd name="T15" fmla="*/ 751 h 803"/>
                  <a:gd name="T16" fmla="*/ 156 w 291"/>
                  <a:gd name="T17" fmla="*/ 749 h 803"/>
                  <a:gd name="T18" fmla="*/ 208 w 291"/>
                  <a:gd name="T19" fmla="*/ 739 h 803"/>
                  <a:gd name="T20" fmla="*/ 220 w 291"/>
                  <a:gd name="T21" fmla="*/ 763 h 803"/>
                  <a:gd name="T22" fmla="*/ 213 w 291"/>
                  <a:gd name="T23" fmla="*/ 760 h 803"/>
                  <a:gd name="T24" fmla="*/ 201 w 291"/>
                  <a:gd name="T25" fmla="*/ 777 h 803"/>
                  <a:gd name="T26" fmla="*/ 128 w 291"/>
                  <a:gd name="T27" fmla="*/ 723 h 803"/>
                  <a:gd name="T28" fmla="*/ 116 w 291"/>
                  <a:gd name="T29" fmla="*/ 715 h 803"/>
                  <a:gd name="T30" fmla="*/ 104 w 291"/>
                  <a:gd name="T31" fmla="*/ 692 h 803"/>
                  <a:gd name="T32" fmla="*/ 109 w 291"/>
                  <a:gd name="T33" fmla="*/ 678 h 803"/>
                  <a:gd name="T34" fmla="*/ 92 w 291"/>
                  <a:gd name="T35" fmla="*/ 678 h 803"/>
                  <a:gd name="T36" fmla="*/ 83 w 291"/>
                  <a:gd name="T37" fmla="*/ 647 h 803"/>
                  <a:gd name="T38" fmla="*/ 90 w 291"/>
                  <a:gd name="T39" fmla="*/ 644 h 803"/>
                  <a:gd name="T40" fmla="*/ 71 w 291"/>
                  <a:gd name="T41" fmla="*/ 585 h 803"/>
                  <a:gd name="T42" fmla="*/ 80 w 291"/>
                  <a:gd name="T43" fmla="*/ 571 h 803"/>
                  <a:gd name="T44" fmla="*/ 64 w 291"/>
                  <a:gd name="T45" fmla="*/ 566 h 803"/>
                  <a:gd name="T46" fmla="*/ 69 w 291"/>
                  <a:gd name="T47" fmla="*/ 554 h 803"/>
                  <a:gd name="T48" fmla="*/ 64 w 291"/>
                  <a:gd name="T49" fmla="*/ 533 h 803"/>
                  <a:gd name="T50" fmla="*/ 54 w 291"/>
                  <a:gd name="T51" fmla="*/ 536 h 803"/>
                  <a:gd name="T52" fmla="*/ 222 w 291"/>
                  <a:gd name="T53" fmla="*/ 730 h 803"/>
                  <a:gd name="T54" fmla="*/ 151 w 291"/>
                  <a:gd name="T55" fmla="*/ 697 h 803"/>
                  <a:gd name="T56" fmla="*/ 130 w 291"/>
                  <a:gd name="T57" fmla="*/ 659 h 803"/>
                  <a:gd name="T58" fmla="*/ 123 w 291"/>
                  <a:gd name="T59" fmla="*/ 607 h 803"/>
                  <a:gd name="T60" fmla="*/ 118 w 291"/>
                  <a:gd name="T61" fmla="*/ 569 h 803"/>
                  <a:gd name="T62" fmla="*/ 85 w 291"/>
                  <a:gd name="T63" fmla="*/ 524 h 803"/>
                  <a:gd name="T64" fmla="*/ 76 w 291"/>
                  <a:gd name="T65" fmla="*/ 476 h 803"/>
                  <a:gd name="T66" fmla="*/ 69 w 291"/>
                  <a:gd name="T67" fmla="*/ 431 h 803"/>
                  <a:gd name="T68" fmla="*/ 66 w 291"/>
                  <a:gd name="T69" fmla="*/ 382 h 803"/>
                  <a:gd name="T70" fmla="*/ 62 w 291"/>
                  <a:gd name="T71" fmla="*/ 334 h 803"/>
                  <a:gd name="T72" fmla="*/ 45 w 291"/>
                  <a:gd name="T73" fmla="*/ 287 h 803"/>
                  <a:gd name="T74" fmla="*/ 47 w 291"/>
                  <a:gd name="T75" fmla="*/ 230 h 803"/>
                  <a:gd name="T76" fmla="*/ 54 w 291"/>
                  <a:gd name="T77" fmla="*/ 176 h 803"/>
                  <a:gd name="T78" fmla="*/ 64 w 291"/>
                  <a:gd name="T79" fmla="*/ 114 h 803"/>
                  <a:gd name="T80" fmla="*/ 36 w 291"/>
                  <a:gd name="T81" fmla="*/ 62 h 803"/>
                  <a:gd name="T82" fmla="*/ 24 w 291"/>
                  <a:gd name="T83" fmla="*/ 17 h 803"/>
                  <a:gd name="T84" fmla="*/ 10 w 291"/>
                  <a:gd name="T85" fmla="*/ 50 h 803"/>
                  <a:gd name="T86" fmla="*/ 19 w 291"/>
                  <a:gd name="T87" fmla="*/ 169 h 803"/>
                  <a:gd name="T88" fmla="*/ 17 w 291"/>
                  <a:gd name="T89" fmla="*/ 273 h 803"/>
                  <a:gd name="T90" fmla="*/ 31 w 291"/>
                  <a:gd name="T91" fmla="*/ 386 h 803"/>
                  <a:gd name="T92" fmla="*/ 43 w 291"/>
                  <a:gd name="T93" fmla="*/ 486 h 803"/>
                  <a:gd name="T94" fmla="*/ 69 w 291"/>
                  <a:gd name="T95" fmla="*/ 517 h 803"/>
                  <a:gd name="T96" fmla="*/ 83 w 291"/>
                  <a:gd name="T97" fmla="*/ 564 h 803"/>
                  <a:gd name="T98" fmla="*/ 92 w 291"/>
                  <a:gd name="T99" fmla="*/ 611 h 803"/>
                  <a:gd name="T100" fmla="*/ 78 w 291"/>
                  <a:gd name="T101" fmla="*/ 592 h 803"/>
                  <a:gd name="T102" fmla="*/ 71 w 291"/>
                  <a:gd name="T103" fmla="*/ 614 h 803"/>
                  <a:gd name="T104" fmla="*/ 88 w 291"/>
                  <a:gd name="T105" fmla="*/ 635 h 803"/>
                  <a:gd name="T106" fmla="*/ 102 w 291"/>
                  <a:gd name="T107" fmla="*/ 652 h 803"/>
                  <a:gd name="T108" fmla="*/ 118 w 291"/>
                  <a:gd name="T109" fmla="*/ 675 h 803"/>
                  <a:gd name="T110" fmla="*/ 133 w 291"/>
                  <a:gd name="T111" fmla="*/ 697 h 803"/>
                  <a:gd name="T112" fmla="*/ 135 w 291"/>
                  <a:gd name="T113" fmla="*/ 711 h 803"/>
                  <a:gd name="T114" fmla="*/ 163 w 291"/>
                  <a:gd name="T115" fmla="*/ 725 h 803"/>
                  <a:gd name="T116" fmla="*/ 142 w 291"/>
                  <a:gd name="T117" fmla="*/ 727 h 803"/>
                  <a:gd name="T118" fmla="*/ 166 w 291"/>
                  <a:gd name="T119" fmla="*/ 746 h 803"/>
                  <a:gd name="T120" fmla="*/ 168 w 291"/>
                  <a:gd name="T121" fmla="*/ 751 h 803"/>
                  <a:gd name="T122" fmla="*/ 187 w 291"/>
                  <a:gd name="T123" fmla="*/ 758 h 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1" h="803">
                    <a:moveTo>
                      <a:pt x="282" y="801"/>
                    </a:moveTo>
                    <a:lnTo>
                      <a:pt x="277" y="801"/>
                    </a:lnTo>
                    <a:lnTo>
                      <a:pt x="277" y="801"/>
                    </a:lnTo>
                    <a:lnTo>
                      <a:pt x="277" y="801"/>
                    </a:lnTo>
                    <a:lnTo>
                      <a:pt x="277" y="803"/>
                    </a:lnTo>
                    <a:lnTo>
                      <a:pt x="277" y="803"/>
                    </a:lnTo>
                    <a:lnTo>
                      <a:pt x="279" y="803"/>
                    </a:lnTo>
                    <a:lnTo>
                      <a:pt x="282" y="803"/>
                    </a:lnTo>
                    <a:lnTo>
                      <a:pt x="282" y="803"/>
                    </a:lnTo>
                    <a:lnTo>
                      <a:pt x="282" y="803"/>
                    </a:lnTo>
                    <a:lnTo>
                      <a:pt x="282" y="803"/>
                    </a:lnTo>
                    <a:lnTo>
                      <a:pt x="282" y="801"/>
                    </a:lnTo>
                    <a:lnTo>
                      <a:pt x="282" y="801"/>
                    </a:lnTo>
                    <a:close/>
                    <a:moveTo>
                      <a:pt x="284" y="798"/>
                    </a:moveTo>
                    <a:lnTo>
                      <a:pt x="282" y="798"/>
                    </a:lnTo>
                    <a:lnTo>
                      <a:pt x="282" y="796"/>
                    </a:lnTo>
                    <a:lnTo>
                      <a:pt x="282" y="796"/>
                    </a:lnTo>
                    <a:lnTo>
                      <a:pt x="282" y="798"/>
                    </a:lnTo>
                    <a:lnTo>
                      <a:pt x="279" y="798"/>
                    </a:lnTo>
                    <a:lnTo>
                      <a:pt x="279" y="798"/>
                    </a:lnTo>
                    <a:lnTo>
                      <a:pt x="279" y="798"/>
                    </a:lnTo>
                    <a:lnTo>
                      <a:pt x="279" y="801"/>
                    </a:lnTo>
                    <a:lnTo>
                      <a:pt x="284" y="801"/>
                    </a:lnTo>
                    <a:lnTo>
                      <a:pt x="284" y="801"/>
                    </a:lnTo>
                    <a:lnTo>
                      <a:pt x="284" y="801"/>
                    </a:lnTo>
                    <a:lnTo>
                      <a:pt x="284" y="801"/>
                    </a:lnTo>
                    <a:lnTo>
                      <a:pt x="284" y="801"/>
                    </a:lnTo>
                    <a:lnTo>
                      <a:pt x="284" y="801"/>
                    </a:lnTo>
                    <a:lnTo>
                      <a:pt x="284" y="798"/>
                    </a:lnTo>
                    <a:close/>
                    <a:moveTo>
                      <a:pt x="291" y="789"/>
                    </a:moveTo>
                    <a:lnTo>
                      <a:pt x="291" y="789"/>
                    </a:lnTo>
                    <a:lnTo>
                      <a:pt x="289" y="789"/>
                    </a:lnTo>
                    <a:lnTo>
                      <a:pt x="289" y="789"/>
                    </a:lnTo>
                    <a:lnTo>
                      <a:pt x="289" y="789"/>
                    </a:lnTo>
                    <a:lnTo>
                      <a:pt x="289" y="791"/>
                    </a:lnTo>
                    <a:lnTo>
                      <a:pt x="291" y="791"/>
                    </a:lnTo>
                    <a:lnTo>
                      <a:pt x="291" y="791"/>
                    </a:lnTo>
                    <a:lnTo>
                      <a:pt x="291" y="789"/>
                    </a:lnTo>
                    <a:lnTo>
                      <a:pt x="291" y="789"/>
                    </a:lnTo>
                    <a:lnTo>
                      <a:pt x="291" y="789"/>
                    </a:lnTo>
                    <a:close/>
                    <a:moveTo>
                      <a:pt x="277" y="791"/>
                    </a:moveTo>
                    <a:lnTo>
                      <a:pt x="279" y="791"/>
                    </a:lnTo>
                    <a:lnTo>
                      <a:pt x="279" y="791"/>
                    </a:lnTo>
                    <a:lnTo>
                      <a:pt x="282" y="789"/>
                    </a:lnTo>
                    <a:lnTo>
                      <a:pt x="282" y="789"/>
                    </a:lnTo>
                    <a:lnTo>
                      <a:pt x="282" y="789"/>
                    </a:lnTo>
                    <a:lnTo>
                      <a:pt x="282" y="787"/>
                    </a:lnTo>
                    <a:lnTo>
                      <a:pt x="279" y="787"/>
                    </a:lnTo>
                    <a:lnTo>
                      <a:pt x="277" y="784"/>
                    </a:lnTo>
                    <a:lnTo>
                      <a:pt x="274" y="784"/>
                    </a:lnTo>
                    <a:lnTo>
                      <a:pt x="267" y="784"/>
                    </a:lnTo>
                    <a:lnTo>
                      <a:pt x="263" y="784"/>
                    </a:lnTo>
                    <a:lnTo>
                      <a:pt x="260" y="784"/>
                    </a:lnTo>
                    <a:lnTo>
                      <a:pt x="263" y="787"/>
                    </a:lnTo>
                    <a:lnTo>
                      <a:pt x="265" y="789"/>
                    </a:lnTo>
                    <a:lnTo>
                      <a:pt x="267" y="789"/>
                    </a:lnTo>
                    <a:lnTo>
                      <a:pt x="267" y="789"/>
                    </a:lnTo>
                    <a:lnTo>
                      <a:pt x="272" y="791"/>
                    </a:lnTo>
                    <a:lnTo>
                      <a:pt x="272" y="791"/>
                    </a:lnTo>
                    <a:lnTo>
                      <a:pt x="272" y="789"/>
                    </a:lnTo>
                    <a:lnTo>
                      <a:pt x="274" y="789"/>
                    </a:lnTo>
                    <a:lnTo>
                      <a:pt x="274" y="789"/>
                    </a:lnTo>
                    <a:lnTo>
                      <a:pt x="274" y="789"/>
                    </a:lnTo>
                    <a:lnTo>
                      <a:pt x="277" y="789"/>
                    </a:lnTo>
                    <a:lnTo>
                      <a:pt x="277" y="789"/>
                    </a:lnTo>
                    <a:lnTo>
                      <a:pt x="277" y="789"/>
                    </a:lnTo>
                    <a:lnTo>
                      <a:pt x="277" y="791"/>
                    </a:lnTo>
                    <a:close/>
                    <a:moveTo>
                      <a:pt x="270" y="796"/>
                    </a:moveTo>
                    <a:lnTo>
                      <a:pt x="270" y="794"/>
                    </a:lnTo>
                    <a:lnTo>
                      <a:pt x="267" y="794"/>
                    </a:lnTo>
                    <a:lnTo>
                      <a:pt x="265" y="791"/>
                    </a:lnTo>
                    <a:lnTo>
                      <a:pt x="265" y="791"/>
                    </a:lnTo>
                    <a:lnTo>
                      <a:pt x="265" y="791"/>
                    </a:lnTo>
                    <a:lnTo>
                      <a:pt x="265" y="791"/>
                    </a:lnTo>
                    <a:lnTo>
                      <a:pt x="263" y="789"/>
                    </a:lnTo>
                    <a:lnTo>
                      <a:pt x="263" y="789"/>
                    </a:lnTo>
                    <a:lnTo>
                      <a:pt x="258" y="789"/>
                    </a:lnTo>
                    <a:lnTo>
                      <a:pt x="258" y="789"/>
                    </a:lnTo>
                    <a:lnTo>
                      <a:pt x="258" y="787"/>
                    </a:lnTo>
                    <a:lnTo>
                      <a:pt x="260" y="787"/>
                    </a:lnTo>
                    <a:lnTo>
                      <a:pt x="258" y="784"/>
                    </a:lnTo>
                    <a:lnTo>
                      <a:pt x="256" y="784"/>
                    </a:lnTo>
                    <a:lnTo>
                      <a:pt x="251" y="787"/>
                    </a:lnTo>
                    <a:lnTo>
                      <a:pt x="239" y="784"/>
                    </a:lnTo>
                    <a:lnTo>
                      <a:pt x="234" y="782"/>
                    </a:lnTo>
                    <a:lnTo>
                      <a:pt x="237" y="787"/>
                    </a:lnTo>
                    <a:lnTo>
                      <a:pt x="237" y="787"/>
                    </a:lnTo>
                    <a:lnTo>
                      <a:pt x="237" y="789"/>
                    </a:lnTo>
                    <a:lnTo>
                      <a:pt x="237" y="789"/>
                    </a:lnTo>
                    <a:lnTo>
                      <a:pt x="239" y="789"/>
                    </a:lnTo>
                    <a:lnTo>
                      <a:pt x="239" y="789"/>
                    </a:lnTo>
                    <a:lnTo>
                      <a:pt x="239" y="789"/>
                    </a:lnTo>
                    <a:lnTo>
                      <a:pt x="239" y="789"/>
                    </a:lnTo>
                    <a:lnTo>
                      <a:pt x="241" y="789"/>
                    </a:lnTo>
                    <a:lnTo>
                      <a:pt x="241" y="789"/>
                    </a:lnTo>
                    <a:lnTo>
                      <a:pt x="244" y="791"/>
                    </a:lnTo>
                    <a:lnTo>
                      <a:pt x="244" y="791"/>
                    </a:lnTo>
                    <a:lnTo>
                      <a:pt x="244" y="791"/>
                    </a:lnTo>
                    <a:lnTo>
                      <a:pt x="246" y="794"/>
                    </a:lnTo>
                    <a:lnTo>
                      <a:pt x="248" y="794"/>
                    </a:lnTo>
                    <a:lnTo>
                      <a:pt x="248" y="794"/>
                    </a:lnTo>
                    <a:lnTo>
                      <a:pt x="251" y="794"/>
                    </a:lnTo>
                    <a:lnTo>
                      <a:pt x="253" y="794"/>
                    </a:lnTo>
                    <a:lnTo>
                      <a:pt x="248" y="794"/>
                    </a:lnTo>
                    <a:lnTo>
                      <a:pt x="248" y="791"/>
                    </a:lnTo>
                    <a:lnTo>
                      <a:pt x="248" y="791"/>
                    </a:lnTo>
                    <a:lnTo>
                      <a:pt x="248" y="789"/>
                    </a:lnTo>
                    <a:lnTo>
                      <a:pt x="248" y="789"/>
                    </a:lnTo>
                    <a:lnTo>
                      <a:pt x="251" y="789"/>
                    </a:lnTo>
                    <a:lnTo>
                      <a:pt x="253" y="789"/>
                    </a:lnTo>
                    <a:lnTo>
                      <a:pt x="253" y="791"/>
                    </a:lnTo>
                    <a:lnTo>
                      <a:pt x="253" y="789"/>
                    </a:lnTo>
                    <a:lnTo>
                      <a:pt x="256" y="789"/>
                    </a:lnTo>
                    <a:lnTo>
                      <a:pt x="256" y="791"/>
                    </a:lnTo>
                    <a:lnTo>
                      <a:pt x="256" y="791"/>
                    </a:lnTo>
                    <a:lnTo>
                      <a:pt x="256" y="794"/>
                    </a:lnTo>
                    <a:lnTo>
                      <a:pt x="256" y="794"/>
                    </a:lnTo>
                    <a:lnTo>
                      <a:pt x="258" y="794"/>
                    </a:lnTo>
                    <a:lnTo>
                      <a:pt x="258" y="794"/>
                    </a:lnTo>
                    <a:lnTo>
                      <a:pt x="260" y="794"/>
                    </a:lnTo>
                    <a:lnTo>
                      <a:pt x="260" y="794"/>
                    </a:lnTo>
                    <a:lnTo>
                      <a:pt x="263" y="796"/>
                    </a:lnTo>
                    <a:lnTo>
                      <a:pt x="265" y="796"/>
                    </a:lnTo>
                    <a:lnTo>
                      <a:pt x="267" y="796"/>
                    </a:lnTo>
                    <a:lnTo>
                      <a:pt x="267" y="796"/>
                    </a:lnTo>
                    <a:lnTo>
                      <a:pt x="270" y="798"/>
                    </a:lnTo>
                    <a:lnTo>
                      <a:pt x="272" y="798"/>
                    </a:lnTo>
                    <a:lnTo>
                      <a:pt x="272" y="798"/>
                    </a:lnTo>
                    <a:lnTo>
                      <a:pt x="272" y="796"/>
                    </a:lnTo>
                    <a:lnTo>
                      <a:pt x="270" y="796"/>
                    </a:lnTo>
                    <a:close/>
                    <a:moveTo>
                      <a:pt x="227" y="784"/>
                    </a:moveTo>
                    <a:lnTo>
                      <a:pt x="225" y="784"/>
                    </a:lnTo>
                    <a:lnTo>
                      <a:pt x="225" y="784"/>
                    </a:lnTo>
                    <a:lnTo>
                      <a:pt x="222" y="784"/>
                    </a:lnTo>
                    <a:lnTo>
                      <a:pt x="222" y="784"/>
                    </a:lnTo>
                    <a:lnTo>
                      <a:pt x="220" y="784"/>
                    </a:lnTo>
                    <a:lnTo>
                      <a:pt x="220" y="784"/>
                    </a:lnTo>
                    <a:lnTo>
                      <a:pt x="218" y="782"/>
                    </a:lnTo>
                    <a:lnTo>
                      <a:pt x="215" y="782"/>
                    </a:lnTo>
                    <a:lnTo>
                      <a:pt x="215" y="782"/>
                    </a:lnTo>
                    <a:lnTo>
                      <a:pt x="211" y="782"/>
                    </a:lnTo>
                    <a:lnTo>
                      <a:pt x="211" y="782"/>
                    </a:lnTo>
                    <a:lnTo>
                      <a:pt x="211" y="782"/>
                    </a:lnTo>
                    <a:lnTo>
                      <a:pt x="211" y="784"/>
                    </a:lnTo>
                    <a:lnTo>
                      <a:pt x="213" y="784"/>
                    </a:lnTo>
                    <a:lnTo>
                      <a:pt x="213" y="784"/>
                    </a:lnTo>
                    <a:lnTo>
                      <a:pt x="213" y="784"/>
                    </a:lnTo>
                    <a:lnTo>
                      <a:pt x="213" y="784"/>
                    </a:lnTo>
                    <a:lnTo>
                      <a:pt x="213" y="782"/>
                    </a:lnTo>
                    <a:lnTo>
                      <a:pt x="215" y="784"/>
                    </a:lnTo>
                    <a:lnTo>
                      <a:pt x="215" y="784"/>
                    </a:lnTo>
                    <a:lnTo>
                      <a:pt x="220" y="784"/>
                    </a:lnTo>
                    <a:lnTo>
                      <a:pt x="220" y="784"/>
                    </a:lnTo>
                    <a:lnTo>
                      <a:pt x="220" y="787"/>
                    </a:lnTo>
                    <a:lnTo>
                      <a:pt x="220" y="787"/>
                    </a:lnTo>
                    <a:lnTo>
                      <a:pt x="222" y="787"/>
                    </a:lnTo>
                    <a:lnTo>
                      <a:pt x="225" y="787"/>
                    </a:lnTo>
                    <a:lnTo>
                      <a:pt x="225" y="787"/>
                    </a:lnTo>
                    <a:lnTo>
                      <a:pt x="225" y="787"/>
                    </a:lnTo>
                    <a:lnTo>
                      <a:pt x="227" y="787"/>
                    </a:lnTo>
                    <a:lnTo>
                      <a:pt x="227" y="787"/>
                    </a:lnTo>
                    <a:lnTo>
                      <a:pt x="227" y="789"/>
                    </a:lnTo>
                    <a:lnTo>
                      <a:pt x="227" y="789"/>
                    </a:lnTo>
                    <a:lnTo>
                      <a:pt x="229" y="789"/>
                    </a:lnTo>
                    <a:lnTo>
                      <a:pt x="229" y="789"/>
                    </a:lnTo>
                    <a:lnTo>
                      <a:pt x="232" y="787"/>
                    </a:lnTo>
                    <a:lnTo>
                      <a:pt x="232" y="787"/>
                    </a:lnTo>
                    <a:lnTo>
                      <a:pt x="227" y="784"/>
                    </a:lnTo>
                    <a:close/>
                    <a:moveTo>
                      <a:pt x="201" y="770"/>
                    </a:moveTo>
                    <a:lnTo>
                      <a:pt x="203" y="770"/>
                    </a:lnTo>
                    <a:lnTo>
                      <a:pt x="206" y="772"/>
                    </a:lnTo>
                    <a:lnTo>
                      <a:pt x="211" y="772"/>
                    </a:lnTo>
                    <a:lnTo>
                      <a:pt x="211" y="772"/>
                    </a:lnTo>
                    <a:lnTo>
                      <a:pt x="211" y="772"/>
                    </a:lnTo>
                    <a:lnTo>
                      <a:pt x="211" y="770"/>
                    </a:lnTo>
                    <a:lnTo>
                      <a:pt x="211" y="770"/>
                    </a:lnTo>
                    <a:lnTo>
                      <a:pt x="211" y="768"/>
                    </a:lnTo>
                    <a:lnTo>
                      <a:pt x="208" y="768"/>
                    </a:lnTo>
                    <a:lnTo>
                      <a:pt x="206" y="768"/>
                    </a:lnTo>
                    <a:lnTo>
                      <a:pt x="203" y="765"/>
                    </a:lnTo>
                    <a:lnTo>
                      <a:pt x="199" y="765"/>
                    </a:lnTo>
                    <a:lnTo>
                      <a:pt x="196" y="763"/>
                    </a:lnTo>
                    <a:lnTo>
                      <a:pt x="192" y="763"/>
                    </a:lnTo>
                    <a:lnTo>
                      <a:pt x="192" y="763"/>
                    </a:lnTo>
                    <a:lnTo>
                      <a:pt x="189" y="763"/>
                    </a:lnTo>
                    <a:lnTo>
                      <a:pt x="189" y="765"/>
                    </a:lnTo>
                    <a:lnTo>
                      <a:pt x="192" y="768"/>
                    </a:lnTo>
                    <a:lnTo>
                      <a:pt x="196" y="770"/>
                    </a:lnTo>
                    <a:lnTo>
                      <a:pt x="196" y="772"/>
                    </a:lnTo>
                    <a:lnTo>
                      <a:pt x="199" y="770"/>
                    </a:lnTo>
                    <a:lnTo>
                      <a:pt x="199" y="770"/>
                    </a:lnTo>
                    <a:lnTo>
                      <a:pt x="201" y="770"/>
                    </a:lnTo>
                    <a:lnTo>
                      <a:pt x="201" y="770"/>
                    </a:lnTo>
                    <a:close/>
                    <a:moveTo>
                      <a:pt x="187" y="760"/>
                    </a:moveTo>
                    <a:lnTo>
                      <a:pt x="185" y="760"/>
                    </a:lnTo>
                    <a:lnTo>
                      <a:pt x="185" y="758"/>
                    </a:lnTo>
                    <a:lnTo>
                      <a:pt x="182" y="758"/>
                    </a:lnTo>
                    <a:lnTo>
                      <a:pt x="180" y="756"/>
                    </a:lnTo>
                    <a:lnTo>
                      <a:pt x="177" y="756"/>
                    </a:lnTo>
                    <a:lnTo>
                      <a:pt x="175" y="756"/>
                    </a:lnTo>
                    <a:lnTo>
                      <a:pt x="175" y="756"/>
                    </a:lnTo>
                    <a:lnTo>
                      <a:pt x="175" y="756"/>
                    </a:lnTo>
                    <a:lnTo>
                      <a:pt x="173" y="756"/>
                    </a:lnTo>
                    <a:lnTo>
                      <a:pt x="173" y="753"/>
                    </a:lnTo>
                    <a:lnTo>
                      <a:pt x="170" y="753"/>
                    </a:lnTo>
                    <a:lnTo>
                      <a:pt x="170" y="753"/>
                    </a:lnTo>
                    <a:lnTo>
                      <a:pt x="170" y="753"/>
                    </a:lnTo>
                    <a:lnTo>
                      <a:pt x="170" y="753"/>
                    </a:lnTo>
                    <a:lnTo>
                      <a:pt x="168" y="753"/>
                    </a:lnTo>
                    <a:lnTo>
                      <a:pt x="170" y="753"/>
                    </a:lnTo>
                    <a:lnTo>
                      <a:pt x="170" y="756"/>
                    </a:lnTo>
                    <a:lnTo>
                      <a:pt x="166" y="753"/>
                    </a:lnTo>
                    <a:lnTo>
                      <a:pt x="163" y="753"/>
                    </a:lnTo>
                    <a:lnTo>
                      <a:pt x="161" y="753"/>
                    </a:lnTo>
                    <a:lnTo>
                      <a:pt x="159" y="756"/>
                    </a:lnTo>
                    <a:lnTo>
                      <a:pt x="163" y="756"/>
                    </a:lnTo>
                    <a:lnTo>
                      <a:pt x="163" y="758"/>
                    </a:lnTo>
                    <a:lnTo>
                      <a:pt x="166" y="760"/>
                    </a:lnTo>
                    <a:lnTo>
                      <a:pt x="168" y="760"/>
                    </a:lnTo>
                    <a:lnTo>
                      <a:pt x="168" y="760"/>
                    </a:lnTo>
                    <a:lnTo>
                      <a:pt x="168" y="760"/>
                    </a:lnTo>
                    <a:lnTo>
                      <a:pt x="170" y="760"/>
                    </a:lnTo>
                    <a:lnTo>
                      <a:pt x="170" y="763"/>
                    </a:lnTo>
                    <a:lnTo>
                      <a:pt x="170" y="763"/>
                    </a:lnTo>
                    <a:lnTo>
                      <a:pt x="173" y="763"/>
                    </a:lnTo>
                    <a:lnTo>
                      <a:pt x="173" y="765"/>
                    </a:lnTo>
                    <a:lnTo>
                      <a:pt x="175" y="765"/>
                    </a:lnTo>
                    <a:lnTo>
                      <a:pt x="175" y="765"/>
                    </a:lnTo>
                    <a:lnTo>
                      <a:pt x="175" y="765"/>
                    </a:lnTo>
                    <a:lnTo>
                      <a:pt x="175" y="763"/>
                    </a:lnTo>
                    <a:lnTo>
                      <a:pt x="175" y="763"/>
                    </a:lnTo>
                    <a:lnTo>
                      <a:pt x="175" y="763"/>
                    </a:lnTo>
                    <a:lnTo>
                      <a:pt x="175" y="763"/>
                    </a:lnTo>
                    <a:lnTo>
                      <a:pt x="177" y="763"/>
                    </a:lnTo>
                    <a:lnTo>
                      <a:pt x="177" y="763"/>
                    </a:lnTo>
                    <a:lnTo>
                      <a:pt x="180" y="763"/>
                    </a:lnTo>
                    <a:lnTo>
                      <a:pt x="180" y="765"/>
                    </a:lnTo>
                    <a:lnTo>
                      <a:pt x="180" y="765"/>
                    </a:lnTo>
                    <a:lnTo>
                      <a:pt x="177" y="768"/>
                    </a:lnTo>
                    <a:lnTo>
                      <a:pt x="180" y="768"/>
                    </a:lnTo>
                    <a:lnTo>
                      <a:pt x="180" y="768"/>
                    </a:lnTo>
                    <a:lnTo>
                      <a:pt x="180" y="768"/>
                    </a:lnTo>
                    <a:lnTo>
                      <a:pt x="180" y="768"/>
                    </a:lnTo>
                    <a:lnTo>
                      <a:pt x="182" y="768"/>
                    </a:lnTo>
                    <a:lnTo>
                      <a:pt x="182" y="768"/>
                    </a:lnTo>
                    <a:lnTo>
                      <a:pt x="185" y="768"/>
                    </a:lnTo>
                    <a:lnTo>
                      <a:pt x="185" y="765"/>
                    </a:lnTo>
                    <a:lnTo>
                      <a:pt x="187" y="765"/>
                    </a:lnTo>
                    <a:lnTo>
                      <a:pt x="187" y="765"/>
                    </a:lnTo>
                    <a:lnTo>
                      <a:pt x="187" y="763"/>
                    </a:lnTo>
                    <a:lnTo>
                      <a:pt x="187" y="763"/>
                    </a:lnTo>
                    <a:lnTo>
                      <a:pt x="187" y="760"/>
                    </a:lnTo>
                    <a:close/>
                    <a:moveTo>
                      <a:pt x="159" y="751"/>
                    </a:moveTo>
                    <a:lnTo>
                      <a:pt x="161" y="751"/>
                    </a:lnTo>
                    <a:lnTo>
                      <a:pt x="161" y="751"/>
                    </a:lnTo>
                    <a:lnTo>
                      <a:pt x="161" y="751"/>
                    </a:lnTo>
                    <a:lnTo>
                      <a:pt x="163" y="751"/>
                    </a:lnTo>
                    <a:lnTo>
                      <a:pt x="166" y="753"/>
                    </a:lnTo>
                    <a:lnTo>
                      <a:pt x="168" y="751"/>
                    </a:lnTo>
                    <a:lnTo>
                      <a:pt x="168" y="751"/>
                    </a:lnTo>
                    <a:lnTo>
                      <a:pt x="163" y="751"/>
                    </a:lnTo>
                    <a:lnTo>
                      <a:pt x="163" y="751"/>
                    </a:lnTo>
                    <a:lnTo>
                      <a:pt x="161" y="749"/>
                    </a:lnTo>
                    <a:lnTo>
                      <a:pt x="161" y="749"/>
                    </a:lnTo>
                    <a:lnTo>
                      <a:pt x="159" y="749"/>
                    </a:lnTo>
                    <a:lnTo>
                      <a:pt x="156" y="746"/>
                    </a:lnTo>
                    <a:lnTo>
                      <a:pt x="154" y="746"/>
                    </a:lnTo>
                    <a:lnTo>
                      <a:pt x="151" y="746"/>
                    </a:lnTo>
                    <a:lnTo>
                      <a:pt x="149" y="744"/>
                    </a:lnTo>
                    <a:lnTo>
                      <a:pt x="147" y="744"/>
                    </a:lnTo>
                    <a:lnTo>
                      <a:pt x="144" y="744"/>
                    </a:lnTo>
                    <a:lnTo>
                      <a:pt x="144" y="744"/>
                    </a:lnTo>
                    <a:lnTo>
                      <a:pt x="144" y="744"/>
                    </a:lnTo>
                    <a:lnTo>
                      <a:pt x="142" y="742"/>
                    </a:lnTo>
                    <a:lnTo>
                      <a:pt x="142" y="742"/>
                    </a:lnTo>
                    <a:lnTo>
                      <a:pt x="140" y="742"/>
                    </a:lnTo>
                    <a:lnTo>
                      <a:pt x="137" y="739"/>
                    </a:lnTo>
                    <a:lnTo>
                      <a:pt x="137" y="739"/>
                    </a:lnTo>
                    <a:lnTo>
                      <a:pt x="137" y="742"/>
                    </a:lnTo>
                    <a:lnTo>
                      <a:pt x="140" y="742"/>
                    </a:lnTo>
                    <a:lnTo>
                      <a:pt x="142" y="744"/>
                    </a:lnTo>
                    <a:lnTo>
                      <a:pt x="144" y="744"/>
                    </a:lnTo>
                    <a:lnTo>
                      <a:pt x="147" y="746"/>
                    </a:lnTo>
                    <a:lnTo>
                      <a:pt x="147" y="746"/>
                    </a:lnTo>
                    <a:lnTo>
                      <a:pt x="149" y="746"/>
                    </a:lnTo>
                    <a:lnTo>
                      <a:pt x="151" y="746"/>
                    </a:lnTo>
                    <a:lnTo>
                      <a:pt x="154" y="746"/>
                    </a:lnTo>
                    <a:lnTo>
                      <a:pt x="156" y="749"/>
                    </a:lnTo>
                    <a:lnTo>
                      <a:pt x="159" y="749"/>
                    </a:lnTo>
                    <a:lnTo>
                      <a:pt x="159" y="751"/>
                    </a:lnTo>
                    <a:close/>
                    <a:moveTo>
                      <a:pt x="237" y="779"/>
                    </a:moveTo>
                    <a:lnTo>
                      <a:pt x="239" y="782"/>
                    </a:lnTo>
                    <a:lnTo>
                      <a:pt x="241" y="782"/>
                    </a:lnTo>
                    <a:lnTo>
                      <a:pt x="248" y="784"/>
                    </a:lnTo>
                    <a:lnTo>
                      <a:pt x="251" y="782"/>
                    </a:lnTo>
                    <a:lnTo>
                      <a:pt x="251" y="782"/>
                    </a:lnTo>
                    <a:lnTo>
                      <a:pt x="253" y="782"/>
                    </a:lnTo>
                    <a:lnTo>
                      <a:pt x="251" y="777"/>
                    </a:lnTo>
                    <a:lnTo>
                      <a:pt x="248" y="772"/>
                    </a:lnTo>
                    <a:lnTo>
                      <a:pt x="246" y="765"/>
                    </a:lnTo>
                    <a:lnTo>
                      <a:pt x="244" y="760"/>
                    </a:lnTo>
                    <a:lnTo>
                      <a:pt x="241" y="756"/>
                    </a:lnTo>
                    <a:lnTo>
                      <a:pt x="239" y="751"/>
                    </a:lnTo>
                    <a:lnTo>
                      <a:pt x="234" y="744"/>
                    </a:lnTo>
                    <a:lnTo>
                      <a:pt x="232" y="739"/>
                    </a:lnTo>
                    <a:lnTo>
                      <a:pt x="232" y="737"/>
                    </a:lnTo>
                    <a:lnTo>
                      <a:pt x="229" y="737"/>
                    </a:lnTo>
                    <a:lnTo>
                      <a:pt x="229" y="737"/>
                    </a:lnTo>
                    <a:lnTo>
                      <a:pt x="225" y="739"/>
                    </a:lnTo>
                    <a:lnTo>
                      <a:pt x="225" y="739"/>
                    </a:lnTo>
                    <a:lnTo>
                      <a:pt x="218" y="734"/>
                    </a:lnTo>
                    <a:lnTo>
                      <a:pt x="218" y="734"/>
                    </a:lnTo>
                    <a:lnTo>
                      <a:pt x="215" y="737"/>
                    </a:lnTo>
                    <a:lnTo>
                      <a:pt x="215" y="737"/>
                    </a:lnTo>
                    <a:lnTo>
                      <a:pt x="215" y="739"/>
                    </a:lnTo>
                    <a:lnTo>
                      <a:pt x="213" y="742"/>
                    </a:lnTo>
                    <a:lnTo>
                      <a:pt x="213" y="742"/>
                    </a:lnTo>
                    <a:lnTo>
                      <a:pt x="213" y="742"/>
                    </a:lnTo>
                    <a:lnTo>
                      <a:pt x="211" y="742"/>
                    </a:lnTo>
                    <a:lnTo>
                      <a:pt x="208" y="739"/>
                    </a:lnTo>
                    <a:lnTo>
                      <a:pt x="206" y="739"/>
                    </a:lnTo>
                    <a:lnTo>
                      <a:pt x="206" y="739"/>
                    </a:lnTo>
                    <a:lnTo>
                      <a:pt x="208" y="742"/>
                    </a:lnTo>
                    <a:lnTo>
                      <a:pt x="208" y="742"/>
                    </a:lnTo>
                    <a:lnTo>
                      <a:pt x="211" y="744"/>
                    </a:lnTo>
                    <a:lnTo>
                      <a:pt x="211" y="744"/>
                    </a:lnTo>
                    <a:lnTo>
                      <a:pt x="211" y="744"/>
                    </a:lnTo>
                    <a:lnTo>
                      <a:pt x="211" y="744"/>
                    </a:lnTo>
                    <a:lnTo>
                      <a:pt x="211" y="744"/>
                    </a:lnTo>
                    <a:lnTo>
                      <a:pt x="211" y="746"/>
                    </a:lnTo>
                    <a:lnTo>
                      <a:pt x="208" y="744"/>
                    </a:lnTo>
                    <a:lnTo>
                      <a:pt x="208" y="746"/>
                    </a:lnTo>
                    <a:lnTo>
                      <a:pt x="208" y="746"/>
                    </a:lnTo>
                    <a:lnTo>
                      <a:pt x="208" y="749"/>
                    </a:lnTo>
                    <a:lnTo>
                      <a:pt x="208" y="749"/>
                    </a:lnTo>
                    <a:lnTo>
                      <a:pt x="211" y="751"/>
                    </a:lnTo>
                    <a:lnTo>
                      <a:pt x="213" y="753"/>
                    </a:lnTo>
                    <a:lnTo>
                      <a:pt x="215" y="753"/>
                    </a:lnTo>
                    <a:lnTo>
                      <a:pt x="218" y="753"/>
                    </a:lnTo>
                    <a:lnTo>
                      <a:pt x="220" y="751"/>
                    </a:lnTo>
                    <a:lnTo>
                      <a:pt x="220" y="751"/>
                    </a:lnTo>
                    <a:lnTo>
                      <a:pt x="222" y="751"/>
                    </a:lnTo>
                    <a:lnTo>
                      <a:pt x="225" y="751"/>
                    </a:lnTo>
                    <a:lnTo>
                      <a:pt x="227" y="753"/>
                    </a:lnTo>
                    <a:lnTo>
                      <a:pt x="227" y="753"/>
                    </a:lnTo>
                    <a:lnTo>
                      <a:pt x="229" y="756"/>
                    </a:lnTo>
                    <a:lnTo>
                      <a:pt x="229" y="756"/>
                    </a:lnTo>
                    <a:lnTo>
                      <a:pt x="225" y="758"/>
                    </a:lnTo>
                    <a:lnTo>
                      <a:pt x="222" y="758"/>
                    </a:lnTo>
                    <a:lnTo>
                      <a:pt x="220" y="760"/>
                    </a:lnTo>
                    <a:lnTo>
                      <a:pt x="220" y="760"/>
                    </a:lnTo>
                    <a:lnTo>
                      <a:pt x="220" y="763"/>
                    </a:lnTo>
                    <a:lnTo>
                      <a:pt x="222" y="765"/>
                    </a:lnTo>
                    <a:lnTo>
                      <a:pt x="225" y="768"/>
                    </a:lnTo>
                    <a:lnTo>
                      <a:pt x="241" y="772"/>
                    </a:lnTo>
                    <a:lnTo>
                      <a:pt x="244" y="772"/>
                    </a:lnTo>
                    <a:lnTo>
                      <a:pt x="244" y="775"/>
                    </a:lnTo>
                    <a:lnTo>
                      <a:pt x="244" y="775"/>
                    </a:lnTo>
                    <a:lnTo>
                      <a:pt x="244" y="775"/>
                    </a:lnTo>
                    <a:lnTo>
                      <a:pt x="241" y="775"/>
                    </a:lnTo>
                    <a:lnTo>
                      <a:pt x="241" y="777"/>
                    </a:lnTo>
                    <a:lnTo>
                      <a:pt x="241" y="777"/>
                    </a:lnTo>
                    <a:lnTo>
                      <a:pt x="241" y="777"/>
                    </a:lnTo>
                    <a:lnTo>
                      <a:pt x="239" y="775"/>
                    </a:lnTo>
                    <a:lnTo>
                      <a:pt x="239" y="775"/>
                    </a:lnTo>
                    <a:lnTo>
                      <a:pt x="237" y="772"/>
                    </a:lnTo>
                    <a:lnTo>
                      <a:pt x="234" y="772"/>
                    </a:lnTo>
                    <a:lnTo>
                      <a:pt x="232" y="772"/>
                    </a:lnTo>
                    <a:lnTo>
                      <a:pt x="229" y="772"/>
                    </a:lnTo>
                    <a:lnTo>
                      <a:pt x="229" y="772"/>
                    </a:lnTo>
                    <a:lnTo>
                      <a:pt x="227" y="772"/>
                    </a:lnTo>
                    <a:lnTo>
                      <a:pt x="225" y="772"/>
                    </a:lnTo>
                    <a:lnTo>
                      <a:pt x="225" y="772"/>
                    </a:lnTo>
                    <a:lnTo>
                      <a:pt x="222" y="770"/>
                    </a:lnTo>
                    <a:lnTo>
                      <a:pt x="220" y="768"/>
                    </a:lnTo>
                    <a:lnTo>
                      <a:pt x="218" y="768"/>
                    </a:lnTo>
                    <a:lnTo>
                      <a:pt x="215" y="765"/>
                    </a:lnTo>
                    <a:lnTo>
                      <a:pt x="218" y="765"/>
                    </a:lnTo>
                    <a:lnTo>
                      <a:pt x="218" y="765"/>
                    </a:lnTo>
                    <a:lnTo>
                      <a:pt x="215" y="763"/>
                    </a:lnTo>
                    <a:lnTo>
                      <a:pt x="213" y="758"/>
                    </a:lnTo>
                    <a:lnTo>
                      <a:pt x="211" y="758"/>
                    </a:lnTo>
                    <a:lnTo>
                      <a:pt x="211" y="760"/>
                    </a:lnTo>
                    <a:lnTo>
                      <a:pt x="213" y="760"/>
                    </a:lnTo>
                    <a:lnTo>
                      <a:pt x="208" y="763"/>
                    </a:lnTo>
                    <a:lnTo>
                      <a:pt x="211" y="765"/>
                    </a:lnTo>
                    <a:lnTo>
                      <a:pt x="211" y="768"/>
                    </a:lnTo>
                    <a:lnTo>
                      <a:pt x="215" y="770"/>
                    </a:lnTo>
                    <a:lnTo>
                      <a:pt x="218" y="770"/>
                    </a:lnTo>
                    <a:lnTo>
                      <a:pt x="218" y="772"/>
                    </a:lnTo>
                    <a:lnTo>
                      <a:pt x="220" y="772"/>
                    </a:lnTo>
                    <a:lnTo>
                      <a:pt x="225" y="775"/>
                    </a:lnTo>
                    <a:lnTo>
                      <a:pt x="225" y="775"/>
                    </a:lnTo>
                    <a:lnTo>
                      <a:pt x="222" y="775"/>
                    </a:lnTo>
                    <a:lnTo>
                      <a:pt x="220" y="775"/>
                    </a:lnTo>
                    <a:lnTo>
                      <a:pt x="218" y="775"/>
                    </a:lnTo>
                    <a:lnTo>
                      <a:pt x="218" y="772"/>
                    </a:lnTo>
                    <a:lnTo>
                      <a:pt x="218" y="772"/>
                    </a:lnTo>
                    <a:lnTo>
                      <a:pt x="215" y="772"/>
                    </a:lnTo>
                    <a:lnTo>
                      <a:pt x="213" y="772"/>
                    </a:lnTo>
                    <a:lnTo>
                      <a:pt x="213" y="772"/>
                    </a:lnTo>
                    <a:lnTo>
                      <a:pt x="213" y="772"/>
                    </a:lnTo>
                    <a:lnTo>
                      <a:pt x="213" y="775"/>
                    </a:lnTo>
                    <a:lnTo>
                      <a:pt x="213" y="775"/>
                    </a:lnTo>
                    <a:lnTo>
                      <a:pt x="211" y="775"/>
                    </a:lnTo>
                    <a:lnTo>
                      <a:pt x="206" y="772"/>
                    </a:lnTo>
                    <a:lnTo>
                      <a:pt x="206" y="772"/>
                    </a:lnTo>
                    <a:lnTo>
                      <a:pt x="206" y="775"/>
                    </a:lnTo>
                    <a:lnTo>
                      <a:pt x="206" y="775"/>
                    </a:lnTo>
                    <a:lnTo>
                      <a:pt x="203" y="775"/>
                    </a:lnTo>
                    <a:lnTo>
                      <a:pt x="201" y="775"/>
                    </a:lnTo>
                    <a:lnTo>
                      <a:pt x="201" y="775"/>
                    </a:lnTo>
                    <a:lnTo>
                      <a:pt x="201" y="775"/>
                    </a:lnTo>
                    <a:lnTo>
                      <a:pt x="199" y="775"/>
                    </a:lnTo>
                    <a:lnTo>
                      <a:pt x="199" y="775"/>
                    </a:lnTo>
                    <a:lnTo>
                      <a:pt x="201" y="777"/>
                    </a:lnTo>
                    <a:lnTo>
                      <a:pt x="201" y="777"/>
                    </a:lnTo>
                    <a:lnTo>
                      <a:pt x="208" y="777"/>
                    </a:lnTo>
                    <a:lnTo>
                      <a:pt x="213" y="779"/>
                    </a:lnTo>
                    <a:lnTo>
                      <a:pt x="218" y="779"/>
                    </a:lnTo>
                    <a:lnTo>
                      <a:pt x="220" y="779"/>
                    </a:lnTo>
                    <a:lnTo>
                      <a:pt x="225" y="782"/>
                    </a:lnTo>
                    <a:lnTo>
                      <a:pt x="227" y="779"/>
                    </a:lnTo>
                    <a:lnTo>
                      <a:pt x="227" y="779"/>
                    </a:lnTo>
                    <a:lnTo>
                      <a:pt x="229" y="782"/>
                    </a:lnTo>
                    <a:lnTo>
                      <a:pt x="229" y="782"/>
                    </a:lnTo>
                    <a:lnTo>
                      <a:pt x="232" y="782"/>
                    </a:lnTo>
                    <a:lnTo>
                      <a:pt x="234" y="782"/>
                    </a:lnTo>
                    <a:lnTo>
                      <a:pt x="234" y="779"/>
                    </a:lnTo>
                    <a:lnTo>
                      <a:pt x="237" y="779"/>
                    </a:lnTo>
                    <a:close/>
                    <a:moveTo>
                      <a:pt x="137" y="723"/>
                    </a:moveTo>
                    <a:lnTo>
                      <a:pt x="137" y="723"/>
                    </a:lnTo>
                    <a:lnTo>
                      <a:pt x="137" y="723"/>
                    </a:lnTo>
                    <a:lnTo>
                      <a:pt x="137" y="723"/>
                    </a:lnTo>
                    <a:lnTo>
                      <a:pt x="135" y="720"/>
                    </a:lnTo>
                    <a:lnTo>
                      <a:pt x="133" y="720"/>
                    </a:lnTo>
                    <a:lnTo>
                      <a:pt x="133" y="720"/>
                    </a:lnTo>
                    <a:lnTo>
                      <a:pt x="130" y="720"/>
                    </a:lnTo>
                    <a:lnTo>
                      <a:pt x="130" y="720"/>
                    </a:lnTo>
                    <a:lnTo>
                      <a:pt x="130" y="720"/>
                    </a:lnTo>
                    <a:lnTo>
                      <a:pt x="133" y="723"/>
                    </a:lnTo>
                    <a:lnTo>
                      <a:pt x="133" y="723"/>
                    </a:lnTo>
                    <a:lnTo>
                      <a:pt x="135" y="723"/>
                    </a:lnTo>
                    <a:lnTo>
                      <a:pt x="137" y="723"/>
                    </a:lnTo>
                    <a:lnTo>
                      <a:pt x="137" y="723"/>
                    </a:lnTo>
                    <a:close/>
                    <a:moveTo>
                      <a:pt x="133" y="725"/>
                    </a:moveTo>
                    <a:lnTo>
                      <a:pt x="130" y="725"/>
                    </a:lnTo>
                    <a:lnTo>
                      <a:pt x="128" y="723"/>
                    </a:lnTo>
                    <a:lnTo>
                      <a:pt x="125" y="723"/>
                    </a:lnTo>
                    <a:lnTo>
                      <a:pt x="125" y="720"/>
                    </a:lnTo>
                    <a:lnTo>
                      <a:pt x="123" y="718"/>
                    </a:lnTo>
                    <a:lnTo>
                      <a:pt x="123" y="718"/>
                    </a:lnTo>
                    <a:lnTo>
                      <a:pt x="123" y="720"/>
                    </a:lnTo>
                    <a:lnTo>
                      <a:pt x="121" y="720"/>
                    </a:lnTo>
                    <a:lnTo>
                      <a:pt x="121" y="720"/>
                    </a:lnTo>
                    <a:lnTo>
                      <a:pt x="123" y="723"/>
                    </a:lnTo>
                    <a:lnTo>
                      <a:pt x="125" y="725"/>
                    </a:lnTo>
                    <a:lnTo>
                      <a:pt x="128" y="727"/>
                    </a:lnTo>
                    <a:lnTo>
                      <a:pt x="130" y="730"/>
                    </a:lnTo>
                    <a:lnTo>
                      <a:pt x="133" y="730"/>
                    </a:lnTo>
                    <a:lnTo>
                      <a:pt x="130" y="727"/>
                    </a:lnTo>
                    <a:lnTo>
                      <a:pt x="133" y="725"/>
                    </a:lnTo>
                    <a:close/>
                    <a:moveTo>
                      <a:pt x="121" y="713"/>
                    </a:moveTo>
                    <a:lnTo>
                      <a:pt x="123" y="713"/>
                    </a:lnTo>
                    <a:lnTo>
                      <a:pt x="123" y="713"/>
                    </a:lnTo>
                    <a:lnTo>
                      <a:pt x="123" y="713"/>
                    </a:lnTo>
                    <a:lnTo>
                      <a:pt x="125" y="713"/>
                    </a:lnTo>
                    <a:lnTo>
                      <a:pt x="125" y="711"/>
                    </a:lnTo>
                    <a:lnTo>
                      <a:pt x="123" y="711"/>
                    </a:lnTo>
                    <a:lnTo>
                      <a:pt x="123" y="708"/>
                    </a:lnTo>
                    <a:lnTo>
                      <a:pt x="123" y="708"/>
                    </a:lnTo>
                    <a:lnTo>
                      <a:pt x="121" y="708"/>
                    </a:lnTo>
                    <a:lnTo>
                      <a:pt x="118" y="711"/>
                    </a:lnTo>
                    <a:lnTo>
                      <a:pt x="116" y="711"/>
                    </a:lnTo>
                    <a:lnTo>
                      <a:pt x="114" y="711"/>
                    </a:lnTo>
                    <a:lnTo>
                      <a:pt x="114" y="713"/>
                    </a:lnTo>
                    <a:lnTo>
                      <a:pt x="114" y="713"/>
                    </a:lnTo>
                    <a:lnTo>
                      <a:pt x="114" y="715"/>
                    </a:lnTo>
                    <a:lnTo>
                      <a:pt x="116" y="718"/>
                    </a:lnTo>
                    <a:lnTo>
                      <a:pt x="116" y="715"/>
                    </a:lnTo>
                    <a:lnTo>
                      <a:pt x="116" y="715"/>
                    </a:lnTo>
                    <a:lnTo>
                      <a:pt x="116" y="713"/>
                    </a:lnTo>
                    <a:lnTo>
                      <a:pt x="118" y="713"/>
                    </a:lnTo>
                    <a:lnTo>
                      <a:pt x="121" y="713"/>
                    </a:lnTo>
                    <a:lnTo>
                      <a:pt x="121" y="713"/>
                    </a:lnTo>
                    <a:close/>
                    <a:moveTo>
                      <a:pt x="104" y="694"/>
                    </a:moveTo>
                    <a:lnTo>
                      <a:pt x="102" y="694"/>
                    </a:lnTo>
                    <a:lnTo>
                      <a:pt x="102" y="694"/>
                    </a:lnTo>
                    <a:lnTo>
                      <a:pt x="102" y="697"/>
                    </a:lnTo>
                    <a:lnTo>
                      <a:pt x="102" y="697"/>
                    </a:lnTo>
                    <a:lnTo>
                      <a:pt x="104" y="699"/>
                    </a:lnTo>
                    <a:lnTo>
                      <a:pt x="104" y="699"/>
                    </a:lnTo>
                    <a:lnTo>
                      <a:pt x="104" y="699"/>
                    </a:lnTo>
                    <a:lnTo>
                      <a:pt x="106" y="699"/>
                    </a:lnTo>
                    <a:lnTo>
                      <a:pt x="106" y="699"/>
                    </a:lnTo>
                    <a:lnTo>
                      <a:pt x="104" y="697"/>
                    </a:lnTo>
                    <a:lnTo>
                      <a:pt x="106" y="697"/>
                    </a:lnTo>
                    <a:lnTo>
                      <a:pt x="106" y="697"/>
                    </a:lnTo>
                    <a:lnTo>
                      <a:pt x="106" y="694"/>
                    </a:lnTo>
                    <a:lnTo>
                      <a:pt x="106" y="694"/>
                    </a:lnTo>
                    <a:lnTo>
                      <a:pt x="104" y="694"/>
                    </a:lnTo>
                    <a:close/>
                    <a:moveTo>
                      <a:pt x="104" y="685"/>
                    </a:moveTo>
                    <a:lnTo>
                      <a:pt x="102" y="685"/>
                    </a:lnTo>
                    <a:lnTo>
                      <a:pt x="102" y="685"/>
                    </a:lnTo>
                    <a:lnTo>
                      <a:pt x="99" y="685"/>
                    </a:lnTo>
                    <a:lnTo>
                      <a:pt x="99" y="687"/>
                    </a:lnTo>
                    <a:lnTo>
                      <a:pt x="99" y="687"/>
                    </a:lnTo>
                    <a:lnTo>
                      <a:pt x="99" y="687"/>
                    </a:lnTo>
                    <a:lnTo>
                      <a:pt x="99" y="689"/>
                    </a:lnTo>
                    <a:lnTo>
                      <a:pt x="99" y="692"/>
                    </a:lnTo>
                    <a:lnTo>
                      <a:pt x="102" y="692"/>
                    </a:lnTo>
                    <a:lnTo>
                      <a:pt x="104" y="692"/>
                    </a:lnTo>
                    <a:lnTo>
                      <a:pt x="106" y="689"/>
                    </a:lnTo>
                    <a:lnTo>
                      <a:pt x="106" y="689"/>
                    </a:lnTo>
                    <a:lnTo>
                      <a:pt x="109" y="687"/>
                    </a:lnTo>
                    <a:lnTo>
                      <a:pt x="106" y="687"/>
                    </a:lnTo>
                    <a:lnTo>
                      <a:pt x="104" y="685"/>
                    </a:lnTo>
                    <a:close/>
                    <a:moveTo>
                      <a:pt x="92" y="661"/>
                    </a:moveTo>
                    <a:lnTo>
                      <a:pt x="90" y="661"/>
                    </a:lnTo>
                    <a:lnTo>
                      <a:pt x="90" y="659"/>
                    </a:lnTo>
                    <a:lnTo>
                      <a:pt x="88" y="659"/>
                    </a:lnTo>
                    <a:lnTo>
                      <a:pt x="88" y="659"/>
                    </a:lnTo>
                    <a:lnTo>
                      <a:pt x="85" y="661"/>
                    </a:lnTo>
                    <a:lnTo>
                      <a:pt x="83" y="661"/>
                    </a:lnTo>
                    <a:lnTo>
                      <a:pt x="83" y="661"/>
                    </a:lnTo>
                    <a:lnTo>
                      <a:pt x="83" y="661"/>
                    </a:lnTo>
                    <a:lnTo>
                      <a:pt x="83" y="663"/>
                    </a:lnTo>
                    <a:lnTo>
                      <a:pt x="85" y="663"/>
                    </a:lnTo>
                    <a:lnTo>
                      <a:pt x="85" y="663"/>
                    </a:lnTo>
                    <a:lnTo>
                      <a:pt x="85" y="663"/>
                    </a:lnTo>
                    <a:lnTo>
                      <a:pt x="88" y="666"/>
                    </a:lnTo>
                    <a:lnTo>
                      <a:pt x="85" y="666"/>
                    </a:lnTo>
                    <a:lnTo>
                      <a:pt x="85" y="668"/>
                    </a:lnTo>
                    <a:lnTo>
                      <a:pt x="88" y="668"/>
                    </a:lnTo>
                    <a:lnTo>
                      <a:pt x="88" y="668"/>
                    </a:lnTo>
                    <a:lnTo>
                      <a:pt x="90" y="666"/>
                    </a:lnTo>
                    <a:lnTo>
                      <a:pt x="90" y="666"/>
                    </a:lnTo>
                    <a:lnTo>
                      <a:pt x="92" y="661"/>
                    </a:lnTo>
                    <a:close/>
                    <a:moveTo>
                      <a:pt x="111" y="685"/>
                    </a:moveTo>
                    <a:lnTo>
                      <a:pt x="111" y="682"/>
                    </a:lnTo>
                    <a:lnTo>
                      <a:pt x="111" y="680"/>
                    </a:lnTo>
                    <a:lnTo>
                      <a:pt x="111" y="680"/>
                    </a:lnTo>
                    <a:lnTo>
                      <a:pt x="109" y="678"/>
                    </a:lnTo>
                    <a:lnTo>
                      <a:pt x="109" y="678"/>
                    </a:lnTo>
                    <a:lnTo>
                      <a:pt x="109" y="678"/>
                    </a:lnTo>
                    <a:lnTo>
                      <a:pt x="109" y="675"/>
                    </a:lnTo>
                    <a:lnTo>
                      <a:pt x="106" y="673"/>
                    </a:lnTo>
                    <a:lnTo>
                      <a:pt x="106" y="670"/>
                    </a:lnTo>
                    <a:lnTo>
                      <a:pt x="104" y="666"/>
                    </a:lnTo>
                    <a:lnTo>
                      <a:pt x="99" y="659"/>
                    </a:lnTo>
                    <a:lnTo>
                      <a:pt x="99" y="659"/>
                    </a:lnTo>
                    <a:lnTo>
                      <a:pt x="99" y="659"/>
                    </a:lnTo>
                    <a:lnTo>
                      <a:pt x="97" y="659"/>
                    </a:lnTo>
                    <a:lnTo>
                      <a:pt x="95" y="656"/>
                    </a:lnTo>
                    <a:lnTo>
                      <a:pt x="95" y="656"/>
                    </a:lnTo>
                    <a:lnTo>
                      <a:pt x="92" y="659"/>
                    </a:lnTo>
                    <a:lnTo>
                      <a:pt x="92" y="659"/>
                    </a:lnTo>
                    <a:lnTo>
                      <a:pt x="92" y="659"/>
                    </a:lnTo>
                    <a:lnTo>
                      <a:pt x="95" y="661"/>
                    </a:lnTo>
                    <a:lnTo>
                      <a:pt x="95" y="663"/>
                    </a:lnTo>
                    <a:lnTo>
                      <a:pt x="95" y="663"/>
                    </a:lnTo>
                    <a:lnTo>
                      <a:pt x="92" y="666"/>
                    </a:lnTo>
                    <a:lnTo>
                      <a:pt x="92" y="666"/>
                    </a:lnTo>
                    <a:lnTo>
                      <a:pt x="95" y="668"/>
                    </a:lnTo>
                    <a:lnTo>
                      <a:pt x="95" y="668"/>
                    </a:lnTo>
                    <a:lnTo>
                      <a:pt x="95" y="670"/>
                    </a:lnTo>
                    <a:lnTo>
                      <a:pt x="92" y="668"/>
                    </a:lnTo>
                    <a:lnTo>
                      <a:pt x="92" y="668"/>
                    </a:lnTo>
                    <a:lnTo>
                      <a:pt x="90" y="670"/>
                    </a:lnTo>
                    <a:lnTo>
                      <a:pt x="90" y="670"/>
                    </a:lnTo>
                    <a:lnTo>
                      <a:pt x="92" y="673"/>
                    </a:lnTo>
                    <a:lnTo>
                      <a:pt x="92" y="673"/>
                    </a:lnTo>
                    <a:lnTo>
                      <a:pt x="95" y="673"/>
                    </a:lnTo>
                    <a:lnTo>
                      <a:pt x="95" y="675"/>
                    </a:lnTo>
                    <a:lnTo>
                      <a:pt x="92" y="675"/>
                    </a:lnTo>
                    <a:lnTo>
                      <a:pt x="92" y="678"/>
                    </a:lnTo>
                    <a:lnTo>
                      <a:pt x="92" y="680"/>
                    </a:lnTo>
                    <a:lnTo>
                      <a:pt x="95" y="680"/>
                    </a:lnTo>
                    <a:lnTo>
                      <a:pt x="97" y="680"/>
                    </a:lnTo>
                    <a:lnTo>
                      <a:pt x="99" y="680"/>
                    </a:lnTo>
                    <a:lnTo>
                      <a:pt x="102" y="680"/>
                    </a:lnTo>
                    <a:lnTo>
                      <a:pt x="102" y="680"/>
                    </a:lnTo>
                    <a:lnTo>
                      <a:pt x="102" y="680"/>
                    </a:lnTo>
                    <a:lnTo>
                      <a:pt x="99" y="675"/>
                    </a:lnTo>
                    <a:lnTo>
                      <a:pt x="99" y="675"/>
                    </a:lnTo>
                    <a:lnTo>
                      <a:pt x="99" y="675"/>
                    </a:lnTo>
                    <a:lnTo>
                      <a:pt x="102" y="673"/>
                    </a:lnTo>
                    <a:lnTo>
                      <a:pt x="102" y="673"/>
                    </a:lnTo>
                    <a:lnTo>
                      <a:pt x="104" y="673"/>
                    </a:lnTo>
                    <a:lnTo>
                      <a:pt x="104" y="673"/>
                    </a:lnTo>
                    <a:lnTo>
                      <a:pt x="102" y="673"/>
                    </a:lnTo>
                    <a:lnTo>
                      <a:pt x="102" y="675"/>
                    </a:lnTo>
                    <a:lnTo>
                      <a:pt x="104" y="675"/>
                    </a:lnTo>
                    <a:lnTo>
                      <a:pt x="102" y="678"/>
                    </a:lnTo>
                    <a:lnTo>
                      <a:pt x="102" y="678"/>
                    </a:lnTo>
                    <a:lnTo>
                      <a:pt x="104" y="678"/>
                    </a:lnTo>
                    <a:lnTo>
                      <a:pt x="104" y="680"/>
                    </a:lnTo>
                    <a:lnTo>
                      <a:pt x="106" y="682"/>
                    </a:lnTo>
                    <a:lnTo>
                      <a:pt x="106" y="682"/>
                    </a:lnTo>
                    <a:lnTo>
                      <a:pt x="109" y="685"/>
                    </a:lnTo>
                    <a:lnTo>
                      <a:pt x="109" y="685"/>
                    </a:lnTo>
                    <a:lnTo>
                      <a:pt x="111" y="685"/>
                    </a:lnTo>
                    <a:lnTo>
                      <a:pt x="111" y="685"/>
                    </a:lnTo>
                    <a:close/>
                    <a:moveTo>
                      <a:pt x="85" y="659"/>
                    </a:moveTo>
                    <a:lnTo>
                      <a:pt x="88" y="656"/>
                    </a:lnTo>
                    <a:lnTo>
                      <a:pt x="88" y="656"/>
                    </a:lnTo>
                    <a:lnTo>
                      <a:pt x="85" y="652"/>
                    </a:lnTo>
                    <a:lnTo>
                      <a:pt x="83" y="647"/>
                    </a:lnTo>
                    <a:lnTo>
                      <a:pt x="80" y="644"/>
                    </a:lnTo>
                    <a:lnTo>
                      <a:pt x="78" y="642"/>
                    </a:lnTo>
                    <a:lnTo>
                      <a:pt x="76" y="644"/>
                    </a:lnTo>
                    <a:lnTo>
                      <a:pt x="76" y="644"/>
                    </a:lnTo>
                    <a:lnTo>
                      <a:pt x="78" y="647"/>
                    </a:lnTo>
                    <a:lnTo>
                      <a:pt x="78" y="647"/>
                    </a:lnTo>
                    <a:lnTo>
                      <a:pt x="80" y="649"/>
                    </a:lnTo>
                    <a:lnTo>
                      <a:pt x="80" y="654"/>
                    </a:lnTo>
                    <a:lnTo>
                      <a:pt x="83" y="659"/>
                    </a:lnTo>
                    <a:lnTo>
                      <a:pt x="83" y="659"/>
                    </a:lnTo>
                    <a:lnTo>
                      <a:pt x="85" y="659"/>
                    </a:lnTo>
                    <a:close/>
                    <a:moveTo>
                      <a:pt x="80" y="644"/>
                    </a:moveTo>
                    <a:lnTo>
                      <a:pt x="80" y="644"/>
                    </a:lnTo>
                    <a:lnTo>
                      <a:pt x="83" y="647"/>
                    </a:lnTo>
                    <a:lnTo>
                      <a:pt x="85" y="647"/>
                    </a:lnTo>
                    <a:lnTo>
                      <a:pt x="85" y="649"/>
                    </a:lnTo>
                    <a:lnTo>
                      <a:pt x="88" y="649"/>
                    </a:lnTo>
                    <a:lnTo>
                      <a:pt x="88" y="652"/>
                    </a:lnTo>
                    <a:lnTo>
                      <a:pt x="90" y="654"/>
                    </a:lnTo>
                    <a:lnTo>
                      <a:pt x="92" y="656"/>
                    </a:lnTo>
                    <a:lnTo>
                      <a:pt x="95" y="656"/>
                    </a:lnTo>
                    <a:lnTo>
                      <a:pt x="97" y="656"/>
                    </a:lnTo>
                    <a:lnTo>
                      <a:pt x="97" y="654"/>
                    </a:lnTo>
                    <a:lnTo>
                      <a:pt x="95" y="652"/>
                    </a:lnTo>
                    <a:lnTo>
                      <a:pt x="95" y="652"/>
                    </a:lnTo>
                    <a:lnTo>
                      <a:pt x="95" y="652"/>
                    </a:lnTo>
                    <a:lnTo>
                      <a:pt x="95" y="649"/>
                    </a:lnTo>
                    <a:lnTo>
                      <a:pt x="92" y="649"/>
                    </a:lnTo>
                    <a:lnTo>
                      <a:pt x="92" y="647"/>
                    </a:lnTo>
                    <a:lnTo>
                      <a:pt x="90" y="647"/>
                    </a:lnTo>
                    <a:lnTo>
                      <a:pt x="90" y="644"/>
                    </a:lnTo>
                    <a:lnTo>
                      <a:pt x="90" y="644"/>
                    </a:lnTo>
                    <a:lnTo>
                      <a:pt x="88" y="642"/>
                    </a:lnTo>
                    <a:lnTo>
                      <a:pt x="88" y="640"/>
                    </a:lnTo>
                    <a:lnTo>
                      <a:pt x="85" y="640"/>
                    </a:lnTo>
                    <a:lnTo>
                      <a:pt x="85" y="642"/>
                    </a:lnTo>
                    <a:lnTo>
                      <a:pt x="80" y="642"/>
                    </a:lnTo>
                    <a:lnTo>
                      <a:pt x="80" y="644"/>
                    </a:lnTo>
                    <a:close/>
                    <a:moveTo>
                      <a:pt x="83" y="637"/>
                    </a:moveTo>
                    <a:lnTo>
                      <a:pt x="80" y="637"/>
                    </a:lnTo>
                    <a:lnTo>
                      <a:pt x="78" y="637"/>
                    </a:lnTo>
                    <a:lnTo>
                      <a:pt x="78" y="637"/>
                    </a:lnTo>
                    <a:lnTo>
                      <a:pt x="80" y="640"/>
                    </a:lnTo>
                    <a:lnTo>
                      <a:pt x="80" y="640"/>
                    </a:lnTo>
                    <a:lnTo>
                      <a:pt x="80" y="640"/>
                    </a:lnTo>
                    <a:lnTo>
                      <a:pt x="83" y="640"/>
                    </a:lnTo>
                    <a:lnTo>
                      <a:pt x="83" y="640"/>
                    </a:lnTo>
                    <a:lnTo>
                      <a:pt x="85" y="637"/>
                    </a:lnTo>
                    <a:lnTo>
                      <a:pt x="83" y="637"/>
                    </a:lnTo>
                    <a:lnTo>
                      <a:pt x="83" y="637"/>
                    </a:lnTo>
                    <a:close/>
                    <a:moveTo>
                      <a:pt x="69" y="592"/>
                    </a:moveTo>
                    <a:lnTo>
                      <a:pt x="69" y="595"/>
                    </a:lnTo>
                    <a:lnTo>
                      <a:pt x="71" y="597"/>
                    </a:lnTo>
                    <a:lnTo>
                      <a:pt x="71" y="595"/>
                    </a:lnTo>
                    <a:lnTo>
                      <a:pt x="73" y="597"/>
                    </a:lnTo>
                    <a:lnTo>
                      <a:pt x="76" y="597"/>
                    </a:lnTo>
                    <a:lnTo>
                      <a:pt x="76" y="595"/>
                    </a:lnTo>
                    <a:lnTo>
                      <a:pt x="76" y="595"/>
                    </a:lnTo>
                    <a:lnTo>
                      <a:pt x="76" y="592"/>
                    </a:lnTo>
                    <a:lnTo>
                      <a:pt x="76" y="592"/>
                    </a:lnTo>
                    <a:lnTo>
                      <a:pt x="73" y="590"/>
                    </a:lnTo>
                    <a:lnTo>
                      <a:pt x="73" y="588"/>
                    </a:lnTo>
                    <a:lnTo>
                      <a:pt x="71" y="585"/>
                    </a:lnTo>
                    <a:lnTo>
                      <a:pt x="71" y="585"/>
                    </a:lnTo>
                    <a:lnTo>
                      <a:pt x="69" y="585"/>
                    </a:lnTo>
                    <a:lnTo>
                      <a:pt x="69" y="588"/>
                    </a:lnTo>
                    <a:lnTo>
                      <a:pt x="71" y="590"/>
                    </a:lnTo>
                    <a:lnTo>
                      <a:pt x="71" y="592"/>
                    </a:lnTo>
                    <a:lnTo>
                      <a:pt x="69" y="592"/>
                    </a:lnTo>
                    <a:close/>
                    <a:moveTo>
                      <a:pt x="54" y="576"/>
                    </a:moveTo>
                    <a:lnTo>
                      <a:pt x="54" y="576"/>
                    </a:lnTo>
                    <a:lnTo>
                      <a:pt x="54" y="576"/>
                    </a:lnTo>
                    <a:lnTo>
                      <a:pt x="54" y="576"/>
                    </a:lnTo>
                    <a:lnTo>
                      <a:pt x="57" y="578"/>
                    </a:lnTo>
                    <a:lnTo>
                      <a:pt x="57" y="578"/>
                    </a:lnTo>
                    <a:lnTo>
                      <a:pt x="57" y="576"/>
                    </a:lnTo>
                    <a:lnTo>
                      <a:pt x="57" y="576"/>
                    </a:lnTo>
                    <a:lnTo>
                      <a:pt x="57" y="576"/>
                    </a:lnTo>
                    <a:lnTo>
                      <a:pt x="54" y="576"/>
                    </a:lnTo>
                    <a:close/>
                    <a:moveTo>
                      <a:pt x="78" y="573"/>
                    </a:moveTo>
                    <a:lnTo>
                      <a:pt x="78" y="576"/>
                    </a:lnTo>
                    <a:lnTo>
                      <a:pt x="78" y="576"/>
                    </a:lnTo>
                    <a:lnTo>
                      <a:pt x="80" y="576"/>
                    </a:lnTo>
                    <a:lnTo>
                      <a:pt x="80" y="576"/>
                    </a:lnTo>
                    <a:lnTo>
                      <a:pt x="80" y="573"/>
                    </a:lnTo>
                    <a:lnTo>
                      <a:pt x="78" y="573"/>
                    </a:lnTo>
                    <a:lnTo>
                      <a:pt x="78" y="571"/>
                    </a:lnTo>
                    <a:lnTo>
                      <a:pt x="76" y="571"/>
                    </a:lnTo>
                    <a:lnTo>
                      <a:pt x="76" y="569"/>
                    </a:lnTo>
                    <a:lnTo>
                      <a:pt x="76" y="571"/>
                    </a:lnTo>
                    <a:lnTo>
                      <a:pt x="76" y="571"/>
                    </a:lnTo>
                    <a:lnTo>
                      <a:pt x="76" y="571"/>
                    </a:lnTo>
                    <a:lnTo>
                      <a:pt x="76" y="573"/>
                    </a:lnTo>
                    <a:lnTo>
                      <a:pt x="78" y="573"/>
                    </a:lnTo>
                    <a:close/>
                    <a:moveTo>
                      <a:pt x="83" y="571"/>
                    </a:moveTo>
                    <a:lnTo>
                      <a:pt x="80" y="571"/>
                    </a:lnTo>
                    <a:lnTo>
                      <a:pt x="83" y="573"/>
                    </a:lnTo>
                    <a:lnTo>
                      <a:pt x="83" y="573"/>
                    </a:lnTo>
                    <a:lnTo>
                      <a:pt x="85" y="576"/>
                    </a:lnTo>
                    <a:lnTo>
                      <a:pt x="88" y="576"/>
                    </a:lnTo>
                    <a:lnTo>
                      <a:pt x="90" y="576"/>
                    </a:lnTo>
                    <a:lnTo>
                      <a:pt x="92" y="573"/>
                    </a:lnTo>
                    <a:lnTo>
                      <a:pt x="92" y="571"/>
                    </a:lnTo>
                    <a:lnTo>
                      <a:pt x="92" y="571"/>
                    </a:lnTo>
                    <a:lnTo>
                      <a:pt x="92" y="569"/>
                    </a:lnTo>
                    <a:lnTo>
                      <a:pt x="90" y="569"/>
                    </a:lnTo>
                    <a:lnTo>
                      <a:pt x="85" y="566"/>
                    </a:lnTo>
                    <a:lnTo>
                      <a:pt x="83" y="566"/>
                    </a:lnTo>
                    <a:lnTo>
                      <a:pt x="83" y="566"/>
                    </a:lnTo>
                    <a:lnTo>
                      <a:pt x="83" y="566"/>
                    </a:lnTo>
                    <a:lnTo>
                      <a:pt x="83" y="569"/>
                    </a:lnTo>
                    <a:lnTo>
                      <a:pt x="83" y="569"/>
                    </a:lnTo>
                    <a:lnTo>
                      <a:pt x="83" y="569"/>
                    </a:lnTo>
                    <a:lnTo>
                      <a:pt x="83" y="571"/>
                    </a:lnTo>
                    <a:close/>
                    <a:moveTo>
                      <a:pt x="73" y="569"/>
                    </a:moveTo>
                    <a:lnTo>
                      <a:pt x="73" y="566"/>
                    </a:lnTo>
                    <a:lnTo>
                      <a:pt x="73" y="566"/>
                    </a:lnTo>
                    <a:lnTo>
                      <a:pt x="73" y="564"/>
                    </a:lnTo>
                    <a:lnTo>
                      <a:pt x="71" y="564"/>
                    </a:lnTo>
                    <a:lnTo>
                      <a:pt x="71" y="562"/>
                    </a:lnTo>
                    <a:lnTo>
                      <a:pt x="69" y="562"/>
                    </a:lnTo>
                    <a:lnTo>
                      <a:pt x="69" y="562"/>
                    </a:lnTo>
                    <a:lnTo>
                      <a:pt x="66" y="562"/>
                    </a:lnTo>
                    <a:lnTo>
                      <a:pt x="66" y="564"/>
                    </a:lnTo>
                    <a:lnTo>
                      <a:pt x="69" y="566"/>
                    </a:lnTo>
                    <a:lnTo>
                      <a:pt x="69" y="566"/>
                    </a:lnTo>
                    <a:lnTo>
                      <a:pt x="66" y="566"/>
                    </a:lnTo>
                    <a:lnTo>
                      <a:pt x="64" y="566"/>
                    </a:lnTo>
                    <a:lnTo>
                      <a:pt x="64" y="569"/>
                    </a:lnTo>
                    <a:lnTo>
                      <a:pt x="62" y="569"/>
                    </a:lnTo>
                    <a:lnTo>
                      <a:pt x="64" y="571"/>
                    </a:lnTo>
                    <a:lnTo>
                      <a:pt x="62" y="571"/>
                    </a:lnTo>
                    <a:lnTo>
                      <a:pt x="64" y="573"/>
                    </a:lnTo>
                    <a:lnTo>
                      <a:pt x="66" y="576"/>
                    </a:lnTo>
                    <a:lnTo>
                      <a:pt x="69" y="578"/>
                    </a:lnTo>
                    <a:lnTo>
                      <a:pt x="71" y="583"/>
                    </a:lnTo>
                    <a:lnTo>
                      <a:pt x="73" y="583"/>
                    </a:lnTo>
                    <a:lnTo>
                      <a:pt x="76" y="585"/>
                    </a:lnTo>
                    <a:lnTo>
                      <a:pt x="76" y="588"/>
                    </a:lnTo>
                    <a:lnTo>
                      <a:pt x="78" y="588"/>
                    </a:lnTo>
                    <a:lnTo>
                      <a:pt x="80" y="588"/>
                    </a:lnTo>
                    <a:lnTo>
                      <a:pt x="80" y="588"/>
                    </a:lnTo>
                    <a:lnTo>
                      <a:pt x="80" y="588"/>
                    </a:lnTo>
                    <a:lnTo>
                      <a:pt x="80" y="588"/>
                    </a:lnTo>
                    <a:lnTo>
                      <a:pt x="80" y="585"/>
                    </a:lnTo>
                    <a:lnTo>
                      <a:pt x="80" y="585"/>
                    </a:lnTo>
                    <a:lnTo>
                      <a:pt x="80" y="585"/>
                    </a:lnTo>
                    <a:lnTo>
                      <a:pt x="80" y="583"/>
                    </a:lnTo>
                    <a:lnTo>
                      <a:pt x="78" y="581"/>
                    </a:lnTo>
                    <a:lnTo>
                      <a:pt x="78" y="578"/>
                    </a:lnTo>
                    <a:lnTo>
                      <a:pt x="78" y="578"/>
                    </a:lnTo>
                    <a:lnTo>
                      <a:pt x="76" y="576"/>
                    </a:lnTo>
                    <a:lnTo>
                      <a:pt x="76" y="573"/>
                    </a:lnTo>
                    <a:lnTo>
                      <a:pt x="73" y="571"/>
                    </a:lnTo>
                    <a:lnTo>
                      <a:pt x="71" y="571"/>
                    </a:lnTo>
                    <a:lnTo>
                      <a:pt x="71" y="569"/>
                    </a:lnTo>
                    <a:lnTo>
                      <a:pt x="71" y="569"/>
                    </a:lnTo>
                    <a:lnTo>
                      <a:pt x="73" y="569"/>
                    </a:lnTo>
                    <a:lnTo>
                      <a:pt x="73" y="569"/>
                    </a:lnTo>
                    <a:close/>
                    <a:moveTo>
                      <a:pt x="69" y="554"/>
                    </a:moveTo>
                    <a:lnTo>
                      <a:pt x="66" y="554"/>
                    </a:lnTo>
                    <a:lnTo>
                      <a:pt x="66" y="554"/>
                    </a:lnTo>
                    <a:lnTo>
                      <a:pt x="64" y="554"/>
                    </a:lnTo>
                    <a:lnTo>
                      <a:pt x="64" y="557"/>
                    </a:lnTo>
                    <a:lnTo>
                      <a:pt x="64" y="557"/>
                    </a:lnTo>
                    <a:lnTo>
                      <a:pt x="66" y="557"/>
                    </a:lnTo>
                    <a:lnTo>
                      <a:pt x="66" y="557"/>
                    </a:lnTo>
                    <a:lnTo>
                      <a:pt x="66" y="557"/>
                    </a:lnTo>
                    <a:lnTo>
                      <a:pt x="69" y="557"/>
                    </a:lnTo>
                    <a:lnTo>
                      <a:pt x="69" y="557"/>
                    </a:lnTo>
                    <a:lnTo>
                      <a:pt x="69" y="554"/>
                    </a:lnTo>
                    <a:lnTo>
                      <a:pt x="69" y="554"/>
                    </a:lnTo>
                    <a:close/>
                    <a:moveTo>
                      <a:pt x="52" y="550"/>
                    </a:moveTo>
                    <a:lnTo>
                      <a:pt x="52" y="550"/>
                    </a:lnTo>
                    <a:lnTo>
                      <a:pt x="50" y="550"/>
                    </a:lnTo>
                    <a:lnTo>
                      <a:pt x="50" y="550"/>
                    </a:lnTo>
                    <a:lnTo>
                      <a:pt x="50" y="550"/>
                    </a:lnTo>
                    <a:lnTo>
                      <a:pt x="50" y="550"/>
                    </a:lnTo>
                    <a:lnTo>
                      <a:pt x="50" y="552"/>
                    </a:lnTo>
                    <a:lnTo>
                      <a:pt x="52" y="550"/>
                    </a:lnTo>
                    <a:lnTo>
                      <a:pt x="52" y="550"/>
                    </a:lnTo>
                    <a:lnTo>
                      <a:pt x="52" y="550"/>
                    </a:lnTo>
                    <a:close/>
                    <a:moveTo>
                      <a:pt x="64" y="545"/>
                    </a:moveTo>
                    <a:lnTo>
                      <a:pt x="66" y="545"/>
                    </a:lnTo>
                    <a:lnTo>
                      <a:pt x="66" y="545"/>
                    </a:lnTo>
                    <a:lnTo>
                      <a:pt x="64" y="543"/>
                    </a:lnTo>
                    <a:lnTo>
                      <a:pt x="66" y="540"/>
                    </a:lnTo>
                    <a:lnTo>
                      <a:pt x="66" y="540"/>
                    </a:lnTo>
                    <a:lnTo>
                      <a:pt x="66" y="538"/>
                    </a:lnTo>
                    <a:lnTo>
                      <a:pt x="66" y="538"/>
                    </a:lnTo>
                    <a:lnTo>
                      <a:pt x="66" y="536"/>
                    </a:lnTo>
                    <a:lnTo>
                      <a:pt x="64" y="533"/>
                    </a:lnTo>
                    <a:lnTo>
                      <a:pt x="62" y="533"/>
                    </a:lnTo>
                    <a:lnTo>
                      <a:pt x="59" y="531"/>
                    </a:lnTo>
                    <a:lnTo>
                      <a:pt x="59" y="531"/>
                    </a:lnTo>
                    <a:lnTo>
                      <a:pt x="59" y="528"/>
                    </a:lnTo>
                    <a:lnTo>
                      <a:pt x="62" y="528"/>
                    </a:lnTo>
                    <a:lnTo>
                      <a:pt x="62" y="528"/>
                    </a:lnTo>
                    <a:lnTo>
                      <a:pt x="62" y="528"/>
                    </a:lnTo>
                    <a:lnTo>
                      <a:pt x="64" y="528"/>
                    </a:lnTo>
                    <a:lnTo>
                      <a:pt x="62" y="526"/>
                    </a:lnTo>
                    <a:lnTo>
                      <a:pt x="62" y="524"/>
                    </a:lnTo>
                    <a:lnTo>
                      <a:pt x="62" y="524"/>
                    </a:lnTo>
                    <a:lnTo>
                      <a:pt x="62" y="521"/>
                    </a:lnTo>
                    <a:lnTo>
                      <a:pt x="62" y="521"/>
                    </a:lnTo>
                    <a:lnTo>
                      <a:pt x="59" y="519"/>
                    </a:lnTo>
                    <a:lnTo>
                      <a:pt x="59" y="517"/>
                    </a:lnTo>
                    <a:lnTo>
                      <a:pt x="57" y="517"/>
                    </a:lnTo>
                    <a:lnTo>
                      <a:pt x="54" y="514"/>
                    </a:lnTo>
                    <a:lnTo>
                      <a:pt x="47" y="514"/>
                    </a:lnTo>
                    <a:lnTo>
                      <a:pt x="47" y="514"/>
                    </a:lnTo>
                    <a:lnTo>
                      <a:pt x="50" y="514"/>
                    </a:lnTo>
                    <a:lnTo>
                      <a:pt x="50" y="517"/>
                    </a:lnTo>
                    <a:lnTo>
                      <a:pt x="50" y="519"/>
                    </a:lnTo>
                    <a:lnTo>
                      <a:pt x="50" y="519"/>
                    </a:lnTo>
                    <a:lnTo>
                      <a:pt x="50" y="519"/>
                    </a:lnTo>
                    <a:lnTo>
                      <a:pt x="50" y="521"/>
                    </a:lnTo>
                    <a:lnTo>
                      <a:pt x="50" y="524"/>
                    </a:lnTo>
                    <a:lnTo>
                      <a:pt x="50" y="524"/>
                    </a:lnTo>
                    <a:lnTo>
                      <a:pt x="50" y="526"/>
                    </a:lnTo>
                    <a:lnTo>
                      <a:pt x="50" y="526"/>
                    </a:lnTo>
                    <a:lnTo>
                      <a:pt x="50" y="528"/>
                    </a:lnTo>
                    <a:lnTo>
                      <a:pt x="52" y="531"/>
                    </a:lnTo>
                    <a:lnTo>
                      <a:pt x="54" y="536"/>
                    </a:lnTo>
                    <a:lnTo>
                      <a:pt x="54" y="540"/>
                    </a:lnTo>
                    <a:lnTo>
                      <a:pt x="54" y="543"/>
                    </a:lnTo>
                    <a:lnTo>
                      <a:pt x="54" y="543"/>
                    </a:lnTo>
                    <a:lnTo>
                      <a:pt x="54" y="543"/>
                    </a:lnTo>
                    <a:lnTo>
                      <a:pt x="57" y="545"/>
                    </a:lnTo>
                    <a:lnTo>
                      <a:pt x="59" y="545"/>
                    </a:lnTo>
                    <a:lnTo>
                      <a:pt x="62" y="545"/>
                    </a:lnTo>
                    <a:lnTo>
                      <a:pt x="64" y="545"/>
                    </a:lnTo>
                    <a:lnTo>
                      <a:pt x="64" y="545"/>
                    </a:lnTo>
                    <a:close/>
                    <a:moveTo>
                      <a:pt x="196" y="760"/>
                    </a:moveTo>
                    <a:lnTo>
                      <a:pt x="199" y="763"/>
                    </a:lnTo>
                    <a:lnTo>
                      <a:pt x="203" y="763"/>
                    </a:lnTo>
                    <a:lnTo>
                      <a:pt x="206" y="760"/>
                    </a:lnTo>
                    <a:lnTo>
                      <a:pt x="206" y="760"/>
                    </a:lnTo>
                    <a:lnTo>
                      <a:pt x="206" y="756"/>
                    </a:lnTo>
                    <a:lnTo>
                      <a:pt x="203" y="753"/>
                    </a:lnTo>
                    <a:lnTo>
                      <a:pt x="201" y="753"/>
                    </a:lnTo>
                    <a:lnTo>
                      <a:pt x="201" y="749"/>
                    </a:lnTo>
                    <a:lnTo>
                      <a:pt x="201" y="744"/>
                    </a:lnTo>
                    <a:lnTo>
                      <a:pt x="199" y="744"/>
                    </a:lnTo>
                    <a:lnTo>
                      <a:pt x="199" y="742"/>
                    </a:lnTo>
                    <a:lnTo>
                      <a:pt x="201" y="739"/>
                    </a:lnTo>
                    <a:lnTo>
                      <a:pt x="201" y="739"/>
                    </a:lnTo>
                    <a:lnTo>
                      <a:pt x="203" y="739"/>
                    </a:lnTo>
                    <a:lnTo>
                      <a:pt x="211" y="734"/>
                    </a:lnTo>
                    <a:lnTo>
                      <a:pt x="213" y="734"/>
                    </a:lnTo>
                    <a:lnTo>
                      <a:pt x="215" y="734"/>
                    </a:lnTo>
                    <a:lnTo>
                      <a:pt x="215" y="734"/>
                    </a:lnTo>
                    <a:lnTo>
                      <a:pt x="215" y="730"/>
                    </a:lnTo>
                    <a:lnTo>
                      <a:pt x="218" y="730"/>
                    </a:lnTo>
                    <a:lnTo>
                      <a:pt x="220" y="730"/>
                    </a:lnTo>
                    <a:lnTo>
                      <a:pt x="222" y="730"/>
                    </a:lnTo>
                    <a:lnTo>
                      <a:pt x="232" y="732"/>
                    </a:lnTo>
                    <a:lnTo>
                      <a:pt x="232" y="730"/>
                    </a:lnTo>
                    <a:lnTo>
                      <a:pt x="229" y="730"/>
                    </a:lnTo>
                    <a:lnTo>
                      <a:pt x="227" y="730"/>
                    </a:lnTo>
                    <a:lnTo>
                      <a:pt x="222" y="730"/>
                    </a:lnTo>
                    <a:lnTo>
                      <a:pt x="218" y="727"/>
                    </a:lnTo>
                    <a:lnTo>
                      <a:pt x="213" y="727"/>
                    </a:lnTo>
                    <a:lnTo>
                      <a:pt x="208" y="727"/>
                    </a:lnTo>
                    <a:lnTo>
                      <a:pt x="203" y="725"/>
                    </a:lnTo>
                    <a:lnTo>
                      <a:pt x="196" y="725"/>
                    </a:lnTo>
                    <a:lnTo>
                      <a:pt x="189" y="725"/>
                    </a:lnTo>
                    <a:lnTo>
                      <a:pt x="182" y="725"/>
                    </a:lnTo>
                    <a:lnTo>
                      <a:pt x="177" y="725"/>
                    </a:lnTo>
                    <a:lnTo>
                      <a:pt x="173" y="725"/>
                    </a:lnTo>
                    <a:lnTo>
                      <a:pt x="173" y="725"/>
                    </a:lnTo>
                    <a:lnTo>
                      <a:pt x="170" y="723"/>
                    </a:lnTo>
                    <a:lnTo>
                      <a:pt x="170" y="720"/>
                    </a:lnTo>
                    <a:lnTo>
                      <a:pt x="168" y="720"/>
                    </a:lnTo>
                    <a:lnTo>
                      <a:pt x="166" y="718"/>
                    </a:lnTo>
                    <a:lnTo>
                      <a:pt x="163" y="718"/>
                    </a:lnTo>
                    <a:lnTo>
                      <a:pt x="161" y="715"/>
                    </a:lnTo>
                    <a:lnTo>
                      <a:pt x="161" y="713"/>
                    </a:lnTo>
                    <a:lnTo>
                      <a:pt x="161" y="711"/>
                    </a:lnTo>
                    <a:lnTo>
                      <a:pt x="159" y="708"/>
                    </a:lnTo>
                    <a:lnTo>
                      <a:pt x="159" y="708"/>
                    </a:lnTo>
                    <a:lnTo>
                      <a:pt x="156" y="706"/>
                    </a:lnTo>
                    <a:lnTo>
                      <a:pt x="156" y="706"/>
                    </a:lnTo>
                    <a:lnTo>
                      <a:pt x="159" y="706"/>
                    </a:lnTo>
                    <a:lnTo>
                      <a:pt x="156" y="704"/>
                    </a:lnTo>
                    <a:lnTo>
                      <a:pt x="156" y="701"/>
                    </a:lnTo>
                    <a:lnTo>
                      <a:pt x="154" y="699"/>
                    </a:lnTo>
                    <a:lnTo>
                      <a:pt x="151" y="697"/>
                    </a:lnTo>
                    <a:lnTo>
                      <a:pt x="151" y="697"/>
                    </a:lnTo>
                    <a:lnTo>
                      <a:pt x="149" y="697"/>
                    </a:lnTo>
                    <a:lnTo>
                      <a:pt x="149" y="697"/>
                    </a:lnTo>
                    <a:lnTo>
                      <a:pt x="147" y="697"/>
                    </a:lnTo>
                    <a:lnTo>
                      <a:pt x="144" y="697"/>
                    </a:lnTo>
                    <a:lnTo>
                      <a:pt x="144" y="699"/>
                    </a:lnTo>
                    <a:lnTo>
                      <a:pt x="142" y="699"/>
                    </a:lnTo>
                    <a:lnTo>
                      <a:pt x="142" y="699"/>
                    </a:lnTo>
                    <a:lnTo>
                      <a:pt x="140" y="699"/>
                    </a:lnTo>
                    <a:lnTo>
                      <a:pt x="140" y="697"/>
                    </a:lnTo>
                    <a:lnTo>
                      <a:pt x="137" y="697"/>
                    </a:lnTo>
                    <a:lnTo>
                      <a:pt x="137" y="694"/>
                    </a:lnTo>
                    <a:lnTo>
                      <a:pt x="135" y="692"/>
                    </a:lnTo>
                    <a:lnTo>
                      <a:pt x="133" y="689"/>
                    </a:lnTo>
                    <a:lnTo>
                      <a:pt x="130" y="687"/>
                    </a:lnTo>
                    <a:lnTo>
                      <a:pt x="128" y="685"/>
                    </a:lnTo>
                    <a:lnTo>
                      <a:pt x="128" y="682"/>
                    </a:lnTo>
                    <a:lnTo>
                      <a:pt x="128" y="680"/>
                    </a:lnTo>
                    <a:lnTo>
                      <a:pt x="125" y="678"/>
                    </a:lnTo>
                    <a:lnTo>
                      <a:pt x="123" y="675"/>
                    </a:lnTo>
                    <a:lnTo>
                      <a:pt x="123" y="673"/>
                    </a:lnTo>
                    <a:lnTo>
                      <a:pt x="123" y="670"/>
                    </a:lnTo>
                    <a:lnTo>
                      <a:pt x="123" y="670"/>
                    </a:lnTo>
                    <a:lnTo>
                      <a:pt x="128" y="670"/>
                    </a:lnTo>
                    <a:lnTo>
                      <a:pt x="125" y="668"/>
                    </a:lnTo>
                    <a:lnTo>
                      <a:pt x="125" y="666"/>
                    </a:lnTo>
                    <a:lnTo>
                      <a:pt x="125" y="663"/>
                    </a:lnTo>
                    <a:lnTo>
                      <a:pt x="128" y="663"/>
                    </a:lnTo>
                    <a:lnTo>
                      <a:pt x="128" y="663"/>
                    </a:lnTo>
                    <a:lnTo>
                      <a:pt x="130" y="661"/>
                    </a:lnTo>
                    <a:lnTo>
                      <a:pt x="130" y="661"/>
                    </a:lnTo>
                    <a:lnTo>
                      <a:pt x="130" y="659"/>
                    </a:lnTo>
                    <a:lnTo>
                      <a:pt x="130" y="659"/>
                    </a:lnTo>
                    <a:lnTo>
                      <a:pt x="130" y="656"/>
                    </a:lnTo>
                    <a:lnTo>
                      <a:pt x="128" y="654"/>
                    </a:lnTo>
                    <a:lnTo>
                      <a:pt x="128" y="652"/>
                    </a:lnTo>
                    <a:lnTo>
                      <a:pt x="130" y="652"/>
                    </a:lnTo>
                    <a:lnTo>
                      <a:pt x="133" y="649"/>
                    </a:lnTo>
                    <a:lnTo>
                      <a:pt x="133" y="647"/>
                    </a:lnTo>
                    <a:lnTo>
                      <a:pt x="130" y="644"/>
                    </a:lnTo>
                    <a:lnTo>
                      <a:pt x="128" y="642"/>
                    </a:lnTo>
                    <a:lnTo>
                      <a:pt x="125" y="642"/>
                    </a:lnTo>
                    <a:lnTo>
                      <a:pt x="125" y="640"/>
                    </a:lnTo>
                    <a:lnTo>
                      <a:pt x="125" y="637"/>
                    </a:lnTo>
                    <a:lnTo>
                      <a:pt x="125" y="637"/>
                    </a:lnTo>
                    <a:lnTo>
                      <a:pt x="125" y="635"/>
                    </a:lnTo>
                    <a:lnTo>
                      <a:pt x="123" y="633"/>
                    </a:lnTo>
                    <a:lnTo>
                      <a:pt x="125" y="630"/>
                    </a:lnTo>
                    <a:lnTo>
                      <a:pt x="128" y="630"/>
                    </a:lnTo>
                    <a:lnTo>
                      <a:pt x="128" y="628"/>
                    </a:lnTo>
                    <a:lnTo>
                      <a:pt x="128" y="625"/>
                    </a:lnTo>
                    <a:lnTo>
                      <a:pt x="128" y="625"/>
                    </a:lnTo>
                    <a:lnTo>
                      <a:pt x="128" y="625"/>
                    </a:lnTo>
                    <a:lnTo>
                      <a:pt x="128" y="623"/>
                    </a:lnTo>
                    <a:lnTo>
                      <a:pt x="125" y="623"/>
                    </a:lnTo>
                    <a:lnTo>
                      <a:pt x="125" y="621"/>
                    </a:lnTo>
                    <a:lnTo>
                      <a:pt x="125" y="618"/>
                    </a:lnTo>
                    <a:lnTo>
                      <a:pt x="125" y="618"/>
                    </a:lnTo>
                    <a:lnTo>
                      <a:pt x="128" y="616"/>
                    </a:lnTo>
                    <a:lnTo>
                      <a:pt x="128" y="616"/>
                    </a:lnTo>
                    <a:lnTo>
                      <a:pt x="128" y="614"/>
                    </a:lnTo>
                    <a:lnTo>
                      <a:pt x="125" y="611"/>
                    </a:lnTo>
                    <a:lnTo>
                      <a:pt x="123" y="609"/>
                    </a:lnTo>
                    <a:lnTo>
                      <a:pt x="123" y="607"/>
                    </a:lnTo>
                    <a:lnTo>
                      <a:pt x="121" y="607"/>
                    </a:lnTo>
                    <a:lnTo>
                      <a:pt x="121" y="604"/>
                    </a:lnTo>
                    <a:lnTo>
                      <a:pt x="121" y="604"/>
                    </a:lnTo>
                    <a:lnTo>
                      <a:pt x="123" y="602"/>
                    </a:lnTo>
                    <a:lnTo>
                      <a:pt x="123" y="599"/>
                    </a:lnTo>
                    <a:lnTo>
                      <a:pt x="121" y="599"/>
                    </a:lnTo>
                    <a:lnTo>
                      <a:pt x="121" y="597"/>
                    </a:lnTo>
                    <a:lnTo>
                      <a:pt x="118" y="595"/>
                    </a:lnTo>
                    <a:lnTo>
                      <a:pt x="118" y="592"/>
                    </a:lnTo>
                    <a:lnTo>
                      <a:pt x="118" y="592"/>
                    </a:lnTo>
                    <a:lnTo>
                      <a:pt x="121" y="592"/>
                    </a:lnTo>
                    <a:lnTo>
                      <a:pt x="121" y="590"/>
                    </a:lnTo>
                    <a:lnTo>
                      <a:pt x="123" y="588"/>
                    </a:lnTo>
                    <a:lnTo>
                      <a:pt x="121" y="585"/>
                    </a:lnTo>
                    <a:lnTo>
                      <a:pt x="118" y="585"/>
                    </a:lnTo>
                    <a:lnTo>
                      <a:pt x="116" y="583"/>
                    </a:lnTo>
                    <a:lnTo>
                      <a:pt x="116" y="578"/>
                    </a:lnTo>
                    <a:lnTo>
                      <a:pt x="111" y="578"/>
                    </a:lnTo>
                    <a:lnTo>
                      <a:pt x="106" y="578"/>
                    </a:lnTo>
                    <a:lnTo>
                      <a:pt x="106" y="576"/>
                    </a:lnTo>
                    <a:lnTo>
                      <a:pt x="106" y="573"/>
                    </a:lnTo>
                    <a:lnTo>
                      <a:pt x="106" y="576"/>
                    </a:lnTo>
                    <a:lnTo>
                      <a:pt x="111" y="573"/>
                    </a:lnTo>
                    <a:lnTo>
                      <a:pt x="114" y="573"/>
                    </a:lnTo>
                    <a:lnTo>
                      <a:pt x="114" y="573"/>
                    </a:lnTo>
                    <a:lnTo>
                      <a:pt x="116" y="573"/>
                    </a:lnTo>
                    <a:lnTo>
                      <a:pt x="118" y="576"/>
                    </a:lnTo>
                    <a:lnTo>
                      <a:pt x="118" y="573"/>
                    </a:lnTo>
                    <a:lnTo>
                      <a:pt x="118" y="571"/>
                    </a:lnTo>
                    <a:lnTo>
                      <a:pt x="118" y="571"/>
                    </a:lnTo>
                    <a:lnTo>
                      <a:pt x="118" y="569"/>
                    </a:lnTo>
                    <a:lnTo>
                      <a:pt x="118" y="569"/>
                    </a:lnTo>
                    <a:lnTo>
                      <a:pt x="116" y="566"/>
                    </a:lnTo>
                    <a:lnTo>
                      <a:pt x="106" y="566"/>
                    </a:lnTo>
                    <a:lnTo>
                      <a:pt x="106" y="566"/>
                    </a:lnTo>
                    <a:lnTo>
                      <a:pt x="104" y="564"/>
                    </a:lnTo>
                    <a:lnTo>
                      <a:pt x="104" y="562"/>
                    </a:lnTo>
                    <a:lnTo>
                      <a:pt x="104" y="562"/>
                    </a:lnTo>
                    <a:lnTo>
                      <a:pt x="104" y="559"/>
                    </a:lnTo>
                    <a:lnTo>
                      <a:pt x="104" y="559"/>
                    </a:lnTo>
                    <a:lnTo>
                      <a:pt x="104" y="557"/>
                    </a:lnTo>
                    <a:lnTo>
                      <a:pt x="104" y="557"/>
                    </a:lnTo>
                    <a:lnTo>
                      <a:pt x="102" y="554"/>
                    </a:lnTo>
                    <a:lnTo>
                      <a:pt x="102" y="552"/>
                    </a:lnTo>
                    <a:lnTo>
                      <a:pt x="102" y="552"/>
                    </a:lnTo>
                    <a:lnTo>
                      <a:pt x="102" y="550"/>
                    </a:lnTo>
                    <a:lnTo>
                      <a:pt x="99" y="550"/>
                    </a:lnTo>
                    <a:lnTo>
                      <a:pt x="97" y="547"/>
                    </a:lnTo>
                    <a:lnTo>
                      <a:pt x="97" y="545"/>
                    </a:lnTo>
                    <a:lnTo>
                      <a:pt x="97" y="545"/>
                    </a:lnTo>
                    <a:lnTo>
                      <a:pt x="99" y="545"/>
                    </a:lnTo>
                    <a:lnTo>
                      <a:pt x="99" y="543"/>
                    </a:lnTo>
                    <a:lnTo>
                      <a:pt x="97" y="543"/>
                    </a:lnTo>
                    <a:lnTo>
                      <a:pt x="95" y="540"/>
                    </a:lnTo>
                    <a:lnTo>
                      <a:pt x="92" y="540"/>
                    </a:lnTo>
                    <a:lnTo>
                      <a:pt x="90" y="540"/>
                    </a:lnTo>
                    <a:lnTo>
                      <a:pt x="90" y="538"/>
                    </a:lnTo>
                    <a:lnTo>
                      <a:pt x="88" y="533"/>
                    </a:lnTo>
                    <a:lnTo>
                      <a:pt x="88" y="531"/>
                    </a:lnTo>
                    <a:lnTo>
                      <a:pt x="88" y="531"/>
                    </a:lnTo>
                    <a:lnTo>
                      <a:pt x="88" y="528"/>
                    </a:lnTo>
                    <a:lnTo>
                      <a:pt x="88" y="528"/>
                    </a:lnTo>
                    <a:lnTo>
                      <a:pt x="85" y="526"/>
                    </a:lnTo>
                    <a:lnTo>
                      <a:pt x="85" y="524"/>
                    </a:lnTo>
                    <a:lnTo>
                      <a:pt x="85" y="524"/>
                    </a:lnTo>
                    <a:lnTo>
                      <a:pt x="85" y="521"/>
                    </a:lnTo>
                    <a:lnTo>
                      <a:pt x="85" y="521"/>
                    </a:lnTo>
                    <a:lnTo>
                      <a:pt x="85" y="521"/>
                    </a:lnTo>
                    <a:lnTo>
                      <a:pt x="88" y="521"/>
                    </a:lnTo>
                    <a:lnTo>
                      <a:pt x="88" y="521"/>
                    </a:lnTo>
                    <a:lnTo>
                      <a:pt x="90" y="519"/>
                    </a:lnTo>
                    <a:lnTo>
                      <a:pt x="90" y="519"/>
                    </a:lnTo>
                    <a:lnTo>
                      <a:pt x="88" y="517"/>
                    </a:lnTo>
                    <a:lnTo>
                      <a:pt x="85" y="514"/>
                    </a:lnTo>
                    <a:lnTo>
                      <a:pt x="83" y="509"/>
                    </a:lnTo>
                    <a:lnTo>
                      <a:pt x="83" y="509"/>
                    </a:lnTo>
                    <a:lnTo>
                      <a:pt x="83" y="509"/>
                    </a:lnTo>
                    <a:lnTo>
                      <a:pt x="80" y="505"/>
                    </a:lnTo>
                    <a:lnTo>
                      <a:pt x="80" y="502"/>
                    </a:lnTo>
                    <a:lnTo>
                      <a:pt x="78" y="498"/>
                    </a:lnTo>
                    <a:lnTo>
                      <a:pt x="78" y="495"/>
                    </a:lnTo>
                    <a:lnTo>
                      <a:pt x="76" y="493"/>
                    </a:lnTo>
                    <a:lnTo>
                      <a:pt x="76" y="491"/>
                    </a:lnTo>
                    <a:lnTo>
                      <a:pt x="76" y="488"/>
                    </a:lnTo>
                    <a:lnTo>
                      <a:pt x="76" y="488"/>
                    </a:lnTo>
                    <a:lnTo>
                      <a:pt x="76" y="486"/>
                    </a:lnTo>
                    <a:lnTo>
                      <a:pt x="76" y="486"/>
                    </a:lnTo>
                    <a:lnTo>
                      <a:pt x="78" y="483"/>
                    </a:lnTo>
                    <a:lnTo>
                      <a:pt x="78" y="483"/>
                    </a:lnTo>
                    <a:lnTo>
                      <a:pt x="76" y="483"/>
                    </a:lnTo>
                    <a:lnTo>
                      <a:pt x="73" y="481"/>
                    </a:lnTo>
                    <a:lnTo>
                      <a:pt x="73" y="481"/>
                    </a:lnTo>
                    <a:lnTo>
                      <a:pt x="73" y="479"/>
                    </a:lnTo>
                    <a:lnTo>
                      <a:pt x="73" y="479"/>
                    </a:lnTo>
                    <a:lnTo>
                      <a:pt x="76" y="479"/>
                    </a:lnTo>
                    <a:lnTo>
                      <a:pt x="76" y="476"/>
                    </a:lnTo>
                    <a:lnTo>
                      <a:pt x="76" y="476"/>
                    </a:lnTo>
                    <a:lnTo>
                      <a:pt x="76" y="476"/>
                    </a:lnTo>
                    <a:lnTo>
                      <a:pt x="73" y="474"/>
                    </a:lnTo>
                    <a:lnTo>
                      <a:pt x="73" y="472"/>
                    </a:lnTo>
                    <a:lnTo>
                      <a:pt x="71" y="469"/>
                    </a:lnTo>
                    <a:lnTo>
                      <a:pt x="71" y="469"/>
                    </a:lnTo>
                    <a:lnTo>
                      <a:pt x="73" y="469"/>
                    </a:lnTo>
                    <a:lnTo>
                      <a:pt x="73" y="469"/>
                    </a:lnTo>
                    <a:lnTo>
                      <a:pt x="73" y="469"/>
                    </a:lnTo>
                    <a:lnTo>
                      <a:pt x="73" y="469"/>
                    </a:lnTo>
                    <a:lnTo>
                      <a:pt x="73" y="467"/>
                    </a:lnTo>
                    <a:lnTo>
                      <a:pt x="73" y="467"/>
                    </a:lnTo>
                    <a:lnTo>
                      <a:pt x="73" y="464"/>
                    </a:lnTo>
                    <a:lnTo>
                      <a:pt x="73" y="462"/>
                    </a:lnTo>
                    <a:lnTo>
                      <a:pt x="73" y="462"/>
                    </a:lnTo>
                    <a:lnTo>
                      <a:pt x="71" y="457"/>
                    </a:lnTo>
                    <a:lnTo>
                      <a:pt x="71" y="455"/>
                    </a:lnTo>
                    <a:lnTo>
                      <a:pt x="73" y="455"/>
                    </a:lnTo>
                    <a:lnTo>
                      <a:pt x="73" y="453"/>
                    </a:lnTo>
                    <a:lnTo>
                      <a:pt x="76" y="453"/>
                    </a:lnTo>
                    <a:lnTo>
                      <a:pt x="76" y="453"/>
                    </a:lnTo>
                    <a:lnTo>
                      <a:pt x="78" y="450"/>
                    </a:lnTo>
                    <a:lnTo>
                      <a:pt x="78" y="450"/>
                    </a:lnTo>
                    <a:lnTo>
                      <a:pt x="78" y="448"/>
                    </a:lnTo>
                    <a:lnTo>
                      <a:pt x="78" y="448"/>
                    </a:lnTo>
                    <a:lnTo>
                      <a:pt x="78" y="446"/>
                    </a:lnTo>
                    <a:lnTo>
                      <a:pt x="76" y="446"/>
                    </a:lnTo>
                    <a:lnTo>
                      <a:pt x="76" y="443"/>
                    </a:lnTo>
                    <a:lnTo>
                      <a:pt x="73" y="441"/>
                    </a:lnTo>
                    <a:lnTo>
                      <a:pt x="73" y="436"/>
                    </a:lnTo>
                    <a:lnTo>
                      <a:pt x="71" y="434"/>
                    </a:lnTo>
                    <a:lnTo>
                      <a:pt x="69" y="431"/>
                    </a:lnTo>
                    <a:lnTo>
                      <a:pt x="66" y="427"/>
                    </a:lnTo>
                    <a:lnTo>
                      <a:pt x="66" y="427"/>
                    </a:lnTo>
                    <a:lnTo>
                      <a:pt x="66" y="424"/>
                    </a:lnTo>
                    <a:lnTo>
                      <a:pt x="66" y="422"/>
                    </a:lnTo>
                    <a:lnTo>
                      <a:pt x="64" y="419"/>
                    </a:lnTo>
                    <a:lnTo>
                      <a:pt x="64" y="419"/>
                    </a:lnTo>
                    <a:lnTo>
                      <a:pt x="64" y="417"/>
                    </a:lnTo>
                    <a:lnTo>
                      <a:pt x="64" y="415"/>
                    </a:lnTo>
                    <a:lnTo>
                      <a:pt x="64" y="412"/>
                    </a:lnTo>
                    <a:lnTo>
                      <a:pt x="62" y="410"/>
                    </a:lnTo>
                    <a:lnTo>
                      <a:pt x="62" y="410"/>
                    </a:lnTo>
                    <a:lnTo>
                      <a:pt x="62" y="408"/>
                    </a:lnTo>
                    <a:lnTo>
                      <a:pt x="64" y="405"/>
                    </a:lnTo>
                    <a:lnTo>
                      <a:pt x="62" y="405"/>
                    </a:lnTo>
                    <a:lnTo>
                      <a:pt x="62" y="403"/>
                    </a:lnTo>
                    <a:lnTo>
                      <a:pt x="64" y="403"/>
                    </a:lnTo>
                    <a:lnTo>
                      <a:pt x="64" y="401"/>
                    </a:lnTo>
                    <a:lnTo>
                      <a:pt x="66" y="401"/>
                    </a:lnTo>
                    <a:lnTo>
                      <a:pt x="66" y="401"/>
                    </a:lnTo>
                    <a:lnTo>
                      <a:pt x="66" y="401"/>
                    </a:lnTo>
                    <a:lnTo>
                      <a:pt x="66" y="401"/>
                    </a:lnTo>
                    <a:lnTo>
                      <a:pt x="66" y="398"/>
                    </a:lnTo>
                    <a:lnTo>
                      <a:pt x="69" y="398"/>
                    </a:lnTo>
                    <a:lnTo>
                      <a:pt x="69" y="396"/>
                    </a:lnTo>
                    <a:lnTo>
                      <a:pt x="71" y="396"/>
                    </a:lnTo>
                    <a:lnTo>
                      <a:pt x="71" y="393"/>
                    </a:lnTo>
                    <a:lnTo>
                      <a:pt x="71" y="391"/>
                    </a:lnTo>
                    <a:lnTo>
                      <a:pt x="69" y="389"/>
                    </a:lnTo>
                    <a:lnTo>
                      <a:pt x="69" y="389"/>
                    </a:lnTo>
                    <a:lnTo>
                      <a:pt x="69" y="384"/>
                    </a:lnTo>
                    <a:lnTo>
                      <a:pt x="69" y="382"/>
                    </a:lnTo>
                    <a:lnTo>
                      <a:pt x="66" y="382"/>
                    </a:lnTo>
                    <a:lnTo>
                      <a:pt x="66" y="379"/>
                    </a:lnTo>
                    <a:lnTo>
                      <a:pt x="66" y="377"/>
                    </a:lnTo>
                    <a:lnTo>
                      <a:pt x="64" y="377"/>
                    </a:lnTo>
                    <a:lnTo>
                      <a:pt x="64" y="377"/>
                    </a:lnTo>
                    <a:lnTo>
                      <a:pt x="64" y="375"/>
                    </a:lnTo>
                    <a:lnTo>
                      <a:pt x="64" y="375"/>
                    </a:lnTo>
                    <a:lnTo>
                      <a:pt x="66" y="375"/>
                    </a:lnTo>
                    <a:lnTo>
                      <a:pt x="66" y="370"/>
                    </a:lnTo>
                    <a:lnTo>
                      <a:pt x="66" y="367"/>
                    </a:lnTo>
                    <a:lnTo>
                      <a:pt x="66" y="365"/>
                    </a:lnTo>
                    <a:lnTo>
                      <a:pt x="66" y="365"/>
                    </a:lnTo>
                    <a:lnTo>
                      <a:pt x="66" y="365"/>
                    </a:lnTo>
                    <a:lnTo>
                      <a:pt x="66" y="363"/>
                    </a:lnTo>
                    <a:lnTo>
                      <a:pt x="66" y="360"/>
                    </a:lnTo>
                    <a:lnTo>
                      <a:pt x="66" y="358"/>
                    </a:lnTo>
                    <a:lnTo>
                      <a:pt x="66" y="358"/>
                    </a:lnTo>
                    <a:lnTo>
                      <a:pt x="66" y="356"/>
                    </a:lnTo>
                    <a:lnTo>
                      <a:pt x="69" y="356"/>
                    </a:lnTo>
                    <a:lnTo>
                      <a:pt x="69" y="356"/>
                    </a:lnTo>
                    <a:lnTo>
                      <a:pt x="69" y="356"/>
                    </a:lnTo>
                    <a:lnTo>
                      <a:pt x="71" y="356"/>
                    </a:lnTo>
                    <a:lnTo>
                      <a:pt x="69" y="353"/>
                    </a:lnTo>
                    <a:lnTo>
                      <a:pt x="69" y="351"/>
                    </a:lnTo>
                    <a:lnTo>
                      <a:pt x="69" y="348"/>
                    </a:lnTo>
                    <a:lnTo>
                      <a:pt x="66" y="344"/>
                    </a:lnTo>
                    <a:lnTo>
                      <a:pt x="66" y="341"/>
                    </a:lnTo>
                    <a:lnTo>
                      <a:pt x="66" y="339"/>
                    </a:lnTo>
                    <a:lnTo>
                      <a:pt x="66" y="337"/>
                    </a:lnTo>
                    <a:lnTo>
                      <a:pt x="66" y="337"/>
                    </a:lnTo>
                    <a:lnTo>
                      <a:pt x="66" y="334"/>
                    </a:lnTo>
                    <a:lnTo>
                      <a:pt x="64" y="334"/>
                    </a:lnTo>
                    <a:lnTo>
                      <a:pt x="62" y="334"/>
                    </a:lnTo>
                    <a:lnTo>
                      <a:pt x="62" y="334"/>
                    </a:lnTo>
                    <a:lnTo>
                      <a:pt x="59" y="332"/>
                    </a:lnTo>
                    <a:lnTo>
                      <a:pt x="59" y="332"/>
                    </a:lnTo>
                    <a:lnTo>
                      <a:pt x="59" y="330"/>
                    </a:lnTo>
                    <a:lnTo>
                      <a:pt x="59" y="327"/>
                    </a:lnTo>
                    <a:lnTo>
                      <a:pt x="59" y="327"/>
                    </a:lnTo>
                    <a:lnTo>
                      <a:pt x="59" y="325"/>
                    </a:lnTo>
                    <a:lnTo>
                      <a:pt x="57" y="325"/>
                    </a:lnTo>
                    <a:lnTo>
                      <a:pt x="54" y="320"/>
                    </a:lnTo>
                    <a:lnTo>
                      <a:pt x="54" y="318"/>
                    </a:lnTo>
                    <a:lnTo>
                      <a:pt x="54" y="315"/>
                    </a:lnTo>
                    <a:lnTo>
                      <a:pt x="52" y="313"/>
                    </a:lnTo>
                    <a:lnTo>
                      <a:pt x="52" y="313"/>
                    </a:lnTo>
                    <a:lnTo>
                      <a:pt x="50" y="311"/>
                    </a:lnTo>
                    <a:lnTo>
                      <a:pt x="50" y="308"/>
                    </a:lnTo>
                    <a:lnTo>
                      <a:pt x="50" y="308"/>
                    </a:lnTo>
                    <a:lnTo>
                      <a:pt x="50" y="308"/>
                    </a:lnTo>
                    <a:lnTo>
                      <a:pt x="50" y="306"/>
                    </a:lnTo>
                    <a:lnTo>
                      <a:pt x="50" y="306"/>
                    </a:lnTo>
                    <a:lnTo>
                      <a:pt x="50" y="306"/>
                    </a:lnTo>
                    <a:lnTo>
                      <a:pt x="47" y="306"/>
                    </a:lnTo>
                    <a:lnTo>
                      <a:pt x="47" y="303"/>
                    </a:lnTo>
                    <a:lnTo>
                      <a:pt x="45" y="301"/>
                    </a:lnTo>
                    <a:lnTo>
                      <a:pt x="43" y="299"/>
                    </a:lnTo>
                    <a:lnTo>
                      <a:pt x="43" y="296"/>
                    </a:lnTo>
                    <a:lnTo>
                      <a:pt x="43" y="294"/>
                    </a:lnTo>
                    <a:lnTo>
                      <a:pt x="43" y="292"/>
                    </a:lnTo>
                    <a:lnTo>
                      <a:pt x="43" y="289"/>
                    </a:lnTo>
                    <a:lnTo>
                      <a:pt x="43" y="289"/>
                    </a:lnTo>
                    <a:lnTo>
                      <a:pt x="43" y="289"/>
                    </a:lnTo>
                    <a:lnTo>
                      <a:pt x="45" y="289"/>
                    </a:lnTo>
                    <a:lnTo>
                      <a:pt x="45" y="287"/>
                    </a:lnTo>
                    <a:lnTo>
                      <a:pt x="45" y="287"/>
                    </a:lnTo>
                    <a:lnTo>
                      <a:pt x="45" y="287"/>
                    </a:lnTo>
                    <a:lnTo>
                      <a:pt x="45" y="285"/>
                    </a:lnTo>
                    <a:lnTo>
                      <a:pt x="43" y="285"/>
                    </a:lnTo>
                    <a:lnTo>
                      <a:pt x="45" y="282"/>
                    </a:lnTo>
                    <a:lnTo>
                      <a:pt x="45" y="280"/>
                    </a:lnTo>
                    <a:lnTo>
                      <a:pt x="45" y="275"/>
                    </a:lnTo>
                    <a:lnTo>
                      <a:pt x="45" y="275"/>
                    </a:lnTo>
                    <a:lnTo>
                      <a:pt x="45" y="273"/>
                    </a:lnTo>
                    <a:lnTo>
                      <a:pt x="45" y="273"/>
                    </a:lnTo>
                    <a:lnTo>
                      <a:pt x="45" y="273"/>
                    </a:lnTo>
                    <a:lnTo>
                      <a:pt x="47" y="273"/>
                    </a:lnTo>
                    <a:lnTo>
                      <a:pt x="50" y="270"/>
                    </a:lnTo>
                    <a:lnTo>
                      <a:pt x="50" y="270"/>
                    </a:lnTo>
                    <a:lnTo>
                      <a:pt x="50" y="268"/>
                    </a:lnTo>
                    <a:lnTo>
                      <a:pt x="50" y="268"/>
                    </a:lnTo>
                    <a:lnTo>
                      <a:pt x="47" y="268"/>
                    </a:lnTo>
                    <a:lnTo>
                      <a:pt x="47" y="268"/>
                    </a:lnTo>
                    <a:lnTo>
                      <a:pt x="47" y="266"/>
                    </a:lnTo>
                    <a:lnTo>
                      <a:pt x="47" y="263"/>
                    </a:lnTo>
                    <a:lnTo>
                      <a:pt x="45" y="261"/>
                    </a:lnTo>
                    <a:lnTo>
                      <a:pt x="45" y="256"/>
                    </a:lnTo>
                    <a:lnTo>
                      <a:pt x="43" y="251"/>
                    </a:lnTo>
                    <a:lnTo>
                      <a:pt x="43" y="249"/>
                    </a:lnTo>
                    <a:lnTo>
                      <a:pt x="43" y="247"/>
                    </a:lnTo>
                    <a:lnTo>
                      <a:pt x="45" y="247"/>
                    </a:lnTo>
                    <a:lnTo>
                      <a:pt x="45" y="244"/>
                    </a:lnTo>
                    <a:lnTo>
                      <a:pt x="45" y="240"/>
                    </a:lnTo>
                    <a:lnTo>
                      <a:pt x="45" y="237"/>
                    </a:lnTo>
                    <a:lnTo>
                      <a:pt x="45" y="235"/>
                    </a:lnTo>
                    <a:lnTo>
                      <a:pt x="45" y="232"/>
                    </a:lnTo>
                    <a:lnTo>
                      <a:pt x="47" y="230"/>
                    </a:lnTo>
                    <a:lnTo>
                      <a:pt x="47" y="228"/>
                    </a:lnTo>
                    <a:lnTo>
                      <a:pt x="47" y="228"/>
                    </a:lnTo>
                    <a:lnTo>
                      <a:pt x="47" y="228"/>
                    </a:lnTo>
                    <a:lnTo>
                      <a:pt x="50" y="225"/>
                    </a:lnTo>
                    <a:lnTo>
                      <a:pt x="50" y="223"/>
                    </a:lnTo>
                    <a:lnTo>
                      <a:pt x="52" y="221"/>
                    </a:lnTo>
                    <a:lnTo>
                      <a:pt x="52" y="221"/>
                    </a:lnTo>
                    <a:lnTo>
                      <a:pt x="52" y="218"/>
                    </a:lnTo>
                    <a:lnTo>
                      <a:pt x="52" y="213"/>
                    </a:lnTo>
                    <a:lnTo>
                      <a:pt x="52" y="211"/>
                    </a:lnTo>
                    <a:lnTo>
                      <a:pt x="54" y="211"/>
                    </a:lnTo>
                    <a:lnTo>
                      <a:pt x="54" y="206"/>
                    </a:lnTo>
                    <a:lnTo>
                      <a:pt x="54" y="204"/>
                    </a:lnTo>
                    <a:lnTo>
                      <a:pt x="57" y="204"/>
                    </a:lnTo>
                    <a:lnTo>
                      <a:pt x="57" y="204"/>
                    </a:lnTo>
                    <a:lnTo>
                      <a:pt x="57" y="204"/>
                    </a:lnTo>
                    <a:lnTo>
                      <a:pt x="59" y="204"/>
                    </a:lnTo>
                    <a:lnTo>
                      <a:pt x="59" y="204"/>
                    </a:lnTo>
                    <a:lnTo>
                      <a:pt x="62" y="204"/>
                    </a:lnTo>
                    <a:lnTo>
                      <a:pt x="64" y="202"/>
                    </a:lnTo>
                    <a:lnTo>
                      <a:pt x="64" y="202"/>
                    </a:lnTo>
                    <a:lnTo>
                      <a:pt x="64" y="199"/>
                    </a:lnTo>
                    <a:lnTo>
                      <a:pt x="62" y="197"/>
                    </a:lnTo>
                    <a:lnTo>
                      <a:pt x="59" y="195"/>
                    </a:lnTo>
                    <a:lnTo>
                      <a:pt x="57" y="192"/>
                    </a:lnTo>
                    <a:lnTo>
                      <a:pt x="57" y="190"/>
                    </a:lnTo>
                    <a:lnTo>
                      <a:pt x="57" y="190"/>
                    </a:lnTo>
                    <a:lnTo>
                      <a:pt x="57" y="187"/>
                    </a:lnTo>
                    <a:lnTo>
                      <a:pt x="57" y="187"/>
                    </a:lnTo>
                    <a:lnTo>
                      <a:pt x="59" y="185"/>
                    </a:lnTo>
                    <a:lnTo>
                      <a:pt x="59" y="183"/>
                    </a:lnTo>
                    <a:lnTo>
                      <a:pt x="54" y="176"/>
                    </a:lnTo>
                    <a:lnTo>
                      <a:pt x="54" y="173"/>
                    </a:lnTo>
                    <a:lnTo>
                      <a:pt x="52" y="171"/>
                    </a:lnTo>
                    <a:lnTo>
                      <a:pt x="52" y="169"/>
                    </a:lnTo>
                    <a:lnTo>
                      <a:pt x="52" y="164"/>
                    </a:lnTo>
                    <a:lnTo>
                      <a:pt x="54" y="164"/>
                    </a:lnTo>
                    <a:lnTo>
                      <a:pt x="54" y="164"/>
                    </a:lnTo>
                    <a:lnTo>
                      <a:pt x="54" y="161"/>
                    </a:lnTo>
                    <a:lnTo>
                      <a:pt x="54" y="161"/>
                    </a:lnTo>
                    <a:lnTo>
                      <a:pt x="54" y="161"/>
                    </a:lnTo>
                    <a:lnTo>
                      <a:pt x="54" y="159"/>
                    </a:lnTo>
                    <a:lnTo>
                      <a:pt x="54" y="159"/>
                    </a:lnTo>
                    <a:lnTo>
                      <a:pt x="52" y="157"/>
                    </a:lnTo>
                    <a:lnTo>
                      <a:pt x="52" y="157"/>
                    </a:lnTo>
                    <a:lnTo>
                      <a:pt x="52" y="154"/>
                    </a:lnTo>
                    <a:lnTo>
                      <a:pt x="52" y="152"/>
                    </a:lnTo>
                    <a:lnTo>
                      <a:pt x="52" y="152"/>
                    </a:lnTo>
                    <a:lnTo>
                      <a:pt x="52" y="150"/>
                    </a:lnTo>
                    <a:lnTo>
                      <a:pt x="54" y="150"/>
                    </a:lnTo>
                    <a:lnTo>
                      <a:pt x="54" y="147"/>
                    </a:lnTo>
                    <a:lnTo>
                      <a:pt x="57" y="147"/>
                    </a:lnTo>
                    <a:lnTo>
                      <a:pt x="59" y="145"/>
                    </a:lnTo>
                    <a:lnTo>
                      <a:pt x="62" y="142"/>
                    </a:lnTo>
                    <a:lnTo>
                      <a:pt x="66" y="140"/>
                    </a:lnTo>
                    <a:lnTo>
                      <a:pt x="71" y="140"/>
                    </a:lnTo>
                    <a:lnTo>
                      <a:pt x="71" y="138"/>
                    </a:lnTo>
                    <a:lnTo>
                      <a:pt x="71" y="138"/>
                    </a:lnTo>
                    <a:lnTo>
                      <a:pt x="73" y="131"/>
                    </a:lnTo>
                    <a:lnTo>
                      <a:pt x="73" y="124"/>
                    </a:lnTo>
                    <a:lnTo>
                      <a:pt x="73" y="116"/>
                    </a:lnTo>
                    <a:lnTo>
                      <a:pt x="71" y="114"/>
                    </a:lnTo>
                    <a:lnTo>
                      <a:pt x="69" y="114"/>
                    </a:lnTo>
                    <a:lnTo>
                      <a:pt x="64" y="114"/>
                    </a:lnTo>
                    <a:lnTo>
                      <a:pt x="62" y="114"/>
                    </a:lnTo>
                    <a:lnTo>
                      <a:pt x="59" y="114"/>
                    </a:lnTo>
                    <a:lnTo>
                      <a:pt x="59" y="114"/>
                    </a:lnTo>
                    <a:lnTo>
                      <a:pt x="59" y="114"/>
                    </a:lnTo>
                    <a:lnTo>
                      <a:pt x="57" y="112"/>
                    </a:lnTo>
                    <a:lnTo>
                      <a:pt x="57" y="112"/>
                    </a:lnTo>
                    <a:lnTo>
                      <a:pt x="57" y="109"/>
                    </a:lnTo>
                    <a:lnTo>
                      <a:pt x="57" y="107"/>
                    </a:lnTo>
                    <a:lnTo>
                      <a:pt x="54" y="102"/>
                    </a:lnTo>
                    <a:lnTo>
                      <a:pt x="54" y="102"/>
                    </a:lnTo>
                    <a:lnTo>
                      <a:pt x="54" y="100"/>
                    </a:lnTo>
                    <a:lnTo>
                      <a:pt x="54" y="97"/>
                    </a:lnTo>
                    <a:lnTo>
                      <a:pt x="52" y="95"/>
                    </a:lnTo>
                    <a:lnTo>
                      <a:pt x="52" y="93"/>
                    </a:lnTo>
                    <a:lnTo>
                      <a:pt x="52" y="90"/>
                    </a:lnTo>
                    <a:lnTo>
                      <a:pt x="50" y="88"/>
                    </a:lnTo>
                    <a:lnTo>
                      <a:pt x="50" y="86"/>
                    </a:lnTo>
                    <a:lnTo>
                      <a:pt x="47" y="81"/>
                    </a:lnTo>
                    <a:lnTo>
                      <a:pt x="45" y="79"/>
                    </a:lnTo>
                    <a:lnTo>
                      <a:pt x="43" y="74"/>
                    </a:lnTo>
                    <a:lnTo>
                      <a:pt x="40" y="74"/>
                    </a:lnTo>
                    <a:lnTo>
                      <a:pt x="40" y="74"/>
                    </a:lnTo>
                    <a:lnTo>
                      <a:pt x="40" y="71"/>
                    </a:lnTo>
                    <a:lnTo>
                      <a:pt x="40" y="69"/>
                    </a:lnTo>
                    <a:lnTo>
                      <a:pt x="40" y="69"/>
                    </a:lnTo>
                    <a:lnTo>
                      <a:pt x="40" y="67"/>
                    </a:lnTo>
                    <a:lnTo>
                      <a:pt x="40" y="67"/>
                    </a:lnTo>
                    <a:lnTo>
                      <a:pt x="40" y="67"/>
                    </a:lnTo>
                    <a:lnTo>
                      <a:pt x="38" y="64"/>
                    </a:lnTo>
                    <a:lnTo>
                      <a:pt x="36" y="64"/>
                    </a:lnTo>
                    <a:lnTo>
                      <a:pt x="36" y="62"/>
                    </a:lnTo>
                    <a:lnTo>
                      <a:pt x="36" y="62"/>
                    </a:lnTo>
                    <a:lnTo>
                      <a:pt x="36" y="62"/>
                    </a:lnTo>
                    <a:lnTo>
                      <a:pt x="38" y="60"/>
                    </a:lnTo>
                    <a:lnTo>
                      <a:pt x="36" y="60"/>
                    </a:lnTo>
                    <a:lnTo>
                      <a:pt x="36" y="57"/>
                    </a:lnTo>
                    <a:lnTo>
                      <a:pt x="36" y="57"/>
                    </a:lnTo>
                    <a:lnTo>
                      <a:pt x="36" y="55"/>
                    </a:lnTo>
                    <a:lnTo>
                      <a:pt x="36" y="55"/>
                    </a:lnTo>
                    <a:lnTo>
                      <a:pt x="38" y="55"/>
                    </a:lnTo>
                    <a:lnTo>
                      <a:pt x="38" y="52"/>
                    </a:lnTo>
                    <a:lnTo>
                      <a:pt x="38" y="52"/>
                    </a:lnTo>
                    <a:lnTo>
                      <a:pt x="38" y="50"/>
                    </a:lnTo>
                    <a:lnTo>
                      <a:pt x="36" y="48"/>
                    </a:lnTo>
                    <a:lnTo>
                      <a:pt x="36" y="48"/>
                    </a:lnTo>
                    <a:lnTo>
                      <a:pt x="38" y="45"/>
                    </a:lnTo>
                    <a:lnTo>
                      <a:pt x="38" y="43"/>
                    </a:lnTo>
                    <a:lnTo>
                      <a:pt x="38" y="43"/>
                    </a:lnTo>
                    <a:lnTo>
                      <a:pt x="38" y="41"/>
                    </a:lnTo>
                    <a:lnTo>
                      <a:pt x="38" y="41"/>
                    </a:lnTo>
                    <a:lnTo>
                      <a:pt x="38" y="41"/>
                    </a:lnTo>
                    <a:lnTo>
                      <a:pt x="36" y="38"/>
                    </a:lnTo>
                    <a:lnTo>
                      <a:pt x="36" y="38"/>
                    </a:lnTo>
                    <a:lnTo>
                      <a:pt x="33" y="36"/>
                    </a:lnTo>
                    <a:lnTo>
                      <a:pt x="31" y="36"/>
                    </a:lnTo>
                    <a:lnTo>
                      <a:pt x="28" y="34"/>
                    </a:lnTo>
                    <a:lnTo>
                      <a:pt x="28" y="31"/>
                    </a:lnTo>
                    <a:lnTo>
                      <a:pt x="28" y="31"/>
                    </a:lnTo>
                    <a:lnTo>
                      <a:pt x="28" y="29"/>
                    </a:lnTo>
                    <a:lnTo>
                      <a:pt x="26" y="26"/>
                    </a:lnTo>
                    <a:lnTo>
                      <a:pt x="26" y="24"/>
                    </a:lnTo>
                    <a:lnTo>
                      <a:pt x="26" y="22"/>
                    </a:lnTo>
                    <a:lnTo>
                      <a:pt x="24" y="19"/>
                    </a:lnTo>
                    <a:lnTo>
                      <a:pt x="24" y="17"/>
                    </a:lnTo>
                    <a:lnTo>
                      <a:pt x="24" y="17"/>
                    </a:lnTo>
                    <a:lnTo>
                      <a:pt x="24" y="15"/>
                    </a:lnTo>
                    <a:lnTo>
                      <a:pt x="24" y="15"/>
                    </a:lnTo>
                    <a:lnTo>
                      <a:pt x="24" y="12"/>
                    </a:lnTo>
                    <a:lnTo>
                      <a:pt x="24" y="12"/>
                    </a:lnTo>
                    <a:lnTo>
                      <a:pt x="21" y="10"/>
                    </a:lnTo>
                    <a:lnTo>
                      <a:pt x="19" y="10"/>
                    </a:lnTo>
                    <a:lnTo>
                      <a:pt x="19" y="7"/>
                    </a:lnTo>
                    <a:lnTo>
                      <a:pt x="17" y="3"/>
                    </a:lnTo>
                    <a:lnTo>
                      <a:pt x="14" y="0"/>
                    </a:lnTo>
                    <a:lnTo>
                      <a:pt x="14" y="3"/>
                    </a:lnTo>
                    <a:lnTo>
                      <a:pt x="12" y="5"/>
                    </a:lnTo>
                    <a:lnTo>
                      <a:pt x="10" y="5"/>
                    </a:lnTo>
                    <a:lnTo>
                      <a:pt x="10" y="5"/>
                    </a:lnTo>
                    <a:lnTo>
                      <a:pt x="10" y="7"/>
                    </a:lnTo>
                    <a:lnTo>
                      <a:pt x="10" y="10"/>
                    </a:lnTo>
                    <a:lnTo>
                      <a:pt x="12" y="12"/>
                    </a:lnTo>
                    <a:lnTo>
                      <a:pt x="10" y="15"/>
                    </a:lnTo>
                    <a:lnTo>
                      <a:pt x="10" y="17"/>
                    </a:lnTo>
                    <a:lnTo>
                      <a:pt x="7" y="17"/>
                    </a:lnTo>
                    <a:lnTo>
                      <a:pt x="5" y="19"/>
                    </a:lnTo>
                    <a:lnTo>
                      <a:pt x="2" y="19"/>
                    </a:lnTo>
                    <a:lnTo>
                      <a:pt x="0" y="19"/>
                    </a:lnTo>
                    <a:lnTo>
                      <a:pt x="0" y="19"/>
                    </a:lnTo>
                    <a:lnTo>
                      <a:pt x="2" y="19"/>
                    </a:lnTo>
                    <a:lnTo>
                      <a:pt x="2" y="24"/>
                    </a:lnTo>
                    <a:lnTo>
                      <a:pt x="2" y="29"/>
                    </a:lnTo>
                    <a:lnTo>
                      <a:pt x="5" y="38"/>
                    </a:lnTo>
                    <a:lnTo>
                      <a:pt x="7" y="43"/>
                    </a:lnTo>
                    <a:lnTo>
                      <a:pt x="7" y="45"/>
                    </a:lnTo>
                    <a:lnTo>
                      <a:pt x="10" y="48"/>
                    </a:lnTo>
                    <a:lnTo>
                      <a:pt x="10" y="50"/>
                    </a:lnTo>
                    <a:lnTo>
                      <a:pt x="10" y="60"/>
                    </a:lnTo>
                    <a:lnTo>
                      <a:pt x="10" y="64"/>
                    </a:lnTo>
                    <a:lnTo>
                      <a:pt x="10" y="69"/>
                    </a:lnTo>
                    <a:lnTo>
                      <a:pt x="14" y="81"/>
                    </a:lnTo>
                    <a:lnTo>
                      <a:pt x="14" y="83"/>
                    </a:lnTo>
                    <a:lnTo>
                      <a:pt x="14" y="86"/>
                    </a:lnTo>
                    <a:lnTo>
                      <a:pt x="14" y="88"/>
                    </a:lnTo>
                    <a:lnTo>
                      <a:pt x="14" y="93"/>
                    </a:lnTo>
                    <a:lnTo>
                      <a:pt x="14" y="95"/>
                    </a:lnTo>
                    <a:lnTo>
                      <a:pt x="14" y="100"/>
                    </a:lnTo>
                    <a:lnTo>
                      <a:pt x="14" y="107"/>
                    </a:lnTo>
                    <a:lnTo>
                      <a:pt x="14" y="114"/>
                    </a:lnTo>
                    <a:lnTo>
                      <a:pt x="12" y="116"/>
                    </a:lnTo>
                    <a:lnTo>
                      <a:pt x="12" y="119"/>
                    </a:lnTo>
                    <a:lnTo>
                      <a:pt x="10" y="119"/>
                    </a:lnTo>
                    <a:lnTo>
                      <a:pt x="10" y="121"/>
                    </a:lnTo>
                    <a:lnTo>
                      <a:pt x="10" y="124"/>
                    </a:lnTo>
                    <a:lnTo>
                      <a:pt x="10" y="126"/>
                    </a:lnTo>
                    <a:lnTo>
                      <a:pt x="12" y="128"/>
                    </a:lnTo>
                    <a:lnTo>
                      <a:pt x="14" y="128"/>
                    </a:lnTo>
                    <a:lnTo>
                      <a:pt x="14" y="128"/>
                    </a:lnTo>
                    <a:lnTo>
                      <a:pt x="14" y="131"/>
                    </a:lnTo>
                    <a:lnTo>
                      <a:pt x="14" y="133"/>
                    </a:lnTo>
                    <a:lnTo>
                      <a:pt x="14" y="135"/>
                    </a:lnTo>
                    <a:lnTo>
                      <a:pt x="14" y="138"/>
                    </a:lnTo>
                    <a:lnTo>
                      <a:pt x="14" y="140"/>
                    </a:lnTo>
                    <a:lnTo>
                      <a:pt x="14" y="145"/>
                    </a:lnTo>
                    <a:lnTo>
                      <a:pt x="14" y="152"/>
                    </a:lnTo>
                    <a:lnTo>
                      <a:pt x="14" y="154"/>
                    </a:lnTo>
                    <a:lnTo>
                      <a:pt x="19" y="164"/>
                    </a:lnTo>
                    <a:lnTo>
                      <a:pt x="19" y="164"/>
                    </a:lnTo>
                    <a:lnTo>
                      <a:pt x="19" y="169"/>
                    </a:lnTo>
                    <a:lnTo>
                      <a:pt x="17" y="171"/>
                    </a:lnTo>
                    <a:lnTo>
                      <a:pt x="17" y="171"/>
                    </a:lnTo>
                    <a:lnTo>
                      <a:pt x="17" y="176"/>
                    </a:lnTo>
                    <a:lnTo>
                      <a:pt x="17" y="178"/>
                    </a:lnTo>
                    <a:lnTo>
                      <a:pt x="19" y="180"/>
                    </a:lnTo>
                    <a:lnTo>
                      <a:pt x="19" y="185"/>
                    </a:lnTo>
                    <a:lnTo>
                      <a:pt x="19" y="187"/>
                    </a:lnTo>
                    <a:lnTo>
                      <a:pt x="19" y="190"/>
                    </a:lnTo>
                    <a:lnTo>
                      <a:pt x="19" y="195"/>
                    </a:lnTo>
                    <a:lnTo>
                      <a:pt x="19" y="199"/>
                    </a:lnTo>
                    <a:lnTo>
                      <a:pt x="19" y="202"/>
                    </a:lnTo>
                    <a:lnTo>
                      <a:pt x="17" y="206"/>
                    </a:lnTo>
                    <a:lnTo>
                      <a:pt x="17" y="209"/>
                    </a:lnTo>
                    <a:lnTo>
                      <a:pt x="19" y="213"/>
                    </a:lnTo>
                    <a:lnTo>
                      <a:pt x="19" y="213"/>
                    </a:lnTo>
                    <a:lnTo>
                      <a:pt x="19" y="216"/>
                    </a:lnTo>
                    <a:lnTo>
                      <a:pt x="17" y="218"/>
                    </a:lnTo>
                    <a:lnTo>
                      <a:pt x="17" y="218"/>
                    </a:lnTo>
                    <a:lnTo>
                      <a:pt x="17" y="225"/>
                    </a:lnTo>
                    <a:lnTo>
                      <a:pt x="17" y="230"/>
                    </a:lnTo>
                    <a:lnTo>
                      <a:pt x="17" y="235"/>
                    </a:lnTo>
                    <a:lnTo>
                      <a:pt x="17" y="237"/>
                    </a:lnTo>
                    <a:lnTo>
                      <a:pt x="14" y="240"/>
                    </a:lnTo>
                    <a:lnTo>
                      <a:pt x="14" y="242"/>
                    </a:lnTo>
                    <a:lnTo>
                      <a:pt x="14" y="242"/>
                    </a:lnTo>
                    <a:lnTo>
                      <a:pt x="14" y="249"/>
                    </a:lnTo>
                    <a:lnTo>
                      <a:pt x="19" y="251"/>
                    </a:lnTo>
                    <a:lnTo>
                      <a:pt x="19" y="254"/>
                    </a:lnTo>
                    <a:lnTo>
                      <a:pt x="21" y="258"/>
                    </a:lnTo>
                    <a:lnTo>
                      <a:pt x="21" y="263"/>
                    </a:lnTo>
                    <a:lnTo>
                      <a:pt x="21" y="268"/>
                    </a:lnTo>
                    <a:lnTo>
                      <a:pt x="17" y="273"/>
                    </a:lnTo>
                    <a:lnTo>
                      <a:pt x="19" y="277"/>
                    </a:lnTo>
                    <a:lnTo>
                      <a:pt x="19" y="282"/>
                    </a:lnTo>
                    <a:lnTo>
                      <a:pt x="21" y="287"/>
                    </a:lnTo>
                    <a:lnTo>
                      <a:pt x="21" y="289"/>
                    </a:lnTo>
                    <a:lnTo>
                      <a:pt x="24" y="296"/>
                    </a:lnTo>
                    <a:lnTo>
                      <a:pt x="26" y="303"/>
                    </a:lnTo>
                    <a:lnTo>
                      <a:pt x="28" y="313"/>
                    </a:lnTo>
                    <a:lnTo>
                      <a:pt x="33" y="315"/>
                    </a:lnTo>
                    <a:lnTo>
                      <a:pt x="33" y="318"/>
                    </a:lnTo>
                    <a:lnTo>
                      <a:pt x="33" y="322"/>
                    </a:lnTo>
                    <a:lnTo>
                      <a:pt x="33" y="327"/>
                    </a:lnTo>
                    <a:lnTo>
                      <a:pt x="31" y="330"/>
                    </a:lnTo>
                    <a:lnTo>
                      <a:pt x="31" y="330"/>
                    </a:lnTo>
                    <a:lnTo>
                      <a:pt x="33" y="334"/>
                    </a:lnTo>
                    <a:lnTo>
                      <a:pt x="33" y="337"/>
                    </a:lnTo>
                    <a:lnTo>
                      <a:pt x="36" y="339"/>
                    </a:lnTo>
                    <a:lnTo>
                      <a:pt x="36" y="341"/>
                    </a:lnTo>
                    <a:lnTo>
                      <a:pt x="33" y="346"/>
                    </a:lnTo>
                    <a:lnTo>
                      <a:pt x="33" y="348"/>
                    </a:lnTo>
                    <a:lnTo>
                      <a:pt x="33" y="351"/>
                    </a:lnTo>
                    <a:lnTo>
                      <a:pt x="31" y="353"/>
                    </a:lnTo>
                    <a:lnTo>
                      <a:pt x="33" y="356"/>
                    </a:lnTo>
                    <a:lnTo>
                      <a:pt x="33" y="358"/>
                    </a:lnTo>
                    <a:lnTo>
                      <a:pt x="33" y="363"/>
                    </a:lnTo>
                    <a:lnTo>
                      <a:pt x="33" y="370"/>
                    </a:lnTo>
                    <a:lnTo>
                      <a:pt x="33" y="372"/>
                    </a:lnTo>
                    <a:lnTo>
                      <a:pt x="31" y="377"/>
                    </a:lnTo>
                    <a:lnTo>
                      <a:pt x="31" y="379"/>
                    </a:lnTo>
                    <a:lnTo>
                      <a:pt x="31" y="382"/>
                    </a:lnTo>
                    <a:lnTo>
                      <a:pt x="31" y="382"/>
                    </a:lnTo>
                    <a:lnTo>
                      <a:pt x="28" y="384"/>
                    </a:lnTo>
                    <a:lnTo>
                      <a:pt x="31" y="386"/>
                    </a:lnTo>
                    <a:lnTo>
                      <a:pt x="31" y="389"/>
                    </a:lnTo>
                    <a:lnTo>
                      <a:pt x="28" y="391"/>
                    </a:lnTo>
                    <a:lnTo>
                      <a:pt x="31" y="401"/>
                    </a:lnTo>
                    <a:lnTo>
                      <a:pt x="28" y="403"/>
                    </a:lnTo>
                    <a:lnTo>
                      <a:pt x="28" y="405"/>
                    </a:lnTo>
                    <a:lnTo>
                      <a:pt x="28" y="408"/>
                    </a:lnTo>
                    <a:lnTo>
                      <a:pt x="28" y="410"/>
                    </a:lnTo>
                    <a:lnTo>
                      <a:pt x="28" y="412"/>
                    </a:lnTo>
                    <a:lnTo>
                      <a:pt x="28" y="415"/>
                    </a:lnTo>
                    <a:lnTo>
                      <a:pt x="28" y="417"/>
                    </a:lnTo>
                    <a:lnTo>
                      <a:pt x="28" y="419"/>
                    </a:lnTo>
                    <a:lnTo>
                      <a:pt x="26" y="419"/>
                    </a:lnTo>
                    <a:lnTo>
                      <a:pt x="21" y="417"/>
                    </a:lnTo>
                    <a:lnTo>
                      <a:pt x="21" y="419"/>
                    </a:lnTo>
                    <a:lnTo>
                      <a:pt x="21" y="422"/>
                    </a:lnTo>
                    <a:lnTo>
                      <a:pt x="24" y="424"/>
                    </a:lnTo>
                    <a:lnTo>
                      <a:pt x="24" y="427"/>
                    </a:lnTo>
                    <a:lnTo>
                      <a:pt x="24" y="429"/>
                    </a:lnTo>
                    <a:lnTo>
                      <a:pt x="28" y="434"/>
                    </a:lnTo>
                    <a:lnTo>
                      <a:pt x="31" y="436"/>
                    </a:lnTo>
                    <a:lnTo>
                      <a:pt x="31" y="438"/>
                    </a:lnTo>
                    <a:lnTo>
                      <a:pt x="31" y="443"/>
                    </a:lnTo>
                    <a:lnTo>
                      <a:pt x="33" y="446"/>
                    </a:lnTo>
                    <a:lnTo>
                      <a:pt x="33" y="448"/>
                    </a:lnTo>
                    <a:lnTo>
                      <a:pt x="43" y="462"/>
                    </a:lnTo>
                    <a:lnTo>
                      <a:pt x="43" y="467"/>
                    </a:lnTo>
                    <a:lnTo>
                      <a:pt x="43" y="474"/>
                    </a:lnTo>
                    <a:lnTo>
                      <a:pt x="43" y="474"/>
                    </a:lnTo>
                    <a:lnTo>
                      <a:pt x="40" y="476"/>
                    </a:lnTo>
                    <a:lnTo>
                      <a:pt x="40" y="479"/>
                    </a:lnTo>
                    <a:lnTo>
                      <a:pt x="40" y="481"/>
                    </a:lnTo>
                    <a:lnTo>
                      <a:pt x="43" y="486"/>
                    </a:lnTo>
                    <a:lnTo>
                      <a:pt x="43" y="495"/>
                    </a:lnTo>
                    <a:lnTo>
                      <a:pt x="43" y="498"/>
                    </a:lnTo>
                    <a:lnTo>
                      <a:pt x="45" y="500"/>
                    </a:lnTo>
                    <a:lnTo>
                      <a:pt x="47" y="505"/>
                    </a:lnTo>
                    <a:lnTo>
                      <a:pt x="47" y="507"/>
                    </a:lnTo>
                    <a:lnTo>
                      <a:pt x="50" y="507"/>
                    </a:lnTo>
                    <a:lnTo>
                      <a:pt x="52" y="509"/>
                    </a:lnTo>
                    <a:lnTo>
                      <a:pt x="54" y="509"/>
                    </a:lnTo>
                    <a:lnTo>
                      <a:pt x="54" y="509"/>
                    </a:lnTo>
                    <a:lnTo>
                      <a:pt x="52" y="509"/>
                    </a:lnTo>
                    <a:lnTo>
                      <a:pt x="52" y="512"/>
                    </a:lnTo>
                    <a:lnTo>
                      <a:pt x="52" y="512"/>
                    </a:lnTo>
                    <a:lnTo>
                      <a:pt x="54" y="514"/>
                    </a:lnTo>
                    <a:lnTo>
                      <a:pt x="57" y="514"/>
                    </a:lnTo>
                    <a:lnTo>
                      <a:pt x="62" y="514"/>
                    </a:lnTo>
                    <a:lnTo>
                      <a:pt x="62" y="512"/>
                    </a:lnTo>
                    <a:lnTo>
                      <a:pt x="64" y="509"/>
                    </a:lnTo>
                    <a:lnTo>
                      <a:pt x="64" y="507"/>
                    </a:lnTo>
                    <a:lnTo>
                      <a:pt x="66" y="507"/>
                    </a:lnTo>
                    <a:lnTo>
                      <a:pt x="66" y="509"/>
                    </a:lnTo>
                    <a:lnTo>
                      <a:pt x="71" y="512"/>
                    </a:lnTo>
                    <a:lnTo>
                      <a:pt x="71" y="512"/>
                    </a:lnTo>
                    <a:lnTo>
                      <a:pt x="73" y="512"/>
                    </a:lnTo>
                    <a:lnTo>
                      <a:pt x="73" y="509"/>
                    </a:lnTo>
                    <a:lnTo>
                      <a:pt x="73" y="507"/>
                    </a:lnTo>
                    <a:lnTo>
                      <a:pt x="76" y="507"/>
                    </a:lnTo>
                    <a:lnTo>
                      <a:pt x="76" y="509"/>
                    </a:lnTo>
                    <a:lnTo>
                      <a:pt x="73" y="512"/>
                    </a:lnTo>
                    <a:lnTo>
                      <a:pt x="71" y="512"/>
                    </a:lnTo>
                    <a:lnTo>
                      <a:pt x="71" y="514"/>
                    </a:lnTo>
                    <a:lnTo>
                      <a:pt x="69" y="514"/>
                    </a:lnTo>
                    <a:lnTo>
                      <a:pt x="69" y="517"/>
                    </a:lnTo>
                    <a:lnTo>
                      <a:pt x="71" y="517"/>
                    </a:lnTo>
                    <a:lnTo>
                      <a:pt x="71" y="517"/>
                    </a:lnTo>
                    <a:lnTo>
                      <a:pt x="73" y="519"/>
                    </a:lnTo>
                    <a:lnTo>
                      <a:pt x="76" y="517"/>
                    </a:lnTo>
                    <a:lnTo>
                      <a:pt x="78" y="521"/>
                    </a:lnTo>
                    <a:lnTo>
                      <a:pt x="80" y="526"/>
                    </a:lnTo>
                    <a:lnTo>
                      <a:pt x="80" y="526"/>
                    </a:lnTo>
                    <a:lnTo>
                      <a:pt x="78" y="524"/>
                    </a:lnTo>
                    <a:lnTo>
                      <a:pt x="76" y="521"/>
                    </a:lnTo>
                    <a:lnTo>
                      <a:pt x="73" y="521"/>
                    </a:lnTo>
                    <a:lnTo>
                      <a:pt x="73" y="524"/>
                    </a:lnTo>
                    <a:lnTo>
                      <a:pt x="73" y="524"/>
                    </a:lnTo>
                    <a:lnTo>
                      <a:pt x="76" y="526"/>
                    </a:lnTo>
                    <a:lnTo>
                      <a:pt x="78" y="528"/>
                    </a:lnTo>
                    <a:lnTo>
                      <a:pt x="78" y="528"/>
                    </a:lnTo>
                    <a:lnTo>
                      <a:pt x="76" y="528"/>
                    </a:lnTo>
                    <a:lnTo>
                      <a:pt x="76" y="531"/>
                    </a:lnTo>
                    <a:lnTo>
                      <a:pt x="76" y="536"/>
                    </a:lnTo>
                    <a:lnTo>
                      <a:pt x="78" y="536"/>
                    </a:lnTo>
                    <a:lnTo>
                      <a:pt x="80" y="538"/>
                    </a:lnTo>
                    <a:lnTo>
                      <a:pt x="80" y="540"/>
                    </a:lnTo>
                    <a:lnTo>
                      <a:pt x="78" y="540"/>
                    </a:lnTo>
                    <a:lnTo>
                      <a:pt x="78" y="540"/>
                    </a:lnTo>
                    <a:lnTo>
                      <a:pt x="78" y="543"/>
                    </a:lnTo>
                    <a:lnTo>
                      <a:pt x="76" y="545"/>
                    </a:lnTo>
                    <a:lnTo>
                      <a:pt x="78" y="547"/>
                    </a:lnTo>
                    <a:lnTo>
                      <a:pt x="80" y="552"/>
                    </a:lnTo>
                    <a:lnTo>
                      <a:pt x="80" y="557"/>
                    </a:lnTo>
                    <a:lnTo>
                      <a:pt x="78" y="557"/>
                    </a:lnTo>
                    <a:lnTo>
                      <a:pt x="80" y="559"/>
                    </a:lnTo>
                    <a:lnTo>
                      <a:pt x="80" y="562"/>
                    </a:lnTo>
                    <a:lnTo>
                      <a:pt x="83" y="564"/>
                    </a:lnTo>
                    <a:lnTo>
                      <a:pt x="85" y="564"/>
                    </a:lnTo>
                    <a:lnTo>
                      <a:pt x="90" y="566"/>
                    </a:lnTo>
                    <a:lnTo>
                      <a:pt x="92" y="569"/>
                    </a:lnTo>
                    <a:lnTo>
                      <a:pt x="95" y="571"/>
                    </a:lnTo>
                    <a:lnTo>
                      <a:pt x="95" y="573"/>
                    </a:lnTo>
                    <a:lnTo>
                      <a:pt x="90" y="578"/>
                    </a:lnTo>
                    <a:lnTo>
                      <a:pt x="88" y="578"/>
                    </a:lnTo>
                    <a:lnTo>
                      <a:pt x="85" y="578"/>
                    </a:lnTo>
                    <a:lnTo>
                      <a:pt x="85" y="583"/>
                    </a:lnTo>
                    <a:lnTo>
                      <a:pt x="88" y="585"/>
                    </a:lnTo>
                    <a:lnTo>
                      <a:pt x="90" y="585"/>
                    </a:lnTo>
                    <a:lnTo>
                      <a:pt x="95" y="588"/>
                    </a:lnTo>
                    <a:lnTo>
                      <a:pt x="95" y="590"/>
                    </a:lnTo>
                    <a:lnTo>
                      <a:pt x="97" y="590"/>
                    </a:lnTo>
                    <a:lnTo>
                      <a:pt x="97" y="590"/>
                    </a:lnTo>
                    <a:lnTo>
                      <a:pt x="97" y="590"/>
                    </a:lnTo>
                    <a:lnTo>
                      <a:pt x="92" y="588"/>
                    </a:lnTo>
                    <a:lnTo>
                      <a:pt x="90" y="588"/>
                    </a:lnTo>
                    <a:lnTo>
                      <a:pt x="90" y="588"/>
                    </a:lnTo>
                    <a:lnTo>
                      <a:pt x="88" y="590"/>
                    </a:lnTo>
                    <a:lnTo>
                      <a:pt x="83" y="590"/>
                    </a:lnTo>
                    <a:lnTo>
                      <a:pt x="85" y="595"/>
                    </a:lnTo>
                    <a:lnTo>
                      <a:pt x="85" y="595"/>
                    </a:lnTo>
                    <a:lnTo>
                      <a:pt x="88" y="595"/>
                    </a:lnTo>
                    <a:lnTo>
                      <a:pt x="88" y="597"/>
                    </a:lnTo>
                    <a:lnTo>
                      <a:pt x="90" y="599"/>
                    </a:lnTo>
                    <a:lnTo>
                      <a:pt x="90" y="602"/>
                    </a:lnTo>
                    <a:lnTo>
                      <a:pt x="90" y="604"/>
                    </a:lnTo>
                    <a:lnTo>
                      <a:pt x="90" y="607"/>
                    </a:lnTo>
                    <a:lnTo>
                      <a:pt x="92" y="607"/>
                    </a:lnTo>
                    <a:lnTo>
                      <a:pt x="92" y="609"/>
                    </a:lnTo>
                    <a:lnTo>
                      <a:pt x="92" y="611"/>
                    </a:lnTo>
                    <a:lnTo>
                      <a:pt x="92" y="614"/>
                    </a:lnTo>
                    <a:lnTo>
                      <a:pt x="90" y="614"/>
                    </a:lnTo>
                    <a:lnTo>
                      <a:pt x="90" y="611"/>
                    </a:lnTo>
                    <a:lnTo>
                      <a:pt x="90" y="611"/>
                    </a:lnTo>
                    <a:lnTo>
                      <a:pt x="90" y="609"/>
                    </a:lnTo>
                    <a:lnTo>
                      <a:pt x="90" y="602"/>
                    </a:lnTo>
                    <a:lnTo>
                      <a:pt x="88" y="602"/>
                    </a:lnTo>
                    <a:lnTo>
                      <a:pt x="88" y="599"/>
                    </a:lnTo>
                    <a:lnTo>
                      <a:pt x="88" y="597"/>
                    </a:lnTo>
                    <a:lnTo>
                      <a:pt x="85" y="597"/>
                    </a:lnTo>
                    <a:lnTo>
                      <a:pt x="85" y="599"/>
                    </a:lnTo>
                    <a:lnTo>
                      <a:pt x="85" y="602"/>
                    </a:lnTo>
                    <a:lnTo>
                      <a:pt x="85" y="604"/>
                    </a:lnTo>
                    <a:lnTo>
                      <a:pt x="85" y="607"/>
                    </a:lnTo>
                    <a:lnTo>
                      <a:pt x="83" y="607"/>
                    </a:lnTo>
                    <a:lnTo>
                      <a:pt x="80" y="607"/>
                    </a:lnTo>
                    <a:lnTo>
                      <a:pt x="78" y="607"/>
                    </a:lnTo>
                    <a:lnTo>
                      <a:pt x="80" y="607"/>
                    </a:lnTo>
                    <a:lnTo>
                      <a:pt x="83" y="604"/>
                    </a:lnTo>
                    <a:lnTo>
                      <a:pt x="83" y="602"/>
                    </a:lnTo>
                    <a:lnTo>
                      <a:pt x="83" y="599"/>
                    </a:lnTo>
                    <a:lnTo>
                      <a:pt x="83" y="599"/>
                    </a:lnTo>
                    <a:lnTo>
                      <a:pt x="83" y="597"/>
                    </a:lnTo>
                    <a:lnTo>
                      <a:pt x="83" y="592"/>
                    </a:lnTo>
                    <a:lnTo>
                      <a:pt x="83" y="592"/>
                    </a:lnTo>
                    <a:lnTo>
                      <a:pt x="83" y="590"/>
                    </a:lnTo>
                    <a:lnTo>
                      <a:pt x="80" y="590"/>
                    </a:lnTo>
                    <a:lnTo>
                      <a:pt x="80" y="590"/>
                    </a:lnTo>
                    <a:lnTo>
                      <a:pt x="78" y="590"/>
                    </a:lnTo>
                    <a:lnTo>
                      <a:pt x="78" y="590"/>
                    </a:lnTo>
                    <a:lnTo>
                      <a:pt x="78" y="590"/>
                    </a:lnTo>
                    <a:lnTo>
                      <a:pt x="78" y="592"/>
                    </a:lnTo>
                    <a:lnTo>
                      <a:pt x="80" y="595"/>
                    </a:lnTo>
                    <a:lnTo>
                      <a:pt x="80" y="595"/>
                    </a:lnTo>
                    <a:lnTo>
                      <a:pt x="80" y="595"/>
                    </a:lnTo>
                    <a:lnTo>
                      <a:pt x="78" y="597"/>
                    </a:lnTo>
                    <a:lnTo>
                      <a:pt x="78" y="597"/>
                    </a:lnTo>
                    <a:lnTo>
                      <a:pt x="76" y="597"/>
                    </a:lnTo>
                    <a:lnTo>
                      <a:pt x="76" y="597"/>
                    </a:lnTo>
                    <a:lnTo>
                      <a:pt x="71" y="597"/>
                    </a:lnTo>
                    <a:lnTo>
                      <a:pt x="69" y="597"/>
                    </a:lnTo>
                    <a:lnTo>
                      <a:pt x="64" y="599"/>
                    </a:lnTo>
                    <a:lnTo>
                      <a:pt x="66" y="602"/>
                    </a:lnTo>
                    <a:lnTo>
                      <a:pt x="69" y="604"/>
                    </a:lnTo>
                    <a:lnTo>
                      <a:pt x="69" y="604"/>
                    </a:lnTo>
                    <a:lnTo>
                      <a:pt x="69" y="607"/>
                    </a:lnTo>
                    <a:lnTo>
                      <a:pt x="66" y="609"/>
                    </a:lnTo>
                    <a:lnTo>
                      <a:pt x="64" y="611"/>
                    </a:lnTo>
                    <a:lnTo>
                      <a:pt x="64" y="611"/>
                    </a:lnTo>
                    <a:lnTo>
                      <a:pt x="62" y="614"/>
                    </a:lnTo>
                    <a:lnTo>
                      <a:pt x="62" y="616"/>
                    </a:lnTo>
                    <a:lnTo>
                      <a:pt x="62" y="618"/>
                    </a:lnTo>
                    <a:lnTo>
                      <a:pt x="64" y="618"/>
                    </a:lnTo>
                    <a:lnTo>
                      <a:pt x="66" y="621"/>
                    </a:lnTo>
                    <a:lnTo>
                      <a:pt x="69" y="621"/>
                    </a:lnTo>
                    <a:lnTo>
                      <a:pt x="69" y="621"/>
                    </a:lnTo>
                    <a:lnTo>
                      <a:pt x="69" y="618"/>
                    </a:lnTo>
                    <a:lnTo>
                      <a:pt x="66" y="616"/>
                    </a:lnTo>
                    <a:lnTo>
                      <a:pt x="64" y="616"/>
                    </a:lnTo>
                    <a:lnTo>
                      <a:pt x="64" y="616"/>
                    </a:lnTo>
                    <a:lnTo>
                      <a:pt x="64" y="616"/>
                    </a:lnTo>
                    <a:lnTo>
                      <a:pt x="64" y="616"/>
                    </a:lnTo>
                    <a:lnTo>
                      <a:pt x="66" y="614"/>
                    </a:lnTo>
                    <a:lnTo>
                      <a:pt x="71" y="614"/>
                    </a:lnTo>
                    <a:lnTo>
                      <a:pt x="71" y="611"/>
                    </a:lnTo>
                    <a:lnTo>
                      <a:pt x="71" y="611"/>
                    </a:lnTo>
                    <a:lnTo>
                      <a:pt x="71" y="614"/>
                    </a:lnTo>
                    <a:lnTo>
                      <a:pt x="73" y="616"/>
                    </a:lnTo>
                    <a:lnTo>
                      <a:pt x="73" y="616"/>
                    </a:lnTo>
                    <a:lnTo>
                      <a:pt x="78" y="618"/>
                    </a:lnTo>
                    <a:lnTo>
                      <a:pt x="80" y="618"/>
                    </a:lnTo>
                    <a:lnTo>
                      <a:pt x="83" y="621"/>
                    </a:lnTo>
                    <a:lnTo>
                      <a:pt x="83" y="621"/>
                    </a:lnTo>
                    <a:lnTo>
                      <a:pt x="83" y="618"/>
                    </a:lnTo>
                    <a:lnTo>
                      <a:pt x="83" y="618"/>
                    </a:lnTo>
                    <a:lnTo>
                      <a:pt x="83" y="618"/>
                    </a:lnTo>
                    <a:lnTo>
                      <a:pt x="83" y="618"/>
                    </a:lnTo>
                    <a:lnTo>
                      <a:pt x="85" y="618"/>
                    </a:lnTo>
                    <a:lnTo>
                      <a:pt x="88" y="621"/>
                    </a:lnTo>
                    <a:lnTo>
                      <a:pt x="90" y="621"/>
                    </a:lnTo>
                    <a:lnTo>
                      <a:pt x="90" y="623"/>
                    </a:lnTo>
                    <a:lnTo>
                      <a:pt x="92" y="625"/>
                    </a:lnTo>
                    <a:lnTo>
                      <a:pt x="90" y="625"/>
                    </a:lnTo>
                    <a:lnTo>
                      <a:pt x="88" y="628"/>
                    </a:lnTo>
                    <a:lnTo>
                      <a:pt x="88" y="630"/>
                    </a:lnTo>
                    <a:lnTo>
                      <a:pt x="92" y="633"/>
                    </a:lnTo>
                    <a:lnTo>
                      <a:pt x="92" y="633"/>
                    </a:lnTo>
                    <a:lnTo>
                      <a:pt x="95" y="635"/>
                    </a:lnTo>
                    <a:lnTo>
                      <a:pt x="95" y="635"/>
                    </a:lnTo>
                    <a:lnTo>
                      <a:pt x="95" y="635"/>
                    </a:lnTo>
                    <a:lnTo>
                      <a:pt x="95" y="635"/>
                    </a:lnTo>
                    <a:lnTo>
                      <a:pt x="92" y="635"/>
                    </a:lnTo>
                    <a:lnTo>
                      <a:pt x="92" y="635"/>
                    </a:lnTo>
                    <a:lnTo>
                      <a:pt x="90" y="635"/>
                    </a:lnTo>
                    <a:lnTo>
                      <a:pt x="88" y="635"/>
                    </a:lnTo>
                    <a:lnTo>
                      <a:pt x="88" y="635"/>
                    </a:lnTo>
                    <a:lnTo>
                      <a:pt x="88" y="637"/>
                    </a:lnTo>
                    <a:lnTo>
                      <a:pt x="90" y="637"/>
                    </a:lnTo>
                    <a:lnTo>
                      <a:pt x="90" y="637"/>
                    </a:lnTo>
                    <a:lnTo>
                      <a:pt x="92" y="640"/>
                    </a:lnTo>
                    <a:lnTo>
                      <a:pt x="95" y="640"/>
                    </a:lnTo>
                    <a:lnTo>
                      <a:pt x="95" y="640"/>
                    </a:lnTo>
                    <a:lnTo>
                      <a:pt x="95" y="642"/>
                    </a:lnTo>
                    <a:lnTo>
                      <a:pt x="97" y="642"/>
                    </a:lnTo>
                    <a:lnTo>
                      <a:pt x="99" y="642"/>
                    </a:lnTo>
                    <a:lnTo>
                      <a:pt x="102" y="642"/>
                    </a:lnTo>
                    <a:lnTo>
                      <a:pt x="102" y="640"/>
                    </a:lnTo>
                    <a:lnTo>
                      <a:pt x="102" y="637"/>
                    </a:lnTo>
                    <a:lnTo>
                      <a:pt x="102" y="635"/>
                    </a:lnTo>
                    <a:lnTo>
                      <a:pt x="104" y="635"/>
                    </a:lnTo>
                    <a:lnTo>
                      <a:pt x="106" y="640"/>
                    </a:lnTo>
                    <a:lnTo>
                      <a:pt x="106" y="642"/>
                    </a:lnTo>
                    <a:lnTo>
                      <a:pt x="109" y="642"/>
                    </a:lnTo>
                    <a:lnTo>
                      <a:pt x="109" y="642"/>
                    </a:lnTo>
                    <a:lnTo>
                      <a:pt x="111" y="644"/>
                    </a:lnTo>
                    <a:lnTo>
                      <a:pt x="114" y="647"/>
                    </a:lnTo>
                    <a:lnTo>
                      <a:pt x="114" y="647"/>
                    </a:lnTo>
                    <a:lnTo>
                      <a:pt x="111" y="647"/>
                    </a:lnTo>
                    <a:lnTo>
                      <a:pt x="104" y="644"/>
                    </a:lnTo>
                    <a:lnTo>
                      <a:pt x="97" y="644"/>
                    </a:lnTo>
                    <a:lnTo>
                      <a:pt x="95" y="642"/>
                    </a:lnTo>
                    <a:lnTo>
                      <a:pt x="92" y="642"/>
                    </a:lnTo>
                    <a:lnTo>
                      <a:pt x="92" y="647"/>
                    </a:lnTo>
                    <a:lnTo>
                      <a:pt x="95" y="649"/>
                    </a:lnTo>
                    <a:lnTo>
                      <a:pt x="97" y="649"/>
                    </a:lnTo>
                    <a:lnTo>
                      <a:pt x="97" y="652"/>
                    </a:lnTo>
                    <a:lnTo>
                      <a:pt x="99" y="654"/>
                    </a:lnTo>
                    <a:lnTo>
                      <a:pt x="102" y="652"/>
                    </a:lnTo>
                    <a:lnTo>
                      <a:pt x="102" y="652"/>
                    </a:lnTo>
                    <a:lnTo>
                      <a:pt x="106" y="652"/>
                    </a:lnTo>
                    <a:lnTo>
                      <a:pt x="104" y="654"/>
                    </a:lnTo>
                    <a:lnTo>
                      <a:pt x="104" y="654"/>
                    </a:lnTo>
                    <a:lnTo>
                      <a:pt x="104" y="654"/>
                    </a:lnTo>
                    <a:lnTo>
                      <a:pt x="102" y="654"/>
                    </a:lnTo>
                    <a:lnTo>
                      <a:pt x="102" y="656"/>
                    </a:lnTo>
                    <a:lnTo>
                      <a:pt x="102" y="659"/>
                    </a:lnTo>
                    <a:lnTo>
                      <a:pt x="104" y="663"/>
                    </a:lnTo>
                    <a:lnTo>
                      <a:pt x="109" y="670"/>
                    </a:lnTo>
                    <a:lnTo>
                      <a:pt x="109" y="673"/>
                    </a:lnTo>
                    <a:lnTo>
                      <a:pt x="109" y="673"/>
                    </a:lnTo>
                    <a:lnTo>
                      <a:pt x="109" y="673"/>
                    </a:lnTo>
                    <a:lnTo>
                      <a:pt x="111" y="673"/>
                    </a:lnTo>
                    <a:lnTo>
                      <a:pt x="111" y="673"/>
                    </a:lnTo>
                    <a:lnTo>
                      <a:pt x="111" y="670"/>
                    </a:lnTo>
                    <a:lnTo>
                      <a:pt x="111" y="668"/>
                    </a:lnTo>
                    <a:lnTo>
                      <a:pt x="111" y="668"/>
                    </a:lnTo>
                    <a:lnTo>
                      <a:pt x="111" y="666"/>
                    </a:lnTo>
                    <a:lnTo>
                      <a:pt x="111" y="663"/>
                    </a:lnTo>
                    <a:lnTo>
                      <a:pt x="111" y="663"/>
                    </a:lnTo>
                    <a:lnTo>
                      <a:pt x="111" y="663"/>
                    </a:lnTo>
                    <a:lnTo>
                      <a:pt x="111" y="666"/>
                    </a:lnTo>
                    <a:lnTo>
                      <a:pt x="111" y="666"/>
                    </a:lnTo>
                    <a:lnTo>
                      <a:pt x="111" y="666"/>
                    </a:lnTo>
                    <a:lnTo>
                      <a:pt x="114" y="668"/>
                    </a:lnTo>
                    <a:lnTo>
                      <a:pt x="114" y="670"/>
                    </a:lnTo>
                    <a:lnTo>
                      <a:pt x="114" y="670"/>
                    </a:lnTo>
                    <a:lnTo>
                      <a:pt x="114" y="673"/>
                    </a:lnTo>
                    <a:lnTo>
                      <a:pt x="116" y="673"/>
                    </a:lnTo>
                    <a:lnTo>
                      <a:pt x="118" y="675"/>
                    </a:lnTo>
                    <a:lnTo>
                      <a:pt x="118" y="675"/>
                    </a:lnTo>
                    <a:lnTo>
                      <a:pt x="118" y="675"/>
                    </a:lnTo>
                    <a:lnTo>
                      <a:pt x="116" y="675"/>
                    </a:lnTo>
                    <a:lnTo>
                      <a:pt x="114" y="675"/>
                    </a:lnTo>
                    <a:lnTo>
                      <a:pt x="111" y="675"/>
                    </a:lnTo>
                    <a:lnTo>
                      <a:pt x="111" y="675"/>
                    </a:lnTo>
                    <a:lnTo>
                      <a:pt x="111" y="678"/>
                    </a:lnTo>
                    <a:lnTo>
                      <a:pt x="114" y="680"/>
                    </a:lnTo>
                    <a:lnTo>
                      <a:pt x="116" y="682"/>
                    </a:lnTo>
                    <a:lnTo>
                      <a:pt x="118" y="682"/>
                    </a:lnTo>
                    <a:lnTo>
                      <a:pt x="118" y="682"/>
                    </a:lnTo>
                    <a:lnTo>
                      <a:pt x="121" y="685"/>
                    </a:lnTo>
                    <a:lnTo>
                      <a:pt x="121" y="685"/>
                    </a:lnTo>
                    <a:lnTo>
                      <a:pt x="114" y="682"/>
                    </a:lnTo>
                    <a:lnTo>
                      <a:pt x="114" y="685"/>
                    </a:lnTo>
                    <a:lnTo>
                      <a:pt x="111" y="687"/>
                    </a:lnTo>
                    <a:lnTo>
                      <a:pt x="114" y="689"/>
                    </a:lnTo>
                    <a:lnTo>
                      <a:pt x="116" y="692"/>
                    </a:lnTo>
                    <a:lnTo>
                      <a:pt x="118" y="692"/>
                    </a:lnTo>
                    <a:lnTo>
                      <a:pt x="118" y="692"/>
                    </a:lnTo>
                    <a:lnTo>
                      <a:pt x="123" y="694"/>
                    </a:lnTo>
                    <a:lnTo>
                      <a:pt x="125" y="694"/>
                    </a:lnTo>
                    <a:lnTo>
                      <a:pt x="121" y="694"/>
                    </a:lnTo>
                    <a:lnTo>
                      <a:pt x="123" y="697"/>
                    </a:lnTo>
                    <a:lnTo>
                      <a:pt x="123" y="697"/>
                    </a:lnTo>
                    <a:lnTo>
                      <a:pt x="125" y="699"/>
                    </a:lnTo>
                    <a:lnTo>
                      <a:pt x="128" y="701"/>
                    </a:lnTo>
                    <a:lnTo>
                      <a:pt x="130" y="699"/>
                    </a:lnTo>
                    <a:lnTo>
                      <a:pt x="130" y="694"/>
                    </a:lnTo>
                    <a:lnTo>
                      <a:pt x="130" y="694"/>
                    </a:lnTo>
                    <a:lnTo>
                      <a:pt x="130" y="694"/>
                    </a:lnTo>
                    <a:lnTo>
                      <a:pt x="130" y="697"/>
                    </a:lnTo>
                    <a:lnTo>
                      <a:pt x="133" y="697"/>
                    </a:lnTo>
                    <a:lnTo>
                      <a:pt x="133" y="697"/>
                    </a:lnTo>
                    <a:lnTo>
                      <a:pt x="133" y="697"/>
                    </a:lnTo>
                    <a:lnTo>
                      <a:pt x="130" y="699"/>
                    </a:lnTo>
                    <a:lnTo>
                      <a:pt x="130" y="701"/>
                    </a:lnTo>
                    <a:lnTo>
                      <a:pt x="133" y="704"/>
                    </a:lnTo>
                    <a:lnTo>
                      <a:pt x="133" y="704"/>
                    </a:lnTo>
                    <a:lnTo>
                      <a:pt x="125" y="701"/>
                    </a:lnTo>
                    <a:lnTo>
                      <a:pt x="125" y="701"/>
                    </a:lnTo>
                    <a:lnTo>
                      <a:pt x="125" y="699"/>
                    </a:lnTo>
                    <a:lnTo>
                      <a:pt x="121" y="697"/>
                    </a:lnTo>
                    <a:lnTo>
                      <a:pt x="118" y="694"/>
                    </a:lnTo>
                    <a:lnTo>
                      <a:pt x="114" y="692"/>
                    </a:lnTo>
                    <a:lnTo>
                      <a:pt x="114" y="692"/>
                    </a:lnTo>
                    <a:lnTo>
                      <a:pt x="111" y="692"/>
                    </a:lnTo>
                    <a:lnTo>
                      <a:pt x="111" y="694"/>
                    </a:lnTo>
                    <a:lnTo>
                      <a:pt x="114" y="694"/>
                    </a:lnTo>
                    <a:lnTo>
                      <a:pt x="116" y="697"/>
                    </a:lnTo>
                    <a:lnTo>
                      <a:pt x="116" y="697"/>
                    </a:lnTo>
                    <a:lnTo>
                      <a:pt x="114" y="699"/>
                    </a:lnTo>
                    <a:lnTo>
                      <a:pt x="109" y="699"/>
                    </a:lnTo>
                    <a:lnTo>
                      <a:pt x="111" y="701"/>
                    </a:lnTo>
                    <a:lnTo>
                      <a:pt x="114" y="701"/>
                    </a:lnTo>
                    <a:lnTo>
                      <a:pt x="118" y="706"/>
                    </a:lnTo>
                    <a:lnTo>
                      <a:pt x="121" y="706"/>
                    </a:lnTo>
                    <a:lnTo>
                      <a:pt x="121" y="706"/>
                    </a:lnTo>
                    <a:lnTo>
                      <a:pt x="123" y="708"/>
                    </a:lnTo>
                    <a:lnTo>
                      <a:pt x="125" y="708"/>
                    </a:lnTo>
                    <a:lnTo>
                      <a:pt x="125" y="708"/>
                    </a:lnTo>
                    <a:lnTo>
                      <a:pt x="128" y="708"/>
                    </a:lnTo>
                    <a:lnTo>
                      <a:pt x="130" y="708"/>
                    </a:lnTo>
                    <a:lnTo>
                      <a:pt x="133" y="711"/>
                    </a:lnTo>
                    <a:lnTo>
                      <a:pt x="135" y="711"/>
                    </a:lnTo>
                    <a:lnTo>
                      <a:pt x="137" y="718"/>
                    </a:lnTo>
                    <a:lnTo>
                      <a:pt x="135" y="715"/>
                    </a:lnTo>
                    <a:lnTo>
                      <a:pt x="133" y="718"/>
                    </a:lnTo>
                    <a:lnTo>
                      <a:pt x="135" y="718"/>
                    </a:lnTo>
                    <a:lnTo>
                      <a:pt x="137" y="720"/>
                    </a:lnTo>
                    <a:lnTo>
                      <a:pt x="140" y="720"/>
                    </a:lnTo>
                    <a:lnTo>
                      <a:pt x="140" y="720"/>
                    </a:lnTo>
                    <a:lnTo>
                      <a:pt x="142" y="720"/>
                    </a:lnTo>
                    <a:lnTo>
                      <a:pt x="142" y="720"/>
                    </a:lnTo>
                    <a:lnTo>
                      <a:pt x="144" y="723"/>
                    </a:lnTo>
                    <a:lnTo>
                      <a:pt x="147" y="725"/>
                    </a:lnTo>
                    <a:lnTo>
                      <a:pt x="149" y="725"/>
                    </a:lnTo>
                    <a:lnTo>
                      <a:pt x="151" y="727"/>
                    </a:lnTo>
                    <a:lnTo>
                      <a:pt x="154" y="725"/>
                    </a:lnTo>
                    <a:lnTo>
                      <a:pt x="156" y="723"/>
                    </a:lnTo>
                    <a:lnTo>
                      <a:pt x="161" y="720"/>
                    </a:lnTo>
                    <a:lnTo>
                      <a:pt x="161" y="720"/>
                    </a:lnTo>
                    <a:lnTo>
                      <a:pt x="159" y="718"/>
                    </a:lnTo>
                    <a:lnTo>
                      <a:pt x="159" y="718"/>
                    </a:lnTo>
                    <a:lnTo>
                      <a:pt x="156" y="718"/>
                    </a:lnTo>
                    <a:lnTo>
                      <a:pt x="149" y="715"/>
                    </a:lnTo>
                    <a:lnTo>
                      <a:pt x="149" y="715"/>
                    </a:lnTo>
                    <a:lnTo>
                      <a:pt x="147" y="713"/>
                    </a:lnTo>
                    <a:lnTo>
                      <a:pt x="147" y="713"/>
                    </a:lnTo>
                    <a:lnTo>
                      <a:pt x="149" y="713"/>
                    </a:lnTo>
                    <a:lnTo>
                      <a:pt x="156" y="715"/>
                    </a:lnTo>
                    <a:lnTo>
                      <a:pt x="161" y="718"/>
                    </a:lnTo>
                    <a:lnTo>
                      <a:pt x="161" y="720"/>
                    </a:lnTo>
                    <a:lnTo>
                      <a:pt x="163" y="723"/>
                    </a:lnTo>
                    <a:lnTo>
                      <a:pt x="163" y="723"/>
                    </a:lnTo>
                    <a:lnTo>
                      <a:pt x="161" y="723"/>
                    </a:lnTo>
                    <a:lnTo>
                      <a:pt x="163" y="725"/>
                    </a:lnTo>
                    <a:lnTo>
                      <a:pt x="163" y="725"/>
                    </a:lnTo>
                    <a:lnTo>
                      <a:pt x="166" y="727"/>
                    </a:lnTo>
                    <a:lnTo>
                      <a:pt x="166" y="730"/>
                    </a:lnTo>
                    <a:lnTo>
                      <a:pt x="166" y="730"/>
                    </a:lnTo>
                    <a:lnTo>
                      <a:pt x="166" y="730"/>
                    </a:lnTo>
                    <a:lnTo>
                      <a:pt x="166" y="732"/>
                    </a:lnTo>
                    <a:lnTo>
                      <a:pt x="166" y="732"/>
                    </a:lnTo>
                    <a:lnTo>
                      <a:pt x="166" y="732"/>
                    </a:lnTo>
                    <a:lnTo>
                      <a:pt x="163" y="732"/>
                    </a:lnTo>
                    <a:lnTo>
                      <a:pt x="163" y="732"/>
                    </a:lnTo>
                    <a:lnTo>
                      <a:pt x="166" y="730"/>
                    </a:lnTo>
                    <a:lnTo>
                      <a:pt x="166" y="730"/>
                    </a:lnTo>
                    <a:lnTo>
                      <a:pt x="163" y="727"/>
                    </a:lnTo>
                    <a:lnTo>
                      <a:pt x="163" y="727"/>
                    </a:lnTo>
                    <a:lnTo>
                      <a:pt x="161" y="725"/>
                    </a:lnTo>
                    <a:lnTo>
                      <a:pt x="161" y="725"/>
                    </a:lnTo>
                    <a:lnTo>
                      <a:pt x="161" y="725"/>
                    </a:lnTo>
                    <a:lnTo>
                      <a:pt x="159" y="725"/>
                    </a:lnTo>
                    <a:lnTo>
                      <a:pt x="159" y="725"/>
                    </a:lnTo>
                    <a:lnTo>
                      <a:pt x="159" y="725"/>
                    </a:lnTo>
                    <a:lnTo>
                      <a:pt x="156" y="727"/>
                    </a:lnTo>
                    <a:lnTo>
                      <a:pt x="154" y="727"/>
                    </a:lnTo>
                    <a:lnTo>
                      <a:pt x="151" y="727"/>
                    </a:lnTo>
                    <a:lnTo>
                      <a:pt x="149" y="727"/>
                    </a:lnTo>
                    <a:lnTo>
                      <a:pt x="149" y="727"/>
                    </a:lnTo>
                    <a:lnTo>
                      <a:pt x="147" y="727"/>
                    </a:lnTo>
                    <a:lnTo>
                      <a:pt x="147" y="727"/>
                    </a:lnTo>
                    <a:lnTo>
                      <a:pt x="147" y="727"/>
                    </a:lnTo>
                    <a:lnTo>
                      <a:pt x="147" y="730"/>
                    </a:lnTo>
                    <a:lnTo>
                      <a:pt x="147" y="730"/>
                    </a:lnTo>
                    <a:lnTo>
                      <a:pt x="144" y="730"/>
                    </a:lnTo>
                    <a:lnTo>
                      <a:pt x="142" y="727"/>
                    </a:lnTo>
                    <a:lnTo>
                      <a:pt x="140" y="727"/>
                    </a:lnTo>
                    <a:lnTo>
                      <a:pt x="137" y="727"/>
                    </a:lnTo>
                    <a:lnTo>
                      <a:pt x="137" y="727"/>
                    </a:lnTo>
                    <a:lnTo>
                      <a:pt x="137" y="727"/>
                    </a:lnTo>
                    <a:lnTo>
                      <a:pt x="137" y="727"/>
                    </a:lnTo>
                    <a:lnTo>
                      <a:pt x="137" y="730"/>
                    </a:lnTo>
                    <a:lnTo>
                      <a:pt x="140" y="732"/>
                    </a:lnTo>
                    <a:lnTo>
                      <a:pt x="142" y="732"/>
                    </a:lnTo>
                    <a:lnTo>
                      <a:pt x="142" y="732"/>
                    </a:lnTo>
                    <a:lnTo>
                      <a:pt x="144" y="732"/>
                    </a:lnTo>
                    <a:lnTo>
                      <a:pt x="144" y="734"/>
                    </a:lnTo>
                    <a:lnTo>
                      <a:pt x="144" y="737"/>
                    </a:lnTo>
                    <a:lnTo>
                      <a:pt x="147" y="737"/>
                    </a:lnTo>
                    <a:lnTo>
                      <a:pt x="149" y="739"/>
                    </a:lnTo>
                    <a:lnTo>
                      <a:pt x="151" y="739"/>
                    </a:lnTo>
                    <a:lnTo>
                      <a:pt x="154" y="739"/>
                    </a:lnTo>
                    <a:lnTo>
                      <a:pt x="156" y="737"/>
                    </a:lnTo>
                    <a:lnTo>
                      <a:pt x="159" y="737"/>
                    </a:lnTo>
                    <a:lnTo>
                      <a:pt x="159" y="737"/>
                    </a:lnTo>
                    <a:lnTo>
                      <a:pt x="159" y="734"/>
                    </a:lnTo>
                    <a:lnTo>
                      <a:pt x="159" y="734"/>
                    </a:lnTo>
                    <a:lnTo>
                      <a:pt x="161" y="737"/>
                    </a:lnTo>
                    <a:lnTo>
                      <a:pt x="161" y="737"/>
                    </a:lnTo>
                    <a:lnTo>
                      <a:pt x="159" y="739"/>
                    </a:lnTo>
                    <a:lnTo>
                      <a:pt x="159" y="739"/>
                    </a:lnTo>
                    <a:lnTo>
                      <a:pt x="154" y="742"/>
                    </a:lnTo>
                    <a:lnTo>
                      <a:pt x="156" y="744"/>
                    </a:lnTo>
                    <a:lnTo>
                      <a:pt x="159" y="744"/>
                    </a:lnTo>
                    <a:lnTo>
                      <a:pt x="161" y="746"/>
                    </a:lnTo>
                    <a:lnTo>
                      <a:pt x="166" y="746"/>
                    </a:lnTo>
                    <a:lnTo>
                      <a:pt x="166" y="746"/>
                    </a:lnTo>
                    <a:lnTo>
                      <a:pt x="166" y="746"/>
                    </a:lnTo>
                    <a:lnTo>
                      <a:pt x="166" y="744"/>
                    </a:lnTo>
                    <a:lnTo>
                      <a:pt x="166" y="744"/>
                    </a:lnTo>
                    <a:lnTo>
                      <a:pt x="166" y="742"/>
                    </a:lnTo>
                    <a:lnTo>
                      <a:pt x="166" y="739"/>
                    </a:lnTo>
                    <a:lnTo>
                      <a:pt x="166" y="737"/>
                    </a:lnTo>
                    <a:lnTo>
                      <a:pt x="166" y="737"/>
                    </a:lnTo>
                    <a:lnTo>
                      <a:pt x="166" y="737"/>
                    </a:lnTo>
                    <a:lnTo>
                      <a:pt x="168" y="734"/>
                    </a:lnTo>
                    <a:lnTo>
                      <a:pt x="170" y="737"/>
                    </a:lnTo>
                    <a:lnTo>
                      <a:pt x="170" y="737"/>
                    </a:lnTo>
                    <a:lnTo>
                      <a:pt x="170" y="737"/>
                    </a:lnTo>
                    <a:lnTo>
                      <a:pt x="173" y="737"/>
                    </a:lnTo>
                    <a:lnTo>
                      <a:pt x="173" y="734"/>
                    </a:lnTo>
                    <a:lnTo>
                      <a:pt x="180" y="737"/>
                    </a:lnTo>
                    <a:lnTo>
                      <a:pt x="182" y="737"/>
                    </a:lnTo>
                    <a:lnTo>
                      <a:pt x="187" y="737"/>
                    </a:lnTo>
                    <a:lnTo>
                      <a:pt x="185" y="737"/>
                    </a:lnTo>
                    <a:lnTo>
                      <a:pt x="185" y="739"/>
                    </a:lnTo>
                    <a:lnTo>
                      <a:pt x="182" y="739"/>
                    </a:lnTo>
                    <a:lnTo>
                      <a:pt x="180" y="737"/>
                    </a:lnTo>
                    <a:lnTo>
                      <a:pt x="177" y="737"/>
                    </a:lnTo>
                    <a:lnTo>
                      <a:pt x="173" y="742"/>
                    </a:lnTo>
                    <a:lnTo>
                      <a:pt x="170" y="742"/>
                    </a:lnTo>
                    <a:lnTo>
                      <a:pt x="170" y="742"/>
                    </a:lnTo>
                    <a:lnTo>
                      <a:pt x="168" y="739"/>
                    </a:lnTo>
                    <a:lnTo>
                      <a:pt x="168" y="739"/>
                    </a:lnTo>
                    <a:lnTo>
                      <a:pt x="168" y="742"/>
                    </a:lnTo>
                    <a:lnTo>
                      <a:pt x="166" y="742"/>
                    </a:lnTo>
                    <a:lnTo>
                      <a:pt x="168" y="744"/>
                    </a:lnTo>
                    <a:lnTo>
                      <a:pt x="168" y="749"/>
                    </a:lnTo>
                    <a:lnTo>
                      <a:pt x="168" y="749"/>
                    </a:lnTo>
                    <a:lnTo>
                      <a:pt x="168" y="751"/>
                    </a:lnTo>
                    <a:lnTo>
                      <a:pt x="170" y="751"/>
                    </a:lnTo>
                    <a:lnTo>
                      <a:pt x="175" y="753"/>
                    </a:lnTo>
                    <a:lnTo>
                      <a:pt x="177" y="753"/>
                    </a:lnTo>
                    <a:lnTo>
                      <a:pt x="177" y="753"/>
                    </a:lnTo>
                    <a:lnTo>
                      <a:pt x="177" y="751"/>
                    </a:lnTo>
                    <a:lnTo>
                      <a:pt x="177" y="751"/>
                    </a:lnTo>
                    <a:lnTo>
                      <a:pt x="180" y="749"/>
                    </a:lnTo>
                    <a:lnTo>
                      <a:pt x="180" y="746"/>
                    </a:lnTo>
                    <a:lnTo>
                      <a:pt x="185" y="744"/>
                    </a:lnTo>
                    <a:lnTo>
                      <a:pt x="189" y="739"/>
                    </a:lnTo>
                    <a:lnTo>
                      <a:pt x="192" y="742"/>
                    </a:lnTo>
                    <a:lnTo>
                      <a:pt x="194" y="742"/>
                    </a:lnTo>
                    <a:lnTo>
                      <a:pt x="194" y="744"/>
                    </a:lnTo>
                    <a:lnTo>
                      <a:pt x="194" y="744"/>
                    </a:lnTo>
                    <a:lnTo>
                      <a:pt x="194" y="746"/>
                    </a:lnTo>
                    <a:lnTo>
                      <a:pt x="192" y="746"/>
                    </a:lnTo>
                    <a:lnTo>
                      <a:pt x="189" y="749"/>
                    </a:lnTo>
                    <a:lnTo>
                      <a:pt x="192" y="756"/>
                    </a:lnTo>
                    <a:lnTo>
                      <a:pt x="189" y="756"/>
                    </a:lnTo>
                    <a:lnTo>
                      <a:pt x="189" y="756"/>
                    </a:lnTo>
                    <a:lnTo>
                      <a:pt x="189" y="753"/>
                    </a:lnTo>
                    <a:lnTo>
                      <a:pt x="189" y="753"/>
                    </a:lnTo>
                    <a:lnTo>
                      <a:pt x="187" y="751"/>
                    </a:lnTo>
                    <a:lnTo>
                      <a:pt x="185" y="749"/>
                    </a:lnTo>
                    <a:lnTo>
                      <a:pt x="185" y="751"/>
                    </a:lnTo>
                    <a:lnTo>
                      <a:pt x="180" y="751"/>
                    </a:lnTo>
                    <a:lnTo>
                      <a:pt x="180" y="751"/>
                    </a:lnTo>
                    <a:lnTo>
                      <a:pt x="180" y="751"/>
                    </a:lnTo>
                    <a:lnTo>
                      <a:pt x="180" y="753"/>
                    </a:lnTo>
                    <a:lnTo>
                      <a:pt x="182" y="753"/>
                    </a:lnTo>
                    <a:lnTo>
                      <a:pt x="187" y="758"/>
                    </a:lnTo>
                    <a:lnTo>
                      <a:pt x="187" y="758"/>
                    </a:lnTo>
                    <a:lnTo>
                      <a:pt x="192" y="760"/>
                    </a:lnTo>
                    <a:lnTo>
                      <a:pt x="196" y="760"/>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184"/>
              <p:cNvSpPr>
                <a:spLocks/>
              </p:cNvSpPr>
              <p:nvPr/>
            </p:nvSpPr>
            <p:spPr bwMode="auto">
              <a:xfrm>
                <a:off x="2999" y="2305"/>
                <a:ext cx="194" cy="336"/>
              </a:xfrm>
              <a:custGeom>
                <a:avLst/>
                <a:gdLst>
                  <a:gd name="T0" fmla="*/ 194 w 194"/>
                  <a:gd name="T1" fmla="*/ 121 h 336"/>
                  <a:gd name="T2" fmla="*/ 185 w 194"/>
                  <a:gd name="T3" fmla="*/ 78 h 336"/>
                  <a:gd name="T4" fmla="*/ 140 w 194"/>
                  <a:gd name="T5" fmla="*/ 52 h 336"/>
                  <a:gd name="T6" fmla="*/ 95 w 194"/>
                  <a:gd name="T7" fmla="*/ 29 h 336"/>
                  <a:gd name="T8" fmla="*/ 52 w 194"/>
                  <a:gd name="T9" fmla="*/ 3 h 336"/>
                  <a:gd name="T10" fmla="*/ 29 w 194"/>
                  <a:gd name="T11" fmla="*/ 21 h 336"/>
                  <a:gd name="T12" fmla="*/ 33 w 194"/>
                  <a:gd name="T13" fmla="*/ 43 h 336"/>
                  <a:gd name="T14" fmla="*/ 45 w 194"/>
                  <a:gd name="T15" fmla="*/ 64 h 336"/>
                  <a:gd name="T16" fmla="*/ 41 w 194"/>
                  <a:gd name="T17" fmla="*/ 83 h 336"/>
                  <a:gd name="T18" fmla="*/ 38 w 194"/>
                  <a:gd name="T19" fmla="*/ 128 h 336"/>
                  <a:gd name="T20" fmla="*/ 15 w 194"/>
                  <a:gd name="T21" fmla="*/ 168 h 336"/>
                  <a:gd name="T22" fmla="*/ 0 w 194"/>
                  <a:gd name="T23" fmla="*/ 197 h 336"/>
                  <a:gd name="T24" fmla="*/ 15 w 194"/>
                  <a:gd name="T25" fmla="*/ 218 h 336"/>
                  <a:gd name="T26" fmla="*/ 24 w 194"/>
                  <a:gd name="T27" fmla="*/ 227 h 336"/>
                  <a:gd name="T28" fmla="*/ 31 w 194"/>
                  <a:gd name="T29" fmla="*/ 244 h 336"/>
                  <a:gd name="T30" fmla="*/ 31 w 194"/>
                  <a:gd name="T31" fmla="*/ 256 h 336"/>
                  <a:gd name="T32" fmla="*/ 33 w 194"/>
                  <a:gd name="T33" fmla="*/ 272 h 336"/>
                  <a:gd name="T34" fmla="*/ 38 w 194"/>
                  <a:gd name="T35" fmla="*/ 284 h 336"/>
                  <a:gd name="T36" fmla="*/ 26 w 194"/>
                  <a:gd name="T37" fmla="*/ 284 h 336"/>
                  <a:gd name="T38" fmla="*/ 12 w 194"/>
                  <a:gd name="T39" fmla="*/ 289 h 336"/>
                  <a:gd name="T40" fmla="*/ 15 w 194"/>
                  <a:gd name="T41" fmla="*/ 298 h 336"/>
                  <a:gd name="T42" fmla="*/ 26 w 194"/>
                  <a:gd name="T43" fmla="*/ 308 h 336"/>
                  <a:gd name="T44" fmla="*/ 36 w 194"/>
                  <a:gd name="T45" fmla="*/ 325 h 336"/>
                  <a:gd name="T46" fmla="*/ 41 w 194"/>
                  <a:gd name="T47" fmla="*/ 334 h 336"/>
                  <a:gd name="T48" fmla="*/ 45 w 194"/>
                  <a:gd name="T49" fmla="*/ 336 h 336"/>
                  <a:gd name="T50" fmla="*/ 55 w 194"/>
                  <a:gd name="T51" fmla="*/ 332 h 336"/>
                  <a:gd name="T52" fmla="*/ 60 w 194"/>
                  <a:gd name="T53" fmla="*/ 332 h 336"/>
                  <a:gd name="T54" fmla="*/ 67 w 194"/>
                  <a:gd name="T55" fmla="*/ 332 h 336"/>
                  <a:gd name="T56" fmla="*/ 76 w 194"/>
                  <a:gd name="T57" fmla="*/ 327 h 336"/>
                  <a:gd name="T58" fmla="*/ 93 w 194"/>
                  <a:gd name="T59" fmla="*/ 325 h 336"/>
                  <a:gd name="T60" fmla="*/ 100 w 194"/>
                  <a:gd name="T61" fmla="*/ 320 h 336"/>
                  <a:gd name="T62" fmla="*/ 104 w 194"/>
                  <a:gd name="T63" fmla="*/ 313 h 336"/>
                  <a:gd name="T64" fmla="*/ 102 w 194"/>
                  <a:gd name="T65" fmla="*/ 308 h 336"/>
                  <a:gd name="T66" fmla="*/ 112 w 194"/>
                  <a:gd name="T67" fmla="*/ 306 h 336"/>
                  <a:gd name="T68" fmla="*/ 123 w 194"/>
                  <a:gd name="T69" fmla="*/ 301 h 336"/>
                  <a:gd name="T70" fmla="*/ 135 w 194"/>
                  <a:gd name="T71" fmla="*/ 298 h 336"/>
                  <a:gd name="T72" fmla="*/ 145 w 194"/>
                  <a:gd name="T73" fmla="*/ 284 h 336"/>
                  <a:gd name="T74" fmla="*/ 152 w 194"/>
                  <a:gd name="T75" fmla="*/ 280 h 336"/>
                  <a:gd name="T76" fmla="*/ 154 w 194"/>
                  <a:gd name="T77" fmla="*/ 272 h 336"/>
                  <a:gd name="T78" fmla="*/ 159 w 194"/>
                  <a:gd name="T79" fmla="*/ 268 h 336"/>
                  <a:gd name="T80" fmla="*/ 164 w 194"/>
                  <a:gd name="T81" fmla="*/ 265 h 336"/>
                  <a:gd name="T82" fmla="*/ 173 w 194"/>
                  <a:gd name="T83" fmla="*/ 263 h 336"/>
                  <a:gd name="T84" fmla="*/ 175 w 194"/>
                  <a:gd name="T85" fmla="*/ 256 h 336"/>
                  <a:gd name="T86" fmla="*/ 171 w 194"/>
                  <a:gd name="T87" fmla="*/ 251 h 336"/>
                  <a:gd name="T88" fmla="*/ 168 w 194"/>
                  <a:gd name="T89" fmla="*/ 239 h 336"/>
                  <a:gd name="T90" fmla="*/ 166 w 194"/>
                  <a:gd name="T91" fmla="*/ 230 h 336"/>
                  <a:gd name="T92" fmla="*/ 156 w 194"/>
                  <a:gd name="T93" fmla="*/ 227 h 336"/>
                  <a:gd name="T94" fmla="*/ 156 w 194"/>
                  <a:gd name="T95" fmla="*/ 220 h 336"/>
                  <a:gd name="T96" fmla="*/ 164 w 194"/>
                  <a:gd name="T97" fmla="*/ 211 h 336"/>
                  <a:gd name="T98" fmla="*/ 161 w 194"/>
                  <a:gd name="T99" fmla="*/ 204 h 336"/>
                  <a:gd name="T100" fmla="*/ 164 w 194"/>
                  <a:gd name="T101" fmla="*/ 199 h 336"/>
                  <a:gd name="T102" fmla="*/ 168 w 194"/>
                  <a:gd name="T103" fmla="*/ 194 h 336"/>
                  <a:gd name="T104" fmla="*/ 166 w 194"/>
                  <a:gd name="T105" fmla="*/ 187 h 336"/>
                  <a:gd name="T106" fmla="*/ 171 w 194"/>
                  <a:gd name="T107" fmla="*/ 185 h 336"/>
                  <a:gd name="T108" fmla="*/ 173 w 194"/>
                  <a:gd name="T109" fmla="*/ 178 h 336"/>
                  <a:gd name="T110" fmla="*/ 175 w 194"/>
                  <a:gd name="T111" fmla="*/ 166 h 336"/>
                  <a:gd name="T112" fmla="*/ 187 w 194"/>
                  <a:gd name="T113" fmla="*/ 161 h 336"/>
                  <a:gd name="T114" fmla="*/ 194 w 194"/>
                  <a:gd name="T115" fmla="*/ 161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94" h="336">
                    <a:moveTo>
                      <a:pt x="194" y="159"/>
                    </a:moveTo>
                    <a:lnTo>
                      <a:pt x="194" y="149"/>
                    </a:lnTo>
                    <a:lnTo>
                      <a:pt x="194" y="140"/>
                    </a:lnTo>
                    <a:lnTo>
                      <a:pt x="194" y="130"/>
                    </a:lnTo>
                    <a:lnTo>
                      <a:pt x="194" y="121"/>
                    </a:lnTo>
                    <a:lnTo>
                      <a:pt x="194" y="111"/>
                    </a:lnTo>
                    <a:lnTo>
                      <a:pt x="194" y="102"/>
                    </a:lnTo>
                    <a:lnTo>
                      <a:pt x="192" y="92"/>
                    </a:lnTo>
                    <a:lnTo>
                      <a:pt x="192" y="83"/>
                    </a:lnTo>
                    <a:lnTo>
                      <a:pt x="185" y="78"/>
                    </a:lnTo>
                    <a:lnTo>
                      <a:pt x="175" y="74"/>
                    </a:lnTo>
                    <a:lnTo>
                      <a:pt x="166" y="69"/>
                    </a:lnTo>
                    <a:lnTo>
                      <a:pt x="156" y="64"/>
                    </a:lnTo>
                    <a:lnTo>
                      <a:pt x="149" y="57"/>
                    </a:lnTo>
                    <a:lnTo>
                      <a:pt x="140" y="52"/>
                    </a:lnTo>
                    <a:lnTo>
                      <a:pt x="130" y="48"/>
                    </a:lnTo>
                    <a:lnTo>
                      <a:pt x="121" y="43"/>
                    </a:lnTo>
                    <a:lnTo>
                      <a:pt x="114" y="38"/>
                    </a:lnTo>
                    <a:lnTo>
                      <a:pt x="104" y="33"/>
                    </a:lnTo>
                    <a:lnTo>
                      <a:pt x="95" y="29"/>
                    </a:lnTo>
                    <a:lnTo>
                      <a:pt x="88" y="24"/>
                    </a:lnTo>
                    <a:lnTo>
                      <a:pt x="78" y="19"/>
                    </a:lnTo>
                    <a:lnTo>
                      <a:pt x="69" y="12"/>
                    </a:lnTo>
                    <a:lnTo>
                      <a:pt x="60" y="7"/>
                    </a:lnTo>
                    <a:lnTo>
                      <a:pt x="52" y="3"/>
                    </a:lnTo>
                    <a:lnTo>
                      <a:pt x="45" y="0"/>
                    </a:lnTo>
                    <a:lnTo>
                      <a:pt x="38" y="3"/>
                    </a:lnTo>
                    <a:lnTo>
                      <a:pt x="33" y="5"/>
                    </a:lnTo>
                    <a:lnTo>
                      <a:pt x="26" y="10"/>
                    </a:lnTo>
                    <a:lnTo>
                      <a:pt x="29" y="21"/>
                    </a:lnTo>
                    <a:lnTo>
                      <a:pt x="31" y="31"/>
                    </a:lnTo>
                    <a:lnTo>
                      <a:pt x="31" y="38"/>
                    </a:lnTo>
                    <a:lnTo>
                      <a:pt x="31" y="40"/>
                    </a:lnTo>
                    <a:lnTo>
                      <a:pt x="31" y="40"/>
                    </a:lnTo>
                    <a:lnTo>
                      <a:pt x="33" y="43"/>
                    </a:lnTo>
                    <a:lnTo>
                      <a:pt x="38" y="52"/>
                    </a:lnTo>
                    <a:lnTo>
                      <a:pt x="38" y="55"/>
                    </a:lnTo>
                    <a:lnTo>
                      <a:pt x="38" y="57"/>
                    </a:lnTo>
                    <a:lnTo>
                      <a:pt x="41" y="57"/>
                    </a:lnTo>
                    <a:lnTo>
                      <a:pt x="45" y="64"/>
                    </a:lnTo>
                    <a:lnTo>
                      <a:pt x="45" y="64"/>
                    </a:lnTo>
                    <a:lnTo>
                      <a:pt x="45" y="66"/>
                    </a:lnTo>
                    <a:lnTo>
                      <a:pt x="43" y="74"/>
                    </a:lnTo>
                    <a:lnTo>
                      <a:pt x="41" y="74"/>
                    </a:lnTo>
                    <a:lnTo>
                      <a:pt x="41" y="83"/>
                    </a:lnTo>
                    <a:lnTo>
                      <a:pt x="41" y="90"/>
                    </a:lnTo>
                    <a:lnTo>
                      <a:pt x="41" y="97"/>
                    </a:lnTo>
                    <a:lnTo>
                      <a:pt x="38" y="107"/>
                    </a:lnTo>
                    <a:lnTo>
                      <a:pt x="38" y="116"/>
                    </a:lnTo>
                    <a:lnTo>
                      <a:pt x="38" y="128"/>
                    </a:lnTo>
                    <a:lnTo>
                      <a:pt x="38" y="137"/>
                    </a:lnTo>
                    <a:lnTo>
                      <a:pt x="33" y="145"/>
                    </a:lnTo>
                    <a:lnTo>
                      <a:pt x="24" y="154"/>
                    </a:lnTo>
                    <a:lnTo>
                      <a:pt x="17" y="161"/>
                    </a:lnTo>
                    <a:lnTo>
                      <a:pt x="15" y="168"/>
                    </a:lnTo>
                    <a:lnTo>
                      <a:pt x="7" y="178"/>
                    </a:lnTo>
                    <a:lnTo>
                      <a:pt x="3" y="185"/>
                    </a:lnTo>
                    <a:lnTo>
                      <a:pt x="0" y="190"/>
                    </a:lnTo>
                    <a:lnTo>
                      <a:pt x="0" y="192"/>
                    </a:lnTo>
                    <a:lnTo>
                      <a:pt x="0" y="197"/>
                    </a:lnTo>
                    <a:lnTo>
                      <a:pt x="3" y="206"/>
                    </a:lnTo>
                    <a:lnTo>
                      <a:pt x="5" y="211"/>
                    </a:lnTo>
                    <a:lnTo>
                      <a:pt x="10" y="216"/>
                    </a:lnTo>
                    <a:lnTo>
                      <a:pt x="12" y="218"/>
                    </a:lnTo>
                    <a:lnTo>
                      <a:pt x="15" y="218"/>
                    </a:lnTo>
                    <a:lnTo>
                      <a:pt x="19" y="220"/>
                    </a:lnTo>
                    <a:lnTo>
                      <a:pt x="19" y="220"/>
                    </a:lnTo>
                    <a:lnTo>
                      <a:pt x="19" y="225"/>
                    </a:lnTo>
                    <a:lnTo>
                      <a:pt x="22" y="225"/>
                    </a:lnTo>
                    <a:lnTo>
                      <a:pt x="24" y="227"/>
                    </a:lnTo>
                    <a:lnTo>
                      <a:pt x="26" y="230"/>
                    </a:lnTo>
                    <a:lnTo>
                      <a:pt x="26" y="235"/>
                    </a:lnTo>
                    <a:lnTo>
                      <a:pt x="29" y="239"/>
                    </a:lnTo>
                    <a:lnTo>
                      <a:pt x="29" y="239"/>
                    </a:lnTo>
                    <a:lnTo>
                      <a:pt x="31" y="244"/>
                    </a:lnTo>
                    <a:lnTo>
                      <a:pt x="31" y="244"/>
                    </a:lnTo>
                    <a:lnTo>
                      <a:pt x="31" y="246"/>
                    </a:lnTo>
                    <a:lnTo>
                      <a:pt x="31" y="249"/>
                    </a:lnTo>
                    <a:lnTo>
                      <a:pt x="31" y="251"/>
                    </a:lnTo>
                    <a:lnTo>
                      <a:pt x="31" y="256"/>
                    </a:lnTo>
                    <a:lnTo>
                      <a:pt x="29" y="256"/>
                    </a:lnTo>
                    <a:lnTo>
                      <a:pt x="29" y="261"/>
                    </a:lnTo>
                    <a:lnTo>
                      <a:pt x="31" y="265"/>
                    </a:lnTo>
                    <a:lnTo>
                      <a:pt x="31" y="270"/>
                    </a:lnTo>
                    <a:lnTo>
                      <a:pt x="33" y="272"/>
                    </a:lnTo>
                    <a:lnTo>
                      <a:pt x="33" y="277"/>
                    </a:lnTo>
                    <a:lnTo>
                      <a:pt x="36" y="280"/>
                    </a:lnTo>
                    <a:lnTo>
                      <a:pt x="38" y="282"/>
                    </a:lnTo>
                    <a:lnTo>
                      <a:pt x="41" y="284"/>
                    </a:lnTo>
                    <a:lnTo>
                      <a:pt x="38" y="284"/>
                    </a:lnTo>
                    <a:lnTo>
                      <a:pt x="36" y="284"/>
                    </a:lnTo>
                    <a:lnTo>
                      <a:pt x="33" y="284"/>
                    </a:lnTo>
                    <a:lnTo>
                      <a:pt x="31" y="284"/>
                    </a:lnTo>
                    <a:lnTo>
                      <a:pt x="31" y="284"/>
                    </a:lnTo>
                    <a:lnTo>
                      <a:pt x="26" y="284"/>
                    </a:lnTo>
                    <a:lnTo>
                      <a:pt x="22" y="284"/>
                    </a:lnTo>
                    <a:lnTo>
                      <a:pt x="17" y="284"/>
                    </a:lnTo>
                    <a:lnTo>
                      <a:pt x="15" y="284"/>
                    </a:lnTo>
                    <a:lnTo>
                      <a:pt x="12" y="287"/>
                    </a:lnTo>
                    <a:lnTo>
                      <a:pt x="12" y="289"/>
                    </a:lnTo>
                    <a:lnTo>
                      <a:pt x="10" y="289"/>
                    </a:lnTo>
                    <a:lnTo>
                      <a:pt x="10" y="291"/>
                    </a:lnTo>
                    <a:lnTo>
                      <a:pt x="12" y="294"/>
                    </a:lnTo>
                    <a:lnTo>
                      <a:pt x="15" y="296"/>
                    </a:lnTo>
                    <a:lnTo>
                      <a:pt x="15" y="298"/>
                    </a:lnTo>
                    <a:lnTo>
                      <a:pt x="17" y="301"/>
                    </a:lnTo>
                    <a:lnTo>
                      <a:pt x="22" y="303"/>
                    </a:lnTo>
                    <a:lnTo>
                      <a:pt x="24" y="308"/>
                    </a:lnTo>
                    <a:lnTo>
                      <a:pt x="24" y="308"/>
                    </a:lnTo>
                    <a:lnTo>
                      <a:pt x="26" y="308"/>
                    </a:lnTo>
                    <a:lnTo>
                      <a:pt x="26" y="308"/>
                    </a:lnTo>
                    <a:lnTo>
                      <a:pt x="29" y="310"/>
                    </a:lnTo>
                    <a:lnTo>
                      <a:pt x="31" y="315"/>
                    </a:lnTo>
                    <a:lnTo>
                      <a:pt x="33" y="320"/>
                    </a:lnTo>
                    <a:lnTo>
                      <a:pt x="36" y="325"/>
                    </a:lnTo>
                    <a:lnTo>
                      <a:pt x="38" y="329"/>
                    </a:lnTo>
                    <a:lnTo>
                      <a:pt x="38" y="329"/>
                    </a:lnTo>
                    <a:lnTo>
                      <a:pt x="41" y="329"/>
                    </a:lnTo>
                    <a:lnTo>
                      <a:pt x="41" y="332"/>
                    </a:lnTo>
                    <a:lnTo>
                      <a:pt x="41" y="334"/>
                    </a:lnTo>
                    <a:lnTo>
                      <a:pt x="38" y="334"/>
                    </a:lnTo>
                    <a:lnTo>
                      <a:pt x="38" y="336"/>
                    </a:lnTo>
                    <a:lnTo>
                      <a:pt x="41" y="336"/>
                    </a:lnTo>
                    <a:lnTo>
                      <a:pt x="43" y="336"/>
                    </a:lnTo>
                    <a:lnTo>
                      <a:pt x="45" y="336"/>
                    </a:lnTo>
                    <a:lnTo>
                      <a:pt x="48" y="336"/>
                    </a:lnTo>
                    <a:lnTo>
                      <a:pt x="48" y="334"/>
                    </a:lnTo>
                    <a:lnTo>
                      <a:pt x="52" y="334"/>
                    </a:lnTo>
                    <a:lnTo>
                      <a:pt x="55" y="332"/>
                    </a:lnTo>
                    <a:lnTo>
                      <a:pt x="55" y="332"/>
                    </a:lnTo>
                    <a:lnTo>
                      <a:pt x="57" y="329"/>
                    </a:lnTo>
                    <a:lnTo>
                      <a:pt x="57" y="329"/>
                    </a:lnTo>
                    <a:lnTo>
                      <a:pt x="57" y="329"/>
                    </a:lnTo>
                    <a:lnTo>
                      <a:pt x="57" y="329"/>
                    </a:lnTo>
                    <a:lnTo>
                      <a:pt x="60" y="332"/>
                    </a:lnTo>
                    <a:lnTo>
                      <a:pt x="60" y="334"/>
                    </a:lnTo>
                    <a:lnTo>
                      <a:pt x="62" y="336"/>
                    </a:lnTo>
                    <a:lnTo>
                      <a:pt x="62" y="336"/>
                    </a:lnTo>
                    <a:lnTo>
                      <a:pt x="64" y="334"/>
                    </a:lnTo>
                    <a:lnTo>
                      <a:pt x="67" y="332"/>
                    </a:lnTo>
                    <a:lnTo>
                      <a:pt x="69" y="332"/>
                    </a:lnTo>
                    <a:lnTo>
                      <a:pt x="71" y="329"/>
                    </a:lnTo>
                    <a:lnTo>
                      <a:pt x="74" y="329"/>
                    </a:lnTo>
                    <a:lnTo>
                      <a:pt x="74" y="329"/>
                    </a:lnTo>
                    <a:lnTo>
                      <a:pt x="76" y="327"/>
                    </a:lnTo>
                    <a:lnTo>
                      <a:pt x="78" y="327"/>
                    </a:lnTo>
                    <a:lnTo>
                      <a:pt x="81" y="327"/>
                    </a:lnTo>
                    <a:lnTo>
                      <a:pt x="83" y="327"/>
                    </a:lnTo>
                    <a:lnTo>
                      <a:pt x="90" y="325"/>
                    </a:lnTo>
                    <a:lnTo>
                      <a:pt x="93" y="325"/>
                    </a:lnTo>
                    <a:lnTo>
                      <a:pt x="95" y="325"/>
                    </a:lnTo>
                    <a:lnTo>
                      <a:pt x="95" y="325"/>
                    </a:lnTo>
                    <a:lnTo>
                      <a:pt x="97" y="322"/>
                    </a:lnTo>
                    <a:lnTo>
                      <a:pt x="97" y="322"/>
                    </a:lnTo>
                    <a:lnTo>
                      <a:pt x="100" y="320"/>
                    </a:lnTo>
                    <a:lnTo>
                      <a:pt x="102" y="317"/>
                    </a:lnTo>
                    <a:lnTo>
                      <a:pt x="104" y="315"/>
                    </a:lnTo>
                    <a:lnTo>
                      <a:pt x="104" y="313"/>
                    </a:lnTo>
                    <a:lnTo>
                      <a:pt x="104" y="313"/>
                    </a:lnTo>
                    <a:lnTo>
                      <a:pt x="104" y="313"/>
                    </a:lnTo>
                    <a:lnTo>
                      <a:pt x="104" y="313"/>
                    </a:lnTo>
                    <a:lnTo>
                      <a:pt x="104" y="310"/>
                    </a:lnTo>
                    <a:lnTo>
                      <a:pt x="102" y="308"/>
                    </a:lnTo>
                    <a:lnTo>
                      <a:pt x="102" y="308"/>
                    </a:lnTo>
                    <a:lnTo>
                      <a:pt x="102" y="308"/>
                    </a:lnTo>
                    <a:lnTo>
                      <a:pt x="102" y="308"/>
                    </a:lnTo>
                    <a:lnTo>
                      <a:pt x="102" y="306"/>
                    </a:lnTo>
                    <a:lnTo>
                      <a:pt x="104" y="306"/>
                    </a:lnTo>
                    <a:lnTo>
                      <a:pt x="107" y="306"/>
                    </a:lnTo>
                    <a:lnTo>
                      <a:pt x="112" y="306"/>
                    </a:lnTo>
                    <a:lnTo>
                      <a:pt x="114" y="303"/>
                    </a:lnTo>
                    <a:lnTo>
                      <a:pt x="116" y="303"/>
                    </a:lnTo>
                    <a:lnTo>
                      <a:pt x="119" y="303"/>
                    </a:lnTo>
                    <a:lnTo>
                      <a:pt x="121" y="303"/>
                    </a:lnTo>
                    <a:lnTo>
                      <a:pt x="123" y="301"/>
                    </a:lnTo>
                    <a:lnTo>
                      <a:pt x="128" y="303"/>
                    </a:lnTo>
                    <a:lnTo>
                      <a:pt x="133" y="298"/>
                    </a:lnTo>
                    <a:lnTo>
                      <a:pt x="133" y="298"/>
                    </a:lnTo>
                    <a:lnTo>
                      <a:pt x="135" y="298"/>
                    </a:lnTo>
                    <a:lnTo>
                      <a:pt x="135" y="298"/>
                    </a:lnTo>
                    <a:lnTo>
                      <a:pt x="138" y="296"/>
                    </a:lnTo>
                    <a:lnTo>
                      <a:pt x="138" y="294"/>
                    </a:lnTo>
                    <a:lnTo>
                      <a:pt x="140" y="291"/>
                    </a:lnTo>
                    <a:lnTo>
                      <a:pt x="140" y="289"/>
                    </a:lnTo>
                    <a:lnTo>
                      <a:pt x="145" y="284"/>
                    </a:lnTo>
                    <a:lnTo>
                      <a:pt x="147" y="284"/>
                    </a:lnTo>
                    <a:lnTo>
                      <a:pt x="147" y="284"/>
                    </a:lnTo>
                    <a:lnTo>
                      <a:pt x="149" y="280"/>
                    </a:lnTo>
                    <a:lnTo>
                      <a:pt x="149" y="280"/>
                    </a:lnTo>
                    <a:lnTo>
                      <a:pt x="152" y="280"/>
                    </a:lnTo>
                    <a:lnTo>
                      <a:pt x="152" y="280"/>
                    </a:lnTo>
                    <a:lnTo>
                      <a:pt x="154" y="277"/>
                    </a:lnTo>
                    <a:lnTo>
                      <a:pt x="154" y="275"/>
                    </a:lnTo>
                    <a:lnTo>
                      <a:pt x="154" y="275"/>
                    </a:lnTo>
                    <a:lnTo>
                      <a:pt x="154" y="272"/>
                    </a:lnTo>
                    <a:lnTo>
                      <a:pt x="154" y="272"/>
                    </a:lnTo>
                    <a:lnTo>
                      <a:pt x="154" y="270"/>
                    </a:lnTo>
                    <a:lnTo>
                      <a:pt x="154" y="270"/>
                    </a:lnTo>
                    <a:lnTo>
                      <a:pt x="159" y="268"/>
                    </a:lnTo>
                    <a:lnTo>
                      <a:pt x="159" y="268"/>
                    </a:lnTo>
                    <a:lnTo>
                      <a:pt x="159" y="265"/>
                    </a:lnTo>
                    <a:lnTo>
                      <a:pt x="161" y="265"/>
                    </a:lnTo>
                    <a:lnTo>
                      <a:pt x="161" y="265"/>
                    </a:lnTo>
                    <a:lnTo>
                      <a:pt x="164" y="265"/>
                    </a:lnTo>
                    <a:lnTo>
                      <a:pt x="164" y="265"/>
                    </a:lnTo>
                    <a:lnTo>
                      <a:pt x="166" y="263"/>
                    </a:lnTo>
                    <a:lnTo>
                      <a:pt x="168" y="263"/>
                    </a:lnTo>
                    <a:lnTo>
                      <a:pt x="171" y="263"/>
                    </a:lnTo>
                    <a:lnTo>
                      <a:pt x="173" y="263"/>
                    </a:lnTo>
                    <a:lnTo>
                      <a:pt x="173" y="263"/>
                    </a:lnTo>
                    <a:lnTo>
                      <a:pt x="175" y="265"/>
                    </a:lnTo>
                    <a:lnTo>
                      <a:pt x="175" y="263"/>
                    </a:lnTo>
                    <a:lnTo>
                      <a:pt x="175" y="258"/>
                    </a:lnTo>
                    <a:lnTo>
                      <a:pt x="175" y="256"/>
                    </a:lnTo>
                    <a:lnTo>
                      <a:pt x="175" y="256"/>
                    </a:lnTo>
                    <a:lnTo>
                      <a:pt x="175" y="254"/>
                    </a:lnTo>
                    <a:lnTo>
                      <a:pt x="173" y="254"/>
                    </a:lnTo>
                    <a:lnTo>
                      <a:pt x="173" y="254"/>
                    </a:lnTo>
                    <a:lnTo>
                      <a:pt x="171" y="254"/>
                    </a:lnTo>
                    <a:lnTo>
                      <a:pt x="171" y="251"/>
                    </a:lnTo>
                    <a:lnTo>
                      <a:pt x="171" y="251"/>
                    </a:lnTo>
                    <a:lnTo>
                      <a:pt x="168" y="249"/>
                    </a:lnTo>
                    <a:lnTo>
                      <a:pt x="168" y="242"/>
                    </a:lnTo>
                    <a:lnTo>
                      <a:pt x="168" y="242"/>
                    </a:lnTo>
                    <a:lnTo>
                      <a:pt x="168" y="239"/>
                    </a:lnTo>
                    <a:lnTo>
                      <a:pt x="168" y="239"/>
                    </a:lnTo>
                    <a:lnTo>
                      <a:pt x="168" y="239"/>
                    </a:lnTo>
                    <a:lnTo>
                      <a:pt x="166" y="235"/>
                    </a:lnTo>
                    <a:lnTo>
                      <a:pt x="166" y="232"/>
                    </a:lnTo>
                    <a:lnTo>
                      <a:pt x="166" y="230"/>
                    </a:lnTo>
                    <a:lnTo>
                      <a:pt x="166" y="227"/>
                    </a:lnTo>
                    <a:lnTo>
                      <a:pt x="164" y="227"/>
                    </a:lnTo>
                    <a:lnTo>
                      <a:pt x="161" y="227"/>
                    </a:lnTo>
                    <a:lnTo>
                      <a:pt x="159" y="227"/>
                    </a:lnTo>
                    <a:lnTo>
                      <a:pt x="156" y="227"/>
                    </a:lnTo>
                    <a:lnTo>
                      <a:pt x="156" y="227"/>
                    </a:lnTo>
                    <a:lnTo>
                      <a:pt x="156" y="225"/>
                    </a:lnTo>
                    <a:lnTo>
                      <a:pt x="154" y="225"/>
                    </a:lnTo>
                    <a:lnTo>
                      <a:pt x="156" y="223"/>
                    </a:lnTo>
                    <a:lnTo>
                      <a:pt x="156" y="220"/>
                    </a:lnTo>
                    <a:lnTo>
                      <a:pt x="159" y="218"/>
                    </a:lnTo>
                    <a:lnTo>
                      <a:pt x="161" y="216"/>
                    </a:lnTo>
                    <a:lnTo>
                      <a:pt x="161" y="216"/>
                    </a:lnTo>
                    <a:lnTo>
                      <a:pt x="164" y="213"/>
                    </a:lnTo>
                    <a:lnTo>
                      <a:pt x="164" y="211"/>
                    </a:lnTo>
                    <a:lnTo>
                      <a:pt x="164" y="211"/>
                    </a:lnTo>
                    <a:lnTo>
                      <a:pt x="161" y="209"/>
                    </a:lnTo>
                    <a:lnTo>
                      <a:pt x="161" y="206"/>
                    </a:lnTo>
                    <a:lnTo>
                      <a:pt x="161" y="204"/>
                    </a:lnTo>
                    <a:lnTo>
                      <a:pt x="161" y="204"/>
                    </a:lnTo>
                    <a:lnTo>
                      <a:pt x="161" y="201"/>
                    </a:lnTo>
                    <a:lnTo>
                      <a:pt x="161" y="201"/>
                    </a:lnTo>
                    <a:lnTo>
                      <a:pt x="164" y="199"/>
                    </a:lnTo>
                    <a:lnTo>
                      <a:pt x="164" y="199"/>
                    </a:lnTo>
                    <a:lnTo>
                      <a:pt x="164" y="199"/>
                    </a:lnTo>
                    <a:lnTo>
                      <a:pt x="166" y="199"/>
                    </a:lnTo>
                    <a:lnTo>
                      <a:pt x="168" y="197"/>
                    </a:lnTo>
                    <a:lnTo>
                      <a:pt x="168" y="197"/>
                    </a:lnTo>
                    <a:lnTo>
                      <a:pt x="168" y="194"/>
                    </a:lnTo>
                    <a:lnTo>
                      <a:pt x="168" y="194"/>
                    </a:lnTo>
                    <a:lnTo>
                      <a:pt x="166" y="192"/>
                    </a:lnTo>
                    <a:lnTo>
                      <a:pt x="166" y="192"/>
                    </a:lnTo>
                    <a:lnTo>
                      <a:pt x="166" y="190"/>
                    </a:lnTo>
                    <a:lnTo>
                      <a:pt x="166" y="190"/>
                    </a:lnTo>
                    <a:lnTo>
                      <a:pt x="166" y="187"/>
                    </a:lnTo>
                    <a:lnTo>
                      <a:pt x="166" y="187"/>
                    </a:lnTo>
                    <a:lnTo>
                      <a:pt x="166" y="185"/>
                    </a:lnTo>
                    <a:lnTo>
                      <a:pt x="168" y="185"/>
                    </a:lnTo>
                    <a:lnTo>
                      <a:pt x="171" y="185"/>
                    </a:lnTo>
                    <a:lnTo>
                      <a:pt x="171" y="185"/>
                    </a:lnTo>
                    <a:lnTo>
                      <a:pt x="171" y="182"/>
                    </a:lnTo>
                    <a:lnTo>
                      <a:pt x="171" y="180"/>
                    </a:lnTo>
                    <a:lnTo>
                      <a:pt x="171" y="180"/>
                    </a:lnTo>
                    <a:lnTo>
                      <a:pt x="173" y="178"/>
                    </a:lnTo>
                    <a:lnTo>
                      <a:pt x="173" y="178"/>
                    </a:lnTo>
                    <a:lnTo>
                      <a:pt x="173" y="175"/>
                    </a:lnTo>
                    <a:lnTo>
                      <a:pt x="175" y="175"/>
                    </a:lnTo>
                    <a:lnTo>
                      <a:pt x="175" y="173"/>
                    </a:lnTo>
                    <a:lnTo>
                      <a:pt x="175" y="171"/>
                    </a:lnTo>
                    <a:lnTo>
                      <a:pt x="175" y="166"/>
                    </a:lnTo>
                    <a:lnTo>
                      <a:pt x="175" y="166"/>
                    </a:lnTo>
                    <a:lnTo>
                      <a:pt x="178" y="164"/>
                    </a:lnTo>
                    <a:lnTo>
                      <a:pt x="180" y="164"/>
                    </a:lnTo>
                    <a:lnTo>
                      <a:pt x="185" y="164"/>
                    </a:lnTo>
                    <a:lnTo>
                      <a:pt x="187" y="161"/>
                    </a:lnTo>
                    <a:lnTo>
                      <a:pt x="190" y="161"/>
                    </a:lnTo>
                    <a:lnTo>
                      <a:pt x="194" y="164"/>
                    </a:lnTo>
                    <a:lnTo>
                      <a:pt x="194" y="164"/>
                    </a:lnTo>
                    <a:lnTo>
                      <a:pt x="194" y="164"/>
                    </a:lnTo>
                    <a:lnTo>
                      <a:pt x="194" y="161"/>
                    </a:lnTo>
                    <a:lnTo>
                      <a:pt x="194" y="159"/>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185"/>
              <p:cNvSpPr>
                <a:spLocks/>
              </p:cNvSpPr>
              <p:nvPr/>
            </p:nvSpPr>
            <p:spPr bwMode="auto">
              <a:xfrm>
                <a:off x="3018" y="2568"/>
                <a:ext cx="242" cy="185"/>
              </a:xfrm>
              <a:custGeom>
                <a:avLst/>
                <a:gdLst>
                  <a:gd name="T0" fmla="*/ 237 w 242"/>
                  <a:gd name="T1" fmla="*/ 111 h 185"/>
                  <a:gd name="T2" fmla="*/ 227 w 242"/>
                  <a:gd name="T3" fmla="*/ 104 h 185"/>
                  <a:gd name="T4" fmla="*/ 220 w 242"/>
                  <a:gd name="T5" fmla="*/ 95 h 185"/>
                  <a:gd name="T6" fmla="*/ 213 w 242"/>
                  <a:gd name="T7" fmla="*/ 83 h 185"/>
                  <a:gd name="T8" fmla="*/ 201 w 242"/>
                  <a:gd name="T9" fmla="*/ 71 h 185"/>
                  <a:gd name="T10" fmla="*/ 187 w 242"/>
                  <a:gd name="T11" fmla="*/ 57 h 185"/>
                  <a:gd name="T12" fmla="*/ 180 w 242"/>
                  <a:gd name="T13" fmla="*/ 50 h 185"/>
                  <a:gd name="T14" fmla="*/ 168 w 242"/>
                  <a:gd name="T15" fmla="*/ 45 h 185"/>
                  <a:gd name="T16" fmla="*/ 171 w 242"/>
                  <a:gd name="T17" fmla="*/ 35 h 185"/>
                  <a:gd name="T18" fmla="*/ 168 w 242"/>
                  <a:gd name="T19" fmla="*/ 17 h 185"/>
                  <a:gd name="T20" fmla="*/ 154 w 242"/>
                  <a:gd name="T21" fmla="*/ 0 h 185"/>
                  <a:gd name="T22" fmla="*/ 145 w 242"/>
                  <a:gd name="T23" fmla="*/ 2 h 185"/>
                  <a:gd name="T24" fmla="*/ 135 w 242"/>
                  <a:gd name="T25" fmla="*/ 7 h 185"/>
                  <a:gd name="T26" fmla="*/ 135 w 242"/>
                  <a:gd name="T27" fmla="*/ 14 h 185"/>
                  <a:gd name="T28" fmla="*/ 128 w 242"/>
                  <a:gd name="T29" fmla="*/ 21 h 185"/>
                  <a:gd name="T30" fmla="*/ 116 w 242"/>
                  <a:gd name="T31" fmla="*/ 35 h 185"/>
                  <a:gd name="T32" fmla="*/ 102 w 242"/>
                  <a:gd name="T33" fmla="*/ 40 h 185"/>
                  <a:gd name="T34" fmla="*/ 85 w 242"/>
                  <a:gd name="T35" fmla="*/ 43 h 185"/>
                  <a:gd name="T36" fmla="*/ 85 w 242"/>
                  <a:gd name="T37" fmla="*/ 47 h 185"/>
                  <a:gd name="T38" fmla="*/ 83 w 242"/>
                  <a:gd name="T39" fmla="*/ 54 h 185"/>
                  <a:gd name="T40" fmla="*/ 74 w 242"/>
                  <a:gd name="T41" fmla="*/ 62 h 185"/>
                  <a:gd name="T42" fmla="*/ 55 w 242"/>
                  <a:gd name="T43" fmla="*/ 66 h 185"/>
                  <a:gd name="T44" fmla="*/ 43 w 242"/>
                  <a:gd name="T45" fmla="*/ 73 h 185"/>
                  <a:gd name="T46" fmla="*/ 38 w 242"/>
                  <a:gd name="T47" fmla="*/ 66 h 185"/>
                  <a:gd name="T48" fmla="*/ 29 w 242"/>
                  <a:gd name="T49" fmla="*/ 73 h 185"/>
                  <a:gd name="T50" fmla="*/ 14 w 242"/>
                  <a:gd name="T51" fmla="*/ 78 h 185"/>
                  <a:gd name="T52" fmla="*/ 10 w 242"/>
                  <a:gd name="T53" fmla="*/ 90 h 185"/>
                  <a:gd name="T54" fmla="*/ 3 w 242"/>
                  <a:gd name="T55" fmla="*/ 102 h 185"/>
                  <a:gd name="T56" fmla="*/ 0 w 242"/>
                  <a:gd name="T57" fmla="*/ 107 h 185"/>
                  <a:gd name="T58" fmla="*/ 3 w 242"/>
                  <a:gd name="T59" fmla="*/ 116 h 185"/>
                  <a:gd name="T60" fmla="*/ 3 w 242"/>
                  <a:gd name="T61" fmla="*/ 123 h 185"/>
                  <a:gd name="T62" fmla="*/ 10 w 242"/>
                  <a:gd name="T63" fmla="*/ 140 h 185"/>
                  <a:gd name="T64" fmla="*/ 12 w 242"/>
                  <a:gd name="T65" fmla="*/ 147 h 185"/>
                  <a:gd name="T66" fmla="*/ 19 w 242"/>
                  <a:gd name="T67" fmla="*/ 159 h 185"/>
                  <a:gd name="T68" fmla="*/ 29 w 242"/>
                  <a:gd name="T69" fmla="*/ 168 h 185"/>
                  <a:gd name="T70" fmla="*/ 31 w 242"/>
                  <a:gd name="T71" fmla="*/ 175 h 185"/>
                  <a:gd name="T72" fmla="*/ 33 w 242"/>
                  <a:gd name="T73" fmla="*/ 185 h 185"/>
                  <a:gd name="T74" fmla="*/ 38 w 242"/>
                  <a:gd name="T75" fmla="*/ 168 h 185"/>
                  <a:gd name="T76" fmla="*/ 41 w 242"/>
                  <a:gd name="T77" fmla="*/ 159 h 185"/>
                  <a:gd name="T78" fmla="*/ 55 w 242"/>
                  <a:gd name="T79" fmla="*/ 154 h 185"/>
                  <a:gd name="T80" fmla="*/ 64 w 242"/>
                  <a:gd name="T81" fmla="*/ 156 h 185"/>
                  <a:gd name="T82" fmla="*/ 71 w 242"/>
                  <a:gd name="T83" fmla="*/ 156 h 185"/>
                  <a:gd name="T84" fmla="*/ 78 w 242"/>
                  <a:gd name="T85" fmla="*/ 154 h 185"/>
                  <a:gd name="T86" fmla="*/ 81 w 242"/>
                  <a:gd name="T87" fmla="*/ 137 h 185"/>
                  <a:gd name="T88" fmla="*/ 102 w 242"/>
                  <a:gd name="T89" fmla="*/ 125 h 185"/>
                  <a:gd name="T90" fmla="*/ 116 w 242"/>
                  <a:gd name="T91" fmla="*/ 137 h 185"/>
                  <a:gd name="T92" fmla="*/ 128 w 242"/>
                  <a:gd name="T93" fmla="*/ 142 h 185"/>
                  <a:gd name="T94" fmla="*/ 149 w 242"/>
                  <a:gd name="T95" fmla="*/ 144 h 185"/>
                  <a:gd name="T96" fmla="*/ 159 w 242"/>
                  <a:gd name="T97" fmla="*/ 133 h 185"/>
                  <a:gd name="T98" fmla="*/ 173 w 242"/>
                  <a:gd name="T99" fmla="*/ 130 h 185"/>
                  <a:gd name="T100" fmla="*/ 192 w 242"/>
                  <a:gd name="T101" fmla="*/ 128 h 185"/>
                  <a:gd name="T102" fmla="*/ 206 w 242"/>
                  <a:gd name="T103" fmla="*/ 121 h 185"/>
                  <a:gd name="T104" fmla="*/ 230 w 242"/>
                  <a:gd name="T105" fmla="*/ 125 h 185"/>
                  <a:gd name="T106" fmla="*/ 239 w 242"/>
                  <a:gd name="T107" fmla="*/ 123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42" h="185">
                    <a:moveTo>
                      <a:pt x="239" y="123"/>
                    </a:moveTo>
                    <a:lnTo>
                      <a:pt x="239" y="121"/>
                    </a:lnTo>
                    <a:lnTo>
                      <a:pt x="239" y="116"/>
                    </a:lnTo>
                    <a:lnTo>
                      <a:pt x="239" y="114"/>
                    </a:lnTo>
                    <a:lnTo>
                      <a:pt x="237" y="114"/>
                    </a:lnTo>
                    <a:lnTo>
                      <a:pt x="237" y="111"/>
                    </a:lnTo>
                    <a:lnTo>
                      <a:pt x="237" y="111"/>
                    </a:lnTo>
                    <a:lnTo>
                      <a:pt x="234" y="109"/>
                    </a:lnTo>
                    <a:lnTo>
                      <a:pt x="232" y="109"/>
                    </a:lnTo>
                    <a:lnTo>
                      <a:pt x="230" y="107"/>
                    </a:lnTo>
                    <a:lnTo>
                      <a:pt x="230" y="104"/>
                    </a:lnTo>
                    <a:lnTo>
                      <a:pt x="227" y="104"/>
                    </a:lnTo>
                    <a:lnTo>
                      <a:pt x="225" y="104"/>
                    </a:lnTo>
                    <a:lnTo>
                      <a:pt x="223" y="102"/>
                    </a:lnTo>
                    <a:lnTo>
                      <a:pt x="223" y="99"/>
                    </a:lnTo>
                    <a:lnTo>
                      <a:pt x="223" y="97"/>
                    </a:lnTo>
                    <a:lnTo>
                      <a:pt x="220" y="97"/>
                    </a:lnTo>
                    <a:lnTo>
                      <a:pt x="220" y="95"/>
                    </a:lnTo>
                    <a:lnTo>
                      <a:pt x="223" y="92"/>
                    </a:lnTo>
                    <a:lnTo>
                      <a:pt x="220" y="90"/>
                    </a:lnTo>
                    <a:lnTo>
                      <a:pt x="218" y="88"/>
                    </a:lnTo>
                    <a:lnTo>
                      <a:pt x="216" y="88"/>
                    </a:lnTo>
                    <a:lnTo>
                      <a:pt x="216" y="85"/>
                    </a:lnTo>
                    <a:lnTo>
                      <a:pt x="213" y="83"/>
                    </a:lnTo>
                    <a:lnTo>
                      <a:pt x="206" y="78"/>
                    </a:lnTo>
                    <a:lnTo>
                      <a:pt x="204" y="78"/>
                    </a:lnTo>
                    <a:lnTo>
                      <a:pt x="201" y="76"/>
                    </a:lnTo>
                    <a:lnTo>
                      <a:pt x="199" y="73"/>
                    </a:lnTo>
                    <a:lnTo>
                      <a:pt x="199" y="73"/>
                    </a:lnTo>
                    <a:lnTo>
                      <a:pt x="201" y="71"/>
                    </a:lnTo>
                    <a:lnTo>
                      <a:pt x="201" y="69"/>
                    </a:lnTo>
                    <a:lnTo>
                      <a:pt x="199" y="66"/>
                    </a:lnTo>
                    <a:lnTo>
                      <a:pt x="197" y="64"/>
                    </a:lnTo>
                    <a:lnTo>
                      <a:pt x="194" y="59"/>
                    </a:lnTo>
                    <a:lnTo>
                      <a:pt x="192" y="59"/>
                    </a:lnTo>
                    <a:lnTo>
                      <a:pt x="187" y="57"/>
                    </a:lnTo>
                    <a:lnTo>
                      <a:pt x="185" y="57"/>
                    </a:lnTo>
                    <a:lnTo>
                      <a:pt x="182" y="57"/>
                    </a:lnTo>
                    <a:lnTo>
                      <a:pt x="182" y="54"/>
                    </a:lnTo>
                    <a:lnTo>
                      <a:pt x="180" y="52"/>
                    </a:lnTo>
                    <a:lnTo>
                      <a:pt x="182" y="50"/>
                    </a:lnTo>
                    <a:lnTo>
                      <a:pt x="180" y="50"/>
                    </a:lnTo>
                    <a:lnTo>
                      <a:pt x="180" y="50"/>
                    </a:lnTo>
                    <a:lnTo>
                      <a:pt x="178" y="47"/>
                    </a:lnTo>
                    <a:lnTo>
                      <a:pt x="175" y="47"/>
                    </a:lnTo>
                    <a:lnTo>
                      <a:pt x="171" y="47"/>
                    </a:lnTo>
                    <a:lnTo>
                      <a:pt x="171" y="47"/>
                    </a:lnTo>
                    <a:lnTo>
                      <a:pt x="168" y="45"/>
                    </a:lnTo>
                    <a:lnTo>
                      <a:pt x="168" y="43"/>
                    </a:lnTo>
                    <a:lnTo>
                      <a:pt x="168" y="43"/>
                    </a:lnTo>
                    <a:lnTo>
                      <a:pt x="168" y="43"/>
                    </a:lnTo>
                    <a:lnTo>
                      <a:pt x="168" y="40"/>
                    </a:lnTo>
                    <a:lnTo>
                      <a:pt x="168" y="40"/>
                    </a:lnTo>
                    <a:lnTo>
                      <a:pt x="171" y="35"/>
                    </a:lnTo>
                    <a:lnTo>
                      <a:pt x="171" y="35"/>
                    </a:lnTo>
                    <a:lnTo>
                      <a:pt x="171" y="28"/>
                    </a:lnTo>
                    <a:lnTo>
                      <a:pt x="171" y="26"/>
                    </a:lnTo>
                    <a:lnTo>
                      <a:pt x="171" y="24"/>
                    </a:lnTo>
                    <a:lnTo>
                      <a:pt x="168" y="19"/>
                    </a:lnTo>
                    <a:lnTo>
                      <a:pt x="168" y="17"/>
                    </a:lnTo>
                    <a:lnTo>
                      <a:pt x="164" y="12"/>
                    </a:lnTo>
                    <a:lnTo>
                      <a:pt x="164" y="12"/>
                    </a:lnTo>
                    <a:lnTo>
                      <a:pt x="159" y="5"/>
                    </a:lnTo>
                    <a:lnTo>
                      <a:pt x="156" y="5"/>
                    </a:lnTo>
                    <a:lnTo>
                      <a:pt x="156" y="2"/>
                    </a:lnTo>
                    <a:lnTo>
                      <a:pt x="154" y="0"/>
                    </a:lnTo>
                    <a:lnTo>
                      <a:pt x="154" y="0"/>
                    </a:lnTo>
                    <a:lnTo>
                      <a:pt x="152" y="0"/>
                    </a:lnTo>
                    <a:lnTo>
                      <a:pt x="149" y="0"/>
                    </a:lnTo>
                    <a:lnTo>
                      <a:pt x="147" y="0"/>
                    </a:lnTo>
                    <a:lnTo>
                      <a:pt x="145" y="2"/>
                    </a:lnTo>
                    <a:lnTo>
                      <a:pt x="145" y="2"/>
                    </a:lnTo>
                    <a:lnTo>
                      <a:pt x="142" y="2"/>
                    </a:lnTo>
                    <a:lnTo>
                      <a:pt x="142" y="2"/>
                    </a:lnTo>
                    <a:lnTo>
                      <a:pt x="140" y="2"/>
                    </a:lnTo>
                    <a:lnTo>
                      <a:pt x="140" y="5"/>
                    </a:lnTo>
                    <a:lnTo>
                      <a:pt x="140" y="5"/>
                    </a:lnTo>
                    <a:lnTo>
                      <a:pt x="135" y="7"/>
                    </a:lnTo>
                    <a:lnTo>
                      <a:pt x="135" y="7"/>
                    </a:lnTo>
                    <a:lnTo>
                      <a:pt x="135" y="9"/>
                    </a:lnTo>
                    <a:lnTo>
                      <a:pt x="135" y="9"/>
                    </a:lnTo>
                    <a:lnTo>
                      <a:pt x="135" y="12"/>
                    </a:lnTo>
                    <a:lnTo>
                      <a:pt x="135" y="12"/>
                    </a:lnTo>
                    <a:lnTo>
                      <a:pt x="135" y="14"/>
                    </a:lnTo>
                    <a:lnTo>
                      <a:pt x="133" y="17"/>
                    </a:lnTo>
                    <a:lnTo>
                      <a:pt x="133" y="17"/>
                    </a:lnTo>
                    <a:lnTo>
                      <a:pt x="130" y="17"/>
                    </a:lnTo>
                    <a:lnTo>
                      <a:pt x="130" y="17"/>
                    </a:lnTo>
                    <a:lnTo>
                      <a:pt x="128" y="21"/>
                    </a:lnTo>
                    <a:lnTo>
                      <a:pt x="128" y="21"/>
                    </a:lnTo>
                    <a:lnTo>
                      <a:pt x="126" y="21"/>
                    </a:lnTo>
                    <a:lnTo>
                      <a:pt x="121" y="26"/>
                    </a:lnTo>
                    <a:lnTo>
                      <a:pt x="121" y="28"/>
                    </a:lnTo>
                    <a:lnTo>
                      <a:pt x="119" y="31"/>
                    </a:lnTo>
                    <a:lnTo>
                      <a:pt x="119" y="33"/>
                    </a:lnTo>
                    <a:lnTo>
                      <a:pt x="116" y="35"/>
                    </a:lnTo>
                    <a:lnTo>
                      <a:pt x="116" y="35"/>
                    </a:lnTo>
                    <a:lnTo>
                      <a:pt x="114" y="35"/>
                    </a:lnTo>
                    <a:lnTo>
                      <a:pt x="114" y="35"/>
                    </a:lnTo>
                    <a:lnTo>
                      <a:pt x="109" y="40"/>
                    </a:lnTo>
                    <a:lnTo>
                      <a:pt x="104" y="38"/>
                    </a:lnTo>
                    <a:lnTo>
                      <a:pt x="102" y="40"/>
                    </a:lnTo>
                    <a:lnTo>
                      <a:pt x="100" y="40"/>
                    </a:lnTo>
                    <a:lnTo>
                      <a:pt x="97" y="40"/>
                    </a:lnTo>
                    <a:lnTo>
                      <a:pt x="95" y="40"/>
                    </a:lnTo>
                    <a:lnTo>
                      <a:pt x="93" y="43"/>
                    </a:lnTo>
                    <a:lnTo>
                      <a:pt x="88" y="43"/>
                    </a:lnTo>
                    <a:lnTo>
                      <a:pt x="85" y="43"/>
                    </a:lnTo>
                    <a:lnTo>
                      <a:pt x="83" y="43"/>
                    </a:lnTo>
                    <a:lnTo>
                      <a:pt x="83" y="45"/>
                    </a:lnTo>
                    <a:lnTo>
                      <a:pt x="83" y="45"/>
                    </a:lnTo>
                    <a:lnTo>
                      <a:pt x="83" y="45"/>
                    </a:lnTo>
                    <a:lnTo>
                      <a:pt x="83" y="45"/>
                    </a:lnTo>
                    <a:lnTo>
                      <a:pt x="85" y="47"/>
                    </a:lnTo>
                    <a:lnTo>
                      <a:pt x="85" y="50"/>
                    </a:lnTo>
                    <a:lnTo>
                      <a:pt x="85" y="50"/>
                    </a:lnTo>
                    <a:lnTo>
                      <a:pt x="85" y="50"/>
                    </a:lnTo>
                    <a:lnTo>
                      <a:pt x="85" y="50"/>
                    </a:lnTo>
                    <a:lnTo>
                      <a:pt x="85" y="52"/>
                    </a:lnTo>
                    <a:lnTo>
                      <a:pt x="83" y="54"/>
                    </a:lnTo>
                    <a:lnTo>
                      <a:pt x="81" y="57"/>
                    </a:lnTo>
                    <a:lnTo>
                      <a:pt x="78" y="59"/>
                    </a:lnTo>
                    <a:lnTo>
                      <a:pt x="78" y="59"/>
                    </a:lnTo>
                    <a:lnTo>
                      <a:pt x="76" y="62"/>
                    </a:lnTo>
                    <a:lnTo>
                      <a:pt x="76" y="62"/>
                    </a:lnTo>
                    <a:lnTo>
                      <a:pt x="74" y="62"/>
                    </a:lnTo>
                    <a:lnTo>
                      <a:pt x="71" y="62"/>
                    </a:lnTo>
                    <a:lnTo>
                      <a:pt x="64" y="64"/>
                    </a:lnTo>
                    <a:lnTo>
                      <a:pt x="62" y="64"/>
                    </a:lnTo>
                    <a:lnTo>
                      <a:pt x="59" y="64"/>
                    </a:lnTo>
                    <a:lnTo>
                      <a:pt x="57" y="64"/>
                    </a:lnTo>
                    <a:lnTo>
                      <a:pt x="55" y="66"/>
                    </a:lnTo>
                    <a:lnTo>
                      <a:pt x="55" y="66"/>
                    </a:lnTo>
                    <a:lnTo>
                      <a:pt x="52" y="66"/>
                    </a:lnTo>
                    <a:lnTo>
                      <a:pt x="50" y="69"/>
                    </a:lnTo>
                    <a:lnTo>
                      <a:pt x="48" y="69"/>
                    </a:lnTo>
                    <a:lnTo>
                      <a:pt x="45" y="71"/>
                    </a:lnTo>
                    <a:lnTo>
                      <a:pt x="43" y="73"/>
                    </a:lnTo>
                    <a:lnTo>
                      <a:pt x="43" y="73"/>
                    </a:lnTo>
                    <a:lnTo>
                      <a:pt x="41" y="71"/>
                    </a:lnTo>
                    <a:lnTo>
                      <a:pt x="41" y="69"/>
                    </a:lnTo>
                    <a:lnTo>
                      <a:pt x="38" y="66"/>
                    </a:lnTo>
                    <a:lnTo>
                      <a:pt x="38" y="66"/>
                    </a:lnTo>
                    <a:lnTo>
                      <a:pt x="38" y="66"/>
                    </a:lnTo>
                    <a:lnTo>
                      <a:pt x="38" y="66"/>
                    </a:lnTo>
                    <a:lnTo>
                      <a:pt x="36" y="69"/>
                    </a:lnTo>
                    <a:lnTo>
                      <a:pt x="36" y="69"/>
                    </a:lnTo>
                    <a:lnTo>
                      <a:pt x="33" y="71"/>
                    </a:lnTo>
                    <a:lnTo>
                      <a:pt x="29" y="71"/>
                    </a:lnTo>
                    <a:lnTo>
                      <a:pt x="29" y="73"/>
                    </a:lnTo>
                    <a:lnTo>
                      <a:pt x="26" y="73"/>
                    </a:lnTo>
                    <a:lnTo>
                      <a:pt x="24" y="73"/>
                    </a:lnTo>
                    <a:lnTo>
                      <a:pt x="22" y="73"/>
                    </a:lnTo>
                    <a:lnTo>
                      <a:pt x="19" y="73"/>
                    </a:lnTo>
                    <a:lnTo>
                      <a:pt x="17" y="76"/>
                    </a:lnTo>
                    <a:lnTo>
                      <a:pt x="14" y="78"/>
                    </a:lnTo>
                    <a:lnTo>
                      <a:pt x="14" y="80"/>
                    </a:lnTo>
                    <a:lnTo>
                      <a:pt x="14" y="80"/>
                    </a:lnTo>
                    <a:lnTo>
                      <a:pt x="12" y="83"/>
                    </a:lnTo>
                    <a:lnTo>
                      <a:pt x="12" y="85"/>
                    </a:lnTo>
                    <a:lnTo>
                      <a:pt x="10" y="88"/>
                    </a:lnTo>
                    <a:lnTo>
                      <a:pt x="10" y="90"/>
                    </a:lnTo>
                    <a:lnTo>
                      <a:pt x="7" y="92"/>
                    </a:lnTo>
                    <a:lnTo>
                      <a:pt x="5" y="97"/>
                    </a:lnTo>
                    <a:lnTo>
                      <a:pt x="5" y="99"/>
                    </a:lnTo>
                    <a:lnTo>
                      <a:pt x="5" y="99"/>
                    </a:lnTo>
                    <a:lnTo>
                      <a:pt x="5" y="99"/>
                    </a:lnTo>
                    <a:lnTo>
                      <a:pt x="3" y="102"/>
                    </a:lnTo>
                    <a:lnTo>
                      <a:pt x="0" y="102"/>
                    </a:lnTo>
                    <a:lnTo>
                      <a:pt x="0" y="102"/>
                    </a:lnTo>
                    <a:lnTo>
                      <a:pt x="0" y="104"/>
                    </a:lnTo>
                    <a:lnTo>
                      <a:pt x="0" y="104"/>
                    </a:lnTo>
                    <a:lnTo>
                      <a:pt x="0" y="107"/>
                    </a:lnTo>
                    <a:lnTo>
                      <a:pt x="0" y="107"/>
                    </a:lnTo>
                    <a:lnTo>
                      <a:pt x="3" y="107"/>
                    </a:lnTo>
                    <a:lnTo>
                      <a:pt x="3" y="107"/>
                    </a:lnTo>
                    <a:lnTo>
                      <a:pt x="3" y="107"/>
                    </a:lnTo>
                    <a:lnTo>
                      <a:pt x="3" y="109"/>
                    </a:lnTo>
                    <a:lnTo>
                      <a:pt x="3" y="116"/>
                    </a:lnTo>
                    <a:lnTo>
                      <a:pt x="3" y="116"/>
                    </a:lnTo>
                    <a:lnTo>
                      <a:pt x="3" y="118"/>
                    </a:lnTo>
                    <a:lnTo>
                      <a:pt x="3" y="118"/>
                    </a:lnTo>
                    <a:lnTo>
                      <a:pt x="3" y="121"/>
                    </a:lnTo>
                    <a:lnTo>
                      <a:pt x="3" y="121"/>
                    </a:lnTo>
                    <a:lnTo>
                      <a:pt x="3" y="121"/>
                    </a:lnTo>
                    <a:lnTo>
                      <a:pt x="3" y="123"/>
                    </a:lnTo>
                    <a:lnTo>
                      <a:pt x="5" y="125"/>
                    </a:lnTo>
                    <a:lnTo>
                      <a:pt x="5" y="133"/>
                    </a:lnTo>
                    <a:lnTo>
                      <a:pt x="5" y="135"/>
                    </a:lnTo>
                    <a:lnTo>
                      <a:pt x="5" y="135"/>
                    </a:lnTo>
                    <a:lnTo>
                      <a:pt x="7" y="137"/>
                    </a:lnTo>
                    <a:lnTo>
                      <a:pt x="10" y="140"/>
                    </a:lnTo>
                    <a:lnTo>
                      <a:pt x="12" y="142"/>
                    </a:lnTo>
                    <a:lnTo>
                      <a:pt x="12" y="144"/>
                    </a:lnTo>
                    <a:lnTo>
                      <a:pt x="12" y="147"/>
                    </a:lnTo>
                    <a:lnTo>
                      <a:pt x="12" y="147"/>
                    </a:lnTo>
                    <a:lnTo>
                      <a:pt x="12" y="147"/>
                    </a:lnTo>
                    <a:lnTo>
                      <a:pt x="12" y="147"/>
                    </a:lnTo>
                    <a:lnTo>
                      <a:pt x="12" y="147"/>
                    </a:lnTo>
                    <a:lnTo>
                      <a:pt x="12" y="149"/>
                    </a:lnTo>
                    <a:lnTo>
                      <a:pt x="12" y="152"/>
                    </a:lnTo>
                    <a:lnTo>
                      <a:pt x="14" y="154"/>
                    </a:lnTo>
                    <a:lnTo>
                      <a:pt x="17" y="156"/>
                    </a:lnTo>
                    <a:lnTo>
                      <a:pt x="19" y="159"/>
                    </a:lnTo>
                    <a:lnTo>
                      <a:pt x="22" y="161"/>
                    </a:lnTo>
                    <a:lnTo>
                      <a:pt x="24" y="163"/>
                    </a:lnTo>
                    <a:lnTo>
                      <a:pt x="24" y="166"/>
                    </a:lnTo>
                    <a:lnTo>
                      <a:pt x="26" y="166"/>
                    </a:lnTo>
                    <a:lnTo>
                      <a:pt x="26" y="166"/>
                    </a:lnTo>
                    <a:lnTo>
                      <a:pt x="29" y="168"/>
                    </a:lnTo>
                    <a:lnTo>
                      <a:pt x="29" y="168"/>
                    </a:lnTo>
                    <a:lnTo>
                      <a:pt x="29" y="168"/>
                    </a:lnTo>
                    <a:lnTo>
                      <a:pt x="31" y="170"/>
                    </a:lnTo>
                    <a:lnTo>
                      <a:pt x="31" y="173"/>
                    </a:lnTo>
                    <a:lnTo>
                      <a:pt x="31" y="173"/>
                    </a:lnTo>
                    <a:lnTo>
                      <a:pt x="31" y="175"/>
                    </a:lnTo>
                    <a:lnTo>
                      <a:pt x="31" y="175"/>
                    </a:lnTo>
                    <a:lnTo>
                      <a:pt x="31" y="178"/>
                    </a:lnTo>
                    <a:lnTo>
                      <a:pt x="31" y="178"/>
                    </a:lnTo>
                    <a:lnTo>
                      <a:pt x="31" y="180"/>
                    </a:lnTo>
                    <a:lnTo>
                      <a:pt x="31" y="182"/>
                    </a:lnTo>
                    <a:lnTo>
                      <a:pt x="33" y="185"/>
                    </a:lnTo>
                    <a:lnTo>
                      <a:pt x="33" y="182"/>
                    </a:lnTo>
                    <a:lnTo>
                      <a:pt x="36" y="178"/>
                    </a:lnTo>
                    <a:lnTo>
                      <a:pt x="36" y="175"/>
                    </a:lnTo>
                    <a:lnTo>
                      <a:pt x="38" y="173"/>
                    </a:lnTo>
                    <a:lnTo>
                      <a:pt x="38" y="170"/>
                    </a:lnTo>
                    <a:lnTo>
                      <a:pt x="38" y="168"/>
                    </a:lnTo>
                    <a:lnTo>
                      <a:pt x="38" y="166"/>
                    </a:lnTo>
                    <a:lnTo>
                      <a:pt x="38" y="166"/>
                    </a:lnTo>
                    <a:lnTo>
                      <a:pt x="38" y="163"/>
                    </a:lnTo>
                    <a:lnTo>
                      <a:pt x="38" y="161"/>
                    </a:lnTo>
                    <a:lnTo>
                      <a:pt x="41" y="159"/>
                    </a:lnTo>
                    <a:lnTo>
                      <a:pt x="41" y="159"/>
                    </a:lnTo>
                    <a:lnTo>
                      <a:pt x="41" y="156"/>
                    </a:lnTo>
                    <a:lnTo>
                      <a:pt x="43" y="156"/>
                    </a:lnTo>
                    <a:lnTo>
                      <a:pt x="48" y="156"/>
                    </a:lnTo>
                    <a:lnTo>
                      <a:pt x="52" y="156"/>
                    </a:lnTo>
                    <a:lnTo>
                      <a:pt x="52" y="156"/>
                    </a:lnTo>
                    <a:lnTo>
                      <a:pt x="55" y="154"/>
                    </a:lnTo>
                    <a:lnTo>
                      <a:pt x="57" y="154"/>
                    </a:lnTo>
                    <a:lnTo>
                      <a:pt x="57" y="154"/>
                    </a:lnTo>
                    <a:lnTo>
                      <a:pt x="62" y="156"/>
                    </a:lnTo>
                    <a:lnTo>
                      <a:pt x="64" y="156"/>
                    </a:lnTo>
                    <a:lnTo>
                      <a:pt x="64" y="156"/>
                    </a:lnTo>
                    <a:lnTo>
                      <a:pt x="64" y="156"/>
                    </a:lnTo>
                    <a:lnTo>
                      <a:pt x="67" y="156"/>
                    </a:lnTo>
                    <a:lnTo>
                      <a:pt x="67" y="156"/>
                    </a:lnTo>
                    <a:lnTo>
                      <a:pt x="69" y="156"/>
                    </a:lnTo>
                    <a:lnTo>
                      <a:pt x="69" y="159"/>
                    </a:lnTo>
                    <a:lnTo>
                      <a:pt x="69" y="159"/>
                    </a:lnTo>
                    <a:lnTo>
                      <a:pt x="71" y="156"/>
                    </a:lnTo>
                    <a:lnTo>
                      <a:pt x="71" y="156"/>
                    </a:lnTo>
                    <a:lnTo>
                      <a:pt x="76" y="156"/>
                    </a:lnTo>
                    <a:lnTo>
                      <a:pt x="76" y="156"/>
                    </a:lnTo>
                    <a:lnTo>
                      <a:pt x="76" y="159"/>
                    </a:lnTo>
                    <a:lnTo>
                      <a:pt x="78" y="159"/>
                    </a:lnTo>
                    <a:lnTo>
                      <a:pt x="78" y="154"/>
                    </a:lnTo>
                    <a:lnTo>
                      <a:pt x="78" y="149"/>
                    </a:lnTo>
                    <a:lnTo>
                      <a:pt x="78" y="144"/>
                    </a:lnTo>
                    <a:lnTo>
                      <a:pt x="76" y="142"/>
                    </a:lnTo>
                    <a:lnTo>
                      <a:pt x="78" y="140"/>
                    </a:lnTo>
                    <a:lnTo>
                      <a:pt x="78" y="140"/>
                    </a:lnTo>
                    <a:lnTo>
                      <a:pt x="81" y="137"/>
                    </a:lnTo>
                    <a:lnTo>
                      <a:pt x="85" y="128"/>
                    </a:lnTo>
                    <a:lnTo>
                      <a:pt x="90" y="125"/>
                    </a:lnTo>
                    <a:lnTo>
                      <a:pt x="95" y="123"/>
                    </a:lnTo>
                    <a:lnTo>
                      <a:pt x="97" y="123"/>
                    </a:lnTo>
                    <a:lnTo>
                      <a:pt x="100" y="125"/>
                    </a:lnTo>
                    <a:lnTo>
                      <a:pt x="102" y="125"/>
                    </a:lnTo>
                    <a:lnTo>
                      <a:pt x="104" y="128"/>
                    </a:lnTo>
                    <a:lnTo>
                      <a:pt x="107" y="130"/>
                    </a:lnTo>
                    <a:lnTo>
                      <a:pt x="111" y="133"/>
                    </a:lnTo>
                    <a:lnTo>
                      <a:pt x="111" y="135"/>
                    </a:lnTo>
                    <a:lnTo>
                      <a:pt x="114" y="137"/>
                    </a:lnTo>
                    <a:lnTo>
                      <a:pt x="116" y="137"/>
                    </a:lnTo>
                    <a:lnTo>
                      <a:pt x="119" y="137"/>
                    </a:lnTo>
                    <a:lnTo>
                      <a:pt x="121" y="140"/>
                    </a:lnTo>
                    <a:lnTo>
                      <a:pt x="126" y="140"/>
                    </a:lnTo>
                    <a:lnTo>
                      <a:pt x="126" y="142"/>
                    </a:lnTo>
                    <a:lnTo>
                      <a:pt x="128" y="140"/>
                    </a:lnTo>
                    <a:lnTo>
                      <a:pt x="128" y="142"/>
                    </a:lnTo>
                    <a:lnTo>
                      <a:pt x="133" y="142"/>
                    </a:lnTo>
                    <a:lnTo>
                      <a:pt x="135" y="142"/>
                    </a:lnTo>
                    <a:lnTo>
                      <a:pt x="140" y="142"/>
                    </a:lnTo>
                    <a:lnTo>
                      <a:pt x="149" y="144"/>
                    </a:lnTo>
                    <a:lnTo>
                      <a:pt x="149" y="144"/>
                    </a:lnTo>
                    <a:lnTo>
                      <a:pt x="149" y="144"/>
                    </a:lnTo>
                    <a:lnTo>
                      <a:pt x="149" y="142"/>
                    </a:lnTo>
                    <a:lnTo>
                      <a:pt x="152" y="137"/>
                    </a:lnTo>
                    <a:lnTo>
                      <a:pt x="154" y="135"/>
                    </a:lnTo>
                    <a:lnTo>
                      <a:pt x="154" y="135"/>
                    </a:lnTo>
                    <a:lnTo>
                      <a:pt x="156" y="133"/>
                    </a:lnTo>
                    <a:lnTo>
                      <a:pt x="159" y="133"/>
                    </a:lnTo>
                    <a:lnTo>
                      <a:pt x="161" y="133"/>
                    </a:lnTo>
                    <a:lnTo>
                      <a:pt x="164" y="133"/>
                    </a:lnTo>
                    <a:lnTo>
                      <a:pt x="166" y="133"/>
                    </a:lnTo>
                    <a:lnTo>
                      <a:pt x="168" y="133"/>
                    </a:lnTo>
                    <a:lnTo>
                      <a:pt x="168" y="133"/>
                    </a:lnTo>
                    <a:lnTo>
                      <a:pt x="173" y="130"/>
                    </a:lnTo>
                    <a:lnTo>
                      <a:pt x="175" y="130"/>
                    </a:lnTo>
                    <a:lnTo>
                      <a:pt x="178" y="130"/>
                    </a:lnTo>
                    <a:lnTo>
                      <a:pt x="182" y="128"/>
                    </a:lnTo>
                    <a:lnTo>
                      <a:pt x="185" y="125"/>
                    </a:lnTo>
                    <a:lnTo>
                      <a:pt x="187" y="125"/>
                    </a:lnTo>
                    <a:lnTo>
                      <a:pt x="192" y="128"/>
                    </a:lnTo>
                    <a:lnTo>
                      <a:pt x="197" y="128"/>
                    </a:lnTo>
                    <a:lnTo>
                      <a:pt x="199" y="128"/>
                    </a:lnTo>
                    <a:lnTo>
                      <a:pt x="201" y="125"/>
                    </a:lnTo>
                    <a:lnTo>
                      <a:pt x="201" y="125"/>
                    </a:lnTo>
                    <a:lnTo>
                      <a:pt x="204" y="121"/>
                    </a:lnTo>
                    <a:lnTo>
                      <a:pt x="206" y="121"/>
                    </a:lnTo>
                    <a:lnTo>
                      <a:pt x="211" y="121"/>
                    </a:lnTo>
                    <a:lnTo>
                      <a:pt x="211" y="121"/>
                    </a:lnTo>
                    <a:lnTo>
                      <a:pt x="218" y="123"/>
                    </a:lnTo>
                    <a:lnTo>
                      <a:pt x="227" y="125"/>
                    </a:lnTo>
                    <a:lnTo>
                      <a:pt x="230" y="125"/>
                    </a:lnTo>
                    <a:lnTo>
                      <a:pt x="230" y="125"/>
                    </a:lnTo>
                    <a:lnTo>
                      <a:pt x="232" y="125"/>
                    </a:lnTo>
                    <a:lnTo>
                      <a:pt x="234" y="123"/>
                    </a:lnTo>
                    <a:lnTo>
                      <a:pt x="234" y="123"/>
                    </a:lnTo>
                    <a:lnTo>
                      <a:pt x="237" y="123"/>
                    </a:lnTo>
                    <a:lnTo>
                      <a:pt x="242" y="123"/>
                    </a:lnTo>
                    <a:lnTo>
                      <a:pt x="239" y="123"/>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Freeform 186"/>
              <p:cNvSpPr>
                <a:spLocks noEditPoints="1"/>
              </p:cNvSpPr>
              <p:nvPr/>
            </p:nvSpPr>
            <p:spPr bwMode="auto">
              <a:xfrm>
                <a:off x="1258" y="2383"/>
                <a:ext cx="31" cy="10"/>
              </a:xfrm>
              <a:custGeom>
                <a:avLst/>
                <a:gdLst>
                  <a:gd name="T0" fmla="*/ 3 w 31"/>
                  <a:gd name="T1" fmla="*/ 7 h 10"/>
                  <a:gd name="T2" fmla="*/ 3 w 31"/>
                  <a:gd name="T3" fmla="*/ 7 h 10"/>
                  <a:gd name="T4" fmla="*/ 0 w 31"/>
                  <a:gd name="T5" fmla="*/ 7 h 10"/>
                  <a:gd name="T6" fmla="*/ 0 w 31"/>
                  <a:gd name="T7" fmla="*/ 7 h 10"/>
                  <a:gd name="T8" fmla="*/ 0 w 31"/>
                  <a:gd name="T9" fmla="*/ 7 h 10"/>
                  <a:gd name="T10" fmla="*/ 0 w 31"/>
                  <a:gd name="T11" fmla="*/ 7 h 10"/>
                  <a:gd name="T12" fmla="*/ 0 w 31"/>
                  <a:gd name="T13" fmla="*/ 10 h 10"/>
                  <a:gd name="T14" fmla="*/ 3 w 31"/>
                  <a:gd name="T15" fmla="*/ 10 h 10"/>
                  <a:gd name="T16" fmla="*/ 3 w 31"/>
                  <a:gd name="T17" fmla="*/ 10 h 10"/>
                  <a:gd name="T18" fmla="*/ 3 w 31"/>
                  <a:gd name="T19" fmla="*/ 10 h 10"/>
                  <a:gd name="T20" fmla="*/ 5 w 31"/>
                  <a:gd name="T21" fmla="*/ 10 h 10"/>
                  <a:gd name="T22" fmla="*/ 5 w 31"/>
                  <a:gd name="T23" fmla="*/ 7 h 10"/>
                  <a:gd name="T24" fmla="*/ 3 w 31"/>
                  <a:gd name="T25" fmla="*/ 7 h 10"/>
                  <a:gd name="T26" fmla="*/ 26 w 31"/>
                  <a:gd name="T27" fmla="*/ 0 h 10"/>
                  <a:gd name="T28" fmla="*/ 26 w 31"/>
                  <a:gd name="T29" fmla="*/ 0 h 10"/>
                  <a:gd name="T30" fmla="*/ 26 w 31"/>
                  <a:gd name="T31" fmla="*/ 0 h 10"/>
                  <a:gd name="T32" fmla="*/ 24 w 31"/>
                  <a:gd name="T33" fmla="*/ 0 h 10"/>
                  <a:gd name="T34" fmla="*/ 24 w 31"/>
                  <a:gd name="T35" fmla="*/ 0 h 10"/>
                  <a:gd name="T36" fmla="*/ 24 w 31"/>
                  <a:gd name="T37" fmla="*/ 0 h 10"/>
                  <a:gd name="T38" fmla="*/ 24 w 31"/>
                  <a:gd name="T39" fmla="*/ 0 h 10"/>
                  <a:gd name="T40" fmla="*/ 26 w 31"/>
                  <a:gd name="T41" fmla="*/ 0 h 10"/>
                  <a:gd name="T42" fmla="*/ 26 w 31"/>
                  <a:gd name="T43" fmla="*/ 0 h 10"/>
                  <a:gd name="T44" fmla="*/ 26 w 31"/>
                  <a:gd name="T45" fmla="*/ 0 h 10"/>
                  <a:gd name="T46" fmla="*/ 26 w 31"/>
                  <a:gd name="T47" fmla="*/ 0 h 10"/>
                  <a:gd name="T48" fmla="*/ 26 w 31"/>
                  <a:gd name="T49" fmla="*/ 0 h 10"/>
                  <a:gd name="T50" fmla="*/ 26 w 31"/>
                  <a:gd name="T51" fmla="*/ 0 h 10"/>
                  <a:gd name="T52" fmla="*/ 31 w 31"/>
                  <a:gd name="T53" fmla="*/ 0 h 10"/>
                  <a:gd name="T54" fmla="*/ 31 w 31"/>
                  <a:gd name="T55" fmla="*/ 0 h 10"/>
                  <a:gd name="T56" fmla="*/ 31 w 31"/>
                  <a:gd name="T57" fmla="*/ 0 h 10"/>
                  <a:gd name="T58" fmla="*/ 31 w 31"/>
                  <a:gd name="T59" fmla="*/ 0 h 10"/>
                  <a:gd name="T60" fmla="*/ 29 w 31"/>
                  <a:gd name="T61" fmla="*/ 0 h 10"/>
                  <a:gd name="T62" fmla="*/ 29 w 31"/>
                  <a:gd name="T63" fmla="*/ 0 h 10"/>
                  <a:gd name="T64" fmla="*/ 31 w 31"/>
                  <a:gd name="T65" fmla="*/ 0 h 10"/>
                  <a:gd name="T66" fmla="*/ 31 w 31"/>
                  <a:gd name="T67" fmla="*/ 0 h 10"/>
                  <a:gd name="T68" fmla="*/ 31 w 31"/>
                  <a:gd name="T69" fmla="*/ 0 h 10"/>
                  <a:gd name="T70" fmla="*/ 31 w 31"/>
                  <a:gd name="T71"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1" h="10">
                    <a:moveTo>
                      <a:pt x="3" y="7"/>
                    </a:moveTo>
                    <a:lnTo>
                      <a:pt x="3" y="7"/>
                    </a:lnTo>
                    <a:lnTo>
                      <a:pt x="0" y="7"/>
                    </a:lnTo>
                    <a:lnTo>
                      <a:pt x="0" y="7"/>
                    </a:lnTo>
                    <a:lnTo>
                      <a:pt x="0" y="7"/>
                    </a:lnTo>
                    <a:lnTo>
                      <a:pt x="0" y="7"/>
                    </a:lnTo>
                    <a:lnTo>
                      <a:pt x="0" y="10"/>
                    </a:lnTo>
                    <a:lnTo>
                      <a:pt x="3" y="10"/>
                    </a:lnTo>
                    <a:lnTo>
                      <a:pt x="3" y="10"/>
                    </a:lnTo>
                    <a:lnTo>
                      <a:pt x="3" y="10"/>
                    </a:lnTo>
                    <a:lnTo>
                      <a:pt x="5" y="10"/>
                    </a:lnTo>
                    <a:lnTo>
                      <a:pt x="5" y="7"/>
                    </a:lnTo>
                    <a:lnTo>
                      <a:pt x="3" y="7"/>
                    </a:lnTo>
                    <a:close/>
                    <a:moveTo>
                      <a:pt x="26" y="0"/>
                    </a:moveTo>
                    <a:lnTo>
                      <a:pt x="26" y="0"/>
                    </a:lnTo>
                    <a:lnTo>
                      <a:pt x="26" y="0"/>
                    </a:lnTo>
                    <a:lnTo>
                      <a:pt x="24" y="0"/>
                    </a:lnTo>
                    <a:lnTo>
                      <a:pt x="24" y="0"/>
                    </a:lnTo>
                    <a:lnTo>
                      <a:pt x="24" y="0"/>
                    </a:lnTo>
                    <a:lnTo>
                      <a:pt x="24" y="0"/>
                    </a:lnTo>
                    <a:lnTo>
                      <a:pt x="26" y="0"/>
                    </a:lnTo>
                    <a:lnTo>
                      <a:pt x="26" y="0"/>
                    </a:lnTo>
                    <a:lnTo>
                      <a:pt x="26" y="0"/>
                    </a:lnTo>
                    <a:lnTo>
                      <a:pt x="26" y="0"/>
                    </a:lnTo>
                    <a:lnTo>
                      <a:pt x="26" y="0"/>
                    </a:lnTo>
                    <a:lnTo>
                      <a:pt x="26" y="0"/>
                    </a:lnTo>
                    <a:close/>
                    <a:moveTo>
                      <a:pt x="31" y="0"/>
                    </a:moveTo>
                    <a:lnTo>
                      <a:pt x="31" y="0"/>
                    </a:lnTo>
                    <a:lnTo>
                      <a:pt x="31" y="0"/>
                    </a:lnTo>
                    <a:lnTo>
                      <a:pt x="31" y="0"/>
                    </a:lnTo>
                    <a:lnTo>
                      <a:pt x="29" y="0"/>
                    </a:lnTo>
                    <a:lnTo>
                      <a:pt x="29" y="0"/>
                    </a:lnTo>
                    <a:lnTo>
                      <a:pt x="31" y="0"/>
                    </a:lnTo>
                    <a:lnTo>
                      <a:pt x="31" y="0"/>
                    </a:lnTo>
                    <a:lnTo>
                      <a:pt x="31" y="0"/>
                    </a:lnTo>
                    <a:lnTo>
                      <a:pt x="31" y="0"/>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187"/>
              <p:cNvSpPr>
                <a:spLocks noEditPoints="1"/>
              </p:cNvSpPr>
              <p:nvPr/>
            </p:nvSpPr>
            <p:spPr bwMode="auto">
              <a:xfrm>
                <a:off x="684" y="1157"/>
                <a:ext cx="1464" cy="757"/>
              </a:xfrm>
              <a:custGeom>
                <a:avLst/>
                <a:gdLst>
                  <a:gd name="T0" fmla="*/ 619 w 1464"/>
                  <a:gd name="T1" fmla="*/ 102 h 757"/>
                  <a:gd name="T2" fmla="*/ 785 w 1464"/>
                  <a:gd name="T3" fmla="*/ 121 h 757"/>
                  <a:gd name="T4" fmla="*/ 648 w 1464"/>
                  <a:gd name="T5" fmla="*/ 144 h 757"/>
                  <a:gd name="T6" fmla="*/ 756 w 1464"/>
                  <a:gd name="T7" fmla="*/ 144 h 757"/>
                  <a:gd name="T8" fmla="*/ 7 w 1464"/>
                  <a:gd name="T9" fmla="*/ 544 h 757"/>
                  <a:gd name="T10" fmla="*/ 28 w 1464"/>
                  <a:gd name="T11" fmla="*/ 580 h 757"/>
                  <a:gd name="T12" fmla="*/ 2 w 1464"/>
                  <a:gd name="T13" fmla="*/ 516 h 757"/>
                  <a:gd name="T14" fmla="*/ 1036 w 1464"/>
                  <a:gd name="T15" fmla="*/ 128 h 757"/>
                  <a:gd name="T16" fmla="*/ 986 w 1464"/>
                  <a:gd name="T17" fmla="*/ 94 h 757"/>
                  <a:gd name="T18" fmla="*/ 960 w 1464"/>
                  <a:gd name="T19" fmla="*/ 106 h 757"/>
                  <a:gd name="T20" fmla="*/ 1144 w 1464"/>
                  <a:gd name="T21" fmla="*/ 151 h 757"/>
                  <a:gd name="T22" fmla="*/ 1123 w 1464"/>
                  <a:gd name="T23" fmla="*/ 47 h 757"/>
                  <a:gd name="T24" fmla="*/ 972 w 1464"/>
                  <a:gd name="T25" fmla="*/ 73 h 757"/>
                  <a:gd name="T26" fmla="*/ 773 w 1464"/>
                  <a:gd name="T27" fmla="*/ 220 h 757"/>
                  <a:gd name="T28" fmla="*/ 865 w 1464"/>
                  <a:gd name="T29" fmla="*/ 154 h 757"/>
                  <a:gd name="T30" fmla="*/ 693 w 1464"/>
                  <a:gd name="T31" fmla="*/ 158 h 757"/>
                  <a:gd name="T32" fmla="*/ 643 w 1464"/>
                  <a:gd name="T33" fmla="*/ 225 h 757"/>
                  <a:gd name="T34" fmla="*/ 733 w 1464"/>
                  <a:gd name="T35" fmla="*/ 229 h 757"/>
                  <a:gd name="T36" fmla="*/ 877 w 1464"/>
                  <a:gd name="T37" fmla="*/ 97 h 757"/>
                  <a:gd name="T38" fmla="*/ 894 w 1464"/>
                  <a:gd name="T39" fmla="*/ 64 h 757"/>
                  <a:gd name="T40" fmla="*/ 934 w 1464"/>
                  <a:gd name="T41" fmla="*/ 277 h 757"/>
                  <a:gd name="T42" fmla="*/ 1081 w 1464"/>
                  <a:gd name="T43" fmla="*/ 338 h 757"/>
                  <a:gd name="T44" fmla="*/ 1196 w 1464"/>
                  <a:gd name="T45" fmla="*/ 566 h 757"/>
                  <a:gd name="T46" fmla="*/ 1192 w 1464"/>
                  <a:gd name="T47" fmla="*/ 641 h 757"/>
                  <a:gd name="T48" fmla="*/ 1464 w 1464"/>
                  <a:gd name="T49" fmla="*/ 9 h 757"/>
                  <a:gd name="T50" fmla="*/ 1147 w 1464"/>
                  <a:gd name="T51" fmla="*/ 14 h 757"/>
                  <a:gd name="T52" fmla="*/ 1144 w 1464"/>
                  <a:gd name="T53" fmla="*/ 54 h 757"/>
                  <a:gd name="T54" fmla="*/ 1173 w 1464"/>
                  <a:gd name="T55" fmla="*/ 90 h 757"/>
                  <a:gd name="T56" fmla="*/ 1393 w 1464"/>
                  <a:gd name="T57" fmla="*/ 19 h 757"/>
                  <a:gd name="T58" fmla="*/ 1196 w 1464"/>
                  <a:gd name="T59" fmla="*/ 232 h 757"/>
                  <a:gd name="T60" fmla="*/ 1185 w 1464"/>
                  <a:gd name="T61" fmla="*/ 182 h 757"/>
                  <a:gd name="T62" fmla="*/ 1069 w 1464"/>
                  <a:gd name="T63" fmla="*/ 142 h 757"/>
                  <a:gd name="T64" fmla="*/ 948 w 1464"/>
                  <a:gd name="T65" fmla="*/ 201 h 757"/>
                  <a:gd name="T66" fmla="*/ 1116 w 1464"/>
                  <a:gd name="T67" fmla="*/ 234 h 757"/>
                  <a:gd name="T68" fmla="*/ 1078 w 1464"/>
                  <a:gd name="T69" fmla="*/ 331 h 757"/>
                  <a:gd name="T70" fmla="*/ 1178 w 1464"/>
                  <a:gd name="T71" fmla="*/ 298 h 757"/>
                  <a:gd name="T72" fmla="*/ 1246 w 1464"/>
                  <a:gd name="T73" fmla="*/ 270 h 757"/>
                  <a:gd name="T74" fmla="*/ 1159 w 1464"/>
                  <a:gd name="T75" fmla="*/ 563 h 757"/>
                  <a:gd name="T76" fmla="*/ 1161 w 1464"/>
                  <a:gd name="T77" fmla="*/ 471 h 757"/>
                  <a:gd name="T78" fmla="*/ 1123 w 1464"/>
                  <a:gd name="T79" fmla="*/ 405 h 757"/>
                  <a:gd name="T80" fmla="*/ 1059 w 1464"/>
                  <a:gd name="T81" fmla="*/ 369 h 757"/>
                  <a:gd name="T82" fmla="*/ 853 w 1464"/>
                  <a:gd name="T83" fmla="*/ 497 h 757"/>
                  <a:gd name="T84" fmla="*/ 733 w 1464"/>
                  <a:gd name="T85" fmla="*/ 452 h 757"/>
                  <a:gd name="T86" fmla="*/ 773 w 1464"/>
                  <a:gd name="T87" fmla="*/ 315 h 757"/>
                  <a:gd name="T88" fmla="*/ 948 w 1464"/>
                  <a:gd name="T89" fmla="*/ 270 h 757"/>
                  <a:gd name="T90" fmla="*/ 922 w 1464"/>
                  <a:gd name="T91" fmla="*/ 225 h 757"/>
                  <a:gd name="T92" fmla="*/ 832 w 1464"/>
                  <a:gd name="T93" fmla="*/ 206 h 757"/>
                  <a:gd name="T94" fmla="*/ 780 w 1464"/>
                  <a:gd name="T95" fmla="*/ 241 h 757"/>
                  <a:gd name="T96" fmla="*/ 612 w 1464"/>
                  <a:gd name="T97" fmla="*/ 258 h 757"/>
                  <a:gd name="T98" fmla="*/ 423 w 1464"/>
                  <a:gd name="T99" fmla="*/ 199 h 757"/>
                  <a:gd name="T100" fmla="*/ 279 w 1464"/>
                  <a:gd name="T101" fmla="*/ 225 h 757"/>
                  <a:gd name="T102" fmla="*/ 63 w 1464"/>
                  <a:gd name="T103" fmla="*/ 495 h 757"/>
                  <a:gd name="T104" fmla="*/ 61 w 1464"/>
                  <a:gd name="T105" fmla="*/ 578 h 757"/>
                  <a:gd name="T106" fmla="*/ 622 w 1464"/>
                  <a:gd name="T107" fmla="*/ 630 h 757"/>
                  <a:gd name="T108" fmla="*/ 700 w 1464"/>
                  <a:gd name="T109" fmla="*/ 667 h 757"/>
                  <a:gd name="T110" fmla="*/ 721 w 1464"/>
                  <a:gd name="T111" fmla="*/ 705 h 757"/>
                  <a:gd name="T112" fmla="*/ 785 w 1464"/>
                  <a:gd name="T113" fmla="*/ 712 h 757"/>
                  <a:gd name="T114" fmla="*/ 903 w 1464"/>
                  <a:gd name="T115" fmla="*/ 686 h 757"/>
                  <a:gd name="T116" fmla="*/ 979 w 1464"/>
                  <a:gd name="T117" fmla="*/ 724 h 757"/>
                  <a:gd name="T118" fmla="*/ 894 w 1464"/>
                  <a:gd name="T119" fmla="*/ 660 h 757"/>
                  <a:gd name="T120" fmla="*/ 1055 w 1464"/>
                  <a:gd name="T121" fmla="*/ 599 h 757"/>
                  <a:gd name="T122" fmla="*/ 879 w 1464"/>
                  <a:gd name="T123" fmla="*/ 466 h 757"/>
                  <a:gd name="T124" fmla="*/ 891 w 1464"/>
                  <a:gd name="T125" fmla="*/ 32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64" h="757">
                    <a:moveTo>
                      <a:pt x="733" y="90"/>
                    </a:moveTo>
                    <a:lnTo>
                      <a:pt x="730" y="90"/>
                    </a:lnTo>
                    <a:lnTo>
                      <a:pt x="733" y="92"/>
                    </a:lnTo>
                    <a:lnTo>
                      <a:pt x="742" y="92"/>
                    </a:lnTo>
                    <a:lnTo>
                      <a:pt x="747" y="92"/>
                    </a:lnTo>
                    <a:lnTo>
                      <a:pt x="747" y="90"/>
                    </a:lnTo>
                    <a:lnTo>
                      <a:pt x="749" y="90"/>
                    </a:lnTo>
                    <a:lnTo>
                      <a:pt x="749" y="90"/>
                    </a:lnTo>
                    <a:lnTo>
                      <a:pt x="747" y="90"/>
                    </a:lnTo>
                    <a:lnTo>
                      <a:pt x="745" y="90"/>
                    </a:lnTo>
                    <a:lnTo>
                      <a:pt x="740" y="90"/>
                    </a:lnTo>
                    <a:lnTo>
                      <a:pt x="735" y="90"/>
                    </a:lnTo>
                    <a:lnTo>
                      <a:pt x="733" y="90"/>
                    </a:lnTo>
                    <a:close/>
                    <a:moveTo>
                      <a:pt x="629" y="248"/>
                    </a:moveTo>
                    <a:lnTo>
                      <a:pt x="629" y="246"/>
                    </a:lnTo>
                    <a:lnTo>
                      <a:pt x="629" y="248"/>
                    </a:lnTo>
                    <a:lnTo>
                      <a:pt x="626" y="248"/>
                    </a:lnTo>
                    <a:lnTo>
                      <a:pt x="626" y="248"/>
                    </a:lnTo>
                    <a:lnTo>
                      <a:pt x="624" y="251"/>
                    </a:lnTo>
                    <a:lnTo>
                      <a:pt x="624" y="251"/>
                    </a:lnTo>
                    <a:lnTo>
                      <a:pt x="624" y="253"/>
                    </a:lnTo>
                    <a:lnTo>
                      <a:pt x="624" y="253"/>
                    </a:lnTo>
                    <a:lnTo>
                      <a:pt x="624" y="253"/>
                    </a:lnTo>
                    <a:lnTo>
                      <a:pt x="626" y="251"/>
                    </a:lnTo>
                    <a:lnTo>
                      <a:pt x="629" y="251"/>
                    </a:lnTo>
                    <a:lnTo>
                      <a:pt x="629" y="251"/>
                    </a:lnTo>
                    <a:lnTo>
                      <a:pt x="629" y="251"/>
                    </a:lnTo>
                    <a:lnTo>
                      <a:pt x="629" y="248"/>
                    </a:lnTo>
                    <a:lnTo>
                      <a:pt x="629" y="248"/>
                    </a:lnTo>
                    <a:lnTo>
                      <a:pt x="629" y="248"/>
                    </a:lnTo>
                    <a:close/>
                    <a:moveTo>
                      <a:pt x="617" y="102"/>
                    </a:moveTo>
                    <a:lnTo>
                      <a:pt x="617" y="102"/>
                    </a:lnTo>
                    <a:lnTo>
                      <a:pt x="617" y="104"/>
                    </a:lnTo>
                    <a:lnTo>
                      <a:pt x="617" y="104"/>
                    </a:lnTo>
                    <a:lnTo>
                      <a:pt x="617" y="104"/>
                    </a:lnTo>
                    <a:lnTo>
                      <a:pt x="617" y="104"/>
                    </a:lnTo>
                    <a:lnTo>
                      <a:pt x="619" y="104"/>
                    </a:lnTo>
                    <a:lnTo>
                      <a:pt x="624" y="104"/>
                    </a:lnTo>
                    <a:lnTo>
                      <a:pt x="626" y="102"/>
                    </a:lnTo>
                    <a:lnTo>
                      <a:pt x="629" y="104"/>
                    </a:lnTo>
                    <a:lnTo>
                      <a:pt x="631" y="104"/>
                    </a:lnTo>
                    <a:lnTo>
                      <a:pt x="631" y="104"/>
                    </a:lnTo>
                    <a:lnTo>
                      <a:pt x="633" y="104"/>
                    </a:lnTo>
                    <a:lnTo>
                      <a:pt x="636" y="104"/>
                    </a:lnTo>
                    <a:lnTo>
                      <a:pt x="641" y="102"/>
                    </a:lnTo>
                    <a:lnTo>
                      <a:pt x="643" y="99"/>
                    </a:lnTo>
                    <a:lnTo>
                      <a:pt x="643" y="99"/>
                    </a:lnTo>
                    <a:lnTo>
                      <a:pt x="643" y="102"/>
                    </a:lnTo>
                    <a:lnTo>
                      <a:pt x="643" y="102"/>
                    </a:lnTo>
                    <a:lnTo>
                      <a:pt x="641" y="102"/>
                    </a:lnTo>
                    <a:lnTo>
                      <a:pt x="643" y="104"/>
                    </a:lnTo>
                    <a:lnTo>
                      <a:pt x="641" y="104"/>
                    </a:lnTo>
                    <a:lnTo>
                      <a:pt x="641" y="106"/>
                    </a:lnTo>
                    <a:lnTo>
                      <a:pt x="638" y="106"/>
                    </a:lnTo>
                    <a:lnTo>
                      <a:pt x="641" y="106"/>
                    </a:lnTo>
                    <a:lnTo>
                      <a:pt x="643" y="106"/>
                    </a:lnTo>
                    <a:lnTo>
                      <a:pt x="645" y="106"/>
                    </a:lnTo>
                    <a:lnTo>
                      <a:pt x="650" y="104"/>
                    </a:lnTo>
                    <a:lnTo>
                      <a:pt x="652" y="104"/>
                    </a:lnTo>
                    <a:lnTo>
                      <a:pt x="652" y="104"/>
                    </a:lnTo>
                    <a:lnTo>
                      <a:pt x="655" y="104"/>
                    </a:lnTo>
                    <a:lnTo>
                      <a:pt x="655" y="104"/>
                    </a:lnTo>
                    <a:lnTo>
                      <a:pt x="655" y="102"/>
                    </a:lnTo>
                    <a:lnTo>
                      <a:pt x="655" y="102"/>
                    </a:lnTo>
                    <a:lnTo>
                      <a:pt x="655" y="102"/>
                    </a:lnTo>
                    <a:lnTo>
                      <a:pt x="655" y="102"/>
                    </a:lnTo>
                    <a:lnTo>
                      <a:pt x="657" y="102"/>
                    </a:lnTo>
                    <a:lnTo>
                      <a:pt x="657" y="99"/>
                    </a:lnTo>
                    <a:lnTo>
                      <a:pt x="659" y="99"/>
                    </a:lnTo>
                    <a:lnTo>
                      <a:pt x="659" y="99"/>
                    </a:lnTo>
                    <a:lnTo>
                      <a:pt x="662" y="97"/>
                    </a:lnTo>
                    <a:lnTo>
                      <a:pt x="662" y="97"/>
                    </a:lnTo>
                    <a:lnTo>
                      <a:pt x="662" y="97"/>
                    </a:lnTo>
                    <a:lnTo>
                      <a:pt x="662" y="99"/>
                    </a:lnTo>
                    <a:lnTo>
                      <a:pt x="662" y="99"/>
                    </a:lnTo>
                    <a:lnTo>
                      <a:pt x="662" y="102"/>
                    </a:lnTo>
                    <a:lnTo>
                      <a:pt x="662" y="102"/>
                    </a:lnTo>
                    <a:lnTo>
                      <a:pt x="662" y="102"/>
                    </a:lnTo>
                    <a:lnTo>
                      <a:pt x="664" y="102"/>
                    </a:lnTo>
                    <a:lnTo>
                      <a:pt x="667" y="102"/>
                    </a:lnTo>
                    <a:lnTo>
                      <a:pt x="669" y="99"/>
                    </a:lnTo>
                    <a:lnTo>
                      <a:pt x="669" y="99"/>
                    </a:lnTo>
                    <a:lnTo>
                      <a:pt x="674" y="97"/>
                    </a:lnTo>
                    <a:lnTo>
                      <a:pt x="674" y="97"/>
                    </a:lnTo>
                    <a:lnTo>
                      <a:pt x="676" y="97"/>
                    </a:lnTo>
                    <a:lnTo>
                      <a:pt x="676" y="97"/>
                    </a:lnTo>
                    <a:lnTo>
                      <a:pt x="676" y="94"/>
                    </a:lnTo>
                    <a:lnTo>
                      <a:pt x="676" y="94"/>
                    </a:lnTo>
                    <a:lnTo>
                      <a:pt x="678" y="94"/>
                    </a:lnTo>
                    <a:lnTo>
                      <a:pt x="678" y="94"/>
                    </a:lnTo>
                    <a:lnTo>
                      <a:pt x="681" y="94"/>
                    </a:lnTo>
                    <a:lnTo>
                      <a:pt x="683" y="94"/>
                    </a:lnTo>
                    <a:lnTo>
                      <a:pt x="686" y="92"/>
                    </a:lnTo>
                    <a:lnTo>
                      <a:pt x="686" y="92"/>
                    </a:lnTo>
                    <a:lnTo>
                      <a:pt x="688" y="92"/>
                    </a:lnTo>
                    <a:lnTo>
                      <a:pt x="690" y="92"/>
                    </a:lnTo>
                    <a:lnTo>
                      <a:pt x="693" y="90"/>
                    </a:lnTo>
                    <a:lnTo>
                      <a:pt x="695" y="90"/>
                    </a:lnTo>
                    <a:lnTo>
                      <a:pt x="695" y="90"/>
                    </a:lnTo>
                    <a:lnTo>
                      <a:pt x="695" y="90"/>
                    </a:lnTo>
                    <a:lnTo>
                      <a:pt x="695" y="92"/>
                    </a:lnTo>
                    <a:lnTo>
                      <a:pt x="690" y="92"/>
                    </a:lnTo>
                    <a:lnTo>
                      <a:pt x="688" y="94"/>
                    </a:lnTo>
                    <a:lnTo>
                      <a:pt x="686" y="94"/>
                    </a:lnTo>
                    <a:lnTo>
                      <a:pt x="683" y="97"/>
                    </a:lnTo>
                    <a:lnTo>
                      <a:pt x="683" y="97"/>
                    </a:lnTo>
                    <a:lnTo>
                      <a:pt x="683" y="97"/>
                    </a:lnTo>
                    <a:lnTo>
                      <a:pt x="686" y="99"/>
                    </a:lnTo>
                    <a:lnTo>
                      <a:pt x="686" y="99"/>
                    </a:lnTo>
                    <a:lnTo>
                      <a:pt x="688" y="99"/>
                    </a:lnTo>
                    <a:lnTo>
                      <a:pt x="690" y="99"/>
                    </a:lnTo>
                    <a:lnTo>
                      <a:pt x="690" y="99"/>
                    </a:lnTo>
                    <a:lnTo>
                      <a:pt x="693" y="97"/>
                    </a:lnTo>
                    <a:lnTo>
                      <a:pt x="695" y="97"/>
                    </a:lnTo>
                    <a:lnTo>
                      <a:pt x="695" y="97"/>
                    </a:lnTo>
                    <a:lnTo>
                      <a:pt x="697" y="94"/>
                    </a:lnTo>
                    <a:lnTo>
                      <a:pt x="697" y="94"/>
                    </a:lnTo>
                    <a:lnTo>
                      <a:pt x="700" y="94"/>
                    </a:lnTo>
                    <a:lnTo>
                      <a:pt x="707" y="94"/>
                    </a:lnTo>
                    <a:lnTo>
                      <a:pt x="709" y="94"/>
                    </a:lnTo>
                    <a:lnTo>
                      <a:pt x="714" y="92"/>
                    </a:lnTo>
                    <a:lnTo>
                      <a:pt x="714" y="92"/>
                    </a:lnTo>
                    <a:lnTo>
                      <a:pt x="716" y="92"/>
                    </a:lnTo>
                    <a:lnTo>
                      <a:pt x="716" y="92"/>
                    </a:lnTo>
                    <a:lnTo>
                      <a:pt x="716" y="90"/>
                    </a:lnTo>
                    <a:lnTo>
                      <a:pt x="716" y="90"/>
                    </a:lnTo>
                    <a:lnTo>
                      <a:pt x="716" y="90"/>
                    </a:lnTo>
                    <a:lnTo>
                      <a:pt x="719" y="87"/>
                    </a:lnTo>
                    <a:lnTo>
                      <a:pt x="719" y="87"/>
                    </a:lnTo>
                    <a:lnTo>
                      <a:pt x="721" y="90"/>
                    </a:lnTo>
                    <a:lnTo>
                      <a:pt x="723" y="87"/>
                    </a:lnTo>
                    <a:lnTo>
                      <a:pt x="723" y="87"/>
                    </a:lnTo>
                    <a:lnTo>
                      <a:pt x="723" y="87"/>
                    </a:lnTo>
                    <a:lnTo>
                      <a:pt x="721" y="85"/>
                    </a:lnTo>
                    <a:lnTo>
                      <a:pt x="721" y="85"/>
                    </a:lnTo>
                    <a:lnTo>
                      <a:pt x="723" y="85"/>
                    </a:lnTo>
                    <a:lnTo>
                      <a:pt x="733" y="83"/>
                    </a:lnTo>
                    <a:lnTo>
                      <a:pt x="735" y="83"/>
                    </a:lnTo>
                    <a:lnTo>
                      <a:pt x="738" y="83"/>
                    </a:lnTo>
                    <a:lnTo>
                      <a:pt x="738" y="83"/>
                    </a:lnTo>
                    <a:lnTo>
                      <a:pt x="738" y="80"/>
                    </a:lnTo>
                    <a:lnTo>
                      <a:pt x="733" y="80"/>
                    </a:lnTo>
                    <a:lnTo>
                      <a:pt x="733" y="78"/>
                    </a:lnTo>
                    <a:lnTo>
                      <a:pt x="730" y="78"/>
                    </a:lnTo>
                    <a:lnTo>
                      <a:pt x="730" y="78"/>
                    </a:lnTo>
                    <a:lnTo>
                      <a:pt x="726" y="78"/>
                    </a:lnTo>
                    <a:lnTo>
                      <a:pt x="723" y="80"/>
                    </a:lnTo>
                    <a:lnTo>
                      <a:pt x="721" y="80"/>
                    </a:lnTo>
                    <a:lnTo>
                      <a:pt x="721" y="80"/>
                    </a:lnTo>
                    <a:lnTo>
                      <a:pt x="721" y="80"/>
                    </a:lnTo>
                    <a:lnTo>
                      <a:pt x="723" y="80"/>
                    </a:lnTo>
                    <a:lnTo>
                      <a:pt x="723" y="80"/>
                    </a:lnTo>
                    <a:lnTo>
                      <a:pt x="721" y="83"/>
                    </a:lnTo>
                    <a:lnTo>
                      <a:pt x="721" y="83"/>
                    </a:lnTo>
                    <a:lnTo>
                      <a:pt x="719" y="83"/>
                    </a:lnTo>
                    <a:lnTo>
                      <a:pt x="719" y="80"/>
                    </a:lnTo>
                    <a:lnTo>
                      <a:pt x="716" y="83"/>
                    </a:lnTo>
                    <a:lnTo>
                      <a:pt x="714" y="83"/>
                    </a:lnTo>
                    <a:lnTo>
                      <a:pt x="714" y="83"/>
                    </a:lnTo>
                    <a:lnTo>
                      <a:pt x="707" y="80"/>
                    </a:lnTo>
                    <a:lnTo>
                      <a:pt x="697" y="83"/>
                    </a:lnTo>
                    <a:lnTo>
                      <a:pt x="693" y="83"/>
                    </a:lnTo>
                    <a:lnTo>
                      <a:pt x="688" y="83"/>
                    </a:lnTo>
                    <a:lnTo>
                      <a:pt x="686" y="85"/>
                    </a:lnTo>
                    <a:lnTo>
                      <a:pt x="678" y="85"/>
                    </a:lnTo>
                    <a:lnTo>
                      <a:pt x="669" y="87"/>
                    </a:lnTo>
                    <a:lnTo>
                      <a:pt x="667" y="90"/>
                    </a:lnTo>
                    <a:lnTo>
                      <a:pt x="667" y="90"/>
                    </a:lnTo>
                    <a:lnTo>
                      <a:pt x="664" y="90"/>
                    </a:lnTo>
                    <a:lnTo>
                      <a:pt x="662" y="90"/>
                    </a:lnTo>
                    <a:lnTo>
                      <a:pt x="655" y="92"/>
                    </a:lnTo>
                    <a:lnTo>
                      <a:pt x="652" y="92"/>
                    </a:lnTo>
                    <a:lnTo>
                      <a:pt x="650" y="92"/>
                    </a:lnTo>
                    <a:lnTo>
                      <a:pt x="641" y="97"/>
                    </a:lnTo>
                    <a:lnTo>
                      <a:pt x="641" y="97"/>
                    </a:lnTo>
                    <a:lnTo>
                      <a:pt x="629" y="97"/>
                    </a:lnTo>
                    <a:lnTo>
                      <a:pt x="629" y="97"/>
                    </a:lnTo>
                    <a:lnTo>
                      <a:pt x="626" y="97"/>
                    </a:lnTo>
                    <a:lnTo>
                      <a:pt x="619" y="99"/>
                    </a:lnTo>
                    <a:lnTo>
                      <a:pt x="617" y="102"/>
                    </a:lnTo>
                    <a:lnTo>
                      <a:pt x="617" y="102"/>
                    </a:lnTo>
                    <a:lnTo>
                      <a:pt x="619" y="102"/>
                    </a:lnTo>
                    <a:lnTo>
                      <a:pt x="619" y="102"/>
                    </a:lnTo>
                    <a:lnTo>
                      <a:pt x="622" y="102"/>
                    </a:lnTo>
                    <a:lnTo>
                      <a:pt x="619" y="102"/>
                    </a:lnTo>
                    <a:lnTo>
                      <a:pt x="619" y="102"/>
                    </a:lnTo>
                    <a:lnTo>
                      <a:pt x="619" y="102"/>
                    </a:lnTo>
                    <a:lnTo>
                      <a:pt x="619" y="102"/>
                    </a:lnTo>
                    <a:lnTo>
                      <a:pt x="619" y="102"/>
                    </a:lnTo>
                    <a:lnTo>
                      <a:pt x="617" y="102"/>
                    </a:lnTo>
                    <a:close/>
                    <a:moveTo>
                      <a:pt x="745" y="106"/>
                    </a:moveTo>
                    <a:lnTo>
                      <a:pt x="742" y="106"/>
                    </a:lnTo>
                    <a:lnTo>
                      <a:pt x="742" y="106"/>
                    </a:lnTo>
                    <a:lnTo>
                      <a:pt x="745" y="106"/>
                    </a:lnTo>
                    <a:lnTo>
                      <a:pt x="747" y="104"/>
                    </a:lnTo>
                    <a:lnTo>
                      <a:pt x="747" y="104"/>
                    </a:lnTo>
                    <a:lnTo>
                      <a:pt x="745" y="102"/>
                    </a:lnTo>
                    <a:lnTo>
                      <a:pt x="745" y="99"/>
                    </a:lnTo>
                    <a:lnTo>
                      <a:pt x="742" y="99"/>
                    </a:lnTo>
                    <a:lnTo>
                      <a:pt x="740" y="99"/>
                    </a:lnTo>
                    <a:lnTo>
                      <a:pt x="738" y="99"/>
                    </a:lnTo>
                    <a:lnTo>
                      <a:pt x="730" y="99"/>
                    </a:lnTo>
                    <a:lnTo>
                      <a:pt x="728" y="99"/>
                    </a:lnTo>
                    <a:lnTo>
                      <a:pt x="728" y="99"/>
                    </a:lnTo>
                    <a:lnTo>
                      <a:pt x="730" y="97"/>
                    </a:lnTo>
                    <a:lnTo>
                      <a:pt x="730" y="97"/>
                    </a:lnTo>
                    <a:lnTo>
                      <a:pt x="730" y="97"/>
                    </a:lnTo>
                    <a:lnTo>
                      <a:pt x="730" y="97"/>
                    </a:lnTo>
                    <a:lnTo>
                      <a:pt x="730" y="97"/>
                    </a:lnTo>
                    <a:lnTo>
                      <a:pt x="730" y="94"/>
                    </a:lnTo>
                    <a:lnTo>
                      <a:pt x="728" y="94"/>
                    </a:lnTo>
                    <a:lnTo>
                      <a:pt x="726" y="94"/>
                    </a:lnTo>
                    <a:lnTo>
                      <a:pt x="723" y="94"/>
                    </a:lnTo>
                    <a:lnTo>
                      <a:pt x="714" y="97"/>
                    </a:lnTo>
                    <a:lnTo>
                      <a:pt x="709" y="97"/>
                    </a:lnTo>
                    <a:lnTo>
                      <a:pt x="709" y="97"/>
                    </a:lnTo>
                    <a:lnTo>
                      <a:pt x="707" y="99"/>
                    </a:lnTo>
                    <a:lnTo>
                      <a:pt x="707" y="99"/>
                    </a:lnTo>
                    <a:lnTo>
                      <a:pt x="707" y="99"/>
                    </a:lnTo>
                    <a:lnTo>
                      <a:pt x="709" y="99"/>
                    </a:lnTo>
                    <a:lnTo>
                      <a:pt x="716" y="99"/>
                    </a:lnTo>
                    <a:lnTo>
                      <a:pt x="716" y="99"/>
                    </a:lnTo>
                    <a:lnTo>
                      <a:pt x="716" y="102"/>
                    </a:lnTo>
                    <a:lnTo>
                      <a:pt x="716" y="102"/>
                    </a:lnTo>
                    <a:lnTo>
                      <a:pt x="704" y="99"/>
                    </a:lnTo>
                    <a:lnTo>
                      <a:pt x="702" y="99"/>
                    </a:lnTo>
                    <a:lnTo>
                      <a:pt x="700" y="99"/>
                    </a:lnTo>
                    <a:lnTo>
                      <a:pt x="695" y="102"/>
                    </a:lnTo>
                    <a:lnTo>
                      <a:pt x="693" y="102"/>
                    </a:lnTo>
                    <a:lnTo>
                      <a:pt x="693" y="102"/>
                    </a:lnTo>
                    <a:lnTo>
                      <a:pt x="693" y="104"/>
                    </a:lnTo>
                    <a:lnTo>
                      <a:pt x="690" y="104"/>
                    </a:lnTo>
                    <a:lnTo>
                      <a:pt x="688" y="104"/>
                    </a:lnTo>
                    <a:lnTo>
                      <a:pt x="688" y="104"/>
                    </a:lnTo>
                    <a:lnTo>
                      <a:pt x="690" y="104"/>
                    </a:lnTo>
                    <a:lnTo>
                      <a:pt x="690" y="106"/>
                    </a:lnTo>
                    <a:lnTo>
                      <a:pt x="700" y="104"/>
                    </a:lnTo>
                    <a:lnTo>
                      <a:pt x="709" y="104"/>
                    </a:lnTo>
                    <a:lnTo>
                      <a:pt x="704" y="106"/>
                    </a:lnTo>
                    <a:lnTo>
                      <a:pt x="700" y="106"/>
                    </a:lnTo>
                    <a:lnTo>
                      <a:pt x="697" y="106"/>
                    </a:lnTo>
                    <a:lnTo>
                      <a:pt x="688" y="106"/>
                    </a:lnTo>
                    <a:lnTo>
                      <a:pt x="683" y="106"/>
                    </a:lnTo>
                    <a:lnTo>
                      <a:pt x="681" y="106"/>
                    </a:lnTo>
                    <a:lnTo>
                      <a:pt x="678" y="109"/>
                    </a:lnTo>
                    <a:lnTo>
                      <a:pt x="676" y="109"/>
                    </a:lnTo>
                    <a:lnTo>
                      <a:pt x="674" y="109"/>
                    </a:lnTo>
                    <a:lnTo>
                      <a:pt x="676" y="109"/>
                    </a:lnTo>
                    <a:lnTo>
                      <a:pt x="683" y="111"/>
                    </a:lnTo>
                    <a:lnTo>
                      <a:pt x="688" y="109"/>
                    </a:lnTo>
                    <a:lnTo>
                      <a:pt x="702" y="109"/>
                    </a:lnTo>
                    <a:lnTo>
                      <a:pt x="702" y="109"/>
                    </a:lnTo>
                    <a:lnTo>
                      <a:pt x="702" y="109"/>
                    </a:lnTo>
                    <a:lnTo>
                      <a:pt x="700" y="109"/>
                    </a:lnTo>
                    <a:lnTo>
                      <a:pt x="697" y="109"/>
                    </a:lnTo>
                    <a:lnTo>
                      <a:pt x="686" y="111"/>
                    </a:lnTo>
                    <a:lnTo>
                      <a:pt x="683" y="111"/>
                    </a:lnTo>
                    <a:lnTo>
                      <a:pt x="674" y="111"/>
                    </a:lnTo>
                    <a:lnTo>
                      <a:pt x="671" y="111"/>
                    </a:lnTo>
                    <a:lnTo>
                      <a:pt x="669" y="111"/>
                    </a:lnTo>
                    <a:lnTo>
                      <a:pt x="669" y="113"/>
                    </a:lnTo>
                    <a:lnTo>
                      <a:pt x="667" y="113"/>
                    </a:lnTo>
                    <a:lnTo>
                      <a:pt x="664" y="113"/>
                    </a:lnTo>
                    <a:lnTo>
                      <a:pt x="662" y="113"/>
                    </a:lnTo>
                    <a:lnTo>
                      <a:pt x="662" y="116"/>
                    </a:lnTo>
                    <a:lnTo>
                      <a:pt x="659" y="116"/>
                    </a:lnTo>
                    <a:lnTo>
                      <a:pt x="659" y="116"/>
                    </a:lnTo>
                    <a:lnTo>
                      <a:pt x="659" y="116"/>
                    </a:lnTo>
                    <a:lnTo>
                      <a:pt x="664" y="118"/>
                    </a:lnTo>
                    <a:lnTo>
                      <a:pt x="667" y="118"/>
                    </a:lnTo>
                    <a:lnTo>
                      <a:pt x="671" y="116"/>
                    </a:lnTo>
                    <a:lnTo>
                      <a:pt x="674" y="118"/>
                    </a:lnTo>
                    <a:lnTo>
                      <a:pt x="676" y="121"/>
                    </a:lnTo>
                    <a:lnTo>
                      <a:pt x="678" y="121"/>
                    </a:lnTo>
                    <a:lnTo>
                      <a:pt x="678" y="121"/>
                    </a:lnTo>
                    <a:lnTo>
                      <a:pt x="681" y="118"/>
                    </a:lnTo>
                    <a:lnTo>
                      <a:pt x="681" y="118"/>
                    </a:lnTo>
                    <a:lnTo>
                      <a:pt x="683" y="118"/>
                    </a:lnTo>
                    <a:lnTo>
                      <a:pt x="683" y="118"/>
                    </a:lnTo>
                    <a:lnTo>
                      <a:pt x="686" y="118"/>
                    </a:lnTo>
                    <a:lnTo>
                      <a:pt x="686" y="118"/>
                    </a:lnTo>
                    <a:lnTo>
                      <a:pt x="686" y="118"/>
                    </a:lnTo>
                    <a:lnTo>
                      <a:pt x="686" y="121"/>
                    </a:lnTo>
                    <a:lnTo>
                      <a:pt x="686" y="121"/>
                    </a:lnTo>
                    <a:lnTo>
                      <a:pt x="686" y="121"/>
                    </a:lnTo>
                    <a:lnTo>
                      <a:pt x="688" y="121"/>
                    </a:lnTo>
                    <a:lnTo>
                      <a:pt x="695" y="118"/>
                    </a:lnTo>
                    <a:lnTo>
                      <a:pt x="697" y="118"/>
                    </a:lnTo>
                    <a:lnTo>
                      <a:pt x="700" y="116"/>
                    </a:lnTo>
                    <a:lnTo>
                      <a:pt x="700" y="116"/>
                    </a:lnTo>
                    <a:lnTo>
                      <a:pt x="700" y="116"/>
                    </a:lnTo>
                    <a:lnTo>
                      <a:pt x="700" y="116"/>
                    </a:lnTo>
                    <a:lnTo>
                      <a:pt x="700" y="116"/>
                    </a:lnTo>
                    <a:lnTo>
                      <a:pt x="702" y="116"/>
                    </a:lnTo>
                    <a:lnTo>
                      <a:pt x="702" y="116"/>
                    </a:lnTo>
                    <a:lnTo>
                      <a:pt x="704" y="116"/>
                    </a:lnTo>
                    <a:lnTo>
                      <a:pt x="707" y="113"/>
                    </a:lnTo>
                    <a:lnTo>
                      <a:pt x="709" y="113"/>
                    </a:lnTo>
                    <a:lnTo>
                      <a:pt x="709" y="113"/>
                    </a:lnTo>
                    <a:lnTo>
                      <a:pt x="709" y="113"/>
                    </a:lnTo>
                    <a:lnTo>
                      <a:pt x="709" y="113"/>
                    </a:lnTo>
                    <a:lnTo>
                      <a:pt x="709" y="113"/>
                    </a:lnTo>
                    <a:lnTo>
                      <a:pt x="714" y="113"/>
                    </a:lnTo>
                    <a:lnTo>
                      <a:pt x="716" y="113"/>
                    </a:lnTo>
                    <a:lnTo>
                      <a:pt x="714" y="113"/>
                    </a:lnTo>
                    <a:lnTo>
                      <a:pt x="709" y="113"/>
                    </a:lnTo>
                    <a:lnTo>
                      <a:pt x="709" y="116"/>
                    </a:lnTo>
                    <a:lnTo>
                      <a:pt x="707" y="116"/>
                    </a:lnTo>
                    <a:lnTo>
                      <a:pt x="707" y="116"/>
                    </a:lnTo>
                    <a:lnTo>
                      <a:pt x="704" y="116"/>
                    </a:lnTo>
                    <a:lnTo>
                      <a:pt x="704" y="118"/>
                    </a:lnTo>
                    <a:lnTo>
                      <a:pt x="704" y="118"/>
                    </a:lnTo>
                    <a:lnTo>
                      <a:pt x="704" y="118"/>
                    </a:lnTo>
                    <a:lnTo>
                      <a:pt x="704" y="118"/>
                    </a:lnTo>
                    <a:lnTo>
                      <a:pt x="709" y="118"/>
                    </a:lnTo>
                    <a:lnTo>
                      <a:pt x="714" y="118"/>
                    </a:lnTo>
                    <a:lnTo>
                      <a:pt x="716" y="118"/>
                    </a:lnTo>
                    <a:lnTo>
                      <a:pt x="719" y="118"/>
                    </a:lnTo>
                    <a:lnTo>
                      <a:pt x="721" y="116"/>
                    </a:lnTo>
                    <a:lnTo>
                      <a:pt x="721" y="116"/>
                    </a:lnTo>
                    <a:lnTo>
                      <a:pt x="721" y="116"/>
                    </a:lnTo>
                    <a:lnTo>
                      <a:pt x="723" y="116"/>
                    </a:lnTo>
                    <a:lnTo>
                      <a:pt x="723" y="118"/>
                    </a:lnTo>
                    <a:lnTo>
                      <a:pt x="726" y="118"/>
                    </a:lnTo>
                    <a:lnTo>
                      <a:pt x="728" y="118"/>
                    </a:lnTo>
                    <a:lnTo>
                      <a:pt x="730" y="116"/>
                    </a:lnTo>
                    <a:lnTo>
                      <a:pt x="733" y="116"/>
                    </a:lnTo>
                    <a:lnTo>
                      <a:pt x="735" y="116"/>
                    </a:lnTo>
                    <a:lnTo>
                      <a:pt x="740" y="116"/>
                    </a:lnTo>
                    <a:lnTo>
                      <a:pt x="742" y="116"/>
                    </a:lnTo>
                    <a:lnTo>
                      <a:pt x="742" y="116"/>
                    </a:lnTo>
                    <a:lnTo>
                      <a:pt x="740" y="116"/>
                    </a:lnTo>
                    <a:lnTo>
                      <a:pt x="738" y="118"/>
                    </a:lnTo>
                    <a:lnTo>
                      <a:pt x="733" y="118"/>
                    </a:lnTo>
                    <a:lnTo>
                      <a:pt x="728" y="118"/>
                    </a:lnTo>
                    <a:lnTo>
                      <a:pt x="728" y="121"/>
                    </a:lnTo>
                    <a:lnTo>
                      <a:pt x="726" y="121"/>
                    </a:lnTo>
                    <a:lnTo>
                      <a:pt x="723" y="121"/>
                    </a:lnTo>
                    <a:lnTo>
                      <a:pt x="716" y="121"/>
                    </a:lnTo>
                    <a:lnTo>
                      <a:pt x="714" y="121"/>
                    </a:lnTo>
                    <a:lnTo>
                      <a:pt x="704" y="121"/>
                    </a:lnTo>
                    <a:lnTo>
                      <a:pt x="697" y="123"/>
                    </a:lnTo>
                    <a:lnTo>
                      <a:pt x="693" y="123"/>
                    </a:lnTo>
                    <a:lnTo>
                      <a:pt x="688" y="125"/>
                    </a:lnTo>
                    <a:lnTo>
                      <a:pt x="688" y="125"/>
                    </a:lnTo>
                    <a:lnTo>
                      <a:pt x="688" y="125"/>
                    </a:lnTo>
                    <a:lnTo>
                      <a:pt x="688" y="128"/>
                    </a:lnTo>
                    <a:lnTo>
                      <a:pt x="690" y="128"/>
                    </a:lnTo>
                    <a:lnTo>
                      <a:pt x="690" y="128"/>
                    </a:lnTo>
                    <a:lnTo>
                      <a:pt x="693" y="130"/>
                    </a:lnTo>
                    <a:lnTo>
                      <a:pt x="697" y="130"/>
                    </a:lnTo>
                    <a:lnTo>
                      <a:pt x="704" y="130"/>
                    </a:lnTo>
                    <a:lnTo>
                      <a:pt x="716" y="128"/>
                    </a:lnTo>
                    <a:lnTo>
                      <a:pt x="723" y="128"/>
                    </a:lnTo>
                    <a:lnTo>
                      <a:pt x="730" y="125"/>
                    </a:lnTo>
                    <a:lnTo>
                      <a:pt x="733" y="125"/>
                    </a:lnTo>
                    <a:lnTo>
                      <a:pt x="735" y="123"/>
                    </a:lnTo>
                    <a:lnTo>
                      <a:pt x="738" y="123"/>
                    </a:lnTo>
                    <a:lnTo>
                      <a:pt x="740" y="123"/>
                    </a:lnTo>
                    <a:lnTo>
                      <a:pt x="745" y="123"/>
                    </a:lnTo>
                    <a:lnTo>
                      <a:pt x="754" y="121"/>
                    </a:lnTo>
                    <a:lnTo>
                      <a:pt x="761" y="121"/>
                    </a:lnTo>
                    <a:lnTo>
                      <a:pt x="766" y="118"/>
                    </a:lnTo>
                    <a:lnTo>
                      <a:pt x="768" y="118"/>
                    </a:lnTo>
                    <a:lnTo>
                      <a:pt x="768" y="118"/>
                    </a:lnTo>
                    <a:lnTo>
                      <a:pt x="766" y="121"/>
                    </a:lnTo>
                    <a:lnTo>
                      <a:pt x="766" y="121"/>
                    </a:lnTo>
                    <a:lnTo>
                      <a:pt x="766" y="121"/>
                    </a:lnTo>
                    <a:lnTo>
                      <a:pt x="768" y="121"/>
                    </a:lnTo>
                    <a:lnTo>
                      <a:pt x="768" y="121"/>
                    </a:lnTo>
                    <a:lnTo>
                      <a:pt x="771" y="121"/>
                    </a:lnTo>
                    <a:lnTo>
                      <a:pt x="773" y="121"/>
                    </a:lnTo>
                    <a:lnTo>
                      <a:pt x="778" y="121"/>
                    </a:lnTo>
                    <a:lnTo>
                      <a:pt x="780" y="121"/>
                    </a:lnTo>
                    <a:lnTo>
                      <a:pt x="785" y="121"/>
                    </a:lnTo>
                    <a:lnTo>
                      <a:pt x="785" y="121"/>
                    </a:lnTo>
                    <a:lnTo>
                      <a:pt x="787" y="121"/>
                    </a:lnTo>
                    <a:lnTo>
                      <a:pt x="792" y="121"/>
                    </a:lnTo>
                    <a:lnTo>
                      <a:pt x="801" y="118"/>
                    </a:lnTo>
                    <a:lnTo>
                      <a:pt x="804" y="118"/>
                    </a:lnTo>
                    <a:lnTo>
                      <a:pt x="806" y="116"/>
                    </a:lnTo>
                    <a:lnTo>
                      <a:pt x="813" y="113"/>
                    </a:lnTo>
                    <a:lnTo>
                      <a:pt x="816" y="111"/>
                    </a:lnTo>
                    <a:lnTo>
                      <a:pt x="820" y="109"/>
                    </a:lnTo>
                    <a:lnTo>
                      <a:pt x="823" y="109"/>
                    </a:lnTo>
                    <a:lnTo>
                      <a:pt x="823" y="106"/>
                    </a:lnTo>
                    <a:lnTo>
                      <a:pt x="825" y="106"/>
                    </a:lnTo>
                    <a:lnTo>
                      <a:pt x="825" y="104"/>
                    </a:lnTo>
                    <a:lnTo>
                      <a:pt x="825" y="104"/>
                    </a:lnTo>
                    <a:lnTo>
                      <a:pt x="825" y="104"/>
                    </a:lnTo>
                    <a:lnTo>
                      <a:pt x="823" y="104"/>
                    </a:lnTo>
                    <a:lnTo>
                      <a:pt x="818" y="102"/>
                    </a:lnTo>
                    <a:lnTo>
                      <a:pt x="816" y="102"/>
                    </a:lnTo>
                    <a:lnTo>
                      <a:pt x="813" y="104"/>
                    </a:lnTo>
                    <a:lnTo>
                      <a:pt x="811" y="104"/>
                    </a:lnTo>
                    <a:lnTo>
                      <a:pt x="811" y="104"/>
                    </a:lnTo>
                    <a:lnTo>
                      <a:pt x="809" y="104"/>
                    </a:lnTo>
                    <a:lnTo>
                      <a:pt x="809" y="106"/>
                    </a:lnTo>
                    <a:lnTo>
                      <a:pt x="809" y="106"/>
                    </a:lnTo>
                    <a:lnTo>
                      <a:pt x="809" y="106"/>
                    </a:lnTo>
                    <a:lnTo>
                      <a:pt x="809" y="106"/>
                    </a:lnTo>
                    <a:lnTo>
                      <a:pt x="806" y="106"/>
                    </a:lnTo>
                    <a:lnTo>
                      <a:pt x="804" y="106"/>
                    </a:lnTo>
                    <a:lnTo>
                      <a:pt x="804" y="109"/>
                    </a:lnTo>
                    <a:lnTo>
                      <a:pt x="804" y="109"/>
                    </a:lnTo>
                    <a:lnTo>
                      <a:pt x="804" y="106"/>
                    </a:lnTo>
                    <a:lnTo>
                      <a:pt x="806" y="106"/>
                    </a:lnTo>
                    <a:lnTo>
                      <a:pt x="806" y="106"/>
                    </a:lnTo>
                    <a:lnTo>
                      <a:pt x="806" y="106"/>
                    </a:lnTo>
                    <a:lnTo>
                      <a:pt x="804" y="104"/>
                    </a:lnTo>
                    <a:lnTo>
                      <a:pt x="801" y="104"/>
                    </a:lnTo>
                    <a:lnTo>
                      <a:pt x="801" y="104"/>
                    </a:lnTo>
                    <a:lnTo>
                      <a:pt x="799" y="106"/>
                    </a:lnTo>
                    <a:lnTo>
                      <a:pt x="794" y="106"/>
                    </a:lnTo>
                    <a:lnTo>
                      <a:pt x="792" y="106"/>
                    </a:lnTo>
                    <a:lnTo>
                      <a:pt x="792" y="106"/>
                    </a:lnTo>
                    <a:lnTo>
                      <a:pt x="794" y="106"/>
                    </a:lnTo>
                    <a:lnTo>
                      <a:pt x="799" y="104"/>
                    </a:lnTo>
                    <a:lnTo>
                      <a:pt x="799" y="104"/>
                    </a:lnTo>
                    <a:lnTo>
                      <a:pt x="799" y="104"/>
                    </a:lnTo>
                    <a:lnTo>
                      <a:pt x="801" y="104"/>
                    </a:lnTo>
                    <a:lnTo>
                      <a:pt x="801" y="102"/>
                    </a:lnTo>
                    <a:lnTo>
                      <a:pt x="799" y="102"/>
                    </a:lnTo>
                    <a:lnTo>
                      <a:pt x="799" y="102"/>
                    </a:lnTo>
                    <a:lnTo>
                      <a:pt x="797" y="102"/>
                    </a:lnTo>
                    <a:lnTo>
                      <a:pt x="794" y="102"/>
                    </a:lnTo>
                    <a:lnTo>
                      <a:pt x="794" y="102"/>
                    </a:lnTo>
                    <a:lnTo>
                      <a:pt x="794" y="102"/>
                    </a:lnTo>
                    <a:lnTo>
                      <a:pt x="794" y="102"/>
                    </a:lnTo>
                    <a:lnTo>
                      <a:pt x="797" y="102"/>
                    </a:lnTo>
                    <a:lnTo>
                      <a:pt x="799" y="99"/>
                    </a:lnTo>
                    <a:lnTo>
                      <a:pt x="801" y="99"/>
                    </a:lnTo>
                    <a:lnTo>
                      <a:pt x="801" y="97"/>
                    </a:lnTo>
                    <a:lnTo>
                      <a:pt x="801" y="97"/>
                    </a:lnTo>
                    <a:lnTo>
                      <a:pt x="801" y="97"/>
                    </a:lnTo>
                    <a:lnTo>
                      <a:pt x="801" y="97"/>
                    </a:lnTo>
                    <a:lnTo>
                      <a:pt x="801" y="94"/>
                    </a:lnTo>
                    <a:lnTo>
                      <a:pt x="801" y="94"/>
                    </a:lnTo>
                    <a:lnTo>
                      <a:pt x="804" y="94"/>
                    </a:lnTo>
                    <a:lnTo>
                      <a:pt x="804" y="94"/>
                    </a:lnTo>
                    <a:lnTo>
                      <a:pt x="804" y="92"/>
                    </a:lnTo>
                    <a:lnTo>
                      <a:pt x="806" y="92"/>
                    </a:lnTo>
                    <a:lnTo>
                      <a:pt x="809" y="92"/>
                    </a:lnTo>
                    <a:lnTo>
                      <a:pt x="809" y="92"/>
                    </a:lnTo>
                    <a:lnTo>
                      <a:pt x="809" y="92"/>
                    </a:lnTo>
                    <a:lnTo>
                      <a:pt x="809" y="92"/>
                    </a:lnTo>
                    <a:lnTo>
                      <a:pt x="806" y="90"/>
                    </a:lnTo>
                    <a:lnTo>
                      <a:pt x="801" y="90"/>
                    </a:lnTo>
                    <a:lnTo>
                      <a:pt x="801" y="90"/>
                    </a:lnTo>
                    <a:lnTo>
                      <a:pt x="799" y="92"/>
                    </a:lnTo>
                    <a:lnTo>
                      <a:pt x="794" y="92"/>
                    </a:lnTo>
                    <a:lnTo>
                      <a:pt x="787" y="94"/>
                    </a:lnTo>
                    <a:lnTo>
                      <a:pt x="785" y="94"/>
                    </a:lnTo>
                    <a:lnTo>
                      <a:pt x="778" y="97"/>
                    </a:lnTo>
                    <a:lnTo>
                      <a:pt x="778" y="97"/>
                    </a:lnTo>
                    <a:lnTo>
                      <a:pt x="778" y="97"/>
                    </a:lnTo>
                    <a:lnTo>
                      <a:pt x="775" y="97"/>
                    </a:lnTo>
                    <a:lnTo>
                      <a:pt x="775" y="99"/>
                    </a:lnTo>
                    <a:lnTo>
                      <a:pt x="775" y="99"/>
                    </a:lnTo>
                    <a:lnTo>
                      <a:pt x="778" y="99"/>
                    </a:lnTo>
                    <a:lnTo>
                      <a:pt x="780" y="99"/>
                    </a:lnTo>
                    <a:lnTo>
                      <a:pt x="783" y="102"/>
                    </a:lnTo>
                    <a:lnTo>
                      <a:pt x="783" y="102"/>
                    </a:lnTo>
                    <a:lnTo>
                      <a:pt x="780" y="102"/>
                    </a:lnTo>
                    <a:lnTo>
                      <a:pt x="780" y="102"/>
                    </a:lnTo>
                    <a:lnTo>
                      <a:pt x="780" y="104"/>
                    </a:lnTo>
                    <a:lnTo>
                      <a:pt x="773" y="104"/>
                    </a:lnTo>
                    <a:lnTo>
                      <a:pt x="771" y="106"/>
                    </a:lnTo>
                    <a:lnTo>
                      <a:pt x="778" y="109"/>
                    </a:lnTo>
                    <a:lnTo>
                      <a:pt x="778" y="109"/>
                    </a:lnTo>
                    <a:lnTo>
                      <a:pt x="778" y="109"/>
                    </a:lnTo>
                    <a:lnTo>
                      <a:pt x="775" y="111"/>
                    </a:lnTo>
                    <a:lnTo>
                      <a:pt x="775" y="111"/>
                    </a:lnTo>
                    <a:lnTo>
                      <a:pt x="773" y="111"/>
                    </a:lnTo>
                    <a:lnTo>
                      <a:pt x="773" y="111"/>
                    </a:lnTo>
                    <a:lnTo>
                      <a:pt x="756" y="111"/>
                    </a:lnTo>
                    <a:lnTo>
                      <a:pt x="754" y="111"/>
                    </a:lnTo>
                    <a:lnTo>
                      <a:pt x="752" y="111"/>
                    </a:lnTo>
                    <a:lnTo>
                      <a:pt x="749" y="111"/>
                    </a:lnTo>
                    <a:lnTo>
                      <a:pt x="747" y="111"/>
                    </a:lnTo>
                    <a:lnTo>
                      <a:pt x="747" y="109"/>
                    </a:lnTo>
                    <a:lnTo>
                      <a:pt x="747" y="109"/>
                    </a:lnTo>
                    <a:lnTo>
                      <a:pt x="749" y="106"/>
                    </a:lnTo>
                    <a:lnTo>
                      <a:pt x="749" y="106"/>
                    </a:lnTo>
                    <a:lnTo>
                      <a:pt x="749" y="106"/>
                    </a:lnTo>
                    <a:lnTo>
                      <a:pt x="747" y="106"/>
                    </a:lnTo>
                    <a:lnTo>
                      <a:pt x="745" y="106"/>
                    </a:lnTo>
                    <a:close/>
                    <a:moveTo>
                      <a:pt x="633" y="104"/>
                    </a:moveTo>
                    <a:lnTo>
                      <a:pt x="633" y="104"/>
                    </a:lnTo>
                    <a:lnTo>
                      <a:pt x="633" y="106"/>
                    </a:lnTo>
                    <a:lnTo>
                      <a:pt x="631" y="106"/>
                    </a:lnTo>
                    <a:lnTo>
                      <a:pt x="629" y="106"/>
                    </a:lnTo>
                    <a:lnTo>
                      <a:pt x="626" y="106"/>
                    </a:lnTo>
                    <a:lnTo>
                      <a:pt x="629" y="106"/>
                    </a:lnTo>
                    <a:lnTo>
                      <a:pt x="629" y="106"/>
                    </a:lnTo>
                    <a:lnTo>
                      <a:pt x="631" y="106"/>
                    </a:lnTo>
                    <a:lnTo>
                      <a:pt x="631" y="106"/>
                    </a:lnTo>
                    <a:lnTo>
                      <a:pt x="633" y="106"/>
                    </a:lnTo>
                    <a:lnTo>
                      <a:pt x="633" y="106"/>
                    </a:lnTo>
                    <a:lnTo>
                      <a:pt x="636" y="104"/>
                    </a:lnTo>
                    <a:lnTo>
                      <a:pt x="636" y="104"/>
                    </a:lnTo>
                    <a:lnTo>
                      <a:pt x="636" y="104"/>
                    </a:lnTo>
                    <a:lnTo>
                      <a:pt x="633" y="104"/>
                    </a:lnTo>
                    <a:lnTo>
                      <a:pt x="633" y="104"/>
                    </a:lnTo>
                    <a:close/>
                    <a:moveTo>
                      <a:pt x="246" y="213"/>
                    </a:moveTo>
                    <a:lnTo>
                      <a:pt x="248" y="213"/>
                    </a:lnTo>
                    <a:lnTo>
                      <a:pt x="250" y="213"/>
                    </a:lnTo>
                    <a:lnTo>
                      <a:pt x="250" y="213"/>
                    </a:lnTo>
                    <a:lnTo>
                      <a:pt x="248" y="210"/>
                    </a:lnTo>
                    <a:lnTo>
                      <a:pt x="248" y="210"/>
                    </a:lnTo>
                    <a:lnTo>
                      <a:pt x="246" y="213"/>
                    </a:lnTo>
                    <a:lnTo>
                      <a:pt x="246" y="213"/>
                    </a:lnTo>
                    <a:lnTo>
                      <a:pt x="246" y="213"/>
                    </a:lnTo>
                    <a:close/>
                    <a:moveTo>
                      <a:pt x="484" y="170"/>
                    </a:moveTo>
                    <a:lnTo>
                      <a:pt x="487" y="170"/>
                    </a:lnTo>
                    <a:lnTo>
                      <a:pt x="487" y="173"/>
                    </a:lnTo>
                    <a:lnTo>
                      <a:pt x="489" y="173"/>
                    </a:lnTo>
                    <a:lnTo>
                      <a:pt x="496" y="175"/>
                    </a:lnTo>
                    <a:lnTo>
                      <a:pt x="496" y="177"/>
                    </a:lnTo>
                    <a:lnTo>
                      <a:pt x="496" y="177"/>
                    </a:lnTo>
                    <a:lnTo>
                      <a:pt x="496" y="180"/>
                    </a:lnTo>
                    <a:lnTo>
                      <a:pt x="496" y="180"/>
                    </a:lnTo>
                    <a:lnTo>
                      <a:pt x="494" y="184"/>
                    </a:lnTo>
                    <a:lnTo>
                      <a:pt x="494" y="184"/>
                    </a:lnTo>
                    <a:lnTo>
                      <a:pt x="494" y="184"/>
                    </a:lnTo>
                    <a:lnTo>
                      <a:pt x="494" y="187"/>
                    </a:lnTo>
                    <a:lnTo>
                      <a:pt x="496" y="187"/>
                    </a:lnTo>
                    <a:lnTo>
                      <a:pt x="499" y="187"/>
                    </a:lnTo>
                    <a:lnTo>
                      <a:pt x="501" y="184"/>
                    </a:lnTo>
                    <a:lnTo>
                      <a:pt x="503" y="184"/>
                    </a:lnTo>
                    <a:lnTo>
                      <a:pt x="510" y="182"/>
                    </a:lnTo>
                    <a:lnTo>
                      <a:pt x="520" y="180"/>
                    </a:lnTo>
                    <a:lnTo>
                      <a:pt x="522" y="180"/>
                    </a:lnTo>
                    <a:lnTo>
                      <a:pt x="522" y="180"/>
                    </a:lnTo>
                    <a:lnTo>
                      <a:pt x="522" y="180"/>
                    </a:lnTo>
                    <a:lnTo>
                      <a:pt x="522" y="180"/>
                    </a:lnTo>
                    <a:lnTo>
                      <a:pt x="527" y="180"/>
                    </a:lnTo>
                    <a:lnTo>
                      <a:pt x="532" y="180"/>
                    </a:lnTo>
                    <a:lnTo>
                      <a:pt x="536" y="180"/>
                    </a:lnTo>
                    <a:lnTo>
                      <a:pt x="539" y="177"/>
                    </a:lnTo>
                    <a:lnTo>
                      <a:pt x="541" y="177"/>
                    </a:lnTo>
                    <a:lnTo>
                      <a:pt x="541" y="177"/>
                    </a:lnTo>
                    <a:lnTo>
                      <a:pt x="548" y="173"/>
                    </a:lnTo>
                    <a:lnTo>
                      <a:pt x="551" y="170"/>
                    </a:lnTo>
                    <a:lnTo>
                      <a:pt x="555" y="168"/>
                    </a:lnTo>
                    <a:lnTo>
                      <a:pt x="558" y="166"/>
                    </a:lnTo>
                    <a:lnTo>
                      <a:pt x="560" y="166"/>
                    </a:lnTo>
                    <a:lnTo>
                      <a:pt x="565" y="166"/>
                    </a:lnTo>
                    <a:lnTo>
                      <a:pt x="570" y="166"/>
                    </a:lnTo>
                    <a:lnTo>
                      <a:pt x="572" y="163"/>
                    </a:lnTo>
                    <a:lnTo>
                      <a:pt x="579" y="161"/>
                    </a:lnTo>
                    <a:lnTo>
                      <a:pt x="581" y="158"/>
                    </a:lnTo>
                    <a:lnTo>
                      <a:pt x="584" y="158"/>
                    </a:lnTo>
                    <a:lnTo>
                      <a:pt x="600" y="154"/>
                    </a:lnTo>
                    <a:lnTo>
                      <a:pt x="612" y="151"/>
                    </a:lnTo>
                    <a:lnTo>
                      <a:pt x="617" y="151"/>
                    </a:lnTo>
                    <a:lnTo>
                      <a:pt x="629" y="149"/>
                    </a:lnTo>
                    <a:lnTo>
                      <a:pt x="633" y="149"/>
                    </a:lnTo>
                    <a:lnTo>
                      <a:pt x="636" y="147"/>
                    </a:lnTo>
                    <a:lnTo>
                      <a:pt x="645" y="147"/>
                    </a:lnTo>
                    <a:lnTo>
                      <a:pt x="645" y="147"/>
                    </a:lnTo>
                    <a:lnTo>
                      <a:pt x="648" y="144"/>
                    </a:lnTo>
                    <a:lnTo>
                      <a:pt x="648" y="144"/>
                    </a:lnTo>
                    <a:lnTo>
                      <a:pt x="648" y="144"/>
                    </a:lnTo>
                    <a:lnTo>
                      <a:pt x="650" y="144"/>
                    </a:lnTo>
                    <a:lnTo>
                      <a:pt x="650" y="142"/>
                    </a:lnTo>
                    <a:lnTo>
                      <a:pt x="648" y="142"/>
                    </a:lnTo>
                    <a:lnTo>
                      <a:pt x="645" y="139"/>
                    </a:lnTo>
                    <a:lnTo>
                      <a:pt x="643" y="135"/>
                    </a:lnTo>
                    <a:lnTo>
                      <a:pt x="641" y="135"/>
                    </a:lnTo>
                    <a:lnTo>
                      <a:pt x="641" y="132"/>
                    </a:lnTo>
                    <a:lnTo>
                      <a:pt x="638" y="132"/>
                    </a:lnTo>
                    <a:lnTo>
                      <a:pt x="636" y="132"/>
                    </a:lnTo>
                    <a:lnTo>
                      <a:pt x="633" y="132"/>
                    </a:lnTo>
                    <a:lnTo>
                      <a:pt x="629" y="132"/>
                    </a:lnTo>
                    <a:lnTo>
                      <a:pt x="624" y="132"/>
                    </a:lnTo>
                    <a:lnTo>
                      <a:pt x="624" y="132"/>
                    </a:lnTo>
                    <a:lnTo>
                      <a:pt x="622" y="132"/>
                    </a:lnTo>
                    <a:lnTo>
                      <a:pt x="615" y="135"/>
                    </a:lnTo>
                    <a:lnTo>
                      <a:pt x="612" y="135"/>
                    </a:lnTo>
                    <a:lnTo>
                      <a:pt x="612" y="137"/>
                    </a:lnTo>
                    <a:lnTo>
                      <a:pt x="612" y="135"/>
                    </a:lnTo>
                    <a:lnTo>
                      <a:pt x="615" y="135"/>
                    </a:lnTo>
                    <a:lnTo>
                      <a:pt x="615" y="132"/>
                    </a:lnTo>
                    <a:lnTo>
                      <a:pt x="615" y="132"/>
                    </a:lnTo>
                    <a:lnTo>
                      <a:pt x="615" y="132"/>
                    </a:lnTo>
                    <a:lnTo>
                      <a:pt x="615" y="132"/>
                    </a:lnTo>
                    <a:lnTo>
                      <a:pt x="612" y="132"/>
                    </a:lnTo>
                    <a:lnTo>
                      <a:pt x="607" y="135"/>
                    </a:lnTo>
                    <a:lnTo>
                      <a:pt x="607" y="135"/>
                    </a:lnTo>
                    <a:lnTo>
                      <a:pt x="607" y="135"/>
                    </a:lnTo>
                    <a:lnTo>
                      <a:pt x="607" y="135"/>
                    </a:lnTo>
                    <a:lnTo>
                      <a:pt x="612" y="132"/>
                    </a:lnTo>
                    <a:lnTo>
                      <a:pt x="607" y="132"/>
                    </a:lnTo>
                    <a:lnTo>
                      <a:pt x="603" y="130"/>
                    </a:lnTo>
                    <a:lnTo>
                      <a:pt x="598" y="130"/>
                    </a:lnTo>
                    <a:lnTo>
                      <a:pt x="598" y="128"/>
                    </a:lnTo>
                    <a:lnTo>
                      <a:pt x="596" y="128"/>
                    </a:lnTo>
                    <a:lnTo>
                      <a:pt x="593" y="128"/>
                    </a:lnTo>
                    <a:lnTo>
                      <a:pt x="591" y="128"/>
                    </a:lnTo>
                    <a:lnTo>
                      <a:pt x="579" y="128"/>
                    </a:lnTo>
                    <a:lnTo>
                      <a:pt x="567" y="130"/>
                    </a:lnTo>
                    <a:lnTo>
                      <a:pt x="548" y="130"/>
                    </a:lnTo>
                    <a:lnTo>
                      <a:pt x="548" y="130"/>
                    </a:lnTo>
                    <a:lnTo>
                      <a:pt x="548" y="130"/>
                    </a:lnTo>
                    <a:lnTo>
                      <a:pt x="548" y="132"/>
                    </a:lnTo>
                    <a:lnTo>
                      <a:pt x="548" y="132"/>
                    </a:lnTo>
                    <a:lnTo>
                      <a:pt x="546" y="137"/>
                    </a:lnTo>
                    <a:lnTo>
                      <a:pt x="544" y="137"/>
                    </a:lnTo>
                    <a:lnTo>
                      <a:pt x="546" y="139"/>
                    </a:lnTo>
                    <a:lnTo>
                      <a:pt x="546" y="139"/>
                    </a:lnTo>
                    <a:lnTo>
                      <a:pt x="546" y="139"/>
                    </a:lnTo>
                    <a:lnTo>
                      <a:pt x="546" y="139"/>
                    </a:lnTo>
                    <a:lnTo>
                      <a:pt x="541" y="142"/>
                    </a:lnTo>
                    <a:lnTo>
                      <a:pt x="536" y="144"/>
                    </a:lnTo>
                    <a:lnTo>
                      <a:pt x="529" y="147"/>
                    </a:lnTo>
                    <a:lnTo>
                      <a:pt x="525" y="149"/>
                    </a:lnTo>
                    <a:lnTo>
                      <a:pt x="522" y="149"/>
                    </a:lnTo>
                    <a:lnTo>
                      <a:pt x="518" y="151"/>
                    </a:lnTo>
                    <a:lnTo>
                      <a:pt x="518" y="151"/>
                    </a:lnTo>
                    <a:lnTo>
                      <a:pt x="518" y="151"/>
                    </a:lnTo>
                    <a:lnTo>
                      <a:pt x="518" y="154"/>
                    </a:lnTo>
                    <a:lnTo>
                      <a:pt x="518" y="154"/>
                    </a:lnTo>
                    <a:lnTo>
                      <a:pt x="518" y="154"/>
                    </a:lnTo>
                    <a:lnTo>
                      <a:pt x="518" y="154"/>
                    </a:lnTo>
                    <a:lnTo>
                      <a:pt x="518" y="154"/>
                    </a:lnTo>
                    <a:lnTo>
                      <a:pt x="518" y="154"/>
                    </a:lnTo>
                    <a:lnTo>
                      <a:pt x="518" y="154"/>
                    </a:lnTo>
                    <a:lnTo>
                      <a:pt x="510" y="156"/>
                    </a:lnTo>
                    <a:lnTo>
                      <a:pt x="510" y="156"/>
                    </a:lnTo>
                    <a:lnTo>
                      <a:pt x="508" y="156"/>
                    </a:lnTo>
                    <a:lnTo>
                      <a:pt x="508" y="156"/>
                    </a:lnTo>
                    <a:lnTo>
                      <a:pt x="506" y="158"/>
                    </a:lnTo>
                    <a:lnTo>
                      <a:pt x="503" y="158"/>
                    </a:lnTo>
                    <a:lnTo>
                      <a:pt x="503" y="161"/>
                    </a:lnTo>
                    <a:lnTo>
                      <a:pt x="503" y="161"/>
                    </a:lnTo>
                    <a:lnTo>
                      <a:pt x="503" y="161"/>
                    </a:lnTo>
                    <a:lnTo>
                      <a:pt x="501" y="161"/>
                    </a:lnTo>
                    <a:lnTo>
                      <a:pt x="499" y="161"/>
                    </a:lnTo>
                    <a:lnTo>
                      <a:pt x="496" y="163"/>
                    </a:lnTo>
                    <a:lnTo>
                      <a:pt x="494" y="163"/>
                    </a:lnTo>
                    <a:lnTo>
                      <a:pt x="494" y="163"/>
                    </a:lnTo>
                    <a:lnTo>
                      <a:pt x="492" y="166"/>
                    </a:lnTo>
                    <a:lnTo>
                      <a:pt x="489" y="166"/>
                    </a:lnTo>
                    <a:lnTo>
                      <a:pt x="487" y="166"/>
                    </a:lnTo>
                    <a:lnTo>
                      <a:pt x="487" y="166"/>
                    </a:lnTo>
                    <a:lnTo>
                      <a:pt x="487" y="166"/>
                    </a:lnTo>
                    <a:lnTo>
                      <a:pt x="487" y="168"/>
                    </a:lnTo>
                    <a:lnTo>
                      <a:pt x="487" y="168"/>
                    </a:lnTo>
                    <a:lnTo>
                      <a:pt x="482" y="168"/>
                    </a:lnTo>
                    <a:lnTo>
                      <a:pt x="482" y="168"/>
                    </a:lnTo>
                    <a:lnTo>
                      <a:pt x="482" y="168"/>
                    </a:lnTo>
                    <a:lnTo>
                      <a:pt x="482" y="170"/>
                    </a:lnTo>
                    <a:lnTo>
                      <a:pt x="480" y="170"/>
                    </a:lnTo>
                    <a:lnTo>
                      <a:pt x="477" y="170"/>
                    </a:lnTo>
                    <a:lnTo>
                      <a:pt x="477" y="170"/>
                    </a:lnTo>
                    <a:lnTo>
                      <a:pt x="480" y="170"/>
                    </a:lnTo>
                    <a:lnTo>
                      <a:pt x="484" y="170"/>
                    </a:lnTo>
                    <a:close/>
                    <a:moveTo>
                      <a:pt x="771" y="78"/>
                    </a:moveTo>
                    <a:lnTo>
                      <a:pt x="771" y="78"/>
                    </a:lnTo>
                    <a:lnTo>
                      <a:pt x="771" y="78"/>
                    </a:lnTo>
                    <a:lnTo>
                      <a:pt x="771" y="78"/>
                    </a:lnTo>
                    <a:lnTo>
                      <a:pt x="771" y="80"/>
                    </a:lnTo>
                    <a:lnTo>
                      <a:pt x="773" y="80"/>
                    </a:lnTo>
                    <a:lnTo>
                      <a:pt x="775" y="80"/>
                    </a:lnTo>
                    <a:lnTo>
                      <a:pt x="778" y="83"/>
                    </a:lnTo>
                    <a:lnTo>
                      <a:pt x="780" y="83"/>
                    </a:lnTo>
                    <a:lnTo>
                      <a:pt x="792" y="80"/>
                    </a:lnTo>
                    <a:lnTo>
                      <a:pt x="792" y="80"/>
                    </a:lnTo>
                    <a:lnTo>
                      <a:pt x="794" y="80"/>
                    </a:lnTo>
                    <a:lnTo>
                      <a:pt x="799" y="80"/>
                    </a:lnTo>
                    <a:lnTo>
                      <a:pt x="804" y="80"/>
                    </a:lnTo>
                    <a:lnTo>
                      <a:pt x="806" y="78"/>
                    </a:lnTo>
                    <a:lnTo>
                      <a:pt x="809" y="78"/>
                    </a:lnTo>
                    <a:lnTo>
                      <a:pt x="809" y="78"/>
                    </a:lnTo>
                    <a:lnTo>
                      <a:pt x="811" y="76"/>
                    </a:lnTo>
                    <a:lnTo>
                      <a:pt x="811" y="76"/>
                    </a:lnTo>
                    <a:lnTo>
                      <a:pt x="811" y="76"/>
                    </a:lnTo>
                    <a:lnTo>
                      <a:pt x="811" y="76"/>
                    </a:lnTo>
                    <a:lnTo>
                      <a:pt x="811" y="76"/>
                    </a:lnTo>
                    <a:lnTo>
                      <a:pt x="806" y="76"/>
                    </a:lnTo>
                    <a:lnTo>
                      <a:pt x="804" y="76"/>
                    </a:lnTo>
                    <a:lnTo>
                      <a:pt x="804" y="73"/>
                    </a:lnTo>
                    <a:lnTo>
                      <a:pt x="806" y="73"/>
                    </a:lnTo>
                    <a:lnTo>
                      <a:pt x="806" y="73"/>
                    </a:lnTo>
                    <a:lnTo>
                      <a:pt x="816" y="73"/>
                    </a:lnTo>
                    <a:lnTo>
                      <a:pt x="820" y="73"/>
                    </a:lnTo>
                    <a:lnTo>
                      <a:pt x="823" y="71"/>
                    </a:lnTo>
                    <a:lnTo>
                      <a:pt x="825" y="71"/>
                    </a:lnTo>
                    <a:lnTo>
                      <a:pt x="825" y="71"/>
                    </a:lnTo>
                    <a:lnTo>
                      <a:pt x="825" y="71"/>
                    </a:lnTo>
                    <a:lnTo>
                      <a:pt x="816" y="71"/>
                    </a:lnTo>
                    <a:lnTo>
                      <a:pt x="813" y="71"/>
                    </a:lnTo>
                    <a:lnTo>
                      <a:pt x="811" y="71"/>
                    </a:lnTo>
                    <a:lnTo>
                      <a:pt x="806" y="71"/>
                    </a:lnTo>
                    <a:lnTo>
                      <a:pt x="792" y="71"/>
                    </a:lnTo>
                    <a:lnTo>
                      <a:pt x="785" y="73"/>
                    </a:lnTo>
                    <a:lnTo>
                      <a:pt x="780" y="73"/>
                    </a:lnTo>
                    <a:lnTo>
                      <a:pt x="780" y="73"/>
                    </a:lnTo>
                    <a:lnTo>
                      <a:pt x="778" y="73"/>
                    </a:lnTo>
                    <a:lnTo>
                      <a:pt x="778" y="73"/>
                    </a:lnTo>
                    <a:lnTo>
                      <a:pt x="775" y="73"/>
                    </a:lnTo>
                    <a:lnTo>
                      <a:pt x="775" y="73"/>
                    </a:lnTo>
                    <a:lnTo>
                      <a:pt x="775" y="76"/>
                    </a:lnTo>
                    <a:lnTo>
                      <a:pt x="773" y="76"/>
                    </a:lnTo>
                    <a:lnTo>
                      <a:pt x="773" y="76"/>
                    </a:lnTo>
                    <a:lnTo>
                      <a:pt x="773" y="78"/>
                    </a:lnTo>
                    <a:lnTo>
                      <a:pt x="773" y="78"/>
                    </a:lnTo>
                    <a:lnTo>
                      <a:pt x="771" y="78"/>
                    </a:lnTo>
                    <a:lnTo>
                      <a:pt x="771" y="78"/>
                    </a:lnTo>
                    <a:close/>
                    <a:moveTo>
                      <a:pt x="659" y="111"/>
                    </a:moveTo>
                    <a:lnTo>
                      <a:pt x="662" y="109"/>
                    </a:lnTo>
                    <a:lnTo>
                      <a:pt x="669" y="106"/>
                    </a:lnTo>
                    <a:lnTo>
                      <a:pt x="676" y="104"/>
                    </a:lnTo>
                    <a:lnTo>
                      <a:pt x="676" y="104"/>
                    </a:lnTo>
                    <a:lnTo>
                      <a:pt x="681" y="102"/>
                    </a:lnTo>
                    <a:lnTo>
                      <a:pt x="681" y="102"/>
                    </a:lnTo>
                    <a:lnTo>
                      <a:pt x="681" y="102"/>
                    </a:lnTo>
                    <a:lnTo>
                      <a:pt x="678" y="102"/>
                    </a:lnTo>
                    <a:lnTo>
                      <a:pt x="676" y="102"/>
                    </a:lnTo>
                    <a:lnTo>
                      <a:pt x="671" y="104"/>
                    </a:lnTo>
                    <a:lnTo>
                      <a:pt x="667" y="104"/>
                    </a:lnTo>
                    <a:lnTo>
                      <a:pt x="664" y="104"/>
                    </a:lnTo>
                    <a:lnTo>
                      <a:pt x="655" y="106"/>
                    </a:lnTo>
                    <a:lnTo>
                      <a:pt x="650" y="109"/>
                    </a:lnTo>
                    <a:lnTo>
                      <a:pt x="648" y="109"/>
                    </a:lnTo>
                    <a:lnTo>
                      <a:pt x="648" y="109"/>
                    </a:lnTo>
                    <a:lnTo>
                      <a:pt x="645" y="109"/>
                    </a:lnTo>
                    <a:lnTo>
                      <a:pt x="648" y="111"/>
                    </a:lnTo>
                    <a:lnTo>
                      <a:pt x="650" y="111"/>
                    </a:lnTo>
                    <a:lnTo>
                      <a:pt x="652" y="111"/>
                    </a:lnTo>
                    <a:lnTo>
                      <a:pt x="655" y="111"/>
                    </a:lnTo>
                    <a:lnTo>
                      <a:pt x="659" y="111"/>
                    </a:lnTo>
                    <a:close/>
                    <a:moveTo>
                      <a:pt x="773" y="151"/>
                    </a:moveTo>
                    <a:lnTo>
                      <a:pt x="773" y="151"/>
                    </a:lnTo>
                    <a:lnTo>
                      <a:pt x="778" y="151"/>
                    </a:lnTo>
                    <a:lnTo>
                      <a:pt x="783" y="149"/>
                    </a:lnTo>
                    <a:lnTo>
                      <a:pt x="785" y="147"/>
                    </a:lnTo>
                    <a:lnTo>
                      <a:pt x="787" y="144"/>
                    </a:lnTo>
                    <a:lnTo>
                      <a:pt x="787" y="144"/>
                    </a:lnTo>
                    <a:lnTo>
                      <a:pt x="787" y="144"/>
                    </a:lnTo>
                    <a:lnTo>
                      <a:pt x="787" y="142"/>
                    </a:lnTo>
                    <a:lnTo>
                      <a:pt x="787" y="142"/>
                    </a:lnTo>
                    <a:lnTo>
                      <a:pt x="787" y="142"/>
                    </a:lnTo>
                    <a:lnTo>
                      <a:pt x="785" y="139"/>
                    </a:lnTo>
                    <a:lnTo>
                      <a:pt x="783" y="139"/>
                    </a:lnTo>
                    <a:lnTo>
                      <a:pt x="780" y="139"/>
                    </a:lnTo>
                    <a:lnTo>
                      <a:pt x="768" y="142"/>
                    </a:lnTo>
                    <a:lnTo>
                      <a:pt x="764" y="142"/>
                    </a:lnTo>
                    <a:lnTo>
                      <a:pt x="764" y="142"/>
                    </a:lnTo>
                    <a:lnTo>
                      <a:pt x="759" y="142"/>
                    </a:lnTo>
                    <a:lnTo>
                      <a:pt x="756" y="144"/>
                    </a:lnTo>
                    <a:lnTo>
                      <a:pt x="756" y="144"/>
                    </a:lnTo>
                    <a:lnTo>
                      <a:pt x="759" y="144"/>
                    </a:lnTo>
                    <a:lnTo>
                      <a:pt x="759" y="147"/>
                    </a:lnTo>
                    <a:lnTo>
                      <a:pt x="761" y="149"/>
                    </a:lnTo>
                    <a:lnTo>
                      <a:pt x="761" y="149"/>
                    </a:lnTo>
                    <a:lnTo>
                      <a:pt x="761" y="149"/>
                    </a:lnTo>
                    <a:lnTo>
                      <a:pt x="764" y="151"/>
                    </a:lnTo>
                    <a:lnTo>
                      <a:pt x="764" y="154"/>
                    </a:lnTo>
                    <a:lnTo>
                      <a:pt x="764" y="154"/>
                    </a:lnTo>
                    <a:lnTo>
                      <a:pt x="766" y="154"/>
                    </a:lnTo>
                    <a:lnTo>
                      <a:pt x="766" y="154"/>
                    </a:lnTo>
                    <a:lnTo>
                      <a:pt x="768" y="154"/>
                    </a:lnTo>
                    <a:lnTo>
                      <a:pt x="771" y="154"/>
                    </a:lnTo>
                    <a:lnTo>
                      <a:pt x="773" y="151"/>
                    </a:lnTo>
                    <a:close/>
                    <a:moveTo>
                      <a:pt x="617" y="241"/>
                    </a:moveTo>
                    <a:lnTo>
                      <a:pt x="619" y="241"/>
                    </a:lnTo>
                    <a:lnTo>
                      <a:pt x="619" y="241"/>
                    </a:lnTo>
                    <a:lnTo>
                      <a:pt x="619" y="239"/>
                    </a:lnTo>
                    <a:lnTo>
                      <a:pt x="619" y="239"/>
                    </a:lnTo>
                    <a:lnTo>
                      <a:pt x="617" y="239"/>
                    </a:lnTo>
                    <a:lnTo>
                      <a:pt x="617" y="241"/>
                    </a:lnTo>
                    <a:close/>
                    <a:moveTo>
                      <a:pt x="619" y="241"/>
                    </a:moveTo>
                    <a:lnTo>
                      <a:pt x="619" y="241"/>
                    </a:lnTo>
                    <a:lnTo>
                      <a:pt x="619" y="241"/>
                    </a:lnTo>
                    <a:lnTo>
                      <a:pt x="619" y="241"/>
                    </a:lnTo>
                    <a:lnTo>
                      <a:pt x="622" y="244"/>
                    </a:lnTo>
                    <a:lnTo>
                      <a:pt x="622" y="244"/>
                    </a:lnTo>
                    <a:lnTo>
                      <a:pt x="622" y="244"/>
                    </a:lnTo>
                    <a:lnTo>
                      <a:pt x="624" y="241"/>
                    </a:lnTo>
                    <a:lnTo>
                      <a:pt x="624" y="241"/>
                    </a:lnTo>
                    <a:lnTo>
                      <a:pt x="622" y="241"/>
                    </a:lnTo>
                    <a:lnTo>
                      <a:pt x="619" y="241"/>
                    </a:lnTo>
                    <a:close/>
                    <a:moveTo>
                      <a:pt x="790" y="66"/>
                    </a:moveTo>
                    <a:lnTo>
                      <a:pt x="797" y="66"/>
                    </a:lnTo>
                    <a:lnTo>
                      <a:pt x="804" y="66"/>
                    </a:lnTo>
                    <a:lnTo>
                      <a:pt x="806" y="66"/>
                    </a:lnTo>
                    <a:lnTo>
                      <a:pt x="809" y="66"/>
                    </a:lnTo>
                    <a:lnTo>
                      <a:pt x="809" y="66"/>
                    </a:lnTo>
                    <a:lnTo>
                      <a:pt x="811" y="66"/>
                    </a:lnTo>
                    <a:lnTo>
                      <a:pt x="813" y="66"/>
                    </a:lnTo>
                    <a:lnTo>
                      <a:pt x="816" y="66"/>
                    </a:lnTo>
                    <a:lnTo>
                      <a:pt x="816" y="66"/>
                    </a:lnTo>
                    <a:lnTo>
                      <a:pt x="818" y="66"/>
                    </a:lnTo>
                    <a:lnTo>
                      <a:pt x="818" y="66"/>
                    </a:lnTo>
                    <a:lnTo>
                      <a:pt x="820" y="66"/>
                    </a:lnTo>
                    <a:lnTo>
                      <a:pt x="823" y="66"/>
                    </a:lnTo>
                    <a:lnTo>
                      <a:pt x="827" y="66"/>
                    </a:lnTo>
                    <a:lnTo>
                      <a:pt x="830" y="66"/>
                    </a:lnTo>
                    <a:lnTo>
                      <a:pt x="832" y="66"/>
                    </a:lnTo>
                    <a:lnTo>
                      <a:pt x="835" y="66"/>
                    </a:lnTo>
                    <a:lnTo>
                      <a:pt x="837" y="66"/>
                    </a:lnTo>
                    <a:lnTo>
                      <a:pt x="837" y="66"/>
                    </a:lnTo>
                    <a:lnTo>
                      <a:pt x="837" y="64"/>
                    </a:lnTo>
                    <a:lnTo>
                      <a:pt x="839" y="64"/>
                    </a:lnTo>
                    <a:lnTo>
                      <a:pt x="839" y="64"/>
                    </a:lnTo>
                    <a:lnTo>
                      <a:pt x="839" y="61"/>
                    </a:lnTo>
                    <a:lnTo>
                      <a:pt x="839" y="61"/>
                    </a:lnTo>
                    <a:lnTo>
                      <a:pt x="837" y="61"/>
                    </a:lnTo>
                    <a:lnTo>
                      <a:pt x="837" y="61"/>
                    </a:lnTo>
                    <a:lnTo>
                      <a:pt x="837" y="61"/>
                    </a:lnTo>
                    <a:lnTo>
                      <a:pt x="835" y="61"/>
                    </a:lnTo>
                    <a:lnTo>
                      <a:pt x="832" y="59"/>
                    </a:lnTo>
                    <a:lnTo>
                      <a:pt x="830" y="59"/>
                    </a:lnTo>
                    <a:lnTo>
                      <a:pt x="827" y="61"/>
                    </a:lnTo>
                    <a:lnTo>
                      <a:pt x="823" y="61"/>
                    </a:lnTo>
                    <a:lnTo>
                      <a:pt x="818" y="61"/>
                    </a:lnTo>
                    <a:lnTo>
                      <a:pt x="816" y="61"/>
                    </a:lnTo>
                    <a:lnTo>
                      <a:pt x="813" y="64"/>
                    </a:lnTo>
                    <a:lnTo>
                      <a:pt x="806" y="64"/>
                    </a:lnTo>
                    <a:lnTo>
                      <a:pt x="799" y="64"/>
                    </a:lnTo>
                    <a:lnTo>
                      <a:pt x="797" y="64"/>
                    </a:lnTo>
                    <a:lnTo>
                      <a:pt x="792" y="66"/>
                    </a:lnTo>
                    <a:lnTo>
                      <a:pt x="790" y="66"/>
                    </a:lnTo>
                    <a:lnTo>
                      <a:pt x="787" y="66"/>
                    </a:lnTo>
                    <a:lnTo>
                      <a:pt x="787" y="66"/>
                    </a:lnTo>
                    <a:lnTo>
                      <a:pt x="787" y="66"/>
                    </a:lnTo>
                    <a:lnTo>
                      <a:pt x="790" y="66"/>
                    </a:lnTo>
                    <a:close/>
                    <a:moveTo>
                      <a:pt x="4" y="547"/>
                    </a:moveTo>
                    <a:lnTo>
                      <a:pt x="4" y="547"/>
                    </a:lnTo>
                    <a:lnTo>
                      <a:pt x="2" y="549"/>
                    </a:lnTo>
                    <a:lnTo>
                      <a:pt x="2" y="549"/>
                    </a:lnTo>
                    <a:lnTo>
                      <a:pt x="2" y="549"/>
                    </a:lnTo>
                    <a:lnTo>
                      <a:pt x="2" y="549"/>
                    </a:lnTo>
                    <a:lnTo>
                      <a:pt x="4" y="547"/>
                    </a:lnTo>
                    <a:lnTo>
                      <a:pt x="4" y="547"/>
                    </a:lnTo>
                    <a:lnTo>
                      <a:pt x="4" y="547"/>
                    </a:lnTo>
                    <a:close/>
                    <a:moveTo>
                      <a:pt x="785" y="194"/>
                    </a:moveTo>
                    <a:lnTo>
                      <a:pt x="785" y="194"/>
                    </a:lnTo>
                    <a:lnTo>
                      <a:pt x="783" y="194"/>
                    </a:lnTo>
                    <a:lnTo>
                      <a:pt x="783" y="194"/>
                    </a:lnTo>
                    <a:lnTo>
                      <a:pt x="783" y="196"/>
                    </a:lnTo>
                    <a:lnTo>
                      <a:pt x="783" y="196"/>
                    </a:lnTo>
                    <a:lnTo>
                      <a:pt x="783" y="196"/>
                    </a:lnTo>
                    <a:lnTo>
                      <a:pt x="785" y="196"/>
                    </a:lnTo>
                    <a:lnTo>
                      <a:pt x="785" y="196"/>
                    </a:lnTo>
                    <a:lnTo>
                      <a:pt x="787" y="196"/>
                    </a:lnTo>
                    <a:lnTo>
                      <a:pt x="787" y="196"/>
                    </a:lnTo>
                    <a:lnTo>
                      <a:pt x="787" y="194"/>
                    </a:lnTo>
                    <a:lnTo>
                      <a:pt x="787" y="194"/>
                    </a:lnTo>
                    <a:lnTo>
                      <a:pt x="787" y="194"/>
                    </a:lnTo>
                    <a:lnTo>
                      <a:pt x="785" y="194"/>
                    </a:lnTo>
                    <a:close/>
                    <a:moveTo>
                      <a:pt x="835" y="113"/>
                    </a:moveTo>
                    <a:lnTo>
                      <a:pt x="835" y="113"/>
                    </a:lnTo>
                    <a:lnTo>
                      <a:pt x="835" y="113"/>
                    </a:lnTo>
                    <a:lnTo>
                      <a:pt x="832" y="113"/>
                    </a:lnTo>
                    <a:lnTo>
                      <a:pt x="830" y="113"/>
                    </a:lnTo>
                    <a:lnTo>
                      <a:pt x="827" y="113"/>
                    </a:lnTo>
                    <a:lnTo>
                      <a:pt x="825" y="113"/>
                    </a:lnTo>
                    <a:lnTo>
                      <a:pt x="823" y="113"/>
                    </a:lnTo>
                    <a:lnTo>
                      <a:pt x="820" y="116"/>
                    </a:lnTo>
                    <a:lnTo>
                      <a:pt x="818" y="116"/>
                    </a:lnTo>
                    <a:lnTo>
                      <a:pt x="818" y="116"/>
                    </a:lnTo>
                    <a:lnTo>
                      <a:pt x="818" y="118"/>
                    </a:lnTo>
                    <a:lnTo>
                      <a:pt x="818" y="118"/>
                    </a:lnTo>
                    <a:lnTo>
                      <a:pt x="818" y="118"/>
                    </a:lnTo>
                    <a:lnTo>
                      <a:pt x="823" y="118"/>
                    </a:lnTo>
                    <a:lnTo>
                      <a:pt x="825" y="118"/>
                    </a:lnTo>
                    <a:lnTo>
                      <a:pt x="830" y="118"/>
                    </a:lnTo>
                    <a:lnTo>
                      <a:pt x="832" y="118"/>
                    </a:lnTo>
                    <a:lnTo>
                      <a:pt x="832" y="118"/>
                    </a:lnTo>
                    <a:lnTo>
                      <a:pt x="832" y="116"/>
                    </a:lnTo>
                    <a:lnTo>
                      <a:pt x="835" y="116"/>
                    </a:lnTo>
                    <a:lnTo>
                      <a:pt x="835" y="116"/>
                    </a:lnTo>
                    <a:lnTo>
                      <a:pt x="835" y="116"/>
                    </a:lnTo>
                    <a:lnTo>
                      <a:pt x="835" y="116"/>
                    </a:lnTo>
                    <a:lnTo>
                      <a:pt x="835" y="113"/>
                    </a:lnTo>
                    <a:close/>
                    <a:moveTo>
                      <a:pt x="761" y="76"/>
                    </a:moveTo>
                    <a:lnTo>
                      <a:pt x="764" y="76"/>
                    </a:lnTo>
                    <a:lnTo>
                      <a:pt x="768" y="76"/>
                    </a:lnTo>
                    <a:lnTo>
                      <a:pt x="768" y="76"/>
                    </a:lnTo>
                    <a:lnTo>
                      <a:pt x="771" y="73"/>
                    </a:lnTo>
                    <a:lnTo>
                      <a:pt x="771" y="73"/>
                    </a:lnTo>
                    <a:lnTo>
                      <a:pt x="771" y="73"/>
                    </a:lnTo>
                    <a:lnTo>
                      <a:pt x="773" y="73"/>
                    </a:lnTo>
                    <a:lnTo>
                      <a:pt x="771" y="73"/>
                    </a:lnTo>
                    <a:lnTo>
                      <a:pt x="771" y="73"/>
                    </a:lnTo>
                    <a:lnTo>
                      <a:pt x="771" y="71"/>
                    </a:lnTo>
                    <a:lnTo>
                      <a:pt x="768" y="71"/>
                    </a:lnTo>
                    <a:lnTo>
                      <a:pt x="768" y="71"/>
                    </a:lnTo>
                    <a:lnTo>
                      <a:pt x="768" y="71"/>
                    </a:lnTo>
                    <a:lnTo>
                      <a:pt x="768" y="71"/>
                    </a:lnTo>
                    <a:lnTo>
                      <a:pt x="768" y="71"/>
                    </a:lnTo>
                    <a:lnTo>
                      <a:pt x="766" y="71"/>
                    </a:lnTo>
                    <a:lnTo>
                      <a:pt x="764" y="71"/>
                    </a:lnTo>
                    <a:lnTo>
                      <a:pt x="761" y="71"/>
                    </a:lnTo>
                    <a:lnTo>
                      <a:pt x="761" y="71"/>
                    </a:lnTo>
                    <a:lnTo>
                      <a:pt x="759" y="71"/>
                    </a:lnTo>
                    <a:lnTo>
                      <a:pt x="756" y="73"/>
                    </a:lnTo>
                    <a:lnTo>
                      <a:pt x="759" y="76"/>
                    </a:lnTo>
                    <a:lnTo>
                      <a:pt x="761" y="76"/>
                    </a:lnTo>
                    <a:close/>
                    <a:moveTo>
                      <a:pt x="52" y="528"/>
                    </a:moveTo>
                    <a:lnTo>
                      <a:pt x="52" y="528"/>
                    </a:lnTo>
                    <a:lnTo>
                      <a:pt x="54" y="523"/>
                    </a:lnTo>
                    <a:lnTo>
                      <a:pt x="54" y="523"/>
                    </a:lnTo>
                    <a:lnTo>
                      <a:pt x="54" y="523"/>
                    </a:lnTo>
                    <a:lnTo>
                      <a:pt x="54" y="523"/>
                    </a:lnTo>
                    <a:lnTo>
                      <a:pt x="54" y="523"/>
                    </a:lnTo>
                    <a:lnTo>
                      <a:pt x="52" y="525"/>
                    </a:lnTo>
                    <a:lnTo>
                      <a:pt x="49" y="525"/>
                    </a:lnTo>
                    <a:lnTo>
                      <a:pt x="49" y="525"/>
                    </a:lnTo>
                    <a:lnTo>
                      <a:pt x="49" y="528"/>
                    </a:lnTo>
                    <a:lnTo>
                      <a:pt x="49" y="528"/>
                    </a:lnTo>
                    <a:lnTo>
                      <a:pt x="52" y="528"/>
                    </a:lnTo>
                    <a:close/>
                    <a:moveTo>
                      <a:pt x="11" y="525"/>
                    </a:moveTo>
                    <a:lnTo>
                      <a:pt x="9" y="525"/>
                    </a:lnTo>
                    <a:lnTo>
                      <a:pt x="7" y="525"/>
                    </a:lnTo>
                    <a:lnTo>
                      <a:pt x="4" y="525"/>
                    </a:lnTo>
                    <a:lnTo>
                      <a:pt x="2" y="525"/>
                    </a:lnTo>
                    <a:lnTo>
                      <a:pt x="0" y="525"/>
                    </a:lnTo>
                    <a:lnTo>
                      <a:pt x="0" y="525"/>
                    </a:lnTo>
                    <a:lnTo>
                      <a:pt x="0" y="528"/>
                    </a:lnTo>
                    <a:lnTo>
                      <a:pt x="0" y="528"/>
                    </a:lnTo>
                    <a:lnTo>
                      <a:pt x="2" y="530"/>
                    </a:lnTo>
                    <a:lnTo>
                      <a:pt x="2" y="530"/>
                    </a:lnTo>
                    <a:lnTo>
                      <a:pt x="0" y="530"/>
                    </a:lnTo>
                    <a:lnTo>
                      <a:pt x="0" y="530"/>
                    </a:lnTo>
                    <a:lnTo>
                      <a:pt x="0" y="530"/>
                    </a:lnTo>
                    <a:lnTo>
                      <a:pt x="0" y="533"/>
                    </a:lnTo>
                    <a:lnTo>
                      <a:pt x="0" y="533"/>
                    </a:lnTo>
                    <a:lnTo>
                      <a:pt x="0" y="535"/>
                    </a:lnTo>
                    <a:lnTo>
                      <a:pt x="0" y="537"/>
                    </a:lnTo>
                    <a:lnTo>
                      <a:pt x="2" y="540"/>
                    </a:lnTo>
                    <a:lnTo>
                      <a:pt x="2" y="542"/>
                    </a:lnTo>
                    <a:lnTo>
                      <a:pt x="2" y="542"/>
                    </a:lnTo>
                    <a:lnTo>
                      <a:pt x="2" y="544"/>
                    </a:lnTo>
                    <a:lnTo>
                      <a:pt x="2" y="547"/>
                    </a:lnTo>
                    <a:lnTo>
                      <a:pt x="4" y="544"/>
                    </a:lnTo>
                    <a:lnTo>
                      <a:pt x="7" y="544"/>
                    </a:lnTo>
                    <a:lnTo>
                      <a:pt x="4" y="544"/>
                    </a:lnTo>
                    <a:lnTo>
                      <a:pt x="4" y="544"/>
                    </a:lnTo>
                    <a:lnTo>
                      <a:pt x="4" y="542"/>
                    </a:lnTo>
                    <a:lnTo>
                      <a:pt x="7" y="542"/>
                    </a:lnTo>
                    <a:lnTo>
                      <a:pt x="7" y="542"/>
                    </a:lnTo>
                    <a:lnTo>
                      <a:pt x="7" y="540"/>
                    </a:lnTo>
                    <a:lnTo>
                      <a:pt x="4" y="542"/>
                    </a:lnTo>
                    <a:lnTo>
                      <a:pt x="4" y="542"/>
                    </a:lnTo>
                    <a:lnTo>
                      <a:pt x="4" y="540"/>
                    </a:lnTo>
                    <a:lnTo>
                      <a:pt x="4" y="537"/>
                    </a:lnTo>
                    <a:lnTo>
                      <a:pt x="4" y="537"/>
                    </a:lnTo>
                    <a:lnTo>
                      <a:pt x="9" y="535"/>
                    </a:lnTo>
                    <a:lnTo>
                      <a:pt x="7" y="535"/>
                    </a:lnTo>
                    <a:lnTo>
                      <a:pt x="4" y="535"/>
                    </a:lnTo>
                    <a:lnTo>
                      <a:pt x="4" y="533"/>
                    </a:lnTo>
                    <a:lnTo>
                      <a:pt x="4" y="533"/>
                    </a:lnTo>
                    <a:lnTo>
                      <a:pt x="4" y="533"/>
                    </a:lnTo>
                    <a:lnTo>
                      <a:pt x="4" y="530"/>
                    </a:lnTo>
                    <a:lnTo>
                      <a:pt x="4" y="530"/>
                    </a:lnTo>
                    <a:lnTo>
                      <a:pt x="7" y="533"/>
                    </a:lnTo>
                    <a:lnTo>
                      <a:pt x="9" y="530"/>
                    </a:lnTo>
                    <a:lnTo>
                      <a:pt x="11" y="528"/>
                    </a:lnTo>
                    <a:lnTo>
                      <a:pt x="11" y="528"/>
                    </a:lnTo>
                    <a:lnTo>
                      <a:pt x="11" y="525"/>
                    </a:lnTo>
                    <a:lnTo>
                      <a:pt x="11" y="525"/>
                    </a:lnTo>
                    <a:lnTo>
                      <a:pt x="11" y="525"/>
                    </a:lnTo>
                    <a:close/>
                    <a:moveTo>
                      <a:pt x="44" y="533"/>
                    </a:moveTo>
                    <a:lnTo>
                      <a:pt x="44" y="533"/>
                    </a:lnTo>
                    <a:lnTo>
                      <a:pt x="44" y="533"/>
                    </a:lnTo>
                    <a:lnTo>
                      <a:pt x="44" y="535"/>
                    </a:lnTo>
                    <a:lnTo>
                      <a:pt x="44" y="535"/>
                    </a:lnTo>
                    <a:lnTo>
                      <a:pt x="42" y="537"/>
                    </a:lnTo>
                    <a:lnTo>
                      <a:pt x="44" y="537"/>
                    </a:lnTo>
                    <a:lnTo>
                      <a:pt x="44" y="540"/>
                    </a:lnTo>
                    <a:lnTo>
                      <a:pt x="44" y="540"/>
                    </a:lnTo>
                    <a:lnTo>
                      <a:pt x="47" y="537"/>
                    </a:lnTo>
                    <a:lnTo>
                      <a:pt x="47" y="535"/>
                    </a:lnTo>
                    <a:lnTo>
                      <a:pt x="47" y="533"/>
                    </a:lnTo>
                    <a:lnTo>
                      <a:pt x="44" y="533"/>
                    </a:lnTo>
                    <a:close/>
                    <a:moveTo>
                      <a:pt x="54" y="537"/>
                    </a:moveTo>
                    <a:lnTo>
                      <a:pt x="54" y="540"/>
                    </a:lnTo>
                    <a:lnTo>
                      <a:pt x="52" y="540"/>
                    </a:lnTo>
                    <a:lnTo>
                      <a:pt x="52" y="540"/>
                    </a:lnTo>
                    <a:lnTo>
                      <a:pt x="52" y="542"/>
                    </a:lnTo>
                    <a:lnTo>
                      <a:pt x="52" y="542"/>
                    </a:lnTo>
                    <a:lnTo>
                      <a:pt x="54" y="540"/>
                    </a:lnTo>
                    <a:lnTo>
                      <a:pt x="54" y="540"/>
                    </a:lnTo>
                    <a:lnTo>
                      <a:pt x="56" y="537"/>
                    </a:lnTo>
                    <a:lnTo>
                      <a:pt x="61" y="535"/>
                    </a:lnTo>
                    <a:lnTo>
                      <a:pt x="61" y="533"/>
                    </a:lnTo>
                    <a:lnTo>
                      <a:pt x="59" y="533"/>
                    </a:lnTo>
                    <a:lnTo>
                      <a:pt x="56" y="535"/>
                    </a:lnTo>
                    <a:lnTo>
                      <a:pt x="54" y="537"/>
                    </a:lnTo>
                    <a:close/>
                    <a:moveTo>
                      <a:pt x="47" y="525"/>
                    </a:moveTo>
                    <a:lnTo>
                      <a:pt x="47" y="525"/>
                    </a:lnTo>
                    <a:lnTo>
                      <a:pt x="47" y="525"/>
                    </a:lnTo>
                    <a:lnTo>
                      <a:pt x="47" y="528"/>
                    </a:lnTo>
                    <a:lnTo>
                      <a:pt x="47" y="528"/>
                    </a:lnTo>
                    <a:lnTo>
                      <a:pt x="47" y="530"/>
                    </a:lnTo>
                    <a:lnTo>
                      <a:pt x="47" y="530"/>
                    </a:lnTo>
                    <a:lnTo>
                      <a:pt x="47" y="530"/>
                    </a:lnTo>
                    <a:lnTo>
                      <a:pt x="47" y="528"/>
                    </a:lnTo>
                    <a:lnTo>
                      <a:pt x="49" y="525"/>
                    </a:lnTo>
                    <a:lnTo>
                      <a:pt x="49" y="525"/>
                    </a:lnTo>
                    <a:lnTo>
                      <a:pt x="47" y="525"/>
                    </a:lnTo>
                    <a:close/>
                    <a:moveTo>
                      <a:pt x="70" y="582"/>
                    </a:moveTo>
                    <a:lnTo>
                      <a:pt x="68" y="582"/>
                    </a:lnTo>
                    <a:lnTo>
                      <a:pt x="68" y="582"/>
                    </a:lnTo>
                    <a:lnTo>
                      <a:pt x="66" y="585"/>
                    </a:lnTo>
                    <a:lnTo>
                      <a:pt x="66" y="587"/>
                    </a:lnTo>
                    <a:lnTo>
                      <a:pt x="66" y="589"/>
                    </a:lnTo>
                    <a:lnTo>
                      <a:pt x="66" y="589"/>
                    </a:lnTo>
                    <a:lnTo>
                      <a:pt x="68" y="587"/>
                    </a:lnTo>
                    <a:lnTo>
                      <a:pt x="68" y="585"/>
                    </a:lnTo>
                    <a:lnTo>
                      <a:pt x="70" y="585"/>
                    </a:lnTo>
                    <a:lnTo>
                      <a:pt x="70" y="585"/>
                    </a:lnTo>
                    <a:lnTo>
                      <a:pt x="70" y="582"/>
                    </a:lnTo>
                    <a:lnTo>
                      <a:pt x="70" y="582"/>
                    </a:lnTo>
                    <a:lnTo>
                      <a:pt x="70" y="582"/>
                    </a:lnTo>
                    <a:close/>
                    <a:moveTo>
                      <a:pt x="70" y="587"/>
                    </a:moveTo>
                    <a:lnTo>
                      <a:pt x="70" y="587"/>
                    </a:lnTo>
                    <a:lnTo>
                      <a:pt x="68" y="587"/>
                    </a:lnTo>
                    <a:lnTo>
                      <a:pt x="68" y="589"/>
                    </a:lnTo>
                    <a:lnTo>
                      <a:pt x="68" y="589"/>
                    </a:lnTo>
                    <a:lnTo>
                      <a:pt x="70" y="589"/>
                    </a:lnTo>
                    <a:lnTo>
                      <a:pt x="70" y="589"/>
                    </a:lnTo>
                    <a:lnTo>
                      <a:pt x="70" y="587"/>
                    </a:lnTo>
                    <a:lnTo>
                      <a:pt x="70" y="587"/>
                    </a:lnTo>
                    <a:lnTo>
                      <a:pt x="70" y="585"/>
                    </a:lnTo>
                    <a:lnTo>
                      <a:pt x="70" y="587"/>
                    </a:lnTo>
                    <a:close/>
                    <a:moveTo>
                      <a:pt x="68" y="594"/>
                    </a:moveTo>
                    <a:lnTo>
                      <a:pt x="68" y="596"/>
                    </a:lnTo>
                    <a:lnTo>
                      <a:pt x="70" y="596"/>
                    </a:lnTo>
                    <a:lnTo>
                      <a:pt x="70" y="596"/>
                    </a:lnTo>
                    <a:lnTo>
                      <a:pt x="70" y="599"/>
                    </a:lnTo>
                    <a:lnTo>
                      <a:pt x="70" y="599"/>
                    </a:lnTo>
                    <a:lnTo>
                      <a:pt x="73" y="601"/>
                    </a:lnTo>
                    <a:lnTo>
                      <a:pt x="73" y="599"/>
                    </a:lnTo>
                    <a:lnTo>
                      <a:pt x="73" y="596"/>
                    </a:lnTo>
                    <a:lnTo>
                      <a:pt x="73" y="596"/>
                    </a:lnTo>
                    <a:lnTo>
                      <a:pt x="70" y="594"/>
                    </a:lnTo>
                    <a:lnTo>
                      <a:pt x="70" y="594"/>
                    </a:lnTo>
                    <a:lnTo>
                      <a:pt x="68" y="594"/>
                    </a:lnTo>
                    <a:close/>
                    <a:moveTo>
                      <a:pt x="42" y="556"/>
                    </a:moveTo>
                    <a:lnTo>
                      <a:pt x="42" y="556"/>
                    </a:lnTo>
                    <a:lnTo>
                      <a:pt x="42" y="559"/>
                    </a:lnTo>
                    <a:lnTo>
                      <a:pt x="42" y="561"/>
                    </a:lnTo>
                    <a:lnTo>
                      <a:pt x="42" y="561"/>
                    </a:lnTo>
                    <a:lnTo>
                      <a:pt x="42" y="561"/>
                    </a:lnTo>
                    <a:lnTo>
                      <a:pt x="44" y="561"/>
                    </a:lnTo>
                    <a:lnTo>
                      <a:pt x="44" y="559"/>
                    </a:lnTo>
                    <a:lnTo>
                      <a:pt x="44" y="559"/>
                    </a:lnTo>
                    <a:lnTo>
                      <a:pt x="47" y="556"/>
                    </a:lnTo>
                    <a:lnTo>
                      <a:pt x="47" y="556"/>
                    </a:lnTo>
                    <a:lnTo>
                      <a:pt x="47" y="556"/>
                    </a:lnTo>
                    <a:lnTo>
                      <a:pt x="47" y="556"/>
                    </a:lnTo>
                    <a:lnTo>
                      <a:pt x="44" y="556"/>
                    </a:lnTo>
                    <a:lnTo>
                      <a:pt x="42" y="556"/>
                    </a:lnTo>
                    <a:close/>
                    <a:moveTo>
                      <a:pt x="35" y="599"/>
                    </a:moveTo>
                    <a:lnTo>
                      <a:pt x="35" y="599"/>
                    </a:lnTo>
                    <a:lnTo>
                      <a:pt x="35" y="596"/>
                    </a:lnTo>
                    <a:lnTo>
                      <a:pt x="37" y="596"/>
                    </a:lnTo>
                    <a:lnTo>
                      <a:pt x="37" y="594"/>
                    </a:lnTo>
                    <a:lnTo>
                      <a:pt x="37" y="594"/>
                    </a:lnTo>
                    <a:lnTo>
                      <a:pt x="35" y="592"/>
                    </a:lnTo>
                    <a:lnTo>
                      <a:pt x="33" y="594"/>
                    </a:lnTo>
                    <a:lnTo>
                      <a:pt x="33" y="594"/>
                    </a:lnTo>
                    <a:lnTo>
                      <a:pt x="33" y="594"/>
                    </a:lnTo>
                    <a:lnTo>
                      <a:pt x="33" y="596"/>
                    </a:lnTo>
                    <a:lnTo>
                      <a:pt x="30" y="596"/>
                    </a:lnTo>
                    <a:lnTo>
                      <a:pt x="30" y="596"/>
                    </a:lnTo>
                    <a:lnTo>
                      <a:pt x="33" y="596"/>
                    </a:lnTo>
                    <a:lnTo>
                      <a:pt x="33" y="599"/>
                    </a:lnTo>
                    <a:lnTo>
                      <a:pt x="33" y="599"/>
                    </a:lnTo>
                    <a:lnTo>
                      <a:pt x="35" y="599"/>
                    </a:lnTo>
                    <a:close/>
                    <a:moveTo>
                      <a:pt x="73" y="618"/>
                    </a:moveTo>
                    <a:lnTo>
                      <a:pt x="73" y="618"/>
                    </a:lnTo>
                    <a:lnTo>
                      <a:pt x="70" y="618"/>
                    </a:lnTo>
                    <a:lnTo>
                      <a:pt x="70" y="620"/>
                    </a:lnTo>
                    <a:lnTo>
                      <a:pt x="73" y="615"/>
                    </a:lnTo>
                    <a:lnTo>
                      <a:pt x="70" y="611"/>
                    </a:lnTo>
                    <a:lnTo>
                      <a:pt x="73" y="608"/>
                    </a:lnTo>
                    <a:lnTo>
                      <a:pt x="73" y="608"/>
                    </a:lnTo>
                    <a:lnTo>
                      <a:pt x="73" y="608"/>
                    </a:lnTo>
                    <a:lnTo>
                      <a:pt x="70" y="606"/>
                    </a:lnTo>
                    <a:lnTo>
                      <a:pt x="70" y="604"/>
                    </a:lnTo>
                    <a:lnTo>
                      <a:pt x="66" y="604"/>
                    </a:lnTo>
                    <a:lnTo>
                      <a:pt x="63" y="601"/>
                    </a:lnTo>
                    <a:lnTo>
                      <a:pt x="63" y="599"/>
                    </a:lnTo>
                    <a:lnTo>
                      <a:pt x="63" y="596"/>
                    </a:lnTo>
                    <a:lnTo>
                      <a:pt x="63" y="596"/>
                    </a:lnTo>
                    <a:lnTo>
                      <a:pt x="63" y="596"/>
                    </a:lnTo>
                    <a:lnTo>
                      <a:pt x="63" y="596"/>
                    </a:lnTo>
                    <a:lnTo>
                      <a:pt x="63" y="594"/>
                    </a:lnTo>
                    <a:lnTo>
                      <a:pt x="63" y="589"/>
                    </a:lnTo>
                    <a:lnTo>
                      <a:pt x="63" y="587"/>
                    </a:lnTo>
                    <a:lnTo>
                      <a:pt x="63" y="585"/>
                    </a:lnTo>
                    <a:lnTo>
                      <a:pt x="63" y="585"/>
                    </a:lnTo>
                    <a:lnTo>
                      <a:pt x="63" y="582"/>
                    </a:lnTo>
                    <a:lnTo>
                      <a:pt x="63" y="582"/>
                    </a:lnTo>
                    <a:lnTo>
                      <a:pt x="59" y="582"/>
                    </a:lnTo>
                    <a:lnTo>
                      <a:pt x="54" y="580"/>
                    </a:lnTo>
                    <a:lnTo>
                      <a:pt x="47" y="580"/>
                    </a:lnTo>
                    <a:lnTo>
                      <a:pt x="42" y="578"/>
                    </a:lnTo>
                    <a:lnTo>
                      <a:pt x="37" y="573"/>
                    </a:lnTo>
                    <a:lnTo>
                      <a:pt x="33" y="573"/>
                    </a:lnTo>
                    <a:lnTo>
                      <a:pt x="30" y="573"/>
                    </a:lnTo>
                    <a:lnTo>
                      <a:pt x="28" y="573"/>
                    </a:lnTo>
                    <a:lnTo>
                      <a:pt x="26" y="573"/>
                    </a:lnTo>
                    <a:lnTo>
                      <a:pt x="26" y="575"/>
                    </a:lnTo>
                    <a:lnTo>
                      <a:pt x="23" y="575"/>
                    </a:lnTo>
                    <a:lnTo>
                      <a:pt x="23" y="578"/>
                    </a:lnTo>
                    <a:lnTo>
                      <a:pt x="26" y="580"/>
                    </a:lnTo>
                    <a:lnTo>
                      <a:pt x="26" y="580"/>
                    </a:lnTo>
                    <a:lnTo>
                      <a:pt x="28" y="580"/>
                    </a:lnTo>
                    <a:lnTo>
                      <a:pt x="28" y="580"/>
                    </a:lnTo>
                    <a:lnTo>
                      <a:pt x="30" y="580"/>
                    </a:lnTo>
                    <a:lnTo>
                      <a:pt x="33" y="578"/>
                    </a:lnTo>
                    <a:lnTo>
                      <a:pt x="33" y="578"/>
                    </a:lnTo>
                    <a:lnTo>
                      <a:pt x="35" y="578"/>
                    </a:lnTo>
                    <a:lnTo>
                      <a:pt x="37" y="578"/>
                    </a:lnTo>
                    <a:lnTo>
                      <a:pt x="35" y="580"/>
                    </a:lnTo>
                    <a:lnTo>
                      <a:pt x="35" y="580"/>
                    </a:lnTo>
                    <a:lnTo>
                      <a:pt x="33" y="582"/>
                    </a:lnTo>
                    <a:lnTo>
                      <a:pt x="33" y="582"/>
                    </a:lnTo>
                    <a:lnTo>
                      <a:pt x="33" y="580"/>
                    </a:lnTo>
                    <a:lnTo>
                      <a:pt x="33" y="580"/>
                    </a:lnTo>
                    <a:lnTo>
                      <a:pt x="28" y="580"/>
                    </a:lnTo>
                    <a:lnTo>
                      <a:pt x="28" y="580"/>
                    </a:lnTo>
                    <a:lnTo>
                      <a:pt x="28" y="580"/>
                    </a:lnTo>
                    <a:lnTo>
                      <a:pt x="26" y="582"/>
                    </a:lnTo>
                    <a:lnTo>
                      <a:pt x="26" y="585"/>
                    </a:lnTo>
                    <a:lnTo>
                      <a:pt x="26" y="585"/>
                    </a:lnTo>
                    <a:lnTo>
                      <a:pt x="26" y="585"/>
                    </a:lnTo>
                    <a:lnTo>
                      <a:pt x="26" y="587"/>
                    </a:lnTo>
                    <a:lnTo>
                      <a:pt x="23" y="587"/>
                    </a:lnTo>
                    <a:lnTo>
                      <a:pt x="23" y="587"/>
                    </a:lnTo>
                    <a:lnTo>
                      <a:pt x="23" y="587"/>
                    </a:lnTo>
                    <a:lnTo>
                      <a:pt x="23" y="587"/>
                    </a:lnTo>
                    <a:lnTo>
                      <a:pt x="26" y="587"/>
                    </a:lnTo>
                    <a:lnTo>
                      <a:pt x="30" y="587"/>
                    </a:lnTo>
                    <a:lnTo>
                      <a:pt x="30" y="587"/>
                    </a:lnTo>
                    <a:lnTo>
                      <a:pt x="30" y="589"/>
                    </a:lnTo>
                    <a:lnTo>
                      <a:pt x="30" y="589"/>
                    </a:lnTo>
                    <a:lnTo>
                      <a:pt x="30" y="589"/>
                    </a:lnTo>
                    <a:lnTo>
                      <a:pt x="33" y="589"/>
                    </a:lnTo>
                    <a:lnTo>
                      <a:pt x="33" y="587"/>
                    </a:lnTo>
                    <a:lnTo>
                      <a:pt x="33" y="587"/>
                    </a:lnTo>
                    <a:lnTo>
                      <a:pt x="33" y="587"/>
                    </a:lnTo>
                    <a:lnTo>
                      <a:pt x="33" y="587"/>
                    </a:lnTo>
                    <a:lnTo>
                      <a:pt x="33" y="589"/>
                    </a:lnTo>
                    <a:lnTo>
                      <a:pt x="33" y="589"/>
                    </a:lnTo>
                    <a:lnTo>
                      <a:pt x="30" y="589"/>
                    </a:lnTo>
                    <a:lnTo>
                      <a:pt x="30" y="592"/>
                    </a:lnTo>
                    <a:lnTo>
                      <a:pt x="30" y="592"/>
                    </a:lnTo>
                    <a:lnTo>
                      <a:pt x="30" y="592"/>
                    </a:lnTo>
                    <a:lnTo>
                      <a:pt x="33" y="592"/>
                    </a:lnTo>
                    <a:lnTo>
                      <a:pt x="33" y="592"/>
                    </a:lnTo>
                    <a:lnTo>
                      <a:pt x="35" y="592"/>
                    </a:lnTo>
                    <a:lnTo>
                      <a:pt x="35" y="592"/>
                    </a:lnTo>
                    <a:lnTo>
                      <a:pt x="35" y="592"/>
                    </a:lnTo>
                    <a:lnTo>
                      <a:pt x="35" y="592"/>
                    </a:lnTo>
                    <a:lnTo>
                      <a:pt x="37" y="592"/>
                    </a:lnTo>
                    <a:lnTo>
                      <a:pt x="37" y="592"/>
                    </a:lnTo>
                    <a:lnTo>
                      <a:pt x="37" y="594"/>
                    </a:lnTo>
                    <a:lnTo>
                      <a:pt x="37" y="596"/>
                    </a:lnTo>
                    <a:lnTo>
                      <a:pt x="37" y="596"/>
                    </a:lnTo>
                    <a:lnTo>
                      <a:pt x="40" y="596"/>
                    </a:lnTo>
                    <a:lnTo>
                      <a:pt x="40" y="596"/>
                    </a:lnTo>
                    <a:lnTo>
                      <a:pt x="40" y="596"/>
                    </a:lnTo>
                    <a:lnTo>
                      <a:pt x="44" y="596"/>
                    </a:lnTo>
                    <a:lnTo>
                      <a:pt x="42" y="596"/>
                    </a:lnTo>
                    <a:lnTo>
                      <a:pt x="37" y="599"/>
                    </a:lnTo>
                    <a:lnTo>
                      <a:pt x="35" y="599"/>
                    </a:lnTo>
                    <a:lnTo>
                      <a:pt x="35" y="599"/>
                    </a:lnTo>
                    <a:lnTo>
                      <a:pt x="35" y="599"/>
                    </a:lnTo>
                    <a:lnTo>
                      <a:pt x="33" y="601"/>
                    </a:lnTo>
                    <a:lnTo>
                      <a:pt x="33" y="604"/>
                    </a:lnTo>
                    <a:lnTo>
                      <a:pt x="33" y="604"/>
                    </a:lnTo>
                    <a:lnTo>
                      <a:pt x="35" y="601"/>
                    </a:lnTo>
                    <a:lnTo>
                      <a:pt x="35" y="601"/>
                    </a:lnTo>
                    <a:lnTo>
                      <a:pt x="37" y="604"/>
                    </a:lnTo>
                    <a:lnTo>
                      <a:pt x="37" y="604"/>
                    </a:lnTo>
                    <a:lnTo>
                      <a:pt x="37" y="601"/>
                    </a:lnTo>
                    <a:lnTo>
                      <a:pt x="37" y="601"/>
                    </a:lnTo>
                    <a:lnTo>
                      <a:pt x="40" y="601"/>
                    </a:lnTo>
                    <a:lnTo>
                      <a:pt x="40" y="601"/>
                    </a:lnTo>
                    <a:lnTo>
                      <a:pt x="40" y="601"/>
                    </a:lnTo>
                    <a:lnTo>
                      <a:pt x="40" y="604"/>
                    </a:lnTo>
                    <a:lnTo>
                      <a:pt x="40" y="604"/>
                    </a:lnTo>
                    <a:lnTo>
                      <a:pt x="42" y="604"/>
                    </a:lnTo>
                    <a:lnTo>
                      <a:pt x="42" y="604"/>
                    </a:lnTo>
                    <a:lnTo>
                      <a:pt x="40" y="606"/>
                    </a:lnTo>
                    <a:lnTo>
                      <a:pt x="40" y="606"/>
                    </a:lnTo>
                    <a:lnTo>
                      <a:pt x="40" y="606"/>
                    </a:lnTo>
                    <a:lnTo>
                      <a:pt x="42" y="606"/>
                    </a:lnTo>
                    <a:lnTo>
                      <a:pt x="42" y="606"/>
                    </a:lnTo>
                    <a:lnTo>
                      <a:pt x="42" y="606"/>
                    </a:lnTo>
                    <a:lnTo>
                      <a:pt x="44" y="606"/>
                    </a:lnTo>
                    <a:lnTo>
                      <a:pt x="44" y="606"/>
                    </a:lnTo>
                    <a:lnTo>
                      <a:pt x="44" y="606"/>
                    </a:lnTo>
                    <a:lnTo>
                      <a:pt x="42" y="608"/>
                    </a:lnTo>
                    <a:lnTo>
                      <a:pt x="40" y="608"/>
                    </a:lnTo>
                    <a:lnTo>
                      <a:pt x="40" y="608"/>
                    </a:lnTo>
                    <a:lnTo>
                      <a:pt x="42" y="611"/>
                    </a:lnTo>
                    <a:lnTo>
                      <a:pt x="42" y="611"/>
                    </a:lnTo>
                    <a:lnTo>
                      <a:pt x="42" y="613"/>
                    </a:lnTo>
                    <a:lnTo>
                      <a:pt x="44" y="613"/>
                    </a:lnTo>
                    <a:lnTo>
                      <a:pt x="47" y="611"/>
                    </a:lnTo>
                    <a:lnTo>
                      <a:pt x="49" y="611"/>
                    </a:lnTo>
                    <a:lnTo>
                      <a:pt x="54" y="611"/>
                    </a:lnTo>
                    <a:lnTo>
                      <a:pt x="54" y="611"/>
                    </a:lnTo>
                    <a:lnTo>
                      <a:pt x="56" y="608"/>
                    </a:lnTo>
                    <a:lnTo>
                      <a:pt x="56" y="608"/>
                    </a:lnTo>
                    <a:lnTo>
                      <a:pt x="59" y="606"/>
                    </a:lnTo>
                    <a:lnTo>
                      <a:pt x="59" y="606"/>
                    </a:lnTo>
                    <a:lnTo>
                      <a:pt x="56" y="608"/>
                    </a:lnTo>
                    <a:lnTo>
                      <a:pt x="56" y="608"/>
                    </a:lnTo>
                    <a:lnTo>
                      <a:pt x="54" y="611"/>
                    </a:lnTo>
                    <a:lnTo>
                      <a:pt x="52" y="611"/>
                    </a:lnTo>
                    <a:lnTo>
                      <a:pt x="47" y="615"/>
                    </a:lnTo>
                    <a:lnTo>
                      <a:pt x="47" y="615"/>
                    </a:lnTo>
                    <a:lnTo>
                      <a:pt x="47" y="615"/>
                    </a:lnTo>
                    <a:lnTo>
                      <a:pt x="47" y="618"/>
                    </a:lnTo>
                    <a:lnTo>
                      <a:pt x="49" y="618"/>
                    </a:lnTo>
                    <a:lnTo>
                      <a:pt x="52" y="620"/>
                    </a:lnTo>
                    <a:lnTo>
                      <a:pt x="54" y="620"/>
                    </a:lnTo>
                    <a:lnTo>
                      <a:pt x="59" y="622"/>
                    </a:lnTo>
                    <a:lnTo>
                      <a:pt x="61" y="622"/>
                    </a:lnTo>
                    <a:lnTo>
                      <a:pt x="66" y="625"/>
                    </a:lnTo>
                    <a:lnTo>
                      <a:pt x="66" y="625"/>
                    </a:lnTo>
                    <a:lnTo>
                      <a:pt x="66" y="625"/>
                    </a:lnTo>
                    <a:lnTo>
                      <a:pt x="68" y="622"/>
                    </a:lnTo>
                    <a:lnTo>
                      <a:pt x="68" y="622"/>
                    </a:lnTo>
                    <a:lnTo>
                      <a:pt x="70" y="622"/>
                    </a:lnTo>
                    <a:lnTo>
                      <a:pt x="70" y="622"/>
                    </a:lnTo>
                    <a:lnTo>
                      <a:pt x="73" y="622"/>
                    </a:lnTo>
                    <a:lnTo>
                      <a:pt x="73" y="618"/>
                    </a:lnTo>
                    <a:lnTo>
                      <a:pt x="73" y="618"/>
                    </a:lnTo>
                    <a:lnTo>
                      <a:pt x="73" y="618"/>
                    </a:lnTo>
                    <a:lnTo>
                      <a:pt x="73" y="618"/>
                    </a:lnTo>
                    <a:close/>
                    <a:moveTo>
                      <a:pt x="37" y="604"/>
                    </a:moveTo>
                    <a:lnTo>
                      <a:pt x="37" y="604"/>
                    </a:lnTo>
                    <a:lnTo>
                      <a:pt x="37" y="604"/>
                    </a:lnTo>
                    <a:lnTo>
                      <a:pt x="37" y="606"/>
                    </a:lnTo>
                    <a:lnTo>
                      <a:pt x="37" y="606"/>
                    </a:lnTo>
                    <a:lnTo>
                      <a:pt x="40" y="604"/>
                    </a:lnTo>
                    <a:lnTo>
                      <a:pt x="40" y="604"/>
                    </a:lnTo>
                    <a:lnTo>
                      <a:pt x="37" y="604"/>
                    </a:lnTo>
                    <a:close/>
                    <a:moveTo>
                      <a:pt x="47" y="535"/>
                    </a:moveTo>
                    <a:lnTo>
                      <a:pt x="49" y="535"/>
                    </a:lnTo>
                    <a:lnTo>
                      <a:pt x="49" y="535"/>
                    </a:lnTo>
                    <a:lnTo>
                      <a:pt x="52" y="535"/>
                    </a:lnTo>
                    <a:lnTo>
                      <a:pt x="52" y="535"/>
                    </a:lnTo>
                    <a:lnTo>
                      <a:pt x="49" y="537"/>
                    </a:lnTo>
                    <a:lnTo>
                      <a:pt x="49" y="537"/>
                    </a:lnTo>
                    <a:lnTo>
                      <a:pt x="47" y="540"/>
                    </a:lnTo>
                    <a:lnTo>
                      <a:pt x="44" y="542"/>
                    </a:lnTo>
                    <a:lnTo>
                      <a:pt x="44" y="544"/>
                    </a:lnTo>
                    <a:lnTo>
                      <a:pt x="47" y="542"/>
                    </a:lnTo>
                    <a:lnTo>
                      <a:pt x="49" y="540"/>
                    </a:lnTo>
                    <a:lnTo>
                      <a:pt x="52" y="540"/>
                    </a:lnTo>
                    <a:lnTo>
                      <a:pt x="54" y="537"/>
                    </a:lnTo>
                    <a:lnTo>
                      <a:pt x="59" y="530"/>
                    </a:lnTo>
                    <a:lnTo>
                      <a:pt x="61" y="528"/>
                    </a:lnTo>
                    <a:lnTo>
                      <a:pt x="59" y="525"/>
                    </a:lnTo>
                    <a:lnTo>
                      <a:pt x="59" y="525"/>
                    </a:lnTo>
                    <a:lnTo>
                      <a:pt x="59" y="523"/>
                    </a:lnTo>
                    <a:lnTo>
                      <a:pt x="56" y="523"/>
                    </a:lnTo>
                    <a:lnTo>
                      <a:pt x="56" y="525"/>
                    </a:lnTo>
                    <a:lnTo>
                      <a:pt x="54" y="525"/>
                    </a:lnTo>
                    <a:lnTo>
                      <a:pt x="52" y="528"/>
                    </a:lnTo>
                    <a:lnTo>
                      <a:pt x="49" y="528"/>
                    </a:lnTo>
                    <a:lnTo>
                      <a:pt x="49" y="530"/>
                    </a:lnTo>
                    <a:lnTo>
                      <a:pt x="49" y="530"/>
                    </a:lnTo>
                    <a:lnTo>
                      <a:pt x="49" y="533"/>
                    </a:lnTo>
                    <a:lnTo>
                      <a:pt x="49" y="533"/>
                    </a:lnTo>
                    <a:lnTo>
                      <a:pt x="47" y="535"/>
                    </a:lnTo>
                    <a:close/>
                    <a:moveTo>
                      <a:pt x="28" y="509"/>
                    </a:moveTo>
                    <a:lnTo>
                      <a:pt x="28" y="509"/>
                    </a:lnTo>
                    <a:lnTo>
                      <a:pt x="30" y="506"/>
                    </a:lnTo>
                    <a:lnTo>
                      <a:pt x="30" y="506"/>
                    </a:lnTo>
                    <a:lnTo>
                      <a:pt x="28" y="506"/>
                    </a:lnTo>
                    <a:lnTo>
                      <a:pt x="26" y="509"/>
                    </a:lnTo>
                    <a:lnTo>
                      <a:pt x="21" y="509"/>
                    </a:lnTo>
                    <a:lnTo>
                      <a:pt x="21" y="509"/>
                    </a:lnTo>
                    <a:lnTo>
                      <a:pt x="18" y="511"/>
                    </a:lnTo>
                    <a:lnTo>
                      <a:pt x="18" y="511"/>
                    </a:lnTo>
                    <a:lnTo>
                      <a:pt x="16" y="514"/>
                    </a:lnTo>
                    <a:lnTo>
                      <a:pt x="16" y="516"/>
                    </a:lnTo>
                    <a:lnTo>
                      <a:pt x="14" y="516"/>
                    </a:lnTo>
                    <a:lnTo>
                      <a:pt x="9" y="516"/>
                    </a:lnTo>
                    <a:lnTo>
                      <a:pt x="9" y="516"/>
                    </a:lnTo>
                    <a:lnTo>
                      <a:pt x="9" y="516"/>
                    </a:lnTo>
                    <a:lnTo>
                      <a:pt x="9" y="516"/>
                    </a:lnTo>
                    <a:lnTo>
                      <a:pt x="9" y="516"/>
                    </a:lnTo>
                    <a:lnTo>
                      <a:pt x="16" y="514"/>
                    </a:lnTo>
                    <a:lnTo>
                      <a:pt x="18" y="511"/>
                    </a:lnTo>
                    <a:lnTo>
                      <a:pt x="18" y="511"/>
                    </a:lnTo>
                    <a:lnTo>
                      <a:pt x="18" y="509"/>
                    </a:lnTo>
                    <a:lnTo>
                      <a:pt x="21" y="509"/>
                    </a:lnTo>
                    <a:lnTo>
                      <a:pt x="21" y="506"/>
                    </a:lnTo>
                    <a:lnTo>
                      <a:pt x="21" y="506"/>
                    </a:lnTo>
                    <a:lnTo>
                      <a:pt x="18" y="506"/>
                    </a:lnTo>
                    <a:lnTo>
                      <a:pt x="16" y="509"/>
                    </a:lnTo>
                    <a:lnTo>
                      <a:pt x="16" y="506"/>
                    </a:lnTo>
                    <a:lnTo>
                      <a:pt x="11" y="506"/>
                    </a:lnTo>
                    <a:lnTo>
                      <a:pt x="11" y="506"/>
                    </a:lnTo>
                    <a:lnTo>
                      <a:pt x="9" y="506"/>
                    </a:lnTo>
                    <a:lnTo>
                      <a:pt x="9" y="506"/>
                    </a:lnTo>
                    <a:lnTo>
                      <a:pt x="7" y="509"/>
                    </a:lnTo>
                    <a:lnTo>
                      <a:pt x="4" y="511"/>
                    </a:lnTo>
                    <a:lnTo>
                      <a:pt x="4" y="511"/>
                    </a:lnTo>
                    <a:lnTo>
                      <a:pt x="2" y="514"/>
                    </a:lnTo>
                    <a:lnTo>
                      <a:pt x="2" y="516"/>
                    </a:lnTo>
                    <a:lnTo>
                      <a:pt x="2" y="516"/>
                    </a:lnTo>
                    <a:lnTo>
                      <a:pt x="2" y="518"/>
                    </a:lnTo>
                    <a:lnTo>
                      <a:pt x="2" y="518"/>
                    </a:lnTo>
                    <a:lnTo>
                      <a:pt x="2" y="521"/>
                    </a:lnTo>
                    <a:lnTo>
                      <a:pt x="4" y="523"/>
                    </a:lnTo>
                    <a:lnTo>
                      <a:pt x="4" y="523"/>
                    </a:lnTo>
                    <a:lnTo>
                      <a:pt x="4" y="523"/>
                    </a:lnTo>
                    <a:lnTo>
                      <a:pt x="2" y="523"/>
                    </a:lnTo>
                    <a:lnTo>
                      <a:pt x="2" y="521"/>
                    </a:lnTo>
                    <a:lnTo>
                      <a:pt x="0" y="521"/>
                    </a:lnTo>
                    <a:lnTo>
                      <a:pt x="0" y="523"/>
                    </a:lnTo>
                    <a:lnTo>
                      <a:pt x="0" y="523"/>
                    </a:lnTo>
                    <a:lnTo>
                      <a:pt x="0" y="525"/>
                    </a:lnTo>
                    <a:lnTo>
                      <a:pt x="2" y="525"/>
                    </a:lnTo>
                    <a:lnTo>
                      <a:pt x="9" y="523"/>
                    </a:lnTo>
                    <a:lnTo>
                      <a:pt x="11" y="523"/>
                    </a:lnTo>
                    <a:lnTo>
                      <a:pt x="14" y="521"/>
                    </a:lnTo>
                    <a:lnTo>
                      <a:pt x="16" y="518"/>
                    </a:lnTo>
                    <a:lnTo>
                      <a:pt x="18" y="516"/>
                    </a:lnTo>
                    <a:lnTo>
                      <a:pt x="23" y="511"/>
                    </a:lnTo>
                    <a:lnTo>
                      <a:pt x="28" y="509"/>
                    </a:lnTo>
                    <a:close/>
                    <a:moveTo>
                      <a:pt x="37" y="518"/>
                    </a:moveTo>
                    <a:lnTo>
                      <a:pt x="40" y="518"/>
                    </a:lnTo>
                    <a:lnTo>
                      <a:pt x="40" y="521"/>
                    </a:lnTo>
                    <a:lnTo>
                      <a:pt x="40" y="523"/>
                    </a:lnTo>
                    <a:lnTo>
                      <a:pt x="40" y="525"/>
                    </a:lnTo>
                    <a:lnTo>
                      <a:pt x="42" y="525"/>
                    </a:lnTo>
                    <a:lnTo>
                      <a:pt x="42" y="525"/>
                    </a:lnTo>
                    <a:lnTo>
                      <a:pt x="44" y="525"/>
                    </a:lnTo>
                    <a:lnTo>
                      <a:pt x="44" y="523"/>
                    </a:lnTo>
                    <a:lnTo>
                      <a:pt x="44" y="521"/>
                    </a:lnTo>
                    <a:lnTo>
                      <a:pt x="44" y="518"/>
                    </a:lnTo>
                    <a:lnTo>
                      <a:pt x="44" y="518"/>
                    </a:lnTo>
                    <a:lnTo>
                      <a:pt x="42" y="516"/>
                    </a:lnTo>
                    <a:lnTo>
                      <a:pt x="40" y="516"/>
                    </a:lnTo>
                    <a:lnTo>
                      <a:pt x="37" y="518"/>
                    </a:lnTo>
                    <a:close/>
                    <a:moveTo>
                      <a:pt x="44" y="509"/>
                    </a:moveTo>
                    <a:lnTo>
                      <a:pt x="42" y="511"/>
                    </a:lnTo>
                    <a:lnTo>
                      <a:pt x="42" y="511"/>
                    </a:lnTo>
                    <a:lnTo>
                      <a:pt x="42" y="511"/>
                    </a:lnTo>
                    <a:lnTo>
                      <a:pt x="42" y="511"/>
                    </a:lnTo>
                    <a:lnTo>
                      <a:pt x="42" y="511"/>
                    </a:lnTo>
                    <a:lnTo>
                      <a:pt x="42" y="511"/>
                    </a:lnTo>
                    <a:lnTo>
                      <a:pt x="42" y="511"/>
                    </a:lnTo>
                    <a:lnTo>
                      <a:pt x="42" y="511"/>
                    </a:lnTo>
                    <a:lnTo>
                      <a:pt x="42" y="511"/>
                    </a:lnTo>
                    <a:lnTo>
                      <a:pt x="44" y="511"/>
                    </a:lnTo>
                    <a:lnTo>
                      <a:pt x="44" y="511"/>
                    </a:lnTo>
                    <a:lnTo>
                      <a:pt x="44" y="511"/>
                    </a:lnTo>
                    <a:lnTo>
                      <a:pt x="44" y="511"/>
                    </a:lnTo>
                    <a:lnTo>
                      <a:pt x="44" y="511"/>
                    </a:lnTo>
                    <a:lnTo>
                      <a:pt x="44" y="511"/>
                    </a:lnTo>
                    <a:lnTo>
                      <a:pt x="47" y="511"/>
                    </a:lnTo>
                    <a:lnTo>
                      <a:pt x="49" y="511"/>
                    </a:lnTo>
                    <a:lnTo>
                      <a:pt x="49" y="509"/>
                    </a:lnTo>
                    <a:lnTo>
                      <a:pt x="52" y="509"/>
                    </a:lnTo>
                    <a:lnTo>
                      <a:pt x="49" y="509"/>
                    </a:lnTo>
                    <a:lnTo>
                      <a:pt x="49" y="506"/>
                    </a:lnTo>
                    <a:lnTo>
                      <a:pt x="49" y="506"/>
                    </a:lnTo>
                    <a:lnTo>
                      <a:pt x="49" y="506"/>
                    </a:lnTo>
                    <a:lnTo>
                      <a:pt x="44" y="509"/>
                    </a:lnTo>
                    <a:close/>
                    <a:moveTo>
                      <a:pt x="54" y="497"/>
                    </a:moveTo>
                    <a:lnTo>
                      <a:pt x="54" y="497"/>
                    </a:lnTo>
                    <a:lnTo>
                      <a:pt x="54" y="497"/>
                    </a:lnTo>
                    <a:lnTo>
                      <a:pt x="54" y="497"/>
                    </a:lnTo>
                    <a:lnTo>
                      <a:pt x="52" y="497"/>
                    </a:lnTo>
                    <a:lnTo>
                      <a:pt x="52" y="497"/>
                    </a:lnTo>
                    <a:lnTo>
                      <a:pt x="49" y="499"/>
                    </a:lnTo>
                    <a:lnTo>
                      <a:pt x="49" y="499"/>
                    </a:lnTo>
                    <a:lnTo>
                      <a:pt x="49" y="499"/>
                    </a:lnTo>
                    <a:lnTo>
                      <a:pt x="49" y="499"/>
                    </a:lnTo>
                    <a:lnTo>
                      <a:pt x="52" y="497"/>
                    </a:lnTo>
                    <a:lnTo>
                      <a:pt x="54" y="497"/>
                    </a:lnTo>
                    <a:close/>
                    <a:moveTo>
                      <a:pt x="955" y="87"/>
                    </a:moveTo>
                    <a:lnTo>
                      <a:pt x="955" y="87"/>
                    </a:lnTo>
                    <a:lnTo>
                      <a:pt x="955" y="90"/>
                    </a:lnTo>
                    <a:lnTo>
                      <a:pt x="955" y="90"/>
                    </a:lnTo>
                    <a:lnTo>
                      <a:pt x="958" y="90"/>
                    </a:lnTo>
                    <a:lnTo>
                      <a:pt x="958" y="90"/>
                    </a:lnTo>
                    <a:lnTo>
                      <a:pt x="955" y="90"/>
                    </a:lnTo>
                    <a:lnTo>
                      <a:pt x="955" y="90"/>
                    </a:lnTo>
                    <a:lnTo>
                      <a:pt x="953" y="90"/>
                    </a:lnTo>
                    <a:lnTo>
                      <a:pt x="950" y="90"/>
                    </a:lnTo>
                    <a:lnTo>
                      <a:pt x="950" y="90"/>
                    </a:lnTo>
                    <a:lnTo>
                      <a:pt x="950" y="92"/>
                    </a:lnTo>
                    <a:lnTo>
                      <a:pt x="950" y="92"/>
                    </a:lnTo>
                    <a:lnTo>
                      <a:pt x="950" y="92"/>
                    </a:lnTo>
                    <a:lnTo>
                      <a:pt x="953" y="92"/>
                    </a:lnTo>
                    <a:lnTo>
                      <a:pt x="958" y="94"/>
                    </a:lnTo>
                    <a:lnTo>
                      <a:pt x="960" y="94"/>
                    </a:lnTo>
                    <a:lnTo>
                      <a:pt x="962" y="94"/>
                    </a:lnTo>
                    <a:lnTo>
                      <a:pt x="960" y="94"/>
                    </a:lnTo>
                    <a:lnTo>
                      <a:pt x="960" y="94"/>
                    </a:lnTo>
                    <a:lnTo>
                      <a:pt x="955" y="94"/>
                    </a:lnTo>
                    <a:lnTo>
                      <a:pt x="955" y="94"/>
                    </a:lnTo>
                    <a:lnTo>
                      <a:pt x="955" y="97"/>
                    </a:lnTo>
                    <a:lnTo>
                      <a:pt x="955" y="97"/>
                    </a:lnTo>
                    <a:lnTo>
                      <a:pt x="960" y="97"/>
                    </a:lnTo>
                    <a:lnTo>
                      <a:pt x="960" y="99"/>
                    </a:lnTo>
                    <a:lnTo>
                      <a:pt x="962" y="99"/>
                    </a:lnTo>
                    <a:lnTo>
                      <a:pt x="967" y="99"/>
                    </a:lnTo>
                    <a:lnTo>
                      <a:pt x="969" y="99"/>
                    </a:lnTo>
                    <a:lnTo>
                      <a:pt x="972" y="99"/>
                    </a:lnTo>
                    <a:lnTo>
                      <a:pt x="976" y="99"/>
                    </a:lnTo>
                    <a:lnTo>
                      <a:pt x="979" y="99"/>
                    </a:lnTo>
                    <a:lnTo>
                      <a:pt x="981" y="99"/>
                    </a:lnTo>
                    <a:lnTo>
                      <a:pt x="981" y="99"/>
                    </a:lnTo>
                    <a:lnTo>
                      <a:pt x="986" y="97"/>
                    </a:lnTo>
                    <a:lnTo>
                      <a:pt x="988" y="97"/>
                    </a:lnTo>
                    <a:lnTo>
                      <a:pt x="988" y="97"/>
                    </a:lnTo>
                    <a:lnTo>
                      <a:pt x="988" y="99"/>
                    </a:lnTo>
                    <a:lnTo>
                      <a:pt x="988" y="102"/>
                    </a:lnTo>
                    <a:lnTo>
                      <a:pt x="988" y="104"/>
                    </a:lnTo>
                    <a:lnTo>
                      <a:pt x="991" y="104"/>
                    </a:lnTo>
                    <a:lnTo>
                      <a:pt x="991" y="106"/>
                    </a:lnTo>
                    <a:lnTo>
                      <a:pt x="988" y="106"/>
                    </a:lnTo>
                    <a:lnTo>
                      <a:pt x="988" y="109"/>
                    </a:lnTo>
                    <a:lnTo>
                      <a:pt x="988" y="109"/>
                    </a:lnTo>
                    <a:lnTo>
                      <a:pt x="986" y="109"/>
                    </a:lnTo>
                    <a:lnTo>
                      <a:pt x="986" y="109"/>
                    </a:lnTo>
                    <a:lnTo>
                      <a:pt x="981" y="111"/>
                    </a:lnTo>
                    <a:lnTo>
                      <a:pt x="979" y="113"/>
                    </a:lnTo>
                    <a:lnTo>
                      <a:pt x="979" y="113"/>
                    </a:lnTo>
                    <a:lnTo>
                      <a:pt x="976" y="113"/>
                    </a:lnTo>
                    <a:lnTo>
                      <a:pt x="976" y="116"/>
                    </a:lnTo>
                    <a:lnTo>
                      <a:pt x="976" y="116"/>
                    </a:lnTo>
                    <a:lnTo>
                      <a:pt x="976" y="116"/>
                    </a:lnTo>
                    <a:lnTo>
                      <a:pt x="976" y="116"/>
                    </a:lnTo>
                    <a:lnTo>
                      <a:pt x="976" y="118"/>
                    </a:lnTo>
                    <a:lnTo>
                      <a:pt x="976" y="118"/>
                    </a:lnTo>
                    <a:lnTo>
                      <a:pt x="974" y="118"/>
                    </a:lnTo>
                    <a:lnTo>
                      <a:pt x="974" y="118"/>
                    </a:lnTo>
                    <a:lnTo>
                      <a:pt x="974" y="121"/>
                    </a:lnTo>
                    <a:lnTo>
                      <a:pt x="972" y="123"/>
                    </a:lnTo>
                    <a:lnTo>
                      <a:pt x="972" y="123"/>
                    </a:lnTo>
                    <a:lnTo>
                      <a:pt x="974" y="125"/>
                    </a:lnTo>
                    <a:lnTo>
                      <a:pt x="974" y="125"/>
                    </a:lnTo>
                    <a:lnTo>
                      <a:pt x="976" y="125"/>
                    </a:lnTo>
                    <a:lnTo>
                      <a:pt x="979" y="125"/>
                    </a:lnTo>
                    <a:lnTo>
                      <a:pt x="979" y="125"/>
                    </a:lnTo>
                    <a:lnTo>
                      <a:pt x="981" y="125"/>
                    </a:lnTo>
                    <a:lnTo>
                      <a:pt x="981" y="125"/>
                    </a:lnTo>
                    <a:lnTo>
                      <a:pt x="981" y="123"/>
                    </a:lnTo>
                    <a:lnTo>
                      <a:pt x="986" y="123"/>
                    </a:lnTo>
                    <a:lnTo>
                      <a:pt x="986" y="123"/>
                    </a:lnTo>
                    <a:lnTo>
                      <a:pt x="984" y="123"/>
                    </a:lnTo>
                    <a:lnTo>
                      <a:pt x="984" y="125"/>
                    </a:lnTo>
                    <a:lnTo>
                      <a:pt x="986" y="125"/>
                    </a:lnTo>
                    <a:lnTo>
                      <a:pt x="986" y="125"/>
                    </a:lnTo>
                    <a:lnTo>
                      <a:pt x="988" y="125"/>
                    </a:lnTo>
                    <a:lnTo>
                      <a:pt x="993" y="128"/>
                    </a:lnTo>
                    <a:lnTo>
                      <a:pt x="995" y="128"/>
                    </a:lnTo>
                    <a:lnTo>
                      <a:pt x="998" y="128"/>
                    </a:lnTo>
                    <a:lnTo>
                      <a:pt x="1000" y="128"/>
                    </a:lnTo>
                    <a:lnTo>
                      <a:pt x="1002" y="125"/>
                    </a:lnTo>
                    <a:lnTo>
                      <a:pt x="1005" y="125"/>
                    </a:lnTo>
                    <a:lnTo>
                      <a:pt x="1005" y="125"/>
                    </a:lnTo>
                    <a:lnTo>
                      <a:pt x="1005" y="125"/>
                    </a:lnTo>
                    <a:lnTo>
                      <a:pt x="1005" y="123"/>
                    </a:lnTo>
                    <a:lnTo>
                      <a:pt x="1007" y="123"/>
                    </a:lnTo>
                    <a:lnTo>
                      <a:pt x="1007" y="123"/>
                    </a:lnTo>
                    <a:lnTo>
                      <a:pt x="1007" y="123"/>
                    </a:lnTo>
                    <a:lnTo>
                      <a:pt x="1010" y="123"/>
                    </a:lnTo>
                    <a:lnTo>
                      <a:pt x="1010" y="123"/>
                    </a:lnTo>
                    <a:lnTo>
                      <a:pt x="1010" y="123"/>
                    </a:lnTo>
                    <a:lnTo>
                      <a:pt x="1010" y="123"/>
                    </a:lnTo>
                    <a:lnTo>
                      <a:pt x="1010" y="125"/>
                    </a:lnTo>
                    <a:lnTo>
                      <a:pt x="1010" y="125"/>
                    </a:lnTo>
                    <a:lnTo>
                      <a:pt x="1012" y="125"/>
                    </a:lnTo>
                    <a:lnTo>
                      <a:pt x="1014" y="123"/>
                    </a:lnTo>
                    <a:lnTo>
                      <a:pt x="1017" y="123"/>
                    </a:lnTo>
                    <a:lnTo>
                      <a:pt x="1017" y="123"/>
                    </a:lnTo>
                    <a:lnTo>
                      <a:pt x="1017" y="123"/>
                    </a:lnTo>
                    <a:lnTo>
                      <a:pt x="1017" y="123"/>
                    </a:lnTo>
                    <a:lnTo>
                      <a:pt x="1017" y="123"/>
                    </a:lnTo>
                    <a:lnTo>
                      <a:pt x="1014" y="125"/>
                    </a:lnTo>
                    <a:lnTo>
                      <a:pt x="1012" y="125"/>
                    </a:lnTo>
                    <a:lnTo>
                      <a:pt x="1012" y="128"/>
                    </a:lnTo>
                    <a:lnTo>
                      <a:pt x="1010" y="128"/>
                    </a:lnTo>
                    <a:lnTo>
                      <a:pt x="1012" y="128"/>
                    </a:lnTo>
                    <a:lnTo>
                      <a:pt x="1012" y="128"/>
                    </a:lnTo>
                    <a:lnTo>
                      <a:pt x="1017" y="128"/>
                    </a:lnTo>
                    <a:lnTo>
                      <a:pt x="1021" y="128"/>
                    </a:lnTo>
                    <a:lnTo>
                      <a:pt x="1026" y="128"/>
                    </a:lnTo>
                    <a:lnTo>
                      <a:pt x="1029" y="128"/>
                    </a:lnTo>
                    <a:lnTo>
                      <a:pt x="1033" y="128"/>
                    </a:lnTo>
                    <a:lnTo>
                      <a:pt x="1033" y="128"/>
                    </a:lnTo>
                    <a:lnTo>
                      <a:pt x="1033" y="128"/>
                    </a:lnTo>
                    <a:lnTo>
                      <a:pt x="1036" y="128"/>
                    </a:lnTo>
                    <a:lnTo>
                      <a:pt x="1038" y="128"/>
                    </a:lnTo>
                    <a:lnTo>
                      <a:pt x="1040" y="128"/>
                    </a:lnTo>
                    <a:lnTo>
                      <a:pt x="1043" y="128"/>
                    </a:lnTo>
                    <a:lnTo>
                      <a:pt x="1043" y="128"/>
                    </a:lnTo>
                    <a:lnTo>
                      <a:pt x="1045" y="128"/>
                    </a:lnTo>
                    <a:lnTo>
                      <a:pt x="1050" y="128"/>
                    </a:lnTo>
                    <a:lnTo>
                      <a:pt x="1050" y="128"/>
                    </a:lnTo>
                    <a:lnTo>
                      <a:pt x="1050" y="128"/>
                    </a:lnTo>
                    <a:lnTo>
                      <a:pt x="1050" y="125"/>
                    </a:lnTo>
                    <a:lnTo>
                      <a:pt x="1052" y="125"/>
                    </a:lnTo>
                    <a:lnTo>
                      <a:pt x="1052" y="128"/>
                    </a:lnTo>
                    <a:lnTo>
                      <a:pt x="1052" y="128"/>
                    </a:lnTo>
                    <a:lnTo>
                      <a:pt x="1055" y="128"/>
                    </a:lnTo>
                    <a:lnTo>
                      <a:pt x="1055" y="128"/>
                    </a:lnTo>
                    <a:lnTo>
                      <a:pt x="1057" y="125"/>
                    </a:lnTo>
                    <a:lnTo>
                      <a:pt x="1057" y="125"/>
                    </a:lnTo>
                    <a:lnTo>
                      <a:pt x="1057" y="128"/>
                    </a:lnTo>
                    <a:lnTo>
                      <a:pt x="1057" y="128"/>
                    </a:lnTo>
                    <a:lnTo>
                      <a:pt x="1059" y="128"/>
                    </a:lnTo>
                    <a:lnTo>
                      <a:pt x="1062" y="128"/>
                    </a:lnTo>
                    <a:lnTo>
                      <a:pt x="1064" y="128"/>
                    </a:lnTo>
                    <a:lnTo>
                      <a:pt x="1071" y="128"/>
                    </a:lnTo>
                    <a:lnTo>
                      <a:pt x="1073" y="128"/>
                    </a:lnTo>
                    <a:lnTo>
                      <a:pt x="1076" y="128"/>
                    </a:lnTo>
                    <a:lnTo>
                      <a:pt x="1078" y="125"/>
                    </a:lnTo>
                    <a:lnTo>
                      <a:pt x="1078" y="125"/>
                    </a:lnTo>
                    <a:lnTo>
                      <a:pt x="1081" y="123"/>
                    </a:lnTo>
                    <a:lnTo>
                      <a:pt x="1081" y="123"/>
                    </a:lnTo>
                    <a:lnTo>
                      <a:pt x="1081" y="123"/>
                    </a:lnTo>
                    <a:lnTo>
                      <a:pt x="1081" y="123"/>
                    </a:lnTo>
                    <a:lnTo>
                      <a:pt x="1081" y="121"/>
                    </a:lnTo>
                    <a:lnTo>
                      <a:pt x="1081" y="121"/>
                    </a:lnTo>
                    <a:lnTo>
                      <a:pt x="1081" y="121"/>
                    </a:lnTo>
                    <a:lnTo>
                      <a:pt x="1083" y="123"/>
                    </a:lnTo>
                    <a:lnTo>
                      <a:pt x="1083" y="123"/>
                    </a:lnTo>
                    <a:lnTo>
                      <a:pt x="1085" y="123"/>
                    </a:lnTo>
                    <a:lnTo>
                      <a:pt x="1083" y="123"/>
                    </a:lnTo>
                    <a:lnTo>
                      <a:pt x="1083" y="123"/>
                    </a:lnTo>
                    <a:lnTo>
                      <a:pt x="1083" y="125"/>
                    </a:lnTo>
                    <a:lnTo>
                      <a:pt x="1083" y="125"/>
                    </a:lnTo>
                    <a:lnTo>
                      <a:pt x="1083" y="128"/>
                    </a:lnTo>
                    <a:lnTo>
                      <a:pt x="1083" y="128"/>
                    </a:lnTo>
                    <a:lnTo>
                      <a:pt x="1085" y="128"/>
                    </a:lnTo>
                    <a:lnTo>
                      <a:pt x="1085" y="128"/>
                    </a:lnTo>
                    <a:lnTo>
                      <a:pt x="1088" y="128"/>
                    </a:lnTo>
                    <a:lnTo>
                      <a:pt x="1092" y="128"/>
                    </a:lnTo>
                    <a:lnTo>
                      <a:pt x="1092" y="128"/>
                    </a:lnTo>
                    <a:lnTo>
                      <a:pt x="1095" y="128"/>
                    </a:lnTo>
                    <a:lnTo>
                      <a:pt x="1097" y="128"/>
                    </a:lnTo>
                    <a:lnTo>
                      <a:pt x="1102" y="128"/>
                    </a:lnTo>
                    <a:lnTo>
                      <a:pt x="1104" y="128"/>
                    </a:lnTo>
                    <a:lnTo>
                      <a:pt x="1116" y="128"/>
                    </a:lnTo>
                    <a:lnTo>
                      <a:pt x="1116" y="128"/>
                    </a:lnTo>
                    <a:lnTo>
                      <a:pt x="1118" y="125"/>
                    </a:lnTo>
                    <a:lnTo>
                      <a:pt x="1118" y="125"/>
                    </a:lnTo>
                    <a:lnTo>
                      <a:pt x="1121" y="123"/>
                    </a:lnTo>
                    <a:lnTo>
                      <a:pt x="1121" y="123"/>
                    </a:lnTo>
                    <a:lnTo>
                      <a:pt x="1121" y="123"/>
                    </a:lnTo>
                    <a:lnTo>
                      <a:pt x="1121" y="123"/>
                    </a:lnTo>
                    <a:lnTo>
                      <a:pt x="1121" y="121"/>
                    </a:lnTo>
                    <a:lnTo>
                      <a:pt x="1121" y="121"/>
                    </a:lnTo>
                    <a:lnTo>
                      <a:pt x="1121" y="121"/>
                    </a:lnTo>
                    <a:lnTo>
                      <a:pt x="1123" y="121"/>
                    </a:lnTo>
                    <a:lnTo>
                      <a:pt x="1126" y="123"/>
                    </a:lnTo>
                    <a:lnTo>
                      <a:pt x="1130" y="121"/>
                    </a:lnTo>
                    <a:lnTo>
                      <a:pt x="1133" y="121"/>
                    </a:lnTo>
                    <a:lnTo>
                      <a:pt x="1133" y="121"/>
                    </a:lnTo>
                    <a:lnTo>
                      <a:pt x="1133" y="121"/>
                    </a:lnTo>
                    <a:lnTo>
                      <a:pt x="1130" y="118"/>
                    </a:lnTo>
                    <a:lnTo>
                      <a:pt x="1130" y="118"/>
                    </a:lnTo>
                    <a:lnTo>
                      <a:pt x="1126" y="121"/>
                    </a:lnTo>
                    <a:lnTo>
                      <a:pt x="1126" y="121"/>
                    </a:lnTo>
                    <a:lnTo>
                      <a:pt x="1123" y="121"/>
                    </a:lnTo>
                    <a:lnTo>
                      <a:pt x="1123" y="118"/>
                    </a:lnTo>
                    <a:lnTo>
                      <a:pt x="1123" y="118"/>
                    </a:lnTo>
                    <a:lnTo>
                      <a:pt x="1128" y="118"/>
                    </a:lnTo>
                    <a:lnTo>
                      <a:pt x="1135" y="116"/>
                    </a:lnTo>
                    <a:lnTo>
                      <a:pt x="1137" y="116"/>
                    </a:lnTo>
                    <a:lnTo>
                      <a:pt x="1137" y="116"/>
                    </a:lnTo>
                    <a:lnTo>
                      <a:pt x="1137" y="113"/>
                    </a:lnTo>
                    <a:lnTo>
                      <a:pt x="1137" y="111"/>
                    </a:lnTo>
                    <a:lnTo>
                      <a:pt x="1137" y="111"/>
                    </a:lnTo>
                    <a:lnTo>
                      <a:pt x="1133" y="111"/>
                    </a:lnTo>
                    <a:lnTo>
                      <a:pt x="1130" y="111"/>
                    </a:lnTo>
                    <a:lnTo>
                      <a:pt x="1130" y="111"/>
                    </a:lnTo>
                    <a:lnTo>
                      <a:pt x="1135" y="111"/>
                    </a:lnTo>
                    <a:lnTo>
                      <a:pt x="1135" y="111"/>
                    </a:lnTo>
                    <a:lnTo>
                      <a:pt x="1135" y="111"/>
                    </a:lnTo>
                    <a:lnTo>
                      <a:pt x="1133" y="109"/>
                    </a:lnTo>
                    <a:lnTo>
                      <a:pt x="1130" y="109"/>
                    </a:lnTo>
                    <a:lnTo>
                      <a:pt x="1126" y="109"/>
                    </a:lnTo>
                    <a:lnTo>
                      <a:pt x="1123" y="109"/>
                    </a:lnTo>
                    <a:lnTo>
                      <a:pt x="1123" y="109"/>
                    </a:lnTo>
                    <a:lnTo>
                      <a:pt x="1123" y="109"/>
                    </a:lnTo>
                    <a:lnTo>
                      <a:pt x="1126" y="109"/>
                    </a:lnTo>
                    <a:lnTo>
                      <a:pt x="1123" y="106"/>
                    </a:lnTo>
                    <a:lnTo>
                      <a:pt x="1118" y="106"/>
                    </a:lnTo>
                    <a:lnTo>
                      <a:pt x="1114" y="106"/>
                    </a:lnTo>
                    <a:lnTo>
                      <a:pt x="1111" y="106"/>
                    </a:lnTo>
                    <a:lnTo>
                      <a:pt x="1109" y="106"/>
                    </a:lnTo>
                    <a:lnTo>
                      <a:pt x="1102" y="106"/>
                    </a:lnTo>
                    <a:lnTo>
                      <a:pt x="1099" y="106"/>
                    </a:lnTo>
                    <a:lnTo>
                      <a:pt x="1095" y="106"/>
                    </a:lnTo>
                    <a:lnTo>
                      <a:pt x="1092" y="106"/>
                    </a:lnTo>
                    <a:lnTo>
                      <a:pt x="1090" y="106"/>
                    </a:lnTo>
                    <a:lnTo>
                      <a:pt x="1088" y="106"/>
                    </a:lnTo>
                    <a:lnTo>
                      <a:pt x="1081" y="109"/>
                    </a:lnTo>
                    <a:lnTo>
                      <a:pt x="1078" y="109"/>
                    </a:lnTo>
                    <a:lnTo>
                      <a:pt x="1076" y="109"/>
                    </a:lnTo>
                    <a:lnTo>
                      <a:pt x="1069" y="111"/>
                    </a:lnTo>
                    <a:lnTo>
                      <a:pt x="1066" y="111"/>
                    </a:lnTo>
                    <a:lnTo>
                      <a:pt x="1062" y="111"/>
                    </a:lnTo>
                    <a:lnTo>
                      <a:pt x="1059" y="111"/>
                    </a:lnTo>
                    <a:lnTo>
                      <a:pt x="1059" y="113"/>
                    </a:lnTo>
                    <a:lnTo>
                      <a:pt x="1059" y="113"/>
                    </a:lnTo>
                    <a:lnTo>
                      <a:pt x="1055" y="113"/>
                    </a:lnTo>
                    <a:lnTo>
                      <a:pt x="1055" y="113"/>
                    </a:lnTo>
                    <a:lnTo>
                      <a:pt x="1052" y="111"/>
                    </a:lnTo>
                    <a:lnTo>
                      <a:pt x="1050" y="111"/>
                    </a:lnTo>
                    <a:lnTo>
                      <a:pt x="1047" y="109"/>
                    </a:lnTo>
                    <a:lnTo>
                      <a:pt x="1045" y="111"/>
                    </a:lnTo>
                    <a:lnTo>
                      <a:pt x="1040" y="111"/>
                    </a:lnTo>
                    <a:lnTo>
                      <a:pt x="1040" y="111"/>
                    </a:lnTo>
                    <a:lnTo>
                      <a:pt x="1040" y="111"/>
                    </a:lnTo>
                    <a:lnTo>
                      <a:pt x="1040" y="111"/>
                    </a:lnTo>
                    <a:lnTo>
                      <a:pt x="1033" y="111"/>
                    </a:lnTo>
                    <a:lnTo>
                      <a:pt x="1031" y="109"/>
                    </a:lnTo>
                    <a:lnTo>
                      <a:pt x="1031" y="109"/>
                    </a:lnTo>
                    <a:lnTo>
                      <a:pt x="1029" y="109"/>
                    </a:lnTo>
                    <a:lnTo>
                      <a:pt x="1029" y="109"/>
                    </a:lnTo>
                    <a:lnTo>
                      <a:pt x="1026" y="109"/>
                    </a:lnTo>
                    <a:lnTo>
                      <a:pt x="1026" y="111"/>
                    </a:lnTo>
                    <a:lnTo>
                      <a:pt x="1026" y="111"/>
                    </a:lnTo>
                    <a:lnTo>
                      <a:pt x="1026" y="111"/>
                    </a:lnTo>
                    <a:lnTo>
                      <a:pt x="1024" y="111"/>
                    </a:lnTo>
                    <a:lnTo>
                      <a:pt x="1024" y="111"/>
                    </a:lnTo>
                    <a:lnTo>
                      <a:pt x="1024" y="111"/>
                    </a:lnTo>
                    <a:lnTo>
                      <a:pt x="1021" y="111"/>
                    </a:lnTo>
                    <a:lnTo>
                      <a:pt x="1019" y="111"/>
                    </a:lnTo>
                    <a:lnTo>
                      <a:pt x="1017" y="111"/>
                    </a:lnTo>
                    <a:lnTo>
                      <a:pt x="1017" y="111"/>
                    </a:lnTo>
                    <a:lnTo>
                      <a:pt x="1021" y="109"/>
                    </a:lnTo>
                    <a:lnTo>
                      <a:pt x="1024" y="109"/>
                    </a:lnTo>
                    <a:lnTo>
                      <a:pt x="1024" y="106"/>
                    </a:lnTo>
                    <a:lnTo>
                      <a:pt x="1026" y="106"/>
                    </a:lnTo>
                    <a:lnTo>
                      <a:pt x="1024" y="106"/>
                    </a:lnTo>
                    <a:lnTo>
                      <a:pt x="1024" y="106"/>
                    </a:lnTo>
                    <a:lnTo>
                      <a:pt x="1021" y="106"/>
                    </a:lnTo>
                    <a:lnTo>
                      <a:pt x="1021" y="106"/>
                    </a:lnTo>
                    <a:lnTo>
                      <a:pt x="1021" y="104"/>
                    </a:lnTo>
                    <a:lnTo>
                      <a:pt x="1021" y="104"/>
                    </a:lnTo>
                    <a:lnTo>
                      <a:pt x="1019" y="104"/>
                    </a:lnTo>
                    <a:lnTo>
                      <a:pt x="1019" y="102"/>
                    </a:lnTo>
                    <a:lnTo>
                      <a:pt x="1017" y="102"/>
                    </a:lnTo>
                    <a:lnTo>
                      <a:pt x="1012" y="102"/>
                    </a:lnTo>
                    <a:lnTo>
                      <a:pt x="1012" y="102"/>
                    </a:lnTo>
                    <a:lnTo>
                      <a:pt x="1010" y="102"/>
                    </a:lnTo>
                    <a:lnTo>
                      <a:pt x="1007" y="102"/>
                    </a:lnTo>
                    <a:lnTo>
                      <a:pt x="1007" y="99"/>
                    </a:lnTo>
                    <a:lnTo>
                      <a:pt x="1010" y="99"/>
                    </a:lnTo>
                    <a:lnTo>
                      <a:pt x="1014" y="99"/>
                    </a:lnTo>
                    <a:lnTo>
                      <a:pt x="1019" y="102"/>
                    </a:lnTo>
                    <a:lnTo>
                      <a:pt x="1031" y="99"/>
                    </a:lnTo>
                    <a:lnTo>
                      <a:pt x="1033" y="99"/>
                    </a:lnTo>
                    <a:lnTo>
                      <a:pt x="1033" y="99"/>
                    </a:lnTo>
                    <a:lnTo>
                      <a:pt x="1036" y="99"/>
                    </a:lnTo>
                    <a:lnTo>
                      <a:pt x="1036" y="99"/>
                    </a:lnTo>
                    <a:lnTo>
                      <a:pt x="1017" y="97"/>
                    </a:lnTo>
                    <a:lnTo>
                      <a:pt x="1012" y="97"/>
                    </a:lnTo>
                    <a:lnTo>
                      <a:pt x="1012" y="97"/>
                    </a:lnTo>
                    <a:lnTo>
                      <a:pt x="1012" y="94"/>
                    </a:lnTo>
                    <a:lnTo>
                      <a:pt x="1012" y="94"/>
                    </a:lnTo>
                    <a:lnTo>
                      <a:pt x="1014" y="94"/>
                    </a:lnTo>
                    <a:lnTo>
                      <a:pt x="1014" y="94"/>
                    </a:lnTo>
                    <a:lnTo>
                      <a:pt x="1019" y="94"/>
                    </a:lnTo>
                    <a:lnTo>
                      <a:pt x="1021" y="97"/>
                    </a:lnTo>
                    <a:lnTo>
                      <a:pt x="1024" y="94"/>
                    </a:lnTo>
                    <a:lnTo>
                      <a:pt x="1024" y="94"/>
                    </a:lnTo>
                    <a:lnTo>
                      <a:pt x="1024" y="94"/>
                    </a:lnTo>
                    <a:lnTo>
                      <a:pt x="1021" y="94"/>
                    </a:lnTo>
                    <a:lnTo>
                      <a:pt x="1019" y="92"/>
                    </a:lnTo>
                    <a:lnTo>
                      <a:pt x="1017" y="92"/>
                    </a:lnTo>
                    <a:lnTo>
                      <a:pt x="1014" y="92"/>
                    </a:lnTo>
                    <a:lnTo>
                      <a:pt x="1012" y="92"/>
                    </a:lnTo>
                    <a:lnTo>
                      <a:pt x="1002" y="92"/>
                    </a:lnTo>
                    <a:lnTo>
                      <a:pt x="998" y="94"/>
                    </a:lnTo>
                    <a:lnTo>
                      <a:pt x="995" y="92"/>
                    </a:lnTo>
                    <a:lnTo>
                      <a:pt x="986" y="94"/>
                    </a:lnTo>
                    <a:lnTo>
                      <a:pt x="986" y="97"/>
                    </a:lnTo>
                    <a:lnTo>
                      <a:pt x="986" y="94"/>
                    </a:lnTo>
                    <a:lnTo>
                      <a:pt x="988" y="94"/>
                    </a:lnTo>
                    <a:lnTo>
                      <a:pt x="991" y="94"/>
                    </a:lnTo>
                    <a:lnTo>
                      <a:pt x="993" y="92"/>
                    </a:lnTo>
                    <a:lnTo>
                      <a:pt x="993" y="92"/>
                    </a:lnTo>
                    <a:lnTo>
                      <a:pt x="993" y="92"/>
                    </a:lnTo>
                    <a:lnTo>
                      <a:pt x="995" y="92"/>
                    </a:lnTo>
                    <a:lnTo>
                      <a:pt x="995" y="92"/>
                    </a:lnTo>
                    <a:lnTo>
                      <a:pt x="995" y="90"/>
                    </a:lnTo>
                    <a:lnTo>
                      <a:pt x="995" y="90"/>
                    </a:lnTo>
                    <a:lnTo>
                      <a:pt x="993" y="90"/>
                    </a:lnTo>
                    <a:lnTo>
                      <a:pt x="993" y="90"/>
                    </a:lnTo>
                    <a:lnTo>
                      <a:pt x="991" y="87"/>
                    </a:lnTo>
                    <a:lnTo>
                      <a:pt x="991" y="87"/>
                    </a:lnTo>
                    <a:lnTo>
                      <a:pt x="988" y="90"/>
                    </a:lnTo>
                    <a:lnTo>
                      <a:pt x="986" y="87"/>
                    </a:lnTo>
                    <a:lnTo>
                      <a:pt x="981" y="87"/>
                    </a:lnTo>
                    <a:lnTo>
                      <a:pt x="976" y="87"/>
                    </a:lnTo>
                    <a:lnTo>
                      <a:pt x="972" y="85"/>
                    </a:lnTo>
                    <a:lnTo>
                      <a:pt x="969" y="85"/>
                    </a:lnTo>
                    <a:lnTo>
                      <a:pt x="967" y="87"/>
                    </a:lnTo>
                    <a:lnTo>
                      <a:pt x="962" y="87"/>
                    </a:lnTo>
                    <a:lnTo>
                      <a:pt x="960" y="87"/>
                    </a:lnTo>
                    <a:lnTo>
                      <a:pt x="958" y="87"/>
                    </a:lnTo>
                    <a:lnTo>
                      <a:pt x="955" y="87"/>
                    </a:lnTo>
                    <a:lnTo>
                      <a:pt x="955" y="87"/>
                    </a:lnTo>
                    <a:close/>
                    <a:moveTo>
                      <a:pt x="901" y="128"/>
                    </a:moveTo>
                    <a:lnTo>
                      <a:pt x="901" y="128"/>
                    </a:lnTo>
                    <a:lnTo>
                      <a:pt x="901" y="125"/>
                    </a:lnTo>
                    <a:lnTo>
                      <a:pt x="901" y="125"/>
                    </a:lnTo>
                    <a:lnTo>
                      <a:pt x="898" y="125"/>
                    </a:lnTo>
                    <a:lnTo>
                      <a:pt x="894" y="128"/>
                    </a:lnTo>
                    <a:lnTo>
                      <a:pt x="894" y="128"/>
                    </a:lnTo>
                    <a:lnTo>
                      <a:pt x="894" y="128"/>
                    </a:lnTo>
                    <a:lnTo>
                      <a:pt x="898" y="128"/>
                    </a:lnTo>
                    <a:lnTo>
                      <a:pt x="901" y="128"/>
                    </a:lnTo>
                    <a:close/>
                    <a:moveTo>
                      <a:pt x="955" y="149"/>
                    </a:moveTo>
                    <a:lnTo>
                      <a:pt x="958" y="147"/>
                    </a:lnTo>
                    <a:lnTo>
                      <a:pt x="960" y="144"/>
                    </a:lnTo>
                    <a:lnTo>
                      <a:pt x="962" y="144"/>
                    </a:lnTo>
                    <a:lnTo>
                      <a:pt x="962" y="144"/>
                    </a:lnTo>
                    <a:lnTo>
                      <a:pt x="965" y="144"/>
                    </a:lnTo>
                    <a:lnTo>
                      <a:pt x="969" y="142"/>
                    </a:lnTo>
                    <a:lnTo>
                      <a:pt x="972" y="139"/>
                    </a:lnTo>
                    <a:lnTo>
                      <a:pt x="974" y="139"/>
                    </a:lnTo>
                    <a:lnTo>
                      <a:pt x="976" y="139"/>
                    </a:lnTo>
                    <a:lnTo>
                      <a:pt x="974" y="137"/>
                    </a:lnTo>
                    <a:lnTo>
                      <a:pt x="974" y="137"/>
                    </a:lnTo>
                    <a:lnTo>
                      <a:pt x="969" y="137"/>
                    </a:lnTo>
                    <a:lnTo>
                      <a:pt x="962" y="135"/>
                    </a:lnTo>
                    <a:lnTo>
                      <a:pt x="960" y="137"/>
                    </a:lnTo>
                    <a:lnTo>
                      <a:pt x="953" y="137"/>
                    </a:lnTo>
                    <a:lnTo>
                      <a:pt x="953" y="137"/>
                    </a:lnTo>
                    <a:lnTo>
                      <a:pt x="953" y="135"/>
                    </a:lnTo>
                    <a:lnTo>
                      <a:pt x="950" y="135"/>
                    </a:lnTo>
                    <a:lnTo>
                      <a:pt x="950" y="135"/>
                    </a:lnTo>
                    <a:lnTo>
                      <a:pt x="946" y="135"/>
                    </a:lnTo>
                    <a:lnTo>
                      <a:pt x="943" y="132"/>
                    </a:lnTo>
                    <a:lnTo>
                      <a:pt x="941" y="132"/>
                    </a:lnTo>
                    <a:lnTo>
                      <a:pt x="936" y="135"/>
                    </a:lnTo>
                    <a:lnTo>
                      <a:pt x="934" y="135"/>
                    </a:lnTo>
                    <a:lnTo>
                      <a:pt x="927" y="135"/>
                    </a:lnTo>
                    <a:lnTo>
                      <a:pt x="924" y="135"/>
                    </a:lnTo>
                    <a:lnTo>
                      <a:pt x="920" y="135"/>
                    </a:lnTo>
                    <a:lnTo>
                      <a:pt x="920" y="135"/>
                    </a:lnTo>
                    <a:lnTo>
                      <a:pt x="917" y="137"/>
                    </a:lnTo>
                    <a:lnTo>
                      <a:pt x="917" y="137"/>
                    </a:lnTo>
                    <a:lnTo>
                      <a:pt x="915" y="137"/>
                    </a:lnTo>
                    <a:lnTo>
                      <a:pt x="915" y="137"/>
                    </a:lnTo>
                    <a:lnTo>
                      <a:pt x="915" y="137"/>
                    </a:lnTo>
                    <a:lnTo>
                      <a:pt x="915" y="139"/>
                    </a:lnTo>
                    <a:lnTo>
                      <a:pt x="915" y="142"/>
                    </a:lnTo>
                    <a:lnTo>
                      <a:pt x="915" y="142"/>
                    </a:lnTo>
                    <a:lnTo>
                      <a:pt x="917" y="142"/>
                    </a:lnTo>
                    <a:lnTo>
                      <a:pt x="917" y="142"/>
                    </a:lnTo>
                    <a:lnTo>
                      <a:pt x="915" y="142"/>
                    </a:lnTo>
                    <a:lnTo>
                      <a:pt x="913" y="142"/>
                    </a:lnTo>
                    <a:lnTo>
                      <a:pt x="910" y="139"/>
                    </a:lnTo>
                    <a:lnTo>
                      <a:pt x="908" y="139"/>
                    </a:lnTo>
                    <a:lnTo>
                      <a:pt x="906" y="142"/>
                    </a:lnTo>
                    <a:lnTo>
                      <a:pt x="906" y="142"/>
                    </a:lnTo>
                    <a:lnTo>
                      <a:pt x="906" y="142"/>
                    </a:lnTo>
                    <a:lnTo>
                      <a:pt x="903" y="142"/>
                    </a:lnTo>
                    <a:lnTo>
                      <a:pt x="903" y="144"/>
                    </a:lnTo>
                    <a:lnTo>
                      <a:pt x="898" y="147"/>
                    </a:lnTo>
                    <a:lnTo>
                      <a:pt x="896" y="151"/>
                    </a:lnTo>
                    <a:lnTo>
                      <a:pt x="896" y="151"/>
                    </a:lnTo>
                    <a:lnTo>
                      <a:pt x="894" y="154"/>
                    </a:lnTo>
                    <a:lnTo>
                      <a:pt x="891" y="154"/>
                    </a:lnTo>
                    <a:lnTo>
                      <a:pt x="891" y="156"/>
                    </a:lnTo>
                    <a:lnTo>
                      <a:pt x="889" y="156"/>
                    </a:lnTo>
                    <a:lnTo>
                      <a:pt x="889" y="156"/>
                    </a:lnTo>
                    <a:lnTo>
                      <a:pt x="889" y="161"/>
                    </a:lnTo>
                    <a:lnTo>
                      <a:pt x="887" y="163"/>
                    </a:lnTo>
                    <a:lnTo>
                      <a:pt x="884" y="168"/>
                    </a:lnTo>
                    <a:lnTo>
                      <a:pt x="879" y="170"/>
                    </a:lnTo>
                    <a:lnTo>
                      <a:pt x="882" y="170"/>
                    </a:lnTo>
                    <a:lnTo>
                      <a:pt x="889" y="170"/>
                    </a:lnTo>
                    <a:lnTo>
                      <a:pt x="889" y="170"/>
                    </a:lnTo>
                    <a:lnTo>
                      <a:pt x="894" y="170"/>
                    </a:lnTo>
                    <a:lnTo>
                      <a:pt x="896" y="170"/>
                    </a:lnTo>
                    <a:lnTo>
                      <a:pt x="898" y="168"/>
                    </a:lnTo>
                    <a:lnTo>
                      <a:pt x="901" y="166"/>
                    </a:lnTo>
                    <a:lnTo>
                      <a:pt x="908" y="163"/>
                    </a:lnTo>
                    <a:lnTo>
                      <a:pt x="910" y="163"/>
                    </a:lnTo>
                    <a:lnTo>
                      <a:pt x="910" y="161"/>
                    </a:lnTo>
                    <a:lnTo>
                      <a:pt x="910" y="161"/>
                    </a:lnTo>
                    <a:lnTo>
                      <a:pt x="910" y="161"/>
                    </a:lnTo>
                    <a:lnTo>
                      <a:pt x="910" y="158"/>
                    </a:lnTo>
                    <a:lnTo>
                      <a:pt x="910" y="158"/>
                    </a:lnTo>
                    <a:lnTo>
                      <a:pt x="908" y="158"/>
                    </a:lnTo>
                    <a:lnTo>
                      <a:pt x="906" y="158"/>
                    </a:lnTo>
                    <a:lnTo>
                      <a:pt x="915" y="156"/>
                    </a:lnTo>
                    <a:lnTo>
                      <a:pt x="917" y="156"/>
                    </a:lnTo>
                    <a:lnTo>
                      <a:pt x="929" y="158"/>
                    </a:lnTo>
                    <a:lnTo>
                      <a:pt x="932" y="158"/>
                    </a:lnTo>
                    <a:lnTo>
                      <a:pt x="934" y="158"/>
                    </a:lnTo>
                    <a:lnTo>
                      <a:pt x="939" y="156"/>
                    </a:lnTo>
                    <a:lnTo>
                      <a:pt x="941" y="154"/>
                    </a:lnTo>
                    <a:lnTo>
                      <a:pt x="946" y="154"/>
                    </a:lnTo>
                    <a:lnTo>
                      <a:pt x="948" y="151"/>
                    </a:lnTo>
                    <a:lnTo>
                      <a:pt x="950" y="149"/>
                    </a:lnTo>
                    <a:lnTo>
                      <a:pt x="950" y="149"/>
                    </a:lnTo>
                    <a:lnTo>
                      <a:pt x="948" y="149"/>
                    </a:lnTo>
                    <a:lnTo>
                      <a:pt x="953" y="149"/>
                    </a:lnTo>
                    <a:lnTo>
                      <a:pt x="955" y="149"/>
                    </a:lnTo>
                    <a:close/>
                    <a:moveTo>
                      <a:pt x="901" y="215"/>
                    </a:moveTo>
                    <a:lnTo>
                      <a:pt x="901" y="215"/>
                    </a:lnTo>
                    <a:lnTo>
                      <a:pt x="898" y="215"/>
                    </a:lnTo>
                    <a:lnTo>
                      <a:pt x="898" y="215"/>
                    </a:lnTo>
                    <a:lnTo>
                      <a:pt x="898" y="218"/>
                    </a:lnTo>
                    <a:lnTo>
                      <a:pt x="898" y="218"/>
                    </a:lnTo>
                    <a:lnTo>
                      <a:pt x="898" y="218"/>
                    </a:lnTo>
                    <a:lnTo>
                      <a:pt x="898" y="218"/>
                    </a:lnTo>
                    <a:lnTo>
                      <a:pt x="901" y="218"/>
                    </a:lnTo>
                    <a:lnTo>
                      <a:pt x="903" y="215"/>
                    </a:lnTo>
                    <a:lnTo>
                      <a:pt x="903" y="215"/>
                    </a:lnTo>
                    <a:lnTo>
                      <a:pt x="903" y="215"/>
                    </a:lnTo>
                    <a:lnTo>
                      <a:pt x="903" y="215"/>
                    </a:lnTo>
                    <a:lnTo>
                      <a:pt x="901" y="215"/>
                    </a:lnTo>
                    <a:close/>
                    <a:moveTo>
                      <a:pt x="924" y="244"/>
                    </a:moveTo>
                    <a:lnTo>
                      <a:pt x="924" y="244"/>
                    </a:lnTo>
                    <a:lnTo>
                      <a:pt x="924" y="244"/>
                    </a:lnTo>
                    <a:lnTo>
                      <a:pt x="924" y="244"/>
                    </a:lnTo>
                    <a:lnTo>
                      <a:pt x="924" y="246"/>
                    </a:lnTo>
                    <a:lnTo>
                      <a:pt x="927" y="246"/>
                    </a:lnTo>
                    <a:lnTo>
                      <a:pt x="927" y="246"/>
                    </a:lnTo>
                    <a:lnTo>
                      <a:pt x="927" y="246"/>
                    </a:lnTo>
                    <a:lnTo>
                      <a:pt x="929" y="244"/>
                    </a:lnTo>
                    <a:lnTo>
                      <a:pt x="929" y="244"/>
                    </a:lnTo>
                    <a:lnTo>
                      <a:pt x="932" y="244"/>
                    </a:lnTo>
                    <a:lnTo>
                      <a:pt x="932" y="241"/>
                    </a:lnTo>
                    <a:lnTo>
                      <a:pt x="934" y="241"/>
                    </a:lnTo>
                    <a:lnTo>
                      <a:pt x="934" y="239"/>
                    </a:lnTo>
                    <a:lnTo>
                      <a:pt x="934" y="239"/>
                    </a:lnTo>
                    <a:lnTo>
                      <a:pt x="936" y="237"/>
                    </a:lnTo>
                    <a:lnTo>
                      <a:pt x="936" y="237"/>
                    </a:lnTo>
                    <a:lnTo>
                      <a:pt x="936" y="237"/>
                    </a:lnTo>
                    <a:lnTo>
                      <a:pt x="934" y="234"/>
                    </a:lnTo>
                    <a:lnTo>
                      <a:pt x="932" y="237"/>
                    </a:lnTo>
                    <a:lnTo>
                      <a:pt x="929" y="237"/>
                    </a:lnTo>
                    <a:lnTo>
                      <a:pt x="929" y="239"/>
                    </a:lnTo>
                    <a:lnTo>
                      <a:pt x="927" y="239"/>
                    </a:lnTo>
                    <a:lnTo>
                      <a:pt x="927" y="239"/>
                    </a:lnTo>
                    <a:lnTo>
                      <a:pt x="927" y="239"/>
                    </a:lnTo>
                    <a:lnTo>
                      <a:pt x="927" y="241"/>
                    </a:lnTo>
                    <a:lnTo>
                      <a:pt x="924" y="241"/>
                    </a:lnTo>
                    <a:lnTo>
                      <a:pt x="924" y="244"/>
                    </a:lnTo>
                    <a:close/>
                    <a:moveTo>
                      <a:pt x="879" y="149"/>
                    </a:moveTo>
                    <a:lnTo>
                      <a:pt x="877" y="151"/>
                    </a:lnTo>
                    <a:lnTo>
                      <a:pt x="877" y="151"/>
                    </a:lnTo>
                    <a:lnTo>
                      <a:pt x="875" y="151"/>
                    </a:lnTo>
                    <a:lnTo>
                      <a:pt x="875" y="151"/>
                    </a:lnTo>
                    <a:lnTo>
                      <a:pt x="872" y="154"/>
                    </a:lnTo>
                    <a:lnTo>
                      <a:pt x="875" y="154"/>
                    </a:lnTo>
                    <a:lnTo>
                      <a:pt x="877" y="154"/>
                    </a:lnTo>
                    <a:lnTo>
                      <a:pt x="877" y="154"/>
                    </a:lnTo>
                    <a:lnTo>
                      <a:pt x="877" y="154"/>
                    </a:lnTo>
                    <a:lnTo>
                      <a:pt x="879" y="154"/>
                    </a:lnTo>
                    <a:lnTo>
                      <a:pt x="879" y="151"/>
                    </a:lnTo>
                    <a:lnTo>
                      <a:pt x="882" y="151"/>
                    </a:lnTo>
                    <a:lnTo>
                      <a:pt x="882" y="151"/>
                    </a:lnTo>
                    <a:lnTo>
                      <a:pt x="879" y="151"/>
                    </a:lnTo>
                    <a:lnTo>
                      <a:pt x="879" y="151"/>
                    </a:lnTo>
                    <a:lnTo>
                      <a:pt x="879" y="151"/>
                    </a:lnTo>
                    <a:lnTo>
                      <a:pt x="879" y="149"/>
                    </a:lnTo>
                    <a:close/>
                    <a:moveTo>
                      <a:pt x="960" y="106"/>
                    </a:moveTo>
                    <a:lnTo>
                      <a:pt x="962" y="106"/>
                    </a:lnTo>
                    <a:lnTo>
                      <a:pt x="962" y="106"/>
                    </a:lnTo>
                    <a:lnTo>
                      <a:pt x="962" y="106"/>
                    </a:lnTo>
                    <a:lnTo>
                      <a:pt x="962" y="106"/>
                    </a:lnTo>
                    <a:lnTo>
                      <a:pt x="962" y="104"/>
                    </a:lnTo>
                    <a:lnTo>
                      <a:pt x="962" y="104"/>
                    </a:lnTo>
                    <a:lnTo>
                      <a:pt x="965" y="104"/>
                    </a:lnTo>
                    <a:lnTo>
                      <a:pt x="965" y="104"/>
                    </a:lnTo>
                    <a:lnTo>
                      <a:pt x="965" y="104"/>
                    </a:lnTo>
                    <a:lnTo>
                      <a:pt x="960" y="104"/>
                    </a:lnTo>
                    <a:lnTo>
                      <a:pt x="960" y="104"/>
                    </a:lnTo>
                    <a:lnTo>
                      <a:pt x="958" y="104"/>
                    </a:lnTo>
                    <a:lnTo>
                      <a:pt x="958" y="104"/>
                    </a:lnTo>
                    <a:lnTo>
                      <a:pt x="958" y="104"/>
                    </a:lnTo>
                    <a:lnTo>
                      <a:pt x="958" y="104"/>
                    </a:lnTo>
                    <a:lnTo>
                      <a:pt x="958" y="106"/>
                    </a:lnTo>
                    <a:lnTo>
                      <a:pt x="958" y="106"/>
                    </a:lnTo>
                    <a:lnTo>
                      <a:pt x="958" y="106"/>
                    </a:lnTo>
                    <a:lnTo>
                      <a:pt x="958" y="106"/>
                    </a:lnTo>
                    <a:lnTo>
                      <a:pt x="958" y="106"/>
                    </a:lnTo>
                    <a:lnTo>
                      <a:pt x="960" y="106"/>
                    </a:lnTo>
                    <a:close/>
                    <a:moveTo>
                      <a:pt x="922" y="125"/>
                    </a:moveTo>
                    <a:lnTo>
                      <a:pt x="922" y="125"/>
                    </a:lnTo>
                    <a:lnTo>
                      <a:pt x="920" y="125"/>
                    </a:lnTo>
                    <a:lnTo>
                      <a:pt x="920" y="128"/>
                    </a:lnTo>
                    <a:lnTo>
                      <a:pt x="920" y="128"/>
                    </a:lnTo>
                    <a:lnTo>
                      <a:pt x="920" y="128"/>
                    </a:lnTo>
                    <a:lnTo>
                      <a:pt x="922" y="128"/>
                    </a:lnTo>
                    <a:lnTo>
                      <a:pt x="924" y="128"/>
                    </a:lnTo>
                    <a:lnTo>
                      <a:pt x="924" y="128"/>
                    </a:lnTo>
                    <a:lnTo>
                      <a:pt x="924" y="128"/>
                    </a:lnTo>
                    <a:lnTo>
                      <a:pt x="927" y="128"/>
                    </a:lnTo>
                    <a:lnTo>
                      <a:pt x="924" y="128"/>
                    </a:lnTo>
                    <a:lnTo>
                      <a:pt x="924" y="125"/>
                    </a:lnTo>
                    <a:lnTo>
                      <a:pt x="922" y="125"/>
                    </a:lnTo>
                    <a:close/>
                    <a:moveTo>
                      <a:pt x="920" y="118"/>
                    </a:moveTo>
                    <a:lnTo>
                      <a:pt x="920" y="118"/>
                    </a:lnTo>
                    <a:lnTo>
                      <a:pt x="917" y="121"/>
                    </a:lnTo>
                    <a:lnTo>
                      <a:pt x="917" y="121"/>
                    </a:lnTo>
                    <a:lnTo>
                      <a:pt x="920" y="121"/>
                    </a:lnTo>
                    <a:lnTo>
                      <a:pt x="920" y="121"/>
                    </a:lnTo>
                    <a:lnTo>
                      <a:pt x="920" y="121"/>
                    </a:lnTo>
                    <a:lnTo>
                      <a:pt x="920" y="121"/>
                    </a:lnTo>
                    <a:lnTo>
                      <a:pt x="920" y="121"/>
                    </a:lnTo>
                    <a:lnTo>
                      <a:pt x="922" y="121"/>
                    </a:lnTo>
                    <a:lnTo>
                      <a:pt x="922" y="121"/>
                    </a:lnTo>
                    <a:lnTo>
                      <a:pt x="924" y="123"/>
                    </a:lnTo>
                    <a:lnTo>
                      <a:pt x="929" y="123"/>
                    </a:lnTo>
                    <a:lnTo>
                      <a:pt x="932" y="123"/>
                    </a:lnTo>
                    <a:lnTo>
                      <a:pt x="934" y="125"/>
                    </a:lnTo>
                    <a:lnTo>
                      <a:pt x="934" y="125"/>
                    </a:lnTo>
                    <a:lnTo>
                      <a:pt x="934" y="125"/>
                    </a:lnTo>
                    <a:lnTo>
                      <a:pt x="936" y="125"/>
                    </a:lnTo>
                    <a:lnTo>
                      <a:pt x="941" y="125"/>
                    </a:lnTo>
                    <a:lnTo>
                      <a:pt x="943" y="125"/>
                    </a:lnTo>
                    <a:lnTo>
                      <a:pt x="948" y="125"/>
                    </a:lnTo>
                    <a:lnTo>
                      <a:pt x="950" y="125"/>
                    </a:lnTo>
                    <a:lnTo>
                      <a:pt x="950" y="125"/>
                    </a:lnTo>
                    <a:lnTo>
                      <a:pt x="950" y="125"/>
                    </a:lnTo>
                    <a:lnTo>
                      <a:pt x="953" y="123"/>
                    </a:lnTo>
                    <a:lnTo>
                      <a:pt x="953" y="123"/>
                    </a:lnTo>
                    <a:lnTo>
                      <a:pt x="953" y="123"/>
                    </a:lnTo>
                    <a:lnTo>
                      <a:pt x="955" y="123"/>
                    </a:lnTo>
                    <a:lnTo>
                      <a:pt x="955" y="121"/>
                    </a:lnTo>
                    <a:lnTo>
                      <a:pt x="955" y="121"/>
                    </a:lnTo>
                    <a:lnTo>
                      <a:pt x="958" y="118"/>
                    </a:lnTo>
                    <a:lnTo>
                      <a:pt x="958" y="118"/>
                    </a:lnTo>
                    <a:lnTo>
                      <a:pt x="958" y="118"/>
                    </a:lnTo>
                    <a:lnTo>
                      <a:pt x="960" y="118"/>
                    </a:lnTo>
                    <a:lnTo>
                      <a:pt x="960" y="116"/>
                    </a:lnTo>
                    <a:lnTo>
                      <a:pt x="960" y="116"/>
                    </a:lnTo>
                    <a:lnTo>
                      <a:pt x="960" y="113"/>
                    </a:lnTo>
                    <a:lnTo>
                      <a:pt x="960" y="113"/>
                    </a:lnTo>
                    <a:lnTo>
                      <a:pt x="958" y="111"/>
                    </a:lnTo>
                    <a:lnTo>
                      <a:pt x="958" y="109"/>
                    </a:lnTo>
                    <a:lnTo>
                      <a:pt x="955" y="109"/>
                    </a:lnTo>
                    <a:lnTo>
                      <a:pt x="953" y="109"/>
                    </a:lnTo>
                    <a:lnTo>
                      <a:pt x="950" y="109"/>
                    </a:lnTo>
                    <a:lnTo>
                      <a:pt x="941" y="111"/>
                    </a:lnTo>
                    <a:lnTo>
                      <a:pt x="936" y="111"/>
                    </a:lnTo>
                    <a:lnTo>
                      <a:pt x="934" y="113"/>
                    </a:lnTo>
                    <a:lnTo>
                      <a:pt x="932" y="113"/>
                    </a:lnTo>
                    <a:lnTo>
                      <a:pt x="929" y="116"/>
                    </a:lnTo>
                    <a:lnTo>
                      <a:pt x="929" y="116"/>
                    </a:lnTo>
                    <a:lnTo>
                      <a:pt x="927" y="116"/>
                    </a:lnTo>
                    <a:lnTo>
                      <a:pt x="924" y="116"/>
                    </a:lnTo>
                    <a:lnTo>
                      <a:pt x="920" y="118"/>
                    </a:lnTo>
                    <a:lnTo>
                      <a:pt x="920" y="118"/>
                    </a:lnTo>
                    <a:close/>
                    <a:moveTo>
                      <a:pt x="924" y="113"/>
                    </a:moveTo>
                    <a:lnTo>
                      <a:pt x="924" y="113"/>
                    </a:lnTo>
                    <a:lnTo>
                      <a:pt x="927" y="113"/>
                    </a:lnTo>
                    <a:lnTo>
                      <a:pt x="929" y="111"/>
                    </a:lnTo>
                    <a:lnTo>
                      <a:pt x="932" y="111"/>
                    </a:lnTo>
                    <a:lnTo>
                      <a:pt x="932" y="111"/>
                    </a:lnTo>
                    <a:lnTo>
                      <a:pt x="934" y="111"/>
                    </a:lnTo>
                    <a:lnTo>
                      <a:pt x="934" y="111"/>
                    </a:lnTo>
                    <a:lnTo>
                      <a:pt x="936" y="111"/>
                    </a:lnTo>
                    <a:lnTo>
                      <a:pt x="936" y="111"/>
                    </a:lnTo>
                    <a:lnTo>
                      <a:pt x="936" y="111"/>
                    </a:lnTo>
                    <a:lnTo>
                      <a:pt x="936" y="109"/>
                    </a:lnTo>
                    <a:lnTo>
                      <a:pt x="934" y="109"/>
                    </a:lnTo>
                    <a:lnTo>
                      <a:pt x="934" y="109"/>
                    </a:lnTo>
                    <a:lnTo>
                      <a:pt x="934" y="109"/>
                    </a:lnTo>
                    <a:lnTo>
                      <a:pt x="932" y="109"/>
                    </a:lnTo>
                    <a:lnTo>
                      <a:pt x="932" y="111"/>
                    </a:lnTo>
                    <a:lnTo>
                      <a:pt x="924" y="111"/>
                    </a:lnTo>
                    <a:lnTo>
                      <a:pt x="924" y="111"/>
                    </a:lnTo>
                    <a:lnTo>
                      <a:pt x="922" y="111"/>
                    </a:lnTo>
                    <a:lnTo>
                      <a:pt x="922" y="113"/>
                    </a:lnTo>
                    <a:lnTo>
                      <a:pt x="922" y="113"/>
                    </a:lnTo>
                    <a:lnTo>
                      <a:pt x="922" y="113"/>
                    </a:lnTo>
                    <a:lnTo>
                      <a:pt x="924" y="113"/>
                    </a:lnTo>
                    <a:close/>
                    <a:moveTo>
                      <a:pt x="998" y="76"/>
                    </a:moveTo>
                    <a:lnTo>
                      <a:pt x="995" y="76"/>
                    </a:lnTo>
                    <a:lnTo>
                      <a:pt x="991" y="76"/>
                    </a:lnTo>
                    <a:lnTo>
                      <a:pt x="988" y="76"/>
                    </a:lnTo>
                    <a:lnTo>
                      <a:pt x="986" y="76"/>
                    </a:lnTo>
                    <a:lnTo>
                      <a:pt x="979" y="76"/>
                    </a:lnTo>
                    <a:lnTo>
                      <a:pt x="979" y="76"/>
                    </a:lnTo>
                    <a:lnTo>
                      <a:pt x="976" y="76"/>
                    </a:lnTo>
                    <a:lnTo>
                      <a:pt x="976" y="78"/>
                    </a:lnTo>
                    <a:lnTo>
                      <a:pt x="976" y="78"/>
                    </a:lnTo>
                    <a:lnTo>
                      <a:pt x="976" y="80"/>
                    </a:lnTo>
                    <a:lnTo>
                      <a:pt x="976" y="80"/>
                    </a:lnTo>
                    <a:lnTo>
                      <a:pt x="995" y="80"/>
                    </a:lnTo>
                    <a:lnTo>
                      <a:pt x="1002" y="80"/>
                    </a:lnTo>
                    <a:lnTo>
                      <a:pt x="1002" y="80"/>
                    </a:lnTo>
                    <a:lnTo>
                      <a:pt x="1005" y="80"/>
                    </a:lnTo>
                    <a:lnTo>
                      <a:pt x="1007" y="80"/>
                    </a:lnTo>
                    <a:lnTo>
                      <a:pt x="1012" y="78"/>
                    </a:lnTo>
                    <a:lnTo>
                      <a:pt x="1014" y="76"/>
                    </a:lnTo>
                    <a:lnTo>
                      <a:pt x="1014" y="76"/>
                    </a:lnTo>
                    <a:lnTo>
                      <a:pt x="1014" y="76"/>
                    </a:lnTo>
                    <a:lnTo>
                      <a:pt x="1012" y="76"/>
                    </a:lnTo>
                    <a:lnTo>
                      <a:pt x="1012" y="76"/>
                    </a:lnTo>
                    <a:lnTo>
                      <a:pt x="1005" y="76"/>
                    </a:lnTo>
                    <a:lnTo>
                      <a:pt x="998" y="76"/>
                    </a:lnTo>
                    <a:close/>
                    <a:moveTo>
                      <a:pt x="1142" y="149"/>
                    </a:moveTo>
                    <a:lnTo>
                      <a:pt x="1140" y="149"/>
                    </a:lnTo>
                    <a:lnTo>
                      <a:pt x="1137" y="147"/>
                    </a:lnTo>
                    <a:lnTo>
                      <a:pt x="1137" y="147"/>
                    </a:lnTo>
                    <a:lnTo>
                      <a:pt x="1137" y="147"/>
                    </a:lnTo>
                    <a:lnTo>
                      <a:pt x="1137" y="144"/>
                    </a:lnTo>
                    <a:lnTo>
                      <a:pt x="1137" y="144"/>
                    </a:lnTo>
                    <a:lnTo>
                      <a:pt x="1130" y="142"/>
                    </a:lnTo>
                    <a:lnTo>
                      <a:pt x="1126" y="142"/>
                    </a:lnTo>
                    <a:lnTo>
                      <a:pt x="1111" y="142"/>
                    </a:lnTo>
                    <a:lnTo>
                      <a:pt x="1111" y="142"/>
                    </a:lnTo>
                    <a:lnTo>
                      <a:pt x="1107" y="142"/>
                    </a:lnTo>
                    <a:lnTo>
                      <a:pt x="1104" y="142"/>
                    </a:lnTo>
                    <a:lnTo>
                      <a:pt x="1102" y="139"/>
                    </a:lnTo>
                    <a:lnTo>
                      <a:pt x="1099" y="139"/>
                    </a:lnTo>
                    <a:lnTo>
                      <a:pt x="1097" y="139"/>
                    </a:lnTo>
                    <a:lnTo>
                      <a:pt x="1095" y="139"/>
                    </a:lnTo>
                    <a:lnTo>
                      <a:pt x="1095" y="142"/>
                    </a:lnTo>
                    <a:lnTo>
                      <a:pt x="1095" y="142"/>
                    </a:lnTo>
                    <a:lnTo>
                      <a:pt x="1092" y="144"/>
                    </a:lnTo>
                    <a:lnTo>
                      <a:pt x="1092" y="144"/>
                    </a:lnTo>
                    <a:lnTo>
                      <a:pt x="1092" y="144"/>
                    </a:lnTo>
                    <a:lnTo>
                      <a:pt x="1092" y="144"/>
                    </a:lnTo>
                    <a:lnTo>
                      <a:pt x="1092" y="144"/>
                    </a:lnTo>
                    <a:lnTo>
                      <a:pt x="1090" y="147"/>
                    </a:lnTo>
                    <a:lnTo>
                      <a:pt x="1090" y="147"/>
                    </a:lnTo>
                    <a:lnTo>
                      <a:pt x="1090" y="147"/>
                    </a:lnTo>
                    <a:lnTo>
                      <a:pt x="1090" y="149"/>
                    </a:lnTo>
                    <a:lnTo>
                      <a:pt x="1090" y="149"/>
                    </a:lnTo>
                    <a:lnTo>
                      <a:pt x="1095" y="149"/>
                    </a:lnTo>
                    <a:lnTo>
                      <a:pt x="1095" y="149"/>
                    </a:lnTo>
                    <a:lnTo>
                      <a:pt x="1095" y="151"/>
                    </a:lnTo>
                    <a:lnTo>
                      <a:pt x="1095" y="151"/>
                    </a:lnTo>
                    <a:lnTo>
                      <a:pt x="1092" y="154"/>
                    </a:lnTo>
                    <a:lnTo>
                      <a:pt x="1092" y="156"/>
                    </a:lnTo>
                    <a:lnTo>
                      <a:pt x="1092" y="156"/>
                    </a:lnTo>
                    <a:lnTo>
                      <a:pt x="1095" y="156"/>
                    </a:lnTo>
                    <a:lnTo>
                      <a:pt x="1097" y="158"/>
                    </a:lnTo>
                    <a:lnTo>
                      <a:pt x="1099" y="158"/>
                    </a:lnTo>
                    <a:lnTo>
                      <a:pt x="1102" y="156"/>
                    </a:lnTo>
                    <a:lnTo>
                      <a:pt x="1111" y="156"/>
                    </a:lnTo>
                    <a:lnTo>
                      <a:pt x="1114" y="156"/>
                    </a:lnTo>
                    <a:lnTo>
                      <a:pt x="1121" y="156"/>
                    </a:lnTo>
                    <a:lnTo>
                      <a:pt x="1130" y="156"/>
                    </a:lnTo>
                    <a:lnTo>
                      <a:pt x="1137" y="156"/>
                    </a:lnTo>
                    <a:lnTo>
                      <a:pt x="1142" y="156"/>
                    </a:lnTo>
                    <a:lnTo>
                      <a:pt x="1142" y="156"/>
                    </a:lnTo>
                    <a:lnTo>
                      <a:pt x="1142" y="154"/>
                    </a:lnTo>
                    <a:lnTo>
                      <a:pt x="1142" y="154"/>
                    </a:lnTo>
                    <a:lnTo>
                      <a:pt x="1142" y="154"/>
                    </a:lnTo>
                    <a:lnTo>
                      <a:pt x="1144" y="151"/>
                    </a:lnTo>
                    <a:lnTo>
                      <a:pt x="1142" y="151"/>
                    </a:lnTo>
                    <a:lnTo>
                      <a:pt x="1142" y="151"/>
                    </a:lnTo>
                    <a:lnTo>
                      <a:pt x="1142" y="151"/>
                    </a:lnTo>
                    <a:lnTo>
                      <a:pt x="1142" y="149"/>
                    </a:lnTo>
                    <a:lnTo>
                      <a:pt x="1142" y="149"/>
                    </a:lnTo>
                    <a:close/>
                    <a:moveTo>
                      <a:pt x="1043" y="83"/>
                    </a:moveTo>
                    <a:lnTo>
                      <a:pt x="1047" y="83"/>
                    </a:lnTo>
                    <a:lnTo>
                      <a:pt x="1047" y="83"/>
                    </a:lnTo>
                    <a:lnTo>
                      <a:pt x="1050" y="83"/>
                    </a:lnTo>
                    <a:lnTo>
                      <a:pt x="1050" y="83"/>
                    </a:lnTo>
                    <a:lnTo>
                      <a:pt x="1050" y="80"/>
                    </a:lnTo>
                    <a:lnTo>
                      <a:pt x="1052" y="80"/>
                    </a:lnTo>
                    <a:lnTo>
                      <a:pt x="1050" y="80"/>
                    </a:lnTo>
                    <a:lnTo>
                      <a:pt x="1050" y="78"/>
                    </a:lnTo>
                    <a:lnTo>
                      <a:pt x="1047" y="78"/>
                    </a:lnTo>
                    <a:lnTo>
                      <a:pt x="1045" y="78"/>
                    </a:lnTo>
                    <a:lnTo>
                      <a:pt x="1043" y="78"/>
                    </a:lnTo>
                    <a:lnTo>
                      <a:pt x="1040" y="78"/>
                    </a:lnTo>
                    <a:lnTo>
                      <a:pt x="1038" y="78"/>
                    </a:lnTo>
                    <a:lnTo>
                      <a:pt x="1038" y="78"/>
                    </a:lnTo>
                    <a:lnTo>
                      <a:pt x="1036" y="78"/>
                    </a:lnTo>
                    <a:lnTo>
                      <a:pt x="1036" y="80"/>
                    </a:lnTo>
                    <a:lnTo>
                      <a:pt x="1033" y="80"/>
                    </a:lnTo>
                    <a:lnTo>
                      <a:pt x="1033" y="80"/>
                    </a:lnTo>
                    <a:lnTo>
                      <a:pt x="1033" y="83"/>
                    </a:lnTo>
                    <a:lnTo>
                      <a:pt x="1040" y="83"/>
                    </a:lnTo>
                    <a:lnTo>
                      <a:pt x="1043" y="83"/>
                    </a:lnTo>
                    <a:close/>
                    <a:moveTo>
                      <a:pt x="1040" y="47"/>
                    </a:moveTo>
                    <a:lnTo>
                      <a:pt x="1029" y="47"/>
                    </a:lnTo>
                    <a:lnTo>
                      <a:pt x="1024" y="47"/>
                    </a:lnTo>
                    <a:lnTo>
                      <a:pt x="1024" y="49"/>
                    </a:lnTo>
                    <a:lnTo>
                      <a:pt x="1019" y="49"/>
                    </a:lnTo>
                    <a:lnTo>
                      <a:pt x="1021" y="49"/>
                    </a:lnTo>
                    <a:lnTo>
                      <a:pt x="1024" y="52"/>
                    </a:lnTo>
                    <a:lnTo>
                      <a:pt x="1024" y="52"/>
                    </a:lnTo>
                    <a:lnTo>
                      <a:pt x="1026" y="52"/>
                    </a:lnTo>
                    <a:lnTo>
                      <a:pt x="1029" y="52"/>
                    </a:lnTo>
                    <a:lnTo>
                      <a:pt x="1036" y="49"/>
                    </a:lnTo>
                    <a:lnTo>
                      <a:pt x="1036" y="49"/>
                    </a:lnTo>
                    <a:lnTo>
                      <a:pt x="1038" y="49"/>
                    </a:lnTo>
                    <a:lnTo>
                      <a:pt x="1040" y="49"/>
                    </a:lnTo>
                    <a:lnTo>
                      <a:pt x="1040" y="49"/>
                    </a:lnTo>
                    <a:lnTo>
                      <a:pt x="1038" y="52"/>
                    </a:lnTo>
                    <a:lnTo>
                      <a:pt x="1038" y="52"/>
                    </a:lnTo>
                    <a:lnTo>
                      <a:pt x="1038" y="52"/>
                    </a:lnTo>
                    <a:lnTo>
                      <a:pt x="1038" y="52"/>
                    </a:lnTo>
                    <a:lnTo>
                      <a:pt x="1038" y="52"/>
                    </a:lnTo>
                    <a:lnTo>
                      <a:pt x="1045" y="52"/>
                    </a:lnTo>
                    <a:lnTo>
                      <a:pt x="1047" y="52"/>
                    </a:lnTo>
                    <a:lnTo>
                      <a:pt x="1052" y="49"/>
                    </a:lnTo>
                    <a:lnTo>
                      <a:pt x="1055" y="49"/>
                    </a:lnTo>
                    <a:lnTo>
                      <a:pt x="1057" y="49"/>
                    </a:lnTo>
                    <a:lnTo>
                      <a:pt x="1059" y="49"/>
                    </a:lnTo>
                    <a:lnTo>
                      <a:pt x="1059" y="49"/>
                    </a:lnTo>
                    <a:lnTo>
                      <a:pt x="1066" y="52"/>
                    </a:lnTo>
                    <a:lnTo>
                      <a:pt x="1071" y="49"/>
                    </a:lnTo>
                    <a:lnTo>
                      <a:pt x="1071" y="52"/>
                    </a:lnTo>
                    <a:lnTo>
                      <a:pt x="1064" y="52"/>
                    </a:lnTo>
                    <a:lnTo>
                      <a:pt x="1055" y="52"/>
                    </a:lnTo>
                    <a:lnTo>
                      <a:pt x="1052" y="54"/>
                    </a:lnTo>
                    <a:lnTo>
                      <a:pt x="1050" y="54"/>
                    </a:lnTo>
                    <a:lnTo>
                      <a:pt x="1045" y="54"/>
                    </a:lnTo>
                    <a:lnTo>
                      <a:pt x="1043" y="54"/>
                    </a:lnTo>
                    <a:lnTo>
                      <a:pt x="1033" y="57"/>
                    </a:lnTo>
                    <a:lnTo>
                      <a:pt x="1031" y="57"/>
                    </a:lnTo>
                    <a:lnTo>
                      <a:pt x="1029" y="57"/>
                    </a:lnTo>
                    <a:lnTo>
                      <a:pt x="1029" y="57"/>
                    </a:lnTo>
                    <a:lnTo>
                      <a:pt x="1029" y="57"/>
                    </a:lnTo>
                    <a:lnTo>
                      <a:pt x="1031" y="59"/>
                    </a:lnTo>
                    <a:lnTo>
                      <a:pt x="1036" y="59"/>
                    </a:lnTo>
                    <a:lnTo>
                      <a:pt x="1038" y="59"/>
                    </a:lnTo>
                    <a:lnTo>
                      <a:pt x="1036" y="59"/>
                    </a:lnTo>
                    <a:lnTo>
                      <a:pt x="1033" y="59"/>
                    </a:lnTo>
                    <a:lnTo>
                      <a:pt x="1031" y="59"/>
                    </a:lnTo>
                    <a:lnTo>
                      <a:pt x="1031" y="59"/>
                    </a:lnTo>
                    <a:lnTo>
                      <a:pt x="1031" y="61"/>
                    </a:lnTo>
                    <a:lnTo>
                      <a:pt x="1031" y="61"/>
                    </a:lnTo>
                    <a:lnTo>
                      <a:pt x="1033" y="61"/>
                    </a:lnTo>
                    <a:lnTo>
                      <a:pt x="1033" y="61"/>
                    </a:lnTo>
                    <a:lnTo>
                      <a:pt x="1036" y="61"/>
                    </a:lnTo>
                    <a:lnTo>
                      <a:pt x="1038" y="61"/>
                    </a:lnTo>
                    <a:lnTo>
                      <a:pt x="1047" y="64"/>
                    </a:lnTo>
                    <a:lnTo>
                      <a:pt x="1047" y="64"/>
                    </a:lnTo>
                    <a:lnTo>
                      <a:pt x="1043" y="64"/>
                    </a:lnTo>
                    <a:lnTo>
                      <a:pt x="1036" y="64"/>
                    </a:lnTo>
                    <a:lnTo>
                      <a:pt x="1033" y="64"/>
                    </a:lnTo>
                    <a:lnTo>
                      <a:pt x="1033" y="64"/>
                    </a:lnTo>
                    <a:lnTo>
                      <a:pt x="1036" y="66"/>
                    </a:lnTo>
                    <a:lnTo>
                      <a:pt x="1038" y="66"/>
                    </a:lnTo>
                    <a:lnTo>
                      <a:pt x="1040" y="68"/>
                    </a:lnTo>
                    <a:lnTo>
                      <a:pt x="1045" y="68"/>
                    </a:lnTo>
                    <a:lnTo>
                      <a:pt x="1052" y="68"/>
                    </a:lnTo>
                    <a:lnTo>
                      <a:pt x="1055" y="68"/>
                    </a:lnTo>
                    <a:lnTo>
                      <a:pt x="1057" y="68"/>
                    </a:lnTo>
                    <a:lnTo>
                      <a:pt x="1059" y="68"/>
                    </a:lnTo>
                    <a:lnTo>
                      <a:pt x="1059" y="68"/>
                    </a:lnTo>
                    <a:lnTo>
                      <a:pt x="1059" y="68"/>
                    </a:lnTo>
                    <a:lnTo>
                      <a:pt x="1059" y="68"/>
                    </a:lnTo>
                    <a:lnTo>
                      <a:pt x="1057" y="66"/>
                    </a:lnTo>
                    <a:lnTo>
                      <a:pt x="1057" y="66"/>
                    </a:lnTo>
                    <a:lnTo>
                      <a:pt x="1059" y="66"/>
                    </a:lnTo>
                    <a:lnTo>
                      <a:pt x="1062" y="66"/>
                    </a:lnTo>
                    <a:lnTo>
                      <a:pt x="1064" y="66"/>
                    </a:lnTo>
                    <a:lnTo>
                      <a:pt x="1064" y="66"/>
                    </a:lnTo>
                    <a:lnTo>
                      <a:pt x="1064" y="68"/>
                    </a:lnTo>
                    <a:lnTo>
                      <a:pt x="1066" y="68"/>
                    </a:lnTo>
                    <a:lnTo>
                      <a:pt x="1066" y="68"/>
                    </a:lnTo>
                    <a:lnTo>
                      <a:pt x="1066" y="68"/>
                    </a:lnTo>
                    <a:lnTo>
                      <a:pt x="1069" y="68"/>
                    </a:lnTo>
                    <a:lnTo>
                      <a:pt x="1069" y="68"/>
                    </a:lnTo>
                    <a:lnTo>
                      <a:pt x="1069" y="68"/>
                    </a:lnTo>
                    <a:lnTo>
                      <a:pt x="1069" y="66"/>
                    </a:lnTo>
                    <a:lnTo>
                      <a:pt x="1069" y="66"/>
                    </a:lnTo>
                    <a:lnTo>
                      <a:pt x="1069" y="64"/>
                    </a:lnTo>
                    <a:lnTo>
                      <a:pt x="1069" y="64"/>
                    </a:lnTo>
                    <a:lnTo>
                      <a:pt x="1071" y="61"/>
                    </a:lnTo>
                    <a:lnTo>
                      <a:pt x="1071" y="61"/>
                    </a:lnTo>
                    <a:lnTo>
                      <a:pt x="1071" y="64"/>
                    </a:lnTo>
                    <a:lnTo>
                      <a:pt x="1071" y="64"/>
                    </a:lnTo>
                    <a:lnTo>
                      <a:pt x="1073" y="66"/>
                    </a:lnTo>
                    <a:lnTo>
                      <a:pt x="1073" y="68"/>
                    </a:lnTo>
                    <a:lnTo>
                      <a:pt x="1076" y="68"/>
                    </a:lnTo>
                    <a:lnTo>
                      <a:pt x="1076" y="68"/>
                    </a:lnTo>
                    <a:lnTo>
                      <a:pt x="1078" y="68"/>
                    </a:lnTo>
                    <a:lnTo>
                      <a:pt x="1078" y="68"/>
                    </a:lnTo>
                    <a:lnTo>
                      <a:pt x="1083" y="66"/>
                    </a:lnTo>
                    <a:lnTo>
                      <a:pt x="1083" y="66"/>
                    </a:lnTo>
                    <a:lnTo>
                      <a:pt x="1085" y="64"/>
                    </a:lnTo>
                    <a:lnTo>
                      <a:pt x="1085" y="64"/>
                    </a:lnTo>
                    <a:lnTo>
                      <a:pt x="1085" y="61"/>
                    </a:lnTo>
                    <a:lnTo>
                      <a:pt x="1085" y="61"/>
                    </a:lnTo>
                    <a:lnTo>
                      <a:pt x="1088" y="61"/>
                    </a:lnTo>
                    <a:lnTo>
                      <a:pt x="1090" y="64"/>
                    </a:lnTo>
                    <a:lnTo>
                      <a:pt x="1090" y="64"/>
                    </a:lnTo>
                    <a:lnTo>
                      <a:pt x="1092" y="64"/>
                    </a:lnTo>
                    <a:lnTo>
                      <a:pt x="1095" y="64"/>
                    </a:lnTo>
                    <a:lnTo>
                      <a:pt x="1095" y="64"/>
                    </a:lnTo>
                    <a:lnTo>
                      <a:pt x="1095" y="61"/>
                    </a:lnTo>
                    <a:lnTo>
                      <a:pt x="1095" y="61"/>
                    </a:lnTo>
                    <a:lnTo>
                      <a:pt x="1095" y="61"/>
                    </a:lnTo>
                    <a:lnTo>
                      <a:pt x="1092" y="61"/>
                    </a:lnTo>
                    <a:lnTo>
                      <a:pt x="1092" y="61"/>
                    </a:lnTo>
                    <a:lnTo>
                      <a:pt x="1095" y="61"/>
                    </a:lnTo>
                    <a:lnTo>
                      <a:pt x="1095" y="59"/>
                    </a:lnTo>
                    <a:lnTo>
                      <a:pt x="1097" y="59"/>
                    </a:lnTo>
                    <a:lnTo>
                      <a:pt x="1099" y="57"/>
                    </a:lnTo>
                    <a:lnTo>
                      <a:pt x="1102" y="57"/>
                    </a:lnTo>
                    <a:lnTo>
                      <a:pt x="1102" y="57"/>
                    </a:lnTo>
                    <a:lnTo>
                      <a:pt x="1104" y="57"/>
                    </a:lnTo>
                    <a:lnTo>
                      <a:pt x="1107" y="57"/>
                    </a:lnTo>
                    <a:lnTo>
                      <a:pt x="1107" y="57"/>
                    </a:lnTo>
                    <a:lnTo>
                      <a:pt x="1102" y="57"/>
                    </a:lnTo>
                    <a:lnTo>
                      <a:pt x="1102" y="57"/>
                    </a:lnTo>
                    <a:lnTo>
                      <a:pt x="1102" y="59"/>
                    </a:lnTo>
                    <a:lnTo>
                      <a:pt x="1099" y="59"/>
                    </a:lnTo>
                    <a:lnTo>
                      <a:pt x="1099" y="59"/>
                    </a:lnTo>
                    <a:lnTo>
                      <a:pt x="1099" y="61"/>
                    </a:lnTo>
                    <a:lnTo>
                      <a:pt x="1102" y="61"/>
                    </a:lnTo>
                    <a:lnTo>
                      <a:pt x="1104" y="61"/>
                    </a:lnTo>
                    <a:lnTo>
                      <a:pt x="1109" y="59"/>
                    </a:lnTo>
                    <a:lnTo>
                      <a:pt x="1111" y="59"/>
                    </a:lnTo>
                    <a:lnTo>
                      <a:pt x="1111" y="57"/>
                    </a:lnTo>
                    <a:lnTo>
                      <a:pt x="1114" y="57"/>
                    </a:lnTo>
                    <a:lnTo>
                      <a:pt x="1116" y="57"/>
                    </a:lnTo>
                    <a:lnTo>
                      <a:pt x="1116" y="57"/>
                    </a:lnTo>
                    <a:lnTo>
                      <a:pt x="1118" y="57"/>
                    </a:lnTo>
                    <a:lnTo>
                      <a:pt x="1121" y="57"/>
                    </a:lnTo>
                    <a:lnTo>
                      <a:pt x="1128" y="54"/>
                    </a:lnTo>
                    <a:lnTo>
                      <a:pt x="1137" y="54"/>
                    </a:lnTo>
                    <a:lnTo>
                      <a:pt x="1140" y="52"/>
                    </a:lnTo>
                    <a:lnTo>
                      <a:pt x="1142" y="52"/>
                    </a:lnTo>
                    <a:lnTo>
                      <a:pt x="1144" y="52"/>
                    </a:lnTo>
                    <a:lnTo>
                      <a:pt x="1142" y="49"/>
                    </a:lnTo>
                    <a:lnTo>
                      <a:pt x="1142" y="49"/>
                    </a:lnTo>
                    <a:lnTo>
                      <a:pt x="1142" y="47"/>
                    </a:lnTo>
                    <a:lnTo>
                      <a:pt x="1142" y="47"/>
                    </a:lnTo>
                    <a:lnTo>
                      <a:pt x="1140" y="47"/>
                    </a:lnTo>
                    <a:lnTo>
                      <a:pt x="1140" y="47"/>
                    </a:lnTo>
                    <a:lnTo>
                      <a:pt x="1135" y="49"/>
                    </a:lnTo>
                    <a:lnTo>
                      <a:pt x="1135" y="49"/>
                    </a:lnTo>
                    <a:lnTo>
                      <a:pt x="1135" y="47"/>
                    </a:lnTo>
                    <a:lnTo>
                      <a:pt x="1135" y="47"/>
                    </a:lnTo>
                    <a:lnTo>
                      <a:pt x="1135" y="47"/>
                    </a:lnTo>
                    <a:lnTo>
                      <a:pt x="1135" y="47"/>
                    </a:lnTo>
                    <a:lnTo>
                      <a:pt x="1130" y="47"/>
                    </a:lnTo>
                    <a:lnTo>
                      <a:pt x="1128" y="47"/>
                    </a:lnTo>
                    <a:lnTo>
                      <a:pt x="1126" y="47"/>
                    </a:lnTo>
                    <a:lnTo>
                      <a:pt x="1123" y="47"/>
                    </a:lnTo>
                    <a:lnTo>
                      <a:pt x="1123" y="47"/>
                    </a:lnTo>
                    <a:lnTo>
                      <a:pt x="1123" y="47"/>
                    </a:lnTo>
                    <a:lnTo>
                      <a:pt x="1126" y="47"/>
                    </a:lnTo>
                    <a:lnTo>
                      <a:pt x="1130" y="45"/>
                    </a:lnTo>
                    <a:lnTo>
                      <a:pt x="1133" y="42"/>
                    </a:lnTo>
                    <a:lnTo>
                      <a:pt x="1133" y="42"/>
                    </a:lnTo>
                    <a:lnTo>
                      <a:pt x="1133" y="40"/>
                    </a:lnTo>
                    <a:lnTo>
                      <a:pt x="1130" y="40"/>
                    </a:lnTo>
                    <a:lnTo>
                      <a:pt x="1128" y="40"/>
                    </a:lnTo>
                    <a:lnTo>
                      <a:pt x="1126" y="40"/>
                    </a:lnTo>
                    <a:lnTo>
                      <a:pt x="1126" y="40"/>
                    </a:lnTo>
                    <a:lnTo>
                      <a:pt x="1126" y="40"/>
                    </a:lnTo>
                    <a:lnTo>
                      <a:pt x="1130" y="40"/>
                    </a:lnTo>
                    <a:lnTo>
                      <a:pt x="1130" y="38"/>
                    </a:lnTo>
                    <a:lnTo>
                      <a:pt x="1133" y="38"/>
                    </a:lnTo>
                    <a:lnTo>
                      <a:pt x="1133" y="38"/>
                    </a:lnTo>
                    <a:lnTo>
                      <a:pt x="1133" y="35"/>
                    </a:lnTo>
                    <a:lnTo>
                      <a:pt x="1130" y="35"/>
                    </a:lnTo>
                    <a:lnTo>
                      <a:pt x="1128" y="35"/>
                    </a:lnTo>
                    <a:lnTo>
                      <a:pt x="1126" y="35"/>
                    </a:lnTo>
                    <a:lnTo>
                      <a:pt x="1123" y="35"/>
                    </a:lnTo>
                    <a:lnTo>
                      <a:pt x="1121" y="35"/>
                    </a:lnTo>
                    <a:lnTo>
                      <a:pt x="1121" y="38"/>
                    </a:lnTo>
                    <a:lnTo>
                      <a:pt x="1121" y="38"/>
                    </a:lnTo>
                    <a:lnTo>
                      <a:pt x="1121" y="38"/>
                    </a:lnTo>
                    <a:lnTo>
                      <a:pt x="1121" y="38"/>
                    </a:lnTo>
                    <a:lnTo>
                      <a:pt x="1123" y="40"/>
                    </a:lnTo>
                    <a:lnTo>
                      <a:pt x="1123" y="40"/>
                    </a:lnTo>
                    <a:lnTo>
                      <a:pt x="1121" y="40"/>
                    </a:lnTo>
                    <a:lnTo>
                      <a:pt x="1121" y="40"/>
                    </a:lnTo>
                    <a:lnTo>
                      <a:pt x="1118" y="40"/>
                    </a:lnTo>
                    <a:lnTo>
                      <a:pt x="1116" y="40"/>
                    </a:lnTo>
                    <a:lnTo>
                      <a:pt x="1114" y="38"/>
                    </a:lnTo>
                    <a:lnTo>
                      <a:pt x="1114" y="38"/>
                    </a:lnTo>
                    <a:lnTo>
                      <a:pt x="1114" y="38"/>
                    </a:lnTo>
                    <a:lnTo>
                      <a:pt x="1116" y="35"/>
                    </a:lnTo>
                    <a:lnTo>
                      <a:pt x="1116" y="35"/>
                    </a:lnTo>
                    <a:lnTo>
                      <a:pt x="1116" y="35"/>
                    </a:lnTo>
                    <a:lnTo>
                      <a:pt x="1116" y="35"/>
                    </a:lnTo>
                    <a:lnTo>
                      <a:pt x="1118" y="35"/>
                    </a:lnTo>
                    <a:lnTo>
                      <a:pt x="1118" y="35"/>
                    </a:lnTo>
                    <a:lnTo>
                      <a:pt x="1118" y="35"/>
                    </a:lnTo>
                    <a:lnTo>
                      <a:pt x="1118" y="35"/>
                    </a:lnTo>
                    <a:lnTo>
                      <a:pt x="1116" y="33"/>
                    </a:lnTo>
                    <a:lnTo>
                      <a:pt x="1114" y="33"/>
                    </a:lnTo>
                    <a:lnTo>
                      <a:pt x="1114" y="33"/>
                    </a:lnTo>
                    <a:lnTo>
                      <a:pt x="1111" y="35"/>
                    </a:lnTo>
                    <a:lnTo>
                      <a:pt x="1109" y="35"/>
                    </a:lnTo>
                    <a:lnTo>
                      <a:pt x="1107" y="33"/>
                    </a:lnTo>
                    <a:lnTo>
                      <a:pt x="1104" y="33"/>
                    </a:lnTo>
                    <a:lnTo>
                      <a:pt x="1102" y="33"/>
                    </a:lnTo>
                    <a:lnTo>
                      <a:pt x="1104" y="33"/>
                    </a:lnTo>
                    <a:lnTo>
                      <a:pt x="1104" y="33"/>
                    </a:lnTo>
                    <a:lnTo>
                      <a:pt x="1104" y="33"/>
                    </a:lnTo>
                    <a:lnTo>
                      <a:pt x="1102" y="31"/>
                    </a:lnTo>
                    <a:lnTo>
                      <a:pt x="1102" y="31"/>
                    </a:lnTo>
                    <a:lnTo>
                      <a:pt x="1099" y="26"/>
                    </a:lnTo>
                    <a:lnTo>
                      <a:pt x="1099" y="26"/>
                    </a:lnTo>
                    <a:lnTo>
                      <a:pt x="1099" y="26"/>
                    </a:lnTo>
                    <a:lnTo>
                      <a:pt x="1097" y="23"/>
                    </a:lnTo>
                    <a:lnTo>
                      <a:pt x="1097" y="23"/>
                    </a:lnTo>
                    <a:lnTo>
                      <a:pt x="1090" y="23"/>
                    </a:lnTo>
                    <a:lnTo>
                      <a:pt x="1088" y="23"/>
                    </a:lnTo>
                    <a:lnTo>
                      <a:pt x="1083" y="23"/>
                    </a:lnTo>
                    <a:lnTo>
                      <a:pt x="1078" y="23"/>
                    </a:lnTo>
                    <a:lnTo>
                      <a:pt x="1078" y="23"/>
                    </a:lnTo>
                    <a:lnTo>
                      <a:pt x="1076" y="23"/>
                    </a:lnTo>
                    <a:lnTo>
                      <a:pt x="1076" y="23"/>
                    </a:lnTo>
                    <a:lnTo>
                      <a:pt x="1076" y="23"/>
                    </a:lnTo>
                    <a:lnTo>
                      <a:pt x="1076" y="23"/>
                    </a:lnTo>
                    <a:lnTo>
                      <a:pt x="1076" y="23"/>
                    </a:lnTo>
                    <a:lnTo>
                      <a:pt x="1076" y="23"/>
                    </a:lnTo>
                    <a:lnTo>
                      <a:pt x="1078" y="26"/>
                    </a:lnTo>
                    <a:lnTo>
                      <a:pt x="1083" y="26"/>
                    </a:lnTo>
                    <a:lnTo>
                      <a:pt x="1085" y="26"/>
                    </a:lnTo>
                    <a:lnTo>
                      <a:pt x="1085" y="26"/>
                    </a:lnTo>
                    <a:lnTo>
                      <a:pt x="1083" y="26"/>
                    </a:lnTo>
                    <a:lnTo>
                      <a:pt x="1083" y="26"/>
                    </a:lnTo>
                    <a:lnTo>
                      <a:pt x="1081" y="26"/>
                    </a:lnTo>
                    <a:lnTo>
                      <a:pt x="1081" y="26"/>
                    </a:lnTo>
                    <a:lnTo>
                      <a:pt x="1076" y="26"/>
                    </a:lnTo>
                    <a:lnTo>
                      <a:pt x="1071" y="26"/>
                    </a:lnTo>
                    <a:lnTo>
                      <a:pt x="1066" y="28"/>
                    </a:lnTo>
                    <a:lnTo>
                      <a:pt x="1062" y="26"/>
                    </a:lnTo>
                    <a:lnTo>
                      <a:pt x="1059" y="28"/>
                    </a:lnTo>
                    <a:lnTo>
                      <a:pt x="1052" y="31"/>
                    </a:lnTo>
                    <a:lnTo>
                      <a:pt x="1052" y="31"/>
                    </a:lnTo>
                    <a:lnTo>
                      <a:pt x="1055" y="31"/>
                    </a:lnTo>
                    <a:lnTo>
                      <a:pt x="1059" y="31"/>
                    </a:lnTo>
                    <a:lnTo>
                      <a:pt x="1059" y="33"/>
                    </a:lnTo>
                    <a:lnTo>
                      <a:pt x="1062" y="33"/>
                    </a:lnTo>
                    <a:lnTo>
                      <a:pt x="1064" y="33"/>
                    </a:lnTo>
                    <a:lnTo>
                      <a:pt x="1064" y="33"/>
                    </a:lnTo>
                    <a:lnTo>
                      <a:pt x="1059" y="33"/>
                    </a:lnTo>
                    <a:lnTo>
                      <a:pt x="1055" y="33"/>
                    </a:lnTo>
                    <a:lnTo>
                      <a:pt x="1055" y="33"/>
                    </a:lnTo>
                    <a:lnTo>
                      <a:pt x="1055" y="33"/>
                    </a:lnTo>
                    <a:lnTo>
                      <a:pt x="1052" y="33"/>
                    </a:lnTo>
                    <a:lnTo>
                      <a:pt x="1050" y="33"/>
                    </a:lnTo>
                    <a:lnTo>
                      <a:pt x="1047" y="31"/>
                    </a:lnTo>
                    <a:lnTo>
                      <a:pt x="1045" y="31"/>
                    </a:lnTo>
                    <a:lnTo>
                      <a:pt x="1043" y="33"/>
                    </a:lnTo>
                    <a:lnTo>
                      <a:pt x="1038" y="33"/>
                    </a:lnTo>
                    <a:lnTo>
                      <a:pt x="1040" y="35"/>
                    </a:lnTo>
                    <a:lnTo>
                      <a:pt x="1043" y="35"/>
                    </a:lnTo>
                    <a:lnTo>
                      <a:pt x="1043" y="35"/>
                    </a:lnTo>
                    <a:lnTo>
                      <a:pt x="1040" y="35"/>
                    </a:lnTo>
                    <a:lnTo>
                      <a:pt x="1038" y="35"/>
                    </a:lnTo>
                    <a:lnTo>
                      <a:pt x="1036" y="35"/>
                    </a:lnTo>
                    <a:lnTo>
                      <a:pt x="1033" y="38"/>
                    </a:lnTo>
                    <a:lnTo>
                      <a:pt x="1031" y="38"/>
                    </a:lnTo>
                    <a:lnTo>
                      <a:pt x="1031" y="38"/>
                    </a:lnTo>
                    <a:lnTo>
                      <a:pt x="1031" y="38"/>
                    </a:lnTo>
                    <a:lnTo>
                      <a:pt x="1031" y="38"/>
                    </a:lnTo>
                    <a:lnTo>
                      <a:pt x="1031" y="38"/>
                    </a:lnTo>
                    <a:lnTo>
                      <a:pt x="1033" y="38"/>
                    </a:lnTo>
                    <a:lnTo>
                      <a:pt x="1036" y="38"/>
                    </a:lnTo>
                    <a:lnTo>
                      <a:pt x="1038" y="38"/>
                    </a:lnTo>
                    <a:lnTo>
                      <a:pt x="1038" y="40"/>
                    </a:lnTo>
                    <a:lnTo>
                      <a:pt x="1040" y="40"/>
                    </a:lnTo>
                    <a:lnTo>
                      <a:pt x="1050" y="38"/>
                    </a:lnTo>
                    <a:lnTo>
                      <a:pt x="1052" y="38"/>
                    </a:lnTo>
                    <a:lnTo>
                      <a:pt x="1052" y="40"/>
                    </a:lnTo>
                    <a:lnTo>
                      <a:pt x="1047" y="40"/>
                    </a:lnTo>
                    <a:lnTo>
                      <a:pt x="1047" y="40"/>
                    </a:lnTo>
                    <a:lnTo>
                      <a:pt x="1047" y="40"/>
                    </a:lnTo>
                    <a:lnTo>
                      <a:pt x="1047" y="40"/>
                    </a:lnTo>
                    <a:lnTo>
                      <a:pt x="1047" y="40"/>
                    </a:lnTo>
                    <a:lnTo>
                      <a:pt x="1045" y="40"/>
                    </a:lnTo>
                    <a:lnTo>
                      <a:pt x="1038" y="40"/>
                    </a:lnTo>
                    <a:lnTo>
                      <a:pt x="1033" y="40"/>
                    </a:lnTo>
                    <a:lnTo>
                      <a:pt x="1024" y="40"/>
                    </a:lnTo>
                    <a:lnTo>
                      <a:pt x="1021" y="40"/>
                    </a:lnTo>
                    <a:lnTo>
                      <a:pt x="1021" y="42"/>
                    </a:lnTo>
                    <a:lnTo>
                      <a:pt x="1021" y="42"/>
                    </a:lnTo>
                    <a:lnTo>
                      <a:pt x="1021" y="45"/>
                    </a:lnTo>
                    <a:lnTo>
                      <a:pt x="1024" y="45"/>
                    </a:lnTo>
                    <a:lnTo>
                      <a:pt x="1024" y="47"/>
                    </a:lnTo>
                    <a:lnTo>
                      <a:pt x="1026" y="47"/>
                    </a:lnTo>
                    <a:lnTo>
                      <a:pt x="1026" y="47"/>
                    </a:lnTo>
                    <a:lnTo>
                      <a:pt x="1031" y="47"/>
                    </a:lnTo>
                    <a:lnTo>
                      <a:pt x="1033" y="47"/>
                    </a:lnTo>
                    <a:lnTo>
                      <a:pt x="1040" y="45"/>
                    </a:lnTo>
                    <a:lnTo>
                      <a:pt x="1043" y="45"/>
                    </a:lnTo>
                    <a:lnTo>
                      <a:pt x="1040" y="47"/>
                    </a:lnTo>
                    <a:lnTo>
                      <a:pt x="1040" y="47"/>
                    </a:lnTo>
                    <a:close/>
                    <a:moveTo>
                      <a:pt x="1033" y="94"/>
                    </a:moveTo>
                    <a:lnTo>
                      <a:pt x="1033" y="92"/>
                    </a:lnTo>
                    <a:lnTo>
                      <a:pt x="1036" y="92"/>
                    </a:lnTo>
                    <a:lnTo>
                      <a:pt x="1038" y="92"/>
                    </a:lnTo>
                    <a:lnTo>
                      <a:pt x="1038" y="92"/>
                    </a:lnTo>
                    <a:lnTo>
                      <a:pt x="1038" y="92"/>
                    </a:lnTo>
                    <a:lnTo>
                      <a:pt x="1038" y="90"/>
                    </a:lnTo>
                    <a:lnTo>
                      <a:pt x="1038" y="90"/>
                    </a:lnTo>
                    <a:lnTo>
                      <a:pt x="1036" y="90"/>
                    </a:lnTo>
                    <a:lnTo>
                      <a:pt x="1033" y="90"/>
                    </a:lnTo>
                    <a:lnTo>
                      <a:pt x="1031" y="90"/>
                    </a:lnTo>
                    <a:lnTo>
                      <a:pt x="1029" y="90"/>
                    </a:lnTo>
                    <a:lnTo>
                      <a:pt x="1029" y="92"/>
                    </a:lnTo>
                    <a:lnTo>
                      <a:pt x="1026" y="92"/>
                    </a:lnTo>
                    <a:lnTo>
                      <a:pt x="1026" y="92"/>
                    </a:lnTo>
                    <a:lnTo>
                      <a:pt x="1029" y="94"/>
                    </a:lnTo>
                    <a:lnTo>
                      <a:pt x="1029" y="94"/>
                    </a:lnTo>
                    <a:lnTo>
                      <a:pt x="1029" y="94"/>
                    </a:lnTo>
                    <a:lnTo>
                      <a:pt x="1029" y="94"/>
                    </a:lnTo>
                    <a:lnTo>
                      <a:pt x="1031" y="94"/>
                    </a:lnTo>
                    <a:lnTo>
                      <a:pt x="1033" y="94"/>
                    </a:lnTo>
                    <a:lnTo>
                      <a:pt x="1033" y="94"/>
                    </a:lnTo>
                    <a:lnTo>
                      <a:pt x="1033" y="94"/>
                    </a:lnTo>
                    <a:lnTo>
                      <a:pt x="1033" y="94"/>
                    </a:lnTo>
                    <a:lnTo>
                      <a:pt x="1033" y="94"/>
                    </a:lnTo>
                    <a:lnTo>
                      <a:pt x="1033" y="94"/>
                    </a:lnTo>
                    <a:close/>
                    <a:moveTo>
                      <a:pt x="75" y="613"/>
                    </a:moveTo>
                    <a:lnTo>
                      <a:pt x="73" y="613"/>
                    </a:lnTo>
                    <a:lnTo>
                      <a:pt x="73" y="615"/>
                    </a:lnTo>
                    <a:lnTo>
                      <a:pt x="73" y="615"/>
                    </a:lnTo>
                    <a:lnTo>
                      <a:pt x="73" y="615"/>
                    </a:lnTo>
                    <a:lnTo>
                      <a:pt x="73" y="615"/>
                    </a:lnTo>
                    <a:lnTo>
                      <a:pt x="75" y="615"/>
                    </a:lnTo>
                    <a:lnTo>
                      <a:pt x="75" y="615"/>
                    </a:lnTo>
                    <a:lnTo>
                      <a:pt x="75" y="613"/>
                    </a:lnTo>
                    <a:lnTo>
                      <a:pt x="75" y="613"/>
                    </a:lnTo>
                    <a:lnTo>
                      <a:pt x="75" y="613"/>
                    </a:lnTo>
                    <a:close/>
                    <a:moveTo>
                      <a:pt x="972" y="73"/>
                    </a:moveTo>
                    <a:lnTo>
                      <a:pt x="974" y="73"/>
                    </a:lnTo>
                    <a:lnTo>
                      <a:pt x="972" y="73"/>
                    </a:lnTo>
                    <a:lnTo>
                      <a:pt x="972" y="73"/>
                    </a:lnTo>
                    <a:lnTo>
                      <a:pt x="972" y="73"/>
                    </a:lnTo>
                    <a:lnTo>
                      <a:pt x="972" y="76"/>
                    </a:lnTo>
                    <a:lnTo>
                      <a:pt x="974" y="73"/>
                    </a:lnTo>
                    <a:lnTo>
                      <a:pt x="976" y="73"/>
                    </a:lnTo>
                    <a:lnTo>
                      <a:pt x="979" y="73"/>
                    </a:lnTo>
                    <a:lnTo>
                      <a:pt x="984" y="73"/>
                    </a:lnTo>
                    <a:lnTo>
                      <a:pt x="991" y="73"/>
                    </a:lnTo>
                    <a:lnTo>
                      <a:pt x="993" y="71"/>
                    </a:lnTo>
                    <a:lnTo>
                      <a:pt x="993" y="71"/>
                    </a:lnTo>
                    <a:lnTo>
                      <a:pt x="995" y="71"/>
                    </a:lnTo>
                    <a:lnTo>
                      <a:pt x="998" y="71"/>
                    </a:lnTo>
                    <a:lnTo>
                      <a:pt x="1002" y="71"/>
                    </a:lnTo>
                    <a:lnTo>
                      <a:pt x="1002" y="71"/>
                    </a:lnTo>
                    <a:lnTo>
                      <a:pt x="1002" y="68"/>
                    </a:lnTo>
                    <a:lnTo>
                      <a:pt x="1002" y="68"/>
                    </a:lnTo>
                    <a:lnTo>
                      <a:pt x="1000" y="68"/>
                    </a:lnTo>
                    <a:lnTo>
                      <a:pt x="1002" y="68"/>
                    </a:lnTo>
                    <a:lnTo>
                      <a:pt x="1005" y="66"/>
                    </a:lnTo>
                    <a:lnTo>
                      <a:pt x="1007" y="66"/>
                    </a:lnTo>
                    <a:lnTo>
                      <a:pt x="1007" y="66"/>
                    </a:lnTo>
                    <a:lnTo>
                      <a:pt x="1007" y="66"/>
                    </a:lnTo>
                    <a:lnTo>
                      <a:pt x="1007" y="64"/>
                    </a:lnTo>
                    <a:lnTo>
                      <a:pt x="1005" y="64"/>
                    </a:lnTo>
                    <a:lnTo>
                      <a:pt x="1002" y="64"/>
                    </a:lnTo>
                    <a:lnTo>
                      <a:pt x="998" y="64"/>
                    </a:lnTo>
                    <a:lnTo>
                      <a:pt x="995" y="64"/>
                    </a:lnTo>
                    <a:lnTo>
                      <a:pt x="995" y="64"/>
                    </a:lnTo>
                    <a:lnTo>
                      <a:pt x="995" y="64"/>
                    </a:lnTo>
                    <a:lnTo>
                      <a:pt x="995" y="61"/>
                    </a:lnTo>
                    <a:lnTo>
                      <a:pt x="995" y="61"/>
                    </a:lnTo>
                    <a:lnTo>
                      <a:pt x="995" y="61"/>
                    </a:lnTo>
                    <a:lnTo>
                      <a:pt x="991" y="61"/>
                    </a:lnTo>
                    <a:lnTo>
                      <a:pt x="988" y="59"/>
                    </a:lnTo>
                    <a:lnTo>
                      <a:pt x="988" y="59"/>
                    </a:lnTo>
                    <a:lnTo>
                      <a:pt x="986" y="59"/>
                    </a:lnTo>
                    <a:lnTo>
                      <a:pt x="979" y="59"/>
                    </a:lnTo>
                    <a:lnTo>
                      <a:pt x="979" y="59"/>
                    </a:lnTo>
                    <a:lnTo>
                      <a:pt x="976" y="59"/>
                    </a:lnTo>
                    <a:lnTo>
                      <a:pt x="974" y="59"/>
                    </a:lnTo>
                    <a:lnTo>
                      <a:pt x="974" y="61"/>
                    </a:lnTo>
                    <a:lnTo>
                      <a:pt x="974" y="61"/>
                    </a:lnTo>
                    <a:lnTo>
                      <a:pt x="974" y="64"/>
                    </a:lnTo>
                    <a:lnTo>
                      <a:pt x="969" y="64"/>
                    </a:lnTo>
                    <a:lnTo>
                      <a:pt x="969" y="64"/>
                    </a:lnTo>
                    <a:lnTo>
                      <a:pt x="969" y="64"/>
                    </a:lnTo>
                    <a:lnTo>
                      <a:pt x="969" y="64"/>
                    </a:lnTo>
                    <a:lnTo>
                      <a:pt x="969" y="64"/>
                    </a:lnTo>
                    <a:lnTo>
                      <a:pt x="969" y="66"/>
                    </a:lnTo>
                    <a:lnTo>
                      <a:pt x="972" y="66"/>
                    </a:lnTo>
                    <a:lnTo>
                      <a:pt x="969" y="66"/>
                    </a:lnTo>
                    <a:lnTo>
                      <a:pt x="972" y="68"/>
                    </a:lnTo>
                    <a:lnTo>
                      <a:pt x="969" y="68"/>
                    </a:lnTo>
                    <a:lnTo>
                      <a:pt x="976" y="68"/>
                    </a:lnTo>
                    <a:lnTo>
                      <a:pt x="979" y="68"/>
                    </a:lnTo>
                    <a:lnTo>
                      <a:pt x="979" y="68"/>
                    </a:lnTo>
                    <a:lnTo>
                      <a:pt x="979" y="68"/>
                    </a:lnTo>
                    <a:lnTo>
                      <a:pt x="976" y="68"/>
                    </a:lnTo>
                    <a:lnTo>
                      <a:pt x="974" y="71"/>
                    </a:lnTo>
                    <a:lnTo>
                      <a:pt x="969" y="71"/>
                    </a:lnTo>
                    <a:lnTo>
                      <a:pt x="969" y="71"/>
                    </a:lnTo>
                    <a:lnTo>
                      <a:pt x="969" y="71"/>
                    </a:lnTo>
                    <a:lnTo>
                      <a:pt x="969" y="71"/>
                    </a:lnTo>
                    <a:lnTo>
                      <a:pt x="972" y="73"/>
                    </a:lnTo>
                    <a:close/>
                    <a:moveTo>
                      <a:pt x="981" y="42"/>
                    </a:moveTo>
                    <a:lnTo>
                      <a:pt x="986" y="42"/>
                    </a:lnTo>
                    <a:lnTo>
                      <a:pt x="986" y="45"/>
                    </a:lnTo>
                    <a:lnTo>
                      <a:pt x="986" y="45"/>
                    </a:lnTo>
                    <a:lnTo>
                      <a:pt x="986" y="45"/>
                    </a:lnTo>
                    <a:lnTo>
                      <a:pt x="986" y="45"/>
                    </a:lnTo>
                    <a:lnTo>
                      <a:pt x="988" y="45"/>
                    </a:lnTo>
                    <a:lnTo>
                      <a:pt x="991" y="45"/>
                    </a:lnTo>
                    <a:lnTo>
                      <a:pt x="991" y="45"/>
                    </a:lnTo>
                    <a:lnTo>
                      <a:pt x="993" y="45"/>
                    </a:lnTo>
                    <a:lnTo>
                      <a:pt x="993" y="45"/>
                    </a:lnTo>
                    <a:lnTo>
                      <a:pt x="995" y="42"/>
                    </a:lnTo>
                    <a:lnTo>
                      <a:pt x="998" y="40"/>
                    </a:lnTo>
                    <a:lnTo>
                      <a:pt x="998" y="40"/>
                    </a:lnTo>
                    <a:lnTo>
                      <a:pt x="995" y="40"/>
                    </a:lnTo>
                    <a:lnTo>
                      <a:pt x="995" y="40"/>
                    </a:lnTo>
                    <a:lnTo>
                      <a:pt x="993" y="40"/>
                    </a:lnTo>
                    <a:lnTo>
                      <a:pt x="988" y="40"/>
                    </a:lnTo>
                    <a:lnTo>
                      <a:pt x="988" y="40"/>
                    </a:lnTo>
                    <a:lnTo>
                      <a:pt x="984" y="40"/>
                    </a:lnTo>
                    <a:lnTo>
                      <a:pt x="984" y="40"/>
                    </a:lnTo>
                    <a:lnTo>
                      <a:pt x="981" y="40"/>
                    </a:lnTo>
                    <a:lnTo>
                      <a:pt x="981" y="42"/>
                    </a:lnTo>
                    <a:lnTo>
                      <a:pt x="979" y="42"/>
                    </a:lnTo>
                    <a:lnTo>
                      <a:pt x="979" y="42"/>
                    </a:lnTo>
                    <a:lnTo>
                      <a:pt x="981" y="42"/>
                    </a:lnTo>
                    <a:lnTo>
                      <a:pt x="981" y="42"/>
                    </a:lnTo>
                    <a:close/>
                    <a:moveTo>
                      <a:pt x="908" y="76"/>
                    </a:moveTo>
                    <a:lnTo>
                      <a:pt x="910" y="76"/>
                    </a:lnTo>
                    <a:lnTo>
                      <a:pt x="913" y="76"/>
                    </a:lnTo>
                    <a:lnTo>
                      <a:pt x="915" y="76"/>
                    </a:lnTo>
                    <a:lnTo>
                      <a:pt x="917" y="76"/>
                    </a:lnTo>
                    <a:lnTo>
                      <a:pt x="922" y="76"/>
                    </a:lnTo>
                    <a:lnTo>
                      <a:pt x="922" y="76"/>
                    </a:lnTo>
                    <a:lnTo>
                      <a:pt x="922" y="76"/>
                    </a:lnTo>
                    <a:lnTo>
                      <a:pt x="922" y="73"/>
                    </a:lnTo>
                    <a:lnTo>
                      <a:pt x="922" y="73"/>
                    </a:lnTo>
                    <a:lnTo>
                      <a:pt x="920" y="73"/>
                    </a:lnTo>
                    <a:lnTo>
                      <a:pt x="917" y="73"/>
                    </a:lnTo>
                    <a:lnTo>
                      <a:pt x="915" y="73"/>
                    </a:lnTo>
                    <a:lnTo>
                      <a:pt x="910" y="73"/>
                    </a:lnTo>
                    <a:lnTo>
                      <a:pt x="908" y="73"/>
                    </a:lnTo>
                    <a:lnTo>
                      <a:pt x="908" y="73"/>
                    </a:lnTo>
                    <a:lnTo>
                      <a:pt x="906" y="73"/>
                    </a:lnTo>
                    <a:lnTo>
                      <a:pt x="906" y="76"/>
                    </a:lnTo>
                    <a:lnTo>
                      <a:pt x="906" y="76"/>
                    </a:lnTo>
                    <a:lnTo>
                      <a:pt x="908" y="76"/>
                    </a:lnTo>
                    <a:close/>
                    <a:moveTo>
                      <a:pt x="783" y="227"/>
                    </a:moveTo>
                    <a:lnTo>
                      <a:pt x="783" y="227"/>
                    </a:lnTo>
                    <a:lnTo>
                      <a:pt x="783" y="227"/>
                    </a:lnTo>
                    <a:lnTo>
                      <a:pt x="787" y="229"/>
                    </a:lnTo>
                    <a:lnTo>
                      <a:pt x="790" y="229"/>
                    </a:lnTo>
                    <a:lnTo>
                      <a:pt x="790" y="232"/>
                    </a:lnTo>
                    <a:lnTo>
                      <a:pt x="792" y="232"/>
                    </a:lnTo>
                    <a:lnTo>
                      <a:pt x="797" y="232"/>
                    </a:lnTo>
                    <a:lnTo>
                      <a:pt x="801" y="232"/>
                    </a:lnTo>
                    <a:lnTo>
                      <a:pt x="804" y="232"/>
                    </a:lnTo>
                    <a:lnTo>
                      <a:pt x="806" y="232"/>
                    </a:lnTo>
                    <a:lnTo>
                      <a:pt x="811" y="229"/>
                    </a:lnTo>
                    <a:lnTo>
                      <a:pt x="813" y="229"/>
                    </a:lnTo>
                    <a:lnTo>
                      <a:pt x="816" y="229"/>
                    </a:lnTo>
                    <a:lnTo>
                      <a:pt x="818" y="227"/>
                    </a:lnTo>
                    <a:lnTo>
                      <a:pt x="818" y="227"/>
                    </a:lnTo>
                    <a:lnTo>
                      <a:pt x="820" y="227"/>
                    </a:lnTo>
                    <a:lnTo>
                      <a:pt x="823" y="227"/>
                    </a:lnTo>
                    <a:lnTo>
                      <a:pt x="825" y="227"/>
                    </a:lnTo>
                    <a:lnTo>
                      <a:pt x="825" y="225"/>
                    </a:lnTo>
                    <a:lnTo>
                      <a:pt x="825" y="225"/>
                    </a:lnTo>
                    <a:lnTo>
                      <a:pt x="825" y="225"/>
                    </a:lnTo>
                    <a:lnTo>
                      <a:pt x="823" y="225"/>
                    </a:lnTo>
                    <a:lnTo>
                      <a:pt x="820" y="225"/>
                    </a:lnTo>
                    <a:lnTo>
                      <a:pt x="820" y="225"/>
                    </a:lnTo>
                    <a:lnTo>
                      <a:pt x="820" y="225"/>
                    </a:lnTo>
                    <a:lnTo>
                      <a:pt x="818" y="222"/>
                    </a:lnTo>
                    <a:lnTo>
                      <a:pt x="820" y="220"/>
                    </a:lnTo>
                    <a:lnTo>
                      <a:pt x="820" y="218"/>
                    </a:lnTo>
                    <a:lnTo>
                      <a:pt x="820" y="218"/>
                    </a:lnTo>
                    <a:lnTo>
                      <a:pt x="816" y="215"/>
                    </a:lnTo>
                    <a:lnTo>
                      <a:pt x="816" y="213"/>
                    </a:lnTo>
                    <a:lnTo>
                      <a:pt x="813" y="213"/>
                    </a:lnTo>
                    <a:lnTo>
                      <a:pt x="813" y="213"/>
                    </a:lnTo>
                    <a:lnTo>
                      <a:pt x="813" y="210"/>
                    </a:lnTo>
                    <a:lnTo>
                      <a:pt x="813" y="210"/>
                    </a:lnTo>
                    <a:lnTo>
                      <a:pt x="811" y="210"/>
                    </a:lnTo>
                    <a:lnTo>
                      <a:pt x="811" y="210"/>
                    </a:lnTo>
                    <a:lnTo>
                      <a:pt x="809" y="210"/>
                    </a:lnTo>
                    <a:lnTo>
                      <a:pt x="809" y="210"/>
                    </a:lnTo>
                    <a:lnTo>
                      <a:pt x="809" y="210"/>
                    </a:lnTo>
                    <a:lnTo>
                      <a:pt x="811" y="210"/>
                    </a:lnTo>
                    <a:lnTo>
                      <a:pt x="811" y="210"/>
                    </a:lnTo>
                    <a:lnTo>
                      <a:pt x="811" y="210"/>
                    </a:lnTo>
                    <a:lnTo>
                      <a:pt x="811" y="210"/>
                    </a:lnTo>
                    <a:lnTo>
                      <a:pt x="811" y="208"/>
                    </a:lnTo>
                    <a:lnTo>
                      <a:pt x="809" y="208"/>
                    </a:lnTo>
                    <a:lnTo>
                      <a:pt x="809" y="208"/>
                    </a:lnTo>
                    <a:lnTo>
                      <a:pt x="806" y="208"/>
                    </a:lnTo>
                    <a:lnTo>
                      <a:pt x="804" y="208"/>
                    </a:lnTo>
                    <a:lnTo>
                      <a:pt x="801" y="208"/>
                    </a:lnTo>
                    <a:lnTo>
                      <a:pt x="801" y="208"/>
                    </a:lnTo>
                    <a:lnTo>
                      <a:pt x="799" y="210"/>
                    </a:lnTo>
                    <a:lnTo>
                      <a:pt x="799" y="210"/>
                    </a:lnTo>
                    <a:lnTo>
                      <a:pt x="799" y="210"/>
                    </a:lnTo>
                    <a:lnTo>
                      <a:pt x="797" y="210"/>
                    </a:lnTo>
                    <a:lnTo>
                      <a:pt x="797" y="213"/>
                    </a:lnTo>
                    <a:lnTo>
                      <a:pt x="799" y="215"/>
                    </a:lnTo>
                    <a:lnTo>
                      <a:pt x="797" y="215"/>
                    </a:lnTo>
                    <a:lnTo>
                      <a:pt x="797" y="215"/>
                    </a:lnTo>
                    <a:lnTo>
                      <a:pt x="794" y="213"/>
                    </a:lnTo>
                    <a:lnTo>
                      <a:pt x="794" y="213"/>
                    </a:lnTo>
                    <a:lnTo>
                      <a:pt x="794" y="213"/>
                    </a:lnTo>
                    <a:lnTo>
                      <a:pt x="792" y="213"/>
                    </a:lnTo>
                    <a:lnTo>
                      <a:pt x="792" y="213"/>
                    </a:lnTo>
                    <a:lnTo>
                      <a:pt x="792" y="213"/>
                    </a:lnTo>
                    <a:lnTo>
                      <a:pt x="792" y="215"/>
                    </a:lnTo>
                    <a:lnTo>
                      <a:pt x="792" y="215"/>
                    </a:lnTo>
                    <a:lnTo>
                      <a:pt x="792" y="215"/>
                    </a:lnTo>
                    <a:lnTo>
                      <a:pt x="792" y="215"/>
                    </a:lnTo>
                    <a:lnTo>
                      <a:pt x="792" y="215"/>
                    </a:lnTo>
                    <a:lnTo>
                      <a:pt x="792" y="218"/>
                    </a:lnTo>
                    <a:lnTo>
                      <a:pt x="790" y="218"/>
                    </a:lnTo>
                    <a:lnTo>
                      <a:pt x="790" y="218"/>
                    </a:lnTo>
                    <a:lnTo>
                      <a:pt x="785" y="220"/>
                    </a:lnTo>
                    <a:lnTo>
                      <a:pt x="783" y="220"/>
                    </a:lnTo>
                    <a:lnTo>
                      <a:pt x="778" y="220"/>
                    </a:lnTo>
                    <a:lnTo>
                      <a:pt x="773" y="220"/>
                    </a:lnTo>
                    <a:lnTo>
                      <a:pt x="773" y="220"/>
                    </a:lnTo>
                    <a:lnTo>
                      <a:pt x="771" y="222"/>
                    </a:lnTo>
                    <a:lnTo>
                      <a:pt x="771" y="222"/>
                    </a:lnTo>
                    <a:lnTo>
                      <a:pt x="771" y="222"/>
                    </a:lnTo>
                    <a:lnTo>
                      <a:pt x="771" y="225"/>
                    </a:lnTo>
                    <a:lnTo>
                      <a:pt x="771" y="225"/>
                    </a:lnTo>
                    <a:lnTo>
                      <a:pt x="771" y="225"/>
                    </a:lnTo>
                    <a:lnTo>
                      <a:pt x="773" y="225"/>
                    </a:lnTo>
                    <a:lnTo>
                      <a:pt x="773" y="225"/>
                    </a:lnTo>
                    <a:lnTo>
                      <a:pt x="775" y="225"/>
                    </a:lnTo>
                    <a:lnTo>
                      <a:pt x="775" y="225"/>
                    </a:lnTo>
                    <a:lnTo>
                      <a:pt x="778" y="225"/>
                    </a:lnTo>
                    <a:lnTo>
                      <a:pt x="778" y="225"/>
                    </a:lnTo>
                    <a:lnTo>
                      <a:pt x="778" y="225"/>
                    </a:lnTo>
                    <a:lnTo>
                      <a:pt x="778" y="225"/>
                    </a:lnTo>
                    <a:lnTo>
                      <a:pt x="778" y="225"/>
                    </a:lnTo>
                    <a:lnTo>
                      <a:pt x="778" y="225"/>
                    </a:lnTo>
                    <a:lnTo>
                      <a:pt x="778" y="227"/>
                    </a:lnTo>
                    <a:lnTo>
                      <a:pt x="778" y="227"/>
                    </a:lnTo>
                    <a:lnTo>
                      <a:pt x="780" y="227"/>
                    </a:lnTo>
                    <a:lnTo>
                      <a:pt x="783" y="227"/>
                    </a:lnTo>
                    <a:lnTo>
                      <a:pt x="783" y="225"/>
                    </a:lnTo>
                    <a:lnTo>
                      <a:pt x="785" y="225"/>
                    </a:lnTo>
                    <a:lnTo>
                      <a:pt x="785" y="225"/>
                    </a:lnTo>
                    <a:lnTo>
                      <a:pt x="785" y="227"/>
                    </a:lnTo>
                    <a:lnTo>
                      <a:pt x="783" y="227"/>
                    </a:lnTo>
                    <a:close/>
                    <a:moveTo>
                      <a:pt x="837" y="139"/>
                    </a:moveTo>
                    <a:lnTo>
                      <a:pt x="837" y="142"/>
                    </a:lnTo>
                    <a:lnTo>
                      <a:pt x="837" y="142"/>
                    </a:lnTo>
                    <a:lnTo>
                      <a:pt x="837" y="142"/>
                    </a:lnTo>
                    <a:lnTo>
                      <a:pt x="837" y="142"/>
                    </a:lnTo>
                    <a:lnTo>
                      <a:pt x="839" y="144"/>
                    </a:lnTo>
                    <a:lnTo>
                      <a:pt x="839" y="144"/>
                    </a:lnTo>
                    <a:lnTo>
                      <a:pt x="839" y="144"/>
                    </a:lnTo>
                    <a:lnTo>
                      <a:pt x="839" y="144"/>
                    </a:lnTo>
                    <a:lnTo>
                      <a:pt x="837" y="147"/>
                    </a:lnTo>
                    <a:lnTo>
                      <a:pt x="837" y="144"/>
                    </a:lnTo>
                    <a:lnTo>
                      <a:pt x="837" y="144"/>
                    </a:lnTo>
                    <a:lnTo>
                      <a:pt x="835" y="142"/>
                    </a:lnTo>
                    <a:lnTo>
                      <a:pt x="832" y="144"/>
                    </a:lnTo>
                    <a:lnTo>
                      <a:pt x="830" y="144"/>
                    </a:lnTo>
                    <a:lnTo>
                      <a:pt x="827" y="144"/>
                    </a:lnTo>
                    <a:lnTo>
                      <a:pt x="825" y="144"/>
                    </a:lnTo>
                    <a:lnTo>
                      <a:pt x="825" y="144"/>
                    </a:lnTo>
                    <a:lnTo>
                      <a:pt x="825" y="147"/>
                    </a:lnTo>
                    <a:lnTo>
                      <a:pt x="825" y="147"/>
                    </a:lnTo>
                    <a:lnTo>
                      <a:pt x="830" y="149"/>
                    </a:lnTo>
                    <a:lnTo>
                      <a:pt x="832" y="149"/>
                    </a:lnTo>
                    <a:lnTo>
                      <a:pt x="835" y="149"/>
                    </a:lnTo>
                    <a:lnTo>
                      <a:pt x="835" y="149"/>
                    </a:lnTo>
                    <a:lnTo>
                      <a:pt x="837" y="147"/>
                    </a:lnTo>
                    <a:lnTo>
                      <a:pt x="839" y="147"/>
                    </a:lnTo>
                    <a:lnTo>
                      <a:pt x="839" y="149"/>
                    </a:lnTo>
                    <a:lnTo>
                      <a:pt x="842" y="149"/>
                    </a:lnTo>
                    <a:lnTo>
                      <a:pt x="839" y="149"/>
                    </a:lnTo>
                    <a:lnTo>
                      <a:pt x="839" y="149"/>
                    </a:lnTo>
                    <a:lnTo>
                      <a:pt x="837" y="149"/>
                    </a:lnTo>
                    <a:lnTo>
                      <a:pt x="837" y="149"/>
                    </a:lnTo>
                    <a:lnTo>
                      <a:pt x="835" y="149"/>
                    </a:lnTo>
                    <a:lnTo>
                      <a:pt x="835" y="149"/>
                    </a:lnTo>
                    <a:lnTo>
                      <a:pt x="832" y="149"/>
                    </a:lnTo>
                    <a:lnTo>
                      <a:pt x="832" y="151"/>
                    </a:lnTo>
                    <a:lnTo>
                      <a:pt x="832" y="151"/>
                    </a:lnTo>
                    <a:lnTo>
                      <a:pt x="832" y="151"/>
                    </a:lnTo>
                    <a:lnTo>
                      <a:pt x="835" y="151"/>
                    </a:lnTo>
                    <a:lnTo>
                      <a:pt x="835" y="151"/>
                    </a:lnTo>
                    <a:lnTo>
                      <a:pt x="835" y="151"/>
                    </a:lnTo>
                    <a:lnTo>
                      <a:pt x="835" y="151"/>
                    </a:lnTo>
                    <a:lnTo>
                      <a:pt x="835" y="154"/>
                    </a:lnTo>
                    <a:lnTo>
                      <a:pt x="835" y="154"/>
                    </a:lnTo>
                    <a:lnTo>
                      <a:pt x="832" y="154"/>
                    </a:lnTo>
                    <a:lnTo>
                      <a:pt x="832" y="156"/>
                    </a:lnTo>
                    <a:lnTo>
                      <a:pt x="832" y="154"/>
                    </a:lnTo>
                    <a:lnTo>
                      <a:pt x="830" y="154"/>
                    </a:lnTo>
                    <a:lnTo>
                      <a:pt x="830" y="154"/>
                    </a:lnTo>
                    <a:lnTo>
                      <a:pt x="827" y="156"/>
                    </a:lnTo>
                    <a:lnTo>
                      <a:pt x="825" y="156"/>
                    </a:lnTo>
                    <a:lnTo>
                      <a:pt x="825" y="156"/>
                    </a:lnTo>
                    <a:lnTo>
                      <a:pt x="818" y="158"/>
                    </a:lnTo>
                    <a:lnTo>
                      <a:pt x="816" y="158"/>
                    </a:lnTo>
                    <a:lnTo>
                      <a:pt x="813" y="158"/>
                    </a:lnTo>
                    <a:lnTo>
                      <a:pt x="813" y="158"/>
                    </a:lnTo>
                    <a:lnTo>
                      <a:pt x="813" y="156"/>
                    </a:lnTo>
                    <a:lnTo>
                      <a:pt x="813" y="156"/>
                    </a:lnTo>
                    <a:lnTo>
                      <a:pt x="813" y="154"/>
                    </a:lnTo>
                    <a:lnTo>
                      <a:pt x="813" y="154"/>
                    </a:lnTo>
                    <a:lnTo>
                      <a:pt x="813" y="154"/>
                    </a:lnTo>
                    <a:lnTo>
                      <a:pt x="813" y="154"/>
                    </a:lnTo>
                    <a:lnTo>
                      <a:pt x="813" y="151"/>
                    </a:lnTo>
                    <a:lnTo>
                      <a:pt x="811" y="151"/>
                    </a:lnTo>
                    <a:lnTo>
                      <a:pt x="809" y="151"/>
                    </a:lnTo>
                    <a:lnTo>
                      <a:pt x="806" y="151"/>
                    </a:lnTo>
                    <a:lnTo>
                      <a:pt x="804" y="154"/>
                    </a:lnTo>
                    <a:lnTo>
                      <a:pt x="801" y="154"/>
                    </a:lnTo>
                    <a:lnTo>
                      <a:pt x="799" y="154"/>
                    </a:lnTo>
                    <a:lnTo>
                      <a:pt x="799" y="156"/>
                    </a:lnTo>
                    <a:lnTo>
                      <a:pt x="797" y="156"/>
                    </a:lnTo>
                    <a:lnTo>
                      <a:pt x="797" y="156"/>
                    </a:lnTo>
                    <a:lnTo>
                      <a:pt x="797" y="158"/>
                    </a:lnTo>
                    <a:lnTo>
                      <a:pt x="797" y="161"/>
                    </a:lnTo>
                    <a:lnTo>
                      <a:pt x="801" y="161"/>
                    </a:lnTo>
                    <a:lnTo>
                      <a:pt x="801" y="163"/>
                    </a:lnTo>
                    <a:lnTo>
                      <a:pt x="801" y="163"/>
                    </a:lnTo>
                    <a:lnTo>
                      <a:pt x="801" y="163"/>
                    </a:lnTo>
                    <a:lnTo>
                      <a:pt x="801" y="166"/>
                    </a:lnTo>
                    <a:lnTo>
                      <a:pt x="801" y="166"/>
                    </a:lnTo>
                    <a:lnTo>
                      <a:pt x="804" y="166"/>
                    </a:lnTo>
                    <a:lnTo>
                      <a:pt x="806" y="166"/>
                    </a:lnTo>
                    <a:lnTo>
                      <a:pt x="806" y="166"/>
                    </a:lnTo>
                    <a:lnTo>
                      <a:pt x="806" y="166"/>
                    </a:lnTo>
                    <a:lnTo>
                      <a:pt x="809" y="166"/>
                    </a:lnTo>
                    <a:lnTo>
                      <a:pt x="809" y="166"/>
                    </a:lnTo>
                    <a:lnTo>
                      <a:pt x="809" y="166"/>
                    </a:lnTo>
                    <a:lnTo>
                      <a:pt x="811" y="168"/>
                    </a:lnTo>
                    <a:lnTo>
                      <a:pt x="811" y="168"/>
                    </a:lnTo>
                    <a:lnTo>
                      <a:pt x="813" y="168"/>
                    </a:lnTo>
                    <a:lnTo>
                      <a:pt x="813" y="170"/>
                    </a:lnTo>
                    <a:lnTo>
                      <a:pt x="813" y="173"/>
                    </a:lnTo>
                    <a:lnTo>
                      <a:pt x="816" y="175"/>
                    </a:lnTo>
                    <a:lnTo>
                      <a:pt x="816" y="177"/>
                    </a:lnTo>
                    <a:lnTo>
                      <a:pt x="818" y="177"/>
                    </a:lnTo>
                    <a:lnTo>
                      <a:pt x="816" y="180"/>
                    </a:lnTo>
                    <a:lnTo>
                      <a:pt x="816" y="180"/>
                    </a:lnTo>
                    <a:lnTo>
                      <a:pt x="816" y="182"/>
                    </a:lnTo>
                    <a:lnTo>
                      <a:pt x="818" y="182"/>
                    </a:lnTo>
                    <a:lnTo>
                      <a:pt x="820" y="182"/>
                    </a:lnTo>
                    <a:lnTo>
                      <a:pt x="820" y="182"/>
                    </a:lnTo>
                    <a:lnTo>
                      <a:pt x="823" y="182"/>
                    </a:lnTo>
                    <a:lnTo>
                      <a:pt x="825" y="182"/>
                    </a:lnTo>
                    <a:lnTo>
                      <a:pt x="827" y="182"/>
                    </a:lnTo>
                    <a:lnTo>
                      <a:pt x="830" y="180"/>
                    </a:lnTo>
                    <a:lnTo>
                      <a:pt x="832" y="180"/>
                    </a:lnTo>
                    <a:lnTo>
                      <a:pt x="832" y="180"/>
                    </a:lnTo>
                    <a:lnTo>
                      <a:pt x="832" y="177"/>
                    </a:lnTo>
                    <a:lnTo>
                      <a:pt x="832" y="175"/>
                    </a:lnTo>
                    <a:lnTo>
                      <a:pt x="832" y="175"/>
                    </a:lnTo>
                    <a:lnTo>
                      <a:pt x="835" y="173"/>
                    </a:lnTo>
                    <a:lnTo>
                      <a:pt x="837" y="173"/>
                    </a:lnTo>
                    <a:lnTo>
                      <a:pt x="837" y="173"/>
                    </a:lnTo>
                    <a:lnTo>
                      <a:pt x="837" y="173"/>
                    </a:lnTo>
                    <a:lnTo>
                      <a:pt x="835" y="173"/>
                    </a:lnTo>
                    <a:lnTo>
                      <a:pt x="835" y="175"/>
                    </a:lnTo>
                    <a:lnTo>
                      <a:pt x="835" y="175"/>
                    </a:lnTo>
                    <a:lnTo>
                      <a:pt x="835" y="175"/>
                    </a:lnTo>
                    <a:lnTo>
                      <a:pt x="835" y="175"/>
                    </a:lnTo>
                    <a:lnTo>
                      <a:pt x="842" y="177"/>
                    </a:lnTo>
                    <a:lnTo>
                      <a:pt x="844" y="177"/>
                    </a:lnTo>
                    <a:lnTo>
                      <a:pt x="849" y="175"/>
                    </a:lnTo>
                    <a:lnTo>
                      <a:pt x="849" y="175"/>
                    </a:lnTo>
                    <a:lnTo>
                      <a:pt x="851" y="175"/>
                    </a:lnTo>
                    <a:lnTo>
                      <a:pt x="853" y="173"/>
                    </a:lnTo>
                    <a:lnTo>
                      <a:pt x="858" y="173"/>
                    </a:lnTo>
                    <a:lnTo>
                      <a:pt x="861" y="170"/>
                    </a:lnTo>
                    <a:lnTo>
                      <a:pt x="861" y="170"/>
                    </a:lnTo>
                    <a:lnTo>
                      <a:pt x="861" y="170"/>
                    </a:lnTo>
                    <a:lnTo>
                      <a:pt x="861" y="170"/>
                    </a:lnTo>
                    <a:lnTo>
                      <a:pt x="863" y="168"/>
                    </a:lnTo>
                    <a:lnTo>
                      <a:pt x="865" y="168"/>
                    </a:lnTo>
                    <a:lnTo>
                      <a:pt x="865" y="166"/>
                    </a:lnTo>
                    <a:lnTo>
                      <a:pt x="865" y="166"/>
                    </a:lnTo>
                    <a:lnTo>
                      <a:pt x="865" y="166"/>
                    </a:lnTo>
                    <a:lnTo>
                      <a:pt x="865" y="166"/>
                    </a:lnTo>
                    <a:lnTo>
                      <a:pt x="865" y="166"/>
                    </a:lnTo>
                    <a:lnTo>
                      <a:pt x="865" y="166"/>
                    </a:lnTo>
                    <a:lnTo>
                      <a:pt x="868" y="166"/>
                    </a:lnTo>
                    <a:lnTo>
                      <a:pt x="870" y="163"/>
                    </a:lnTo>
                    <a:lnTo>
                      <a:pt x="870" y="163"/>
                    </a:lnTo>
                    <a:lnTo>
                      <a:pt x="872" y="161"/>
                    </a:lnTo>
                    <a:lnTo>
                      <a:pt x="875" y="161"/>
                    </a:lnTo>
                    <a:lnTo>
                      <a:pt x="875" y="158"/>
                    </a:lnTo>
                    <a:lnTo>
                      <a:pt x="875" y="158"/>
                    </a:lnTo>
                    <a:lnTo>
                      <a:pt x="875" y="158"/>
                    </a:lnTo>
                    <a:lnTo>
                      <a:pt x="875" y="158"/>
                    </a:lnTo>
                    <a:lnTo>
                      <a:pt x="870" y="158"/>
                    </a:lnTo>
                    <a:lnTo>
                      <a:pt x="868" y="158"/>
                    </a:lnTo>
                    <a:lnTo>
                      <a:pt x="865" y="158"/>
                    </a:lnTo>
                    <a:lnTo>
                      <a:pt x="865" y="158"/>
                    </a:lnTo>
                    <a:lnTo>
                      <a:pt x="868" y="158"/>
                    </a:lnTo>
                    <a:lnTo>
                      <a:pt x="868" y="158"/>
                    </a:lnTo>
                    <a:lnTo>
                      <a:pt x="870" y="156"/>
                    </a:lnTo>
                    <a:lnTo>
                      <a:pt x="868" y="156"/>
                    </a:lnTo>
                    <a:lnTo>
                      <a:pt x="868" y="156"/>
                    </a:lnTo>
                    <a:lnTo>
                      <a:pt x="868" y="156"/>
                    </a:lnTo>
                    <a:lnTo>
                      <a:pt x="868" y="154"/>
                    </a:lnTo>
                    <a:lnTo>
                      <a:pt x="870" y="154"/>
                    </a:lnTo>
                    <a:lnTo>
                      <a:pt x="870" y="154"/>
                    </a:lnTo>
                    <a:lnTo>
                      <a:pt x="868" y="154"/>
                    </a:lnTo>
                    <a:lnTo>
                      <a:pt x="868" y="154"/>
                    </a:lnTo>
                    <a:lnTo>
                      <a:pt x="865" y="154"/>
                    </a:lnTo>
                    <a:lnTo>
                      <a:pt x="863" y="154"/>
                    </a:lnTo>
                    <a:lnTo>
                      <a:pt x="861" y="154"/>
                    </a:lnTo>
                    <a:lnTo>
                      <a:pt x="858" y="154"/>
                    </a:lnTo>
                    <a:lnTo>
                      <a:pt x="856" y="154"/>
                    </a:lnTo>
                    <a:lnTo>
                      <a:pt x="856" y="154"/>
                    </a:lnTo>
                    <a:lnTo>
                      <a:pt x="856" y="154"/>
                    </a:lnTo>
                    <a:lnTo>
                      <a:pt x="856" y="154"/>
                    </a:lnTo>
                    <a:lnTo>
                      <a:pt x="856" y="154"/>
                    </a:lnTo>
                    <a:lnTo>
                      <a:pt x="858" y="151"/>
                    </a:lnTo>
                    <a:lnTo>
                      <a:pt x="861" y="151"/>
                    </a:lnTo>
                    <a:lnTo>
                      <a:pt x="870" y="149"/>
                    </a:lnTo>
                    <a:lnTo>
                      <a:pt x="875" y="147"/>
                    </a:lnTo>
                    <a:lnTo>
                      <a:pt x="879" y="147"/>
                    </a:lnTo>
                    <a:lnTo>
                      <a:pt x="879" y="147"/>
                    </a:lnTo>
                    <a:lnTo>
                      <a:pt x="879" y="144"/>
                    </a:lnTo>
                    <a:lnTo>
                      <a:pt x="879" y="144"/>
                    </a:lnTo>
                    <a:lnTo>
                      <a:pt x="877" y="144"/>
                    </a:lnTo>
                    <a:lnTo>
                      <a:pt x="877" y="144"/>
                    </a:lnTo>
                    <a:lnTo>
                      <a:pt x="875" y="144"/>
                    </a:lnTo>
                    <a:lnTo>
                      <a:pt x="875" y="144"/>
                    </a:lnTo>
                    <a:lnTo>
                      <a:pt x="877" y="144"/>
                    </a:lnTo>
                    <a:lnTo>
                      <a:pt x="877" y="144"/>
                    </a:lnTo>
                    <a:lnTo>
                      <a:pt x="877" y="144"/>
                    </a:lnTo>
                    <a:lnTo>
                      <a:pt x="879" y="144"/>
                    </a:lnTo>
                    <a:lnTo>
                      <a:pt x="882" y="144"/>
                    </a:lnTo>
                    <a:lnTo>
                      <a:pt x="884" y="144"/>
                    </a:lnTo>
                    <a:lnTo>
                      <a:pt x="884" y="142"/>
                    </a:lnTo>
                    <a:lnTo>
                      <a:pt x="887" y="142"/>
                    </a:lnTo>
                    <a:lnTo>
                      <a:pt x="887" y="142"/>
                    </a:lnTo>
                    <a:lnTo>
                      <a:pt x="887" y="142"/>
                    </a:lnTo>
                    <a:lnTo>
                      <a:pt x="889" y="139"/>
                    </a:lnTo>
                    <a:lnTo>
                      <a:pt x="889" y="139"/>
                    </a:lnTo>
                    <a:lnTo>
                      <a:pt x="887" y="139"/>
                    </a:lnTo>
                    <a:lnTo>
                      <a:pt x="887" y="139"/>
                    </a:lnTo>
                    <a:lnTo>
                      <a:pt x="884" y="137"/>
                    </a:lnTo>
                    <a:lnTo>
                      <a:pt x="882" y="137"/>
                    </a:lnTo>
                    <a:lnTo>
                      <a:pt x="879" y="137"/>
                    </a:lnTo>
                    <a:lnTo>
                      <a:pt x="879" y="139"/>
                    </a:lnTo>
                    <a:lnTo>
                      <a:pt x="875" y="139"/>
                    </a:lnTo>
                    <a:lnTo>
                      <a:pt x="870" y="139"/>
                    </a:lnTo>
                    <a:lnTo>
                      <a:pt x="865" y="139"/>
                    </a:lnTo>
                    <a:lnTo>
                      <a:pt x="863" y="139"/>
                    </a:lnTo>
                    <a:lnTo>
                      <a:pt x="861" y="142"/>
                    </a:lnTo>
                    <a:lnTo>
                      <a:pt x="853" y="137"/>
                    </a:lnTo>
                    <a:lnTo>
                      <a:pt x="851" y="137"/>
                    </a:lnTo>
                    <a:lnTo>
                      <a:pt x="851" y="137"/>
                    </a:lnTo>
                    <a:lnTo>
                      <a:pt x="849" y="139"/>
                    </a:lnTo>
                    <a:lnTo>
                      <a:pt x="851" y="139"/>
                    </a:lnTo>
                    <a:lnTo>
                      <a:pt x="851" y="139"/>
                    </a:lnTo>
                    <a:lnTo>
                      <a:pt x="853" y="139"/>
                    </a:lnTo>
                    <a:lnTo>
                      <a:pt x="853" y="139"/>
                    </a:lnTo>
                    <a:lnTo>
                      <a:pt x="851" y="139"/>
                    </a:lnTo>
                    <a:lnTo>
                      <a:pt x="849" y="139"/>
                    </a:lnTo>
                    <a:lnTo>
                      <a:pt x="846" y="139"/>
                    </a:lnTo>
                    <a:lnTo>
                      <a:pt x="839" y="139"/>
                    </a:lnTo>
                    <a:lnTo>
                      <a:pt x="839" y="139"/>
                    </a:lnTo>
                    <a:lnTo>
                      <a:pt x="837" y="139"/>
                    </a:lnTo>
                    <a:close/>
                    <a:moveTo>
                      <a:pt x="766" y="208"/>
                    </a:moveTo>
                    <a:lnTo>
                      <a:pt x="768" y="203"/>
                    </a:lnTo>
                    <a:lnTo>
                      <a:pt x="768" y="203"/>
                    </a:lnTo>
                    <a:lnTo>
                      <a:pt x="768" y="203"/>
                    </a:lnTo>
                    <a:lnTo>
                      <a:pt x="768" y="203"/>
                    </a:lnTo>
                    <a:lnTo>
                      <a:pt x="768" y="203"/>
                    </a:lnTo>
                    <a:lnTo>
                      <a:pt x="764" y="203"/>
                    </a:lnTo>
                    <a:lnTo>
                      <a:pt x="764" y="201"/>
                    </a:lnTo>
                    <a:lnTo>
                      <a:pt x="764" y="201"/>
                    </a:lnTo>
                    <a:lnTo>
                      <a:pt x="764" y="201"/>
                    </a:lnTo>
                    <a:lnTo>
                      <a:pt x="764" y="201"/>
                    </a:lnTo>
                    <a:lnTo>
                      <a:pt x="764" y="201"/>
                    </a:lnTo>
                    <a:lnTo>
                      <a:pt x="761" y="201"/>
                    </a:lnTo>
                    <a:lnTo>
                      <a:pt x="759" y="201"/>
                    </a:lnTo>
                    <a:lnTo>
                      <a:pt x="756" y="199"/>
                    </a:lnTo>
                    <a:lnTo>
                      <a:pt x="754" y="196"/>
                    </a:lnTo>
                    <a:lnTo>
                      <a:pt x="754" y="196"/>
                    </a:lnTo>
                    <a:lnTo>
                      <a:pt x="752" y="194"/>
                    </a:lnTo>
                    <a:lnTo>
                      <a:pt x="752" y="194"/>
                    </a:lnTo>
                    <a:lnTo>
                      <a:pt x="752" y="194"/>
                    </a:lnTo>
                    <a:lnTo>
                      <a:pt x="752" y="196"/>
                    </a:lnTo>
                    <a:lnTo>
                      <a:pt x="749" y="196"/>
                    </a:lnTo>
                    <a:lnTo>
                      <a:pt x="749" y="196"/>
                    </a:lnTo>
                    <a:lnTo>
                      <a:pt x="749" y="196"/>
                    </a:lnTo>
                    <a:lnTo>
                      <a:pt x="749" y="196"/>
                    </a:lnTo>
                    <a:lnTo>
                      <a:pt x="749" y="196"/>
                    </a:lnTo>
                    <a:lnTo>
                      <a:pt x="747" y="194"/>
                    </a:lnTo>
                    <a:lnTo>
                      <a:pt x="745" y="194"/>
                    </a:lnTo>
                    <a:lnTo>
                      <a:pt x="742" y="192"/>
                    </a:lnTo>
                    <a:lnTo>
                      <a:pt x="742" y="192"/>
                    </a:lnTo>
                    <a:lnTo>
                      <a:pt x="742" y="189"/>
                    </a:lnTo>
                    <a:lnTo>
                      <a:pt x="740" y="187"/>
                    </a:lnTo>
                    <a:lnTo>
                      <a:pt x="740" y="187"/>
                    </a:lnTo>
                    <a:lnTo>
                      <a:pt x="740" y="184"/>
                    </a:lnTo>
                    <a:lnTo>
                      <a:pt x="745" y="182"/>
                    </a:lnTo>
                    <a:lnTo>
                      <a:pt x="747" y="182"/>
                    </a:lnTo>
                    <a:lnTo>
                      <a:pt x="747" y="182"/>
                    </a:lnTo>
                    <a:lnTo>
                      <a:pt x="749" y="180"/>
                    </a:lnTo>
                    <a:lnTo>
                      <a:pt x="749" y="180"/>
                    </a:lnTo>
                    <a:lnTo>
                      <a:pt x="749" y="180"/>
                    </a:lnTo>
                    <a:lnTo>
                      <a:pt x="749" y="180"/>
                    </a:lnTo>
                    <a:lnTo>
                      <a:pt x="752" y="177"/>
                    </a:lnTo>
                    <a:lnTo>
                      <a:pt x="752" y="175"/>
                    </a:lnTo>
                    <a:lnTo>
                      <a:pt x="752" y="173"/>
                    </a:lnTo>
                    <a:lnTo>
                      <a:pt x="752" y="173"/>
                    </a:lnTo>
                    <a:lnTo>
                      <a:pt x="754" y="170"/>
                    </a:lnTo>
                    <a:lnTo>
                      <a:pt x="756" y="163"/>
                    </a:lnTo>
                    <a:lnTo>
                      <a:pt x="756" y="163"/>
                    </a:lnTo>
                    <a:lnTo>
                      <a:pt x="759" y="161"/>
                    </a:lnTo>
                    <a:lnTo>
                      <a:pt x="759" y="158"/>
                    </a:lnTo>
                    <a:lnTo>
                      <a:pt x="761" y="158"/>
                    </a:lnTo>
                    <a:lnTo>
                      <a:pt x="761" y="158"/>
                    </a:lnTo>
                    <a:lnTo>
                      <a:pt x="761" y="158"/>
                    </a:lnTo>
                    <a:lnTo>
                      <a:pt x="761" y="156"/>
                    </a:lnTo>
                    <a:lnTo>
                      <a:pt x="761" y="156"/>
                    </a:lnTo>
                    <a:lnTo>
                      <a:pt x="761" y="156"/>
                    </a:lnTo>
                    <a:lnTo>
                      <a:pt x="761" y="154"/>
                    </a:lnTo>
                    <a:lnTo>
                      <a:pt x="761" y="154"/>
                    </a:lnTo>
                    <a:lnTo>
                      <a:pt x="759" y="151"/>
                    </a:lnTo>
                    <a:lnTo>
                      <a:pt x="756" y="149"/>
                    </a:lnTo>
                    <a:lnTo>
                      <a:pt x="754" y="149"/>
                    </a:lnTo>
                    <a:lnTo>
                      <a:pt x="752" y="149"/>
                    </a:lnTo>
                    <a:lnTo>
                      <a:pt x="749" y="149"/>
                    </a:lnTo>
                    <a:lnTo>
                      <a:pt x="749" y="149"/>
                    </a:lnTo>
                    <a:lnTo>
                      <a:pt x="747" y="149"/>
                    </a:lnTo>
                    <a:lnTo>
                      <a:pt x="745" y="149"/>
                    </a:lnTo>
                    <a:lnTo>
                      <a:pt x="742" y="147"/>
                    </a:lnTo>
                    <a:lnTo>
                      <a:pt x="740" y="147"/>
                    </a:lnTo>
                    <a:lnTo>
                      <a:pt x="738" y="149"/>
                    </a:lnTo>
                    <a:lnTo>
                      <a:pt x="738" y="149"/>
                    </a:lnTo>
                    <a:lnTo>
                      <a:pt x="738" y="149"/>
                    </a:lnTo>
                    <a:lnTo>
                      <a:pt x="738" y="149"/>
                    </a:lnTo>
                    <a:lnTo>
                      <a:pt x="738" y="149"/>
                    </a:lnTo>
                    <a:lnTo>
                      <a:pt x="735" y="149"/>
                    </a:lnTo>
                    <a:lnTo>
                      <a:pt x="733" y="149"/>
                    </a:lnTo>
                    <a:lnTo>
                      <a:pt x="733" y="151"/>
                    </a:lnTo>
                    <a:lnTo>
                      <a:pt x="733" y="151"/>
                    </a:lnTo>
                    <a:lnTo>
                      <a:pt x="726" y="158"/>
                    </a:lnTo>
                    <a:lnTo>
                      <a:pt x="726" y="161"/>
                    </a:lnTo>
                    <a:lnTo>
                      <a:pt x="726" y="161"/>
                    </a:lnTo>
                    <a:lnTo>
                      <a:pt x="723" y="161"/>
                    </a:lnTo>
                    <a:lnTo>
                      <a:pt x="723" y="161"/>
                    </a:lnTo>
                    <a:lnTo>
                      <a:pt x="723" y="163"/>
                    </a:lnTo>
                    <a:lnTo>
                      <a:pt x="723" y="163"/>
                    </a:lnTo>
                    <a:lnTo>
                      <a:pt x="721" y="163"/>
                    </a:lnTo>
                    <a:lnTo>
                      <a:pt x="721" y="166"/>
                    </a:lnTo>
                    <a:lnTo>
                      <a:pt x="719" y="168"/>
                    </a:lnTo>
                    <a:lnTo>
                      <a:pt x="719" y="170"/>
                    </a:lnTo>
                    <a:lnTo>
                      <a:pt x="719" y="173"/>
                    </a:lnTo>
                    <a:lnTo>
                      <a:pt x="719" y="173"/>
                    </a:lnTo>
                    <a:lnTo>
                      <a:pt x="719" y="173"/>
                    </a:lnTo>
                    <a:lnTo>
                      <a:pt x="719" y="173"/>
                    </a:lnTo>
                    <a:lnTo>
                      <a:pt x="719" y="173"/>
                    </a:lnTo>
                    <a:lnTo>
                      <a:pt x="719" y="173"/>
                    </a:lnTo>
                    <a:lnTo>
                      <a:pt x="712" y="175"/>
                    </a:lnTo>
                    <a:lnTo>
                      <a:pt x="709" y="175"/>
                    </a:lnTo>
                    <a:lnTo>
                      <a:pt x="709" y="177"/>
                    </a:lnTo>
                    <a:lnTo>
                      <a:pt x="707" y="177"/>
                    </a:lnTo>
                    <a:lnTo>
                      <a:pt x="707" y="177"/>
                    </a:lnTo>
                    <a:lnTo>
                      <a:pt x="707" y="175"/>
                    </a:lnTo>
                    <a:lnTo>
                      <a:pt x="704" y="175"/>
                    </a:lnTo>
                    <a:lnTo>
                      <a:pt x="704" y="175"/>
                    </a:lnTo>
                    <a:lnTo>
                      <a:pt x="704" y="175"/>
                    </a:lnTo>
                    <a:lnTo>
                      <a:pt x="707" y="173"/>
                    </a:lnTo>
                    <a:lnTo>
                      <a:pt x="709" y="168"/>
                    </a:lnTo>
                    <a:lnTo>
                      <a:pt x="712" y="166"/>
                    </a:lnTo>
                    <a:lnTo>
                      <a:pt x="712" y="163"/>
                    </a:lnTo>
                    <a:lnTo>
                      <a:pt x="714" y="161"/>
                    </a:lnTo>
                    <a:lnTo>
                      <a:pt x="714" y="161"/>
                    </a:lnTo>
                    <a:lnTo>
                      <a:pt x="714" y="161"/>
                    </a:lnTo>
                    <a:lnTo>
                      <a:pt x="712" y="161"/>
                    </a:lnTo>
                    <a:lnTo>
                      <a:pt x="712" y="161"/>
                    </a:lnTo>
                    <a:lnTo>
                      <a:pt x="712" y="158"/>
                    </a:lnTo>
                    <a:lnTo>
                      <a:pt x="714" y="158"/>
                    </a:lnTo>
                    <a:lnTo>
                      <a:pt x="714" y="158"/>
                    </a:lnTo>
                    <a:lnTo>
                      <a:pt x="712" y="158"/>
                    </a:lnTo>
                    <a:lnTo>
                      <a:pt x="712" y="158"/>
                    </a:lnTo>
                    <a:lnTo>
                      <a:pt x="712" y="156"/>
                    </a:lnTo>
                    <a:lnTo>
                      <a:pt x="709" y="156"/>
                    </a:lnTo>
                    <a:lnTo>
                      <a:pt x="709" y="156"/>
                    </a:lnTo>
                    <a:lnTo>
                      <a:pt x="707" y="154"/>
                    </a:lnTo>
                    <a:lnTo>
                      <a:pt x="704" y="154"/>
                    </a:lnTo>
                    <a:lnTo>
                      <a:pt x="700" y="154"/>
                    </a:lnTo>
                    <a:lnTo>
                      <a:pt x="697" y="154"/>
                    </a:lnTo>
                    <a:lnTo>
                      <a:pt x="697" y="154"/>
                    </a:lnTo>
                    <a:lnTo>
                      <a:pt x="697" y="156"/>
                    </a:lnTo>
                    <a:lnTo>
                      <a:pt x="700" y="156"/>
                    </a:lnTo>
                    <a:lnTo>
                      <a:pt x="700" y="156"/>
                    </a:lnTo>
                    <a:lnTo>
                      <a:pt x="697" y="158"/>
                    </a:lnTo>
                    <a:lnTo>
                      <a:pt x="697" y="158"/>
                    </a:lnTo>
                    <a:lnTo>
                      <a:pt x="693" y="158"/>
                    </a:lnTo>
                    <a:lnTo>
                      <a:pt x="693" y="161"/>
                    </a:lnTo>
                    <a:lnTo>
                      <a:pt x="688" y="161"/>
                    </a:lnTo>
                    <a:lnTo>
                      <a:pt x="683" y="163"/>
                    </a:lnTo>
                    <a:lnTo>
                      <a:pt x="678" y="163"/>
                    </a:lnTo>
                    <a:lnTo>
                      <a:pt x="678" y="163"/>
                    </a:lnTo>
                    <a:lnTo>
                      <a:pt x="676" y="163"/>
                    </a:lnTo>
                    <a:lnTo>
                      <a:pt x="678" y="163"/>
                    </a:lnTo>
                    <a:lnTo>
                      <a:pt x="678" y="163"/>
                    </a:lnTo>
                    <a:lnTo>
                      <a:pt x="678" y="163"/>
                    </a:lnTo>
                    <a:lnTo>
                      <a:pt x="678" y="163"/>
                    </a:lnTo>
                    <a:lnTo>
                      <a:pt x="678" y="163"/>
                    </a:lnTo>
                    <a:lnTo>
                      <a:pt x="678" y="163"/>
                    </a:lnTo>
                    <a:lnTo>
                      <a:pt x="676" y="163"/>
                    </a:lnTo>
                    <a:lnTo>
                      <a:pt x="674" y="163"/>
                    </a:lnTo>
                    <a:lnTo>
                      <a:pt x="671" y="166"/>
                    </a:lnTo>
                    <a:lnTo>
                      <a:pt x="671" y="166"/>
                    </a:lnTo>
                    <a:lnTo>
                      <a:pt x="669" y="163"/>
                    </a:lnTo>
                    <a:lnTo>
                      <a:pt x="671" y="163"/>
                    </a:lnTo>
                    <a:lnTo>
                      <a:pt x="674" y="163"/>
                    </a:lnTo>
                    <a:lnTo>
                      <a:pt x="681" y="161"/>
                    </a:lnTo>
                    <a:lnTo>
                      <a:pt x="683" y="158"/>
                    </a:lnTo>
                    <a:lnTo>
                      <a:pt x="686" y="158"/>
                    </a:lnTo>
                    <a:lnTo>
                      <a:pt x="683" y="156"/>
                    </a:lnTo>
                    <a:lnTo>
                      <a:pt x="678" y="156"/>
                    </a:lnTo>
                    <a:lnTo>
                      <a:pt x="674" y="154"/>
                    </a:lnTo>
                    <a:lnTo>
                      <a:pt x="671" y="154"/>
                    </a:lnTo>
                    <a:lnTo>
                      <a:pt x="667" y="154"/>
                    </a:lnTo>
                    <a:lnTo>
                      <a:pt x="664" y="154"/>
                    </a:lnTo>
                    <a:lnTo>
                      <a:pt x="664" y="154"/>
                    </a:lnTo>
                    <a:lnTo>
                      <a:pt x="659" y="156"/>
                    </a:lnTo>
                    <a:lnTo>
                      <a:pt x="657" y="156"/>
                    </a:lnTo>
                    <a:lnTo>
                      <a:pt x="657" y="158"/>
                    </a:lnTo>
                    <a:lnTo>
                      <a:pt x="655" y="158"/>
                    </a:lnTo>
                    <a:lnTo>
                      <a:pt x="655" y="158"/>
                    </a:lnTo>
                    <a:lnTo>
                      <a:pt x="652" y="158"/>
                    </a:lnTo>
                    <a:lnTo>
                      <a:pt x="652" y="158"/>
                    </a:lnTo>
                    <a:lnTo>
                      <a:pt x="652" y="158"/>
                    </a:lnTo>
                    <a:lnTo>
                      <a:pt x="648" y="158"/>
                    </a:lnTo>
                    <a:lnTo>
                      <a:pt x="645" y="158"/>
                    </a:lnTo>
                    <a:lnTo>
                      <a:pt x="643" y="161"/>
                    </a:lnTo>
                    <a:lnTo>
                      <a:pt x="641" y="161"/>
                    </a:lnTo>
                    <a:lnTo>
                      <a:pt x="641" y="161"/>
                    </a:lnTo>
                    <a:lnTo>
                      <a:pt x="641" y="158"/>
                    </a:lnTo>
                    <a:lnTo>
                      <a:pt x="645" y="158"/>
                    </a:lnTo>
                    <a:lnTo>
                      <a:pt x="648" y="156"/>
                    </a:lnTo>
                    <a:lnTo>
                      <a:pt x="650" y="156"/>
                    </a:lnTo>
                    <a:lnTo>
                      <a:pt x="652" y="154"/>
                    </a:lnTo>
                    <a:lnTo>
                      <a:pt x="652" y="154"/>
                    </a:lnTo>
                    <a:lnTo>
                      <a:pt x="655" y="154"/>
                    </a:lnTo>
                    <a:lnTo>
                      <a:pt x="655" y="151"/>
                    </a:lnTo>
                    <a:lnTo>
                      <a:pt x="657" y="149"/>
                    </a:lnTo>
                    <a:lnTo>
                      <a:pt x="659" y="149"/>
                    </a:lnTo>
                    <a:lnTo>
                      <a:pt x="659" y="149"/>
                    </a:lnTo>
                    <a:lnTo>
                      <a:pt x="659" y="149"/>
                    </a:lnTo>
                    <a:lnTo>
                      <a:pt x="657" y="147"/>
                    </a:lnTo>
                    <a:lnTo>
                      <a:pt x="655" y="147"/>
                    </a:lnTo>
                    <a:lnTo>
                      <a:pt x="641" y="149"/>
                    </a:lnTo>
                    <a:lnTo>
                      <a:pt x="624" y="151"/>
                    </a:lnTo>
                    <a:lnTo>
                      <a:pt x="617" y="154"/>
                    </a:lnTo>
                    <a:lnTo>
                      <a:pt x="612" y="154"/>
                    </a:lnTo>
                    <a:lnTo>
                      <a:pt x="605" y="156"/>
                    </a:lnTo>
                    <a:lnTo>
                      <a:pt x="593" y="158"/>
                    </a:lnTo>
                    <a:lnTo>
                      <a:pt x="589" y="161"/>
                    </a:lnTo>
                    <a:lnTo>
                      <a:pt x="586" y="163"/>
                    </a:lnTo>
                    <a:lnTo>
                      <a:pt x="584" y="163"/>
                    </a:lnTo>
                    <a:lnTo>
                      <a:pt x="584" y="163"/>
                    </a:lnTo>
                    <a:lnTo>
                      <a:pt x="584" y="163"/>
                    </a:lnTo>
                    <a:lnTo>
                      <a:pt x="586" y="166"/>
                    </a:lnTo>
                    <a:lnTo>
                      <a:pt x="586" y="166"/>
                    </a:lnTo>
                    <a:lnTo>
                      <a:pt x="584" y="166"/>
                    </a:lnTo>
                    <a:lnTo>
                      <a:pt x="581" y="166"/>
                    </a:lnTo>
                    <a:lnTo>
                      <a:pt x="577" y="168"/>
                    </a:lnTo>
                    <a:lnTo>
                      <a:pt x="570" y="170"/>
                    </a:lnTo>
                    <a:lnTo>
                      <a:pt x="570" y="170"/>
                    </a:lnTo>
                    <a:lnTo>
                      <a:pt x="567" y="173"/>
                    </a:lnTo>
                    <a:lnTo>
                      <a:pt x="565" y="173"/>
                    </a:lnTo>
                    <a:lnTo>
                      <a:pt x="563" y="175"/>
                    </a:lnTo>
                    <a:lnTo>
                      <a:pt x="563" y="175"/>
                    </a:lnTo>
                    <a:lnTo>
                      <a:pt x="563" y="175"/>
                    </a:lnTo>
                    <a:lnTo>
                      <a:pt x="567" y="177"/>
                    </a:lnTo>
                    <a:lnTo>
                      <a:pt x="570" y="177"/>
                    </a:lnTo>
                    <a:lnTo>
                      <a:pt x="577" y="175"/>
                    </a:lnTo>
                    <a:lnTo>
                      <a:pt x="577" y="175"/>
                    </a:lnTo>
                    <a:lnTo>
                      <a:pt x="574" y="177"/>
                    </a:lnTo>
                    <a:lnTo>
                      <a:pt x="570" y="177"/>
                    </a:lnTo>
                    <a:lnTo>
                      <a:pt x="567" y="180"/>
                    </a:lnTo>
                    <a:lnTo>
                      <a:pt x="567" y="180"/>
                    </a:lnTo>
                    <a:lnTo>
                      <a:pt x="567" y="180"/>
                    </a:lnTo>
                    <a:lnTo>
                      <a:pt x="570" y="180"/>
                    </a:lnTo>
                    <a:lnTo>
                      <a:pt x="572" y="180"/>
                    </a:lnTo>
                    <a:lnTo>
                      <a:pt x="579" y="180"/>
                    </a:lnTo>
                    <a:lnTo>
                      <a:pt x="586" y="180"/>
                    </a:lnTo>
                    <a:lnTo>
                      <a:pt x="603" y="177"/>
                    </a:lnTo>
                    <a:lnTo>
                      <a:pt x="607" y="180"/>
                    </a:lnTo>
                    <a:lnTo>
                      <a:pt x="607" y="180"/>
                    </a:lnTo>
                    <a:lnTo>
                      <a:pt x="605" y="180"/>
                    </a:lnTo>
                    <a:lnTo>
                      <a:pt x="603" y="180"/>
                    </a:lnTo>
                    <a:lnTo>
                      <a:pt x="600" y="180"/>
                    </a:lnTo>
                    <a:lnTo>
                      <a:pt x="598" y="180"/>
                    </a:lnTo>
                    <a:lnTo>
                      <a:pt x="596" y="180"/>
                    </a:lnTo>
                    <a:lnTo>
                      <a:pt x="596" y="180"/>
                    </a:lnTo>
                    <a:lnTo>
                      <a:pt x="596" y="180"/>
                    </a:lnTo>
                    <a:lnTo>
                      <a:pt x="596" y="180"/>
                    </a:lnTo>
                    <a:lnTo>
                      <a:pt x="593" y="182"/>
                    </a:lnTo>
                    <a:lnTo>
                      <a:pt x="591" y="182"/>
                    </a:lnTo>
                    <a:lnTo>
                      <a:pt x="589" y="182"/>
                    </a:lnTo>
                    <a:lnTo>
                      <a:pt x="581" y="182"/>
                    </a:lnTo>
                    <a:lnTo>
                      <a:pt x="574" y="184"/>
                    </a:lnTo>
                    <a:lnTo>
                      <a:pt x="567" y="184"/>
                    </a:lnTo>
                    <a:lnTo>
                      <a:pt x="565" y="184"/>
                    </a:lnTo>
                    <a:lnTo>
                      <a:pt x="558" y="187"/>
                    </a:lnTo>
                    <a:lnTo>
                      <a:pt x="555" y="187"/>
                    </a:lnTo>
                    <a:lnTo>
                      <a:pt x="555" y="189"/>
                    </a:lnTo>
                    <a:lnTo>
                      <a:pt x="555" y="189"/>
                    </a:lnTo>
                    <a:lnTo>
                      <a:pt x="558" y="194"/>
                    </a:lnTo>
                    <a:lnTo>
                      <a:pt x="565" y="194"/>
                    </a:lnTo>
                    <a:lnTo>
                      <a:pt x="574" y="194"/>
                    </a:lnTo>
                    <a:lnTo>
                      <a:pt x="577" y="194"/>
                    </a:lnTo>
                    <a:lnTo>
                      <a:pt x="577" y="194"/>
                    </a:lnTo>
                    <a:lnTo>
                      <a:pt x="579" y="194"/>
                    </a:lnTo>
                    <a:lnTo>
                      <a:pt x="589" y="194"/>
                    </a:lnTo>
                    <a:lnTo>
                      <a:pt x="596" y="194"/>
                    </a:lnTo>
                    <a:lnTo>
                      <a:pt x="598" y="194"/>
                    </a:lnTo>
                    <a:lnTo>
                      <a:pt x="603" y="194"/>
                    </a:lnTo>
                    <a:lnTo>
                      <a:pt x="603" y="194"/>
                    </a:lnTo>
                    <a:lnTo>
                      <a:pt x="607" y="194"/>
                    </a:lnTo>
                    <a:lnTo>
                      <a:pt x="610" y="194"/>
                    </a:lnTo>
                    <a:lnTo>
                      <a:pt x="615" y="194"/>
                    </a:lnTo>
                    <a:lnTo>
                      <a:pt x="617" y="194"/>
                    </a:lnTo>
                    <a:lnTo>
                      <a:pt x="626" y="196"/>
                    </a:lnTo>
                    <a:lnTo>
                      <a:pt x="631" y="199"/>
                    </a:lnTo>
                    <a:lnTo>
                      <a:pt x="631" y="199"/>
                    </a:lnTo>
                    <a:lnTo>
                      <a:pt x="629" y="201"/>
                    </a:lnTo>
                    <a:lnTo>
                      <a:pt x="629" y="201"/>
                    </a:lnTo>
                    <a:lnTo>
                      <a:pt x="624" y="201"/>
                    </a:lnTo>
                    <a:lnTo>
                      <a:pt x="622" y="201"/>
                    </a:lnTo>
                    <a:lnTo>
                      <a:pt x="617" y="201"/>
                    </a:lnTo>
                    <a:lnTo>
                      <a:pt x="617" y="201"/>
                    </a:lnTo>
                    <a:lnTo>
                      <a:pt x="610" y="201"/>
                    </a:lnTo>
                    <a:lnTo>
                      <a:pt x="603" y="201"/>
                    </a:lnTo>
                    <a:lnTo>
                      <a:pt x="600" y="201"/>
                    </a:lnTo>
                    <a:lnTo>
                      <a:pt x="598" y="199"/>
                    </a:lnTo>
                    <a:lnTo>
                      <a:pt x="591" y="199"/>
                    </a:lnTo>
                    <a:lnTo>
                      <a:pt x="579" y="201"/>
                    </a:lnTo>
                    <a:lnTo>
                      <a:pt x="563" y="201"/>
                    </a:lnTo>
                    <a:lnTo>
                      <a:pt x="553" y="203"/>
                    </a:lnTo>
                    <a:lnTo>
                      <a:pt x="553" y="203"/>
                    </a:lnTo>
                    <a:lnTo>
                      <a:pt x="551" y="203"/>
                    </a:lnTo>
                    <a:lnTo>
                      <a:pt x="551" y="206"/>
                    </a:lnTo>
                    <a:lnTo>
                      <a:pt x="548" y="208"/>
                    </a:lnTo>
                    <a:lnTo>
                      <a:pt x="548" y="208"/>
                    </a:lnTo>
                    <a:lnTo>
                      <a:pt x="548" y="208"/>
                    </a:lnTo>
                    <a:lnTo>
                      <a:pt x="548" y="210"/>
                    </a:lnTo>
                    <a:lnTo>
                      <a:pt x="548" y="213"/>
                    </a:lnTo>
                    <a:lnTo>
                      <a:pt x="548" y="213"/>
                    </a:lnTo>
                    <a:lnTo>
                      <a:pt x="548" y="215"/>
                    </a:lnTo>
                    <a:lnTo>
                      <a:pt x="548" y="215"/>
                    </a:lnTo>
                    <a:lnTo>
                      <a:pt x="548" y="215"/>
                    </a:lnTo>
                    <a:lnTo>
                      <a:pt x="553" y="218"/>
                    </a:lnTo>
                    <a:lnTo>
                      <a:pt x="555" y="218"/>
                    </a:lnTo>
                    <a:lnTo>
                      <a:pt x="558" y="218"/>
                    </a:lnTo>
                    <a:lnTo>
                      <a:pt x="563" y="218"/>
                    </a:lnTo>
                    <a:lnTo>
                      <a:pt x="570" y="218"/>
                    </a:lnTo>
                    <a:lnTo>
                      <a:pt x="574" y="218"/>
                    </a:lnTo>
                    <a:lnTo>
                      <a:pt x="577" y="218"/>
                    </a:lnTo>
                    <a:lnTo>
                      <a:pt x="581" y="220"/>
                    </a:lnTo>
                    <a:lnTo>
                      <a:pt x="581" y="220"/>
                    </a:lnTo>
                    <a:lnTo>
                      <a:pt x="579" y="222"/>
                    </a:lnTo>
                    <a:lnTo>
                      <a:pt x="579" y="222"/>
                    </a:lnTo>
                    <a:lnTo>
                      <a:pt x="577" y="225"/>
                    </a:lnTo>
                    <a:lnTo>
                      <a:pt x="574" y="227"/>
                    </a:lnTo>
                    <a:lnTo>
                      <a:pt x="574" y="229"/>
                    </a:lnTo>
                    <a:lnTo>
                      <a:pt x="574" y="232"/>
                    </a:lnTo>
                    <a:lnTo>
                      <a:pt x="577" y="232"/>
                    </a:lnTo>
                    <a:lnTo>
                      <a:pt x="577" y="232"/>
                    </a:lnTo>
                    <a:lnTo>
                      <a:pt x="579" y="232"/>
                    </a:lnTo>
                    <a:lnTo>
                      <a:pt x="581" y="232"/>
                    </a:lnTo>
                    <a:lnTo>
                      <a:pt x="589" y="232"/>
                    </a:lnTo>
                    <a:lnTo>
                      <a:pt x="598" y="232"/>
                    </a:lnTo>
                    <a:lnTo>
                      <a:pt x="600" y="232"/>
                    </a:lnTo>
                    <a:lnTo>
                      <a:pt x="605" y="229"/>
                    </a:lnTo>
                    <a:lnTo>
                      <a:pt x="607" y="229"/>
                    </a:lnTo>
                    <a:lnTo>
                      <a:pt x="607" y="229"/>
                    </a:lnTo>
                    <a:lnTo>
                      <a:pt x="615" y="229"/>
                    </a:lnTo>
                    <a:lnTo>
                      <a:pt x="622" y="229"/>
                    </a:lnTo>
                    <a:lnTo>
                      <a:pt x="629" y="229"/>
                    </a:lnTo>
                    <a:lnTo>
                      <a:pt x="638" y="227"/>
                    </a:lnTo>
                    <a:lnTo>
                      <a:pt x="643" y="225"/>
                    </a:lnTo>
                    <a:lnTo>
                      <a:pt x="645" y="225"/>
                    </a:lnTo>
                    <a:lnTo>
                      <a:pt x="650" y="225"/>
                    </a:lnTo>
                    <a:lnTo>
                      <a:pt x="657" y="225"/>
                    </a:lnTo>
                    <a:lnTo>
                      <a:pt x="662" y="222"/>
                    </a:lnTo>
                    <a:lnTo>
                      <a:pt x="664" y="222"/>
                    </a:lnTo>
                    <a:lnTo>
                      <a:pt x="669" y="220"/>
                    </a:lnTo>
                    <a:lnTo>
                      <a:pt x="671" y="220"/>
                    </a:lnTo>
                    <a:lnTo>
                      <a:pt x="676" y="218"/>
                    </a:lnTo>
                    <a:lnTo>
                      <a:pt x="678" y="215"/>
                    </a:lnTo>
                    <a:lnTo>
                      <a:pt x="681" y="215"/>
                    </a:lnTo>
                    <a:lnTo>
                      <a:pt x="683" y="215"/>
                    </a:lnTo>
                    <a:lnTo>
                      <a:pt x="683" y="215"/>
                    </a:lnTo>
                    <a:lnTo>
                      <a:pt x="686" y="215"/>
                    </a:lnTo>
                    <a:lnTo>
                      <a:pt x="683" y="218"/>
                    </a:lnTo>
                    <a:lnTo>
                      <a:pt x="683" y="218"/>
                    </a:lnTo>
                    <a:lnTo>
                      <a:pt x="683" y="218"/>
                    </a:lnTo>
                    <a:lnTo>
                      <a:pt x="681" y="218"/>
                    </a:lnTo>
                    <a:lnTo>
                      <a:pt x="683" y="220"/>
                    </a:lnTo>
                    <a:lnTo>
                      <a:pt x="683" y="220"/>
                    </a:lnTo>
                    <a:lnTo>
                      <a:pt x="686" y="220"/>
                    </a:lnTo>
                    <a:lnTo>
                      <a:pt x="688" y="220"/>
                    </a:lnTo>
                    <a:lnTo>
                      <a:pt x="690" y="220"/>
                    </a:lnTo>
                    <a:lnTo>
                      <a:pt x="695" y="220"/>
                    </a:lnTo>
                    <a:lnTo>
                      <a:pt x="697" y="222"/>
                    </a:lnTo>
                    <a:lnTo>
                      <a:pt x="697" y="222"/>
                    </a:lnTo>
                    <a:lnTo>
                      <a:pt x="697" y="222"/>
                    </a:lnTo>
                    <a:lnTo>
                      <a:pt x="693" y="222"/>
                    </a:lnTo>
                    <a:lnTo>
                      <a:pt x="693" y="225"/>
                    </a:lnTo>
                    <a:lnTo>
                      <a:pt x="693" y="225"/>
                    </a:lnTo>
                    <a:lnTo>
                      <a:pt x="700" y="225"/>
                    </a:lnTo>
                    <a:lnTo>
                      <a:pt x="702" y="225"/>
                    </a:lnTo>
                    <a:lnTo>
                      <a:pt x="704" y="225"/>
                    </a:lnTo>
                    <a:lnTo>
                      <a:pt x="707" y="225"/>
                    </a:lnTo>
                    <a:lnTo>
                      <a:pt x="709" y="225"/>
                    </a:lnTo>
                    <a:lnTo>
                      <a:pt x="714" y="227"/>
                    </a:lnTo>
                    <a:lnTo>
                      <a:pt x="719" y="225"/>
                    </a:lnTo>
                    <a:lnTo>
                      <a:pt x="721" y="227"/>
                    </a:lnTo>
                    <a:lnTo>
                      <a:pt x="723" y="225"/>
                    </a:lnTo>
                    <a:lnTo>
                      <a:pt x="723" y="225"/>
                    </a:lnTo>
                    <a:lnTo>
                      <a:pt x="728" y="225"/>
                    </a:lnTo>
                    <a:lnTo>
                      <a:pt x="730" y="225"/>
                    </a:lnTo>
                    <a:lnTo>
                      <a:pt x="738" y="222"/>
                    </a:lnTo>
                    <a:lnTo>
                      <a:pt x="740" y="222"/>
                    </a:lnTo>
                    <a:lnTo>
                      <a:pt x="742" y="220"/>
                    </a:lnTo>
                    <a:lnTo>
                      <a:pt x="742" y="220"/>
                    </a:lnTo>
                    <a:lnTo>
                      <a:pt x="742" y="220"/>
                    </a:lnTo>
                    <a:lnTo>
                      <a:pt x="742" y="218"/>
                    </a:lnTo>
                    <a:lnTo>
                      <a:pt x="742" y="218"/>
                    </a:lnTo>
                    <a:lnTo>
                      <a:pt x="740" y="218"/>
                    </a:lnTo>
                    <a:lnTo>
                      <a:pt x="740" y="218"/>
                    </a:lnTo>
                    <a:lnTo>
                      <a:pt x="740" y="218"/>
                    </a:lnTo>
                    <a:lnTo>
                      <a:pt x="740" y="218"/>
                    </a:lnTo>
                    <a:lnTo>
                      <a:pt x="742" y="218"/>
                    </a:lnTo>
                    <a:lnTo>
                      <a:pt x="742" y="215"/>
                    </a:lnTo>
                    <a:lnTo>
                      <a:pt x="745" y="215"/>
                    </a:lnTo>
                    <a:lnTo>
                      <a:pt x="745" y="215"/>
                    </a:lnTo>
                    <a:lnTo>
                      <a:pt x="745" y="215"/>
                    </a:lnTo>
                    <a:lnTo>
                      <a:pt x="742" y="215"/>
                    </a:lnTo>
                    <a:lnTo>
                      <a:pt x="740" y="215"/>
                    </a:lnTo>
                    <a:lnTo>
                      <a:pt x="738" y="215"/>
                    </a:lnTo>
                    <a:lnTo>
                      <a:pt x="733" y="215"/>
                    </a:lnTo>
                    <a:lnTo>
                      <a:pt x="730" y="218"/>
                    </a:lnTo>
                    <a:lnTo>
                      <a:pt x="726" y="220"/>
                    </a:lnTo>
                    <a:lnTo>
                      <a:pt x="726" y="220"/>
                    </a:lnTo>
                    <a:lnTo>
                      <a:pt x="726" y="218"/>
                    </a:lnTo>
                    <a:lnTo>
                      <a:pt x="728" y="215"/>
                    </a:lnTo>
                    <a:lnTo>
                      <a:pt x="730" y="215"/>
                    </a:lnTo>
                    <a:lnTo>
                      <a:pt x="730" y="215"/>
                    </a:lnTo>
                    <a:lnTo>
                      <a:pt x="730" y="215"/>
                    </a:lnTo>
                    <a:lnTo>
                      <a:pt x="730" y="215"/>
                    </a:lnTo>
                    <a:lnTo>
                      <a:pt x="730" y="213"/>
                    </a:lnTo>
                    <a:lnTo>
                      <a:pt x="728" y="213"/>
                    </a:lnTo>
                    <a:lnTo>
                      <a:pt x="728" y="213"/>
                    </a:lnTo>
                    <a:lnTo>
                      <a:pt x="728" y="210"/>
                    </a:lnTo>
                    <a:lnTo>
                      <a:pt x="728" y="210"/>
                    </a:lnTo>
                    <a:lnTo>
                      <a:pt x="730" y="210"/>
                    </a:lnTo>
                    <a:lnTo>
                      <a:pt x="730" y="210"/>
                    </a:lnTo>
                    <a:lnTo>
                      <a:pt x="733" y="213"/>
                    </a:lnTo>
                    <a:lnTo>
                      <a:pt x="735" y="213"/>
                    </a:lnTo>
                    <a:lnTo>
                      <a:pt x="735" y="213"/>
                    </a:lnTo>
                    <a:lnTo>
                      <a:pt x="738" y="213"/>
                    </a:lnTo>
                    <a:lnTo>
                      <a:pt x="740" y="213"/>
                    </a:lnTo>
                    <a:lnTo>
                      <a:pt x="740" y="213"/>
                    </a:lnTo>
                    <a:lnTo>
                      <a:pt x="740" y="213"/>
                    </a:lnTo>
                    <a:lnTo>
                      <a:pt x="740" y="210"/>
                    </a:lnTo>
                    <a:lnTo>
                      <a:pt x="742" y="210"/>
                    </a:lnTo>
                    <a:lnTo>
                      <a:pt x="742" y="210"/>
                    </a:lnTo>
                    <a:lnTo>
                      <a:pt x="742" y="208"/>
                    </a:lnTo>
                    <a:lnTo>
                      <a:pt x="747" y="208"/>
                    </a:lnTo>
                    <a:lnTo>
                      <a:pt x="749" y="208"/>
                    </a:lnTo>
                    <a:lnTo>
                      <a:pt x="749" y="208"/>
                    </a:lnTo>
                    <a:lnTo>
                      <a:pt x="749" y="208"/>
                    </a:lnTo>
                    <a:lnTo>
                      <a:pt x="752" y="210"/>
                    </a:lnTo>
                    <a:lnTo>
                      <a:pt x="752" y="210"/>
                    </a:lnTo>
                    <a:lnTo>
                      <a:pt x="754" y="210"/>
                    </a:lnTo>
                    <a:lnTo>
                      <a:pt x="754" y="210"/>
                    </a:lnTo>
                    <a:lnTo>
                      <a:pt x="756" y="210"/>
                    </a:lnTo>
                    <a:lnTo>
                      <a:pt x="759" y="208"/>
                    </a:lnTo>
                    <a:lnTo>
                      <a:pt x="759" y="208"/>
                    </a:lnTo>
                    <a:lnTo>
                      <a:pt x="759" y="208"/>
                    </a:lnTo>
                    <a:lnTo>
                      <a:pt x="759" y="210"/>
                    </a:lnTo>
                    <a:lnTo>
                      <a:pt x="759" y="210"/>
                    </a:lnTo>
                    <a:lnTo>
                      <a:pt x="759" y="210"/>
                    </a:lnTo>
                    <a:lnTo>
                      <a:pt x="761" y="210"/>
                    </a:lnTo>
                    <a:lnTo>
                      <a:pt x="761" y="210"/>
                    </a:lnTo>
                    <a:lnTo>
                      <a:pt x="764" y="210"/>
                    </a:lnTo>
                    <a:lnTo>
                      <a:pt x="766" y="208"/>
                    </a:lnTo>
                    <a:lnTo>
                      <a:pt x="766" y="208"/>
                    </a:lnTo>
                    <a:close/>
                    <a:moveTo>
                      <a:pt x="830" y="215"/>
                    </a:moveTo>
                    <a:lnTo>
                      <a:pt x="830" y="215"/>
                    </a:lnTo>
                    <a:lnTo>
                      <a:pt x="830" y="215"/>
                    </a:lnTo>
                    <a:lnTo>
                      <a:pt x="827" y="218"/>
                    </a:lnTo>
                    <a:lnTo>
                      <a:pt x="827" y="218"/>
                    </a:lnTo>
                    <a:lnTo>
                      <a:pt x="830" y="218"/>
                    </a:lnTo>
                    <a:lnTo>
                      <a:pt x="830" y="218"/>
                    </a:lnTo>
                    <a:lnTo>
                      <a:pt x="832" y="215"/>
                    </a:lnTo>
                    <a:lnTo>
                      <a:pt x="832" y="215"/>
                    </a:lnTo>
                    <a:lnTo>
                      <a:pt x="835" y="215"/>
                    </a:lnTo>
                    <a:lnTo>
                      <a:pt x="835" y="213"/>
                    </a:lnTo>
                    <a:lnTo>
                      <a:pt x="835" y="213"/>
                    </a:lnTo>
                    <a:lnTo>
                      <a:pt x="835" y="213"/>
                    </a:lnTo>
                    <a:lnTo>
                      <a:pt x="832" y="210"/>
                    </a:lnTo>
                    <a:lnTo>
                      <a:pt x="832" y="210"/>
                    </a:lnTo>
                    <a:lnTo>
                      <a:pt x="830" y="213"/>
                    </a:lnTo>
                    <a:lnTo>
                      <a:pt x="827" y="213"/>
                    </a:lnTo>
                    <a:lnTo>
                      <a:pt x="827" y="213"/>
                    </a:lnTo>
                    <a:lnTo>
                      <a:pt x="825" y="215"/>
                    </a:lnTo>
                    <a:lnTo>
                      <a:pt x="825" y="215"/>
                    </a:lnTo>
                    <a:lnTo>
                      <a:pt x="825" y="215"/>
                    </a:lnTo>
                    <a:lnTo>
                      <a:pt x="825" y="215"/>
                    </a:lnTo>
                    <a:lnTo>
                      <a:pt x="825" y="218"/>
                    </a:lnTo>
                    <a:lnTo>
                      <a:pt x="827" y="215"/>
                    </a:lnTo>
                    <a:lnTo>
                      <a:pt x="827" y="215"/>
                    </a:lnTo>
                    <a:lnTo>
                      <a:pt x="830" y="213"/>
                    </a:lnTo>
                    <a:lnTo>
                      <a:pt x="830" y="213"/>
                    </a:lnTo>
                    <a:lnTo>
                      <a:pt x="830" y="213"/>
                    </a:lnTo>
                    <a:lnTo>
                      <a:pt x="830" y="213"/>
                    </a:lnTo>
                    <a:lnTo>
                      <a:pt x="832" y="213"/>
                    </a:lnTo>
                    <a:lnTo>
                      <a:pt x="830" y="213"/>
                    </a:lnTo>
                    <a:lnTo>
                      <a:pt x="830" y="215"/>
                    </a:lnTo>
                    <a:close/>
                    <a:moveTo>
                      <a:pt x="764" y="220"/>
                    </a:moveTo>
                    <a:lnTo>
                      <a:pt x="761" y="222"/>
                    </a:lnTo>
                    <a:lnTo>
                      <a:pt x="761" y="222"/>
                    </a:lnTo>
                    <a:lnTo>
                      <a:pt x="761" y="222"/>
                    </a:lnTo>
                    <a:lnTo>
                      <a:pt x="761" y="222"/>
                    </a:lnTo>
                    <a:lnTo>
                      <a:pt x="761" y="222"/>
                    </a:lnTo>
                    <a:lnTo>
                      <a:pt x="764" y="225"/>
                    </a:lnTo>
                    <a:lnTo>
                      <a:pt x="764" y="222"/>
                    </a:lnTo>
                    <a:lnTo>
                      <a:pt x="764" y="222"/>
                    </a:lnTo>
                    <a:lnTo>
                      <a:pt x="764" y="222"/>
                    </a:lnTo>
                    <a:lnTo>
                      <a:pt x="764" y="220"/>
                    </a:lnTo>
                    <a:lnTo>
                      <a:pt x="764" y="220"/>
                    </a:lnTo>
                    <a:lnTo>
                      <a:pt x="764" y="220"/>
                    </a:lnTo>
                    <a:close/>
                    <a:moveTo>
                      <a:pt x="754" y="227"/>
                    </a:moveTo>
                    <a:lnTo>
                      <a:pt x="754" y="227"/>
                    </a:lnTo>
                    <a:lnTo>
                      <a:pt x="756" y="227"/>
                    </a:lnTo>
                    <a:lnTo>
                      <a:pt x="756" y="227"/>
                    </a:lnTo>
                    <a:lnTo>
                      <a:pt x="756" y="227"/>
                    </a:lnTo>
                    <a:lnTo>
                      <a:pt x="759" y="225"/>
                    </a:lnTo>
                    <a:lnTo>
                      <a:pt x="759" y="225"/>
                    </a:lnTo>
                    <a:lnTo>
                      <a:pt x="759" y="225"/>
                    </a:lnTo>
                    <a:lnTo>
                      <a:pt x="759" y="222"/>
                    </a:lnTo>
                    <a:lnTo>
                      <a:pt x="759" y="222"/>
                    </a:lnTo>
                    <a:lnTo>
                      <a:pt x="756" y="222"/>
                    </a:lnTo>
                    <a:lnTo>
                      <a:pt x="756" y="222"/>
                    </a:lnTo>
                    <a:lnTo>
                      <a:pt x="756" y="222"/>
                    </a:lnTo>
                    <a:lnTo>
                      <a:pt x="754" y="222"/>
                    </a:lnTo>
                    <a:lnTo>
                      <a:pt x="754" y="222"/>
                    </a:lnTo>
                    <a:lnTo>
                      <a:pt x="754" y="225"/>
                    </a:lnTo>
                    <a:lnTo>
                      <a:pt x="752" y="225"/>
                    </a:lnTo>
                    <a:lnTo>
                      <a:pt x="752" y="227"/>
                    </a:lnTo>
                    <a:lnTo>
                      <a:pt x="752" y="227"/>
                    </a:lnTo>
                    <a:lnTo>
                      <a:pt x="752" y="227"/>
                    </a:lnTo>
                    <a:lnTo>
                      <a:pt x="752" y="227"/>
                    </a:lnTo>
                    <a:lnTo>
                      <a:pt x="754" y="227"/>
                    </a:lnTo>
                    <a:lnTo>
                      <a:pt x="754" y="227"/>
                    </a:lnTo>
                    <a:lnTo>
                      <a:pt x="754" y="227"/>
                    </a:lnTo>
                    <a:lnTo>
                      <a:pt x="754" y="227"/>
                    </a:lnTo>
                    <a:lnTo>
                      <a:pt x="754" y="227"/>
                    </a:lnTo>
                    <a:close/>
                    <a:moveTo>
                      <a:pt x="730" y="227"/>
                    </a:moveTo>
                    <a:lnTo>
                      <a:pt x="730" y="227"/>
                    </a:lnTo>
                    <a:lnTo>
                      <a:pt x="728" y="227"/>
                    </a:lnTo>
                    <a:lnTo>
                      <a:pt x="726" y="229"/>
                    </a:lnTo>
                    <a:lnTo>
                      <a:pt x="728" y="229"/>
                    </a:lnTo>
                    <a:lnTo>
                      <a:pt x="730" y="229"/>
                    </a:lnTo>
                    <a:lnTo>
                      <a:pt x="730" y="229"/>
                    </a:lnTo>
                    <a:lnTo>
                      <a:pt x="730" y="229"/>
                    </a:lnTo>
                    <a:lnTo>
                      <a:pt x="733" y="229"/>
                    </a:lnTo>
                    <a:lnTo>
                      <a:pt x="735" y="229"/>
                    </a:lnTo>
                    <a:lnTo>
                      <a:pt x="735" y="227"/>
                    </a:lnTo>
                    <a:lnTo>
                      <a:pt x="735" y="227"/>
                    </a:lnTo>
                    <a:lnTo>
                      <a:pt x="735" y="227"/>
                    </a:lnTo>
                    <a:lnTo>
                      <a:pt x="735" y="227"/>
                    </a:lnTo>
                    <a:lnTo>
                      <a:pt x="733" y="225"/>
                    </a:lnTo>
                    <a:lnTo>
                      <a:pt x="730" y="227"/>
                    </a:lnTo>
                    <a:close/>
                    <a:moveTo>
                      <a:pt x="754" y="215"/>
                    </a:moveTo>
                    <a:lnTo>
                      <a:pt x="754" y="215"/>
                    </a:lnTo>
                    <a:lnTo>
                      <a:pt x="754" y="215"/>
                    </a:lnTo>
                    <a:lnTo>
                      <a:pt x="756" y="215"/>
                    </a:lnTo>
                    <a:lnTo>
                      <a:pt x="756" y="215"/>
                    </a:lnTo>
                    <a:lnTo>
                      <a:pt x="756" y="215"/>
                    </a:lnTo>
                    <a:lnTo>
                      <a:pt x="759" y="215"/>
                    </a:lnTo>
                    <a:lnTo>
                      <a:pt x="759" y="213"/>
                    </a:lnTo>
                    <a:lnTo>
                      <a:pt x="759" y="213"/>
                    </a:lnTo>
                    <a:lnTo>
                      <a:pt x="756" y="213"/>
                    </a:lnTo>
                    <a:lnTo>
                      <a:pt x="756" y="213"/>
                    </a:lnTo>
                    <a:lnTo>
                      <a:pt x="754" y="213"/>
                    </a:lnTo>
                    <a:lnTo>
                      <a:pt x="754" y="213"/>
                    </a:lnTo>
                    <a:lnTo>
                      <a:pt x="754" y="213"/>
                    </a:lnTo>
                    <a:lnTo>
                      <a:pt x="756" y="213"/>
                    </a:lnTo>
                    <a:lnTo>
                      <a:pt x="756" y="215"/>
                    </a:lnTo>
                    <a:lnTo>
                      <a:pt x="756" y="215"/>
                    </a:lnTo>
                    <a:lnTo>
                      <a:pt x="754" y="215"/>
                    </a:lnTo>
                    <a:lnTo>
                      <a:pt x="754" y="215"/>
                    </a:lnTo>
                    <a:lnTo>
                      <a:pt x="754" y="215"/>
                    </a:lnTo>
                    <a:lnTo>
                      <a:pt x="754" y="215"/>
                    </a:lnTo>
                    <a:close/>
                    <a:moveTo>
                      <a:pt x="690" y="229"/>
                    </a:moveTo>
                    <a:lnTo>
                      <a:pt x="688" y="229"/>
                    </a:lnTo>
                    <a:lnTo>
                      <a:pt x="688" y="232"/>
                    </a:lnTo>
                    <a:lnTo>
                      <a:pt x="688" y="232"/>
                    </a:lnTo>
                    <a:lnTo>
                      <a:pt x="688" y="232"/>
                    </a:lnTo>
                    <a:lnTo>
                      <a:pt x="688" y="232"/>
                    </a:lnTo>
                    <a:lnTo>
                      <a:pt x="690" y="234"/>
                    </a:lnTo>
                    <a:lnTo>
                      <a:pt x="690" y="234"/>
                    </a:lnTo>
                    <a:lnTo>
                      <a:pt x="693" y="234"/>
                    </a:lnTo>
                    <a:lnTo>
                      <a:pt x="693" y="232"/>
                    </a:lnTo>
                    <a:lnTo>
                      <a:pt x="693" y="232"/>
                    </a:lnTo>
                    <a:lnTo>
                      <a:pt x="695" y="232"/>
                    </a:lnTo>
                    <a:lnTo>
                      <a:pt x="695" y="232"/>
                    </a:lnTo>
                    <a:lnTo>
                      <a:pt x="693" y="229"/>
                    </a:lnTo>
                    <a:lnTo>
                      <a:pt x="693" y="229"/>
                    </a:lnTo>
                    <a:lnTo>
                      <a:pt x="690" y="229"/>
                    </a:lnTo>
                    <a:close/>
                    <a:moveTo>
                      <a:pt x="868" y="106"/>
                    </a:moveTo>
                    <a:lnTo>
                      <a:pt x="863" y="106"/>
                    </a:lnTo>
                    <a:lnTo>
                      <a:pt x="863" y="106"/>
                    </a:lnTo>
                    <a:lnTo>
                      <a:pt x="861" y="109"/>
                    </a:lnTo>
                    <a:lnTo>
                      <a:pt x="853" y="109"/>
                    </a:lnTo>
                    <a:lnTo>
                      <a:pt x="853" y="109"/>
                    </a:lnTo>
                    <a:lnTo>
                      <a:pt x="853" y="111"/>
                    </a:lnTo>
                    <a:lnTo>
                      <a:pt x="853" y="111"/>
                    </a:lnTo>
                    <a:lnTo>
                      <a:pt x="853" y="111"/>
                    </a:lnTo>
                    <a:lnTo>
                      <a:pt x="870" y="109"/>
                    </a:lnTo>
                    <a:lnTo>
                      <a:pt x="872" y="111"/>
                    </a:lnTo>
                    <a:lnTo>
                      <a:pt x="877" y="109"/>
                    </a:lnTo>
                    <a:lnTo>
                      <a:pt x="891" y="109"/>
                    </a:lnTo>
                    <a:lnTo>
                      <a:pt x="901" y="109"/>
                    </a:lnTo>
                    <a:lnTo>
                      <a:pt x="898" y="109"/>
                    </a:lnTo>
                    <a:lnTo>
                      <a:pt x="894" y="109"/>
                    </a:lnTo>
                    <a:lnTo>
                      <a:pt x="891" y="109"/>
                    </a:lnTo>
                    <a:lnTo>
                      <a:pt x="891" y="109"/>
                    </a:lnTo>
                    <a:lnTo>
                      <a:pt x="887" y="111"/>
                    </a:lnTo>
                    <a:lnTo>
                      <a:pt x="882" y="111"/>
                    </a:lnTo>
                    <a:lnTo>
                      <a:pt x="875" y="113"/>
                    </a:lnTo>
                    <a:lnTo>
                      <a:pt x="875" y="113"/>
                    </a:lnTo>
                    <a:lnTo>
                      <a:pt x="872" y="113"/>
                    </a:lnTo>
                    <a:lnTo>
                      <a:pt x="875" y="113"/>
                    </a:lnTo>
                    <a:lnTo>
                      <a:pt x="877" y="116"/>
                    </a:lnTo>
                    <a:lnTo>
                      <a:pt x="879" y="116"/>
                    </a:lnTo>
                    <a:lnTo>
                      <a:pt x="877" y="116"/>
                    </a:lnTo>
                    <a:lnTo>
                      <a:pt x="875" y="116"/>
                    </a:lnTo>
                    <a:lnTo>
                      <a:pt x="872" y="116"/>
                    </a:lnTo>
                    <a:lnTo>
                      <a:pt x="872" y="118"/>
                    </a:lnTo>
                    <a:lnTo>
                      <a:pt x="872" y="118"/>
                    </a:lnTo>
                    <a:lnTo>
                      <a:pt x="872" y="121"/>
                    </a:lnTo>
                    <a:lnTo>
                      <a:pt x="877" y="121"/>
                    </a:lnTo>
                    <a:lnTo>
                      <a:pt x="879" y="121"/>
                    </a:lnTo>
                    <a:lnTo>
                      <a:pt x="884" y="118"/>
                    </a:lnTo>
                    <a:lnTo>
                      <a:pt x="884" y="118"/>
                    </a:lnTo>
                    <a:lnTo>
                      <a:pt x="884" y="118"/>
                    </a:lnTo>
                    <a:lnTo>
                      <a:pt x="887" y="121"/>
                    </a:lnTo>
                    <a:lnTo>
                      <a:pt x="889" y="118"/>
                    </a:lnTo>
                    <a:lnTo>
                      <a:pt x="891" y="118"/>
                    </a:lnTo>
                    <a:lnTo>
                      <a:pt x="891" y="121"/>
                    </a:lnTo>
                    <a:lnTo>
                      <a:pt x="894" y="121"/>
                    </a:lnTo>
                    <a:lnTo>
                      <a:pt x="898" y="118"/>
                    </a:lnTo>
                    <a:lnTo>
                      <a:pt x="898" y="118"/>
                    </a:lnTo>
                    <a:lnTo>
                      <a:pt x="901" y="118"/>
                    </a:lnTo>
                    <a:lnTo>
                      <a:pt x="903" y="118"/>
                    </a:lnTo>
                    <a:lnTo>
                      <a:pt x="903" y="118"/>
                    </a:lnTo>
                    <a:lnTo>
                      <a:pt x="903" y="118"/>
                    </a:lnTo>
                    <a:lnTo>
                      <a:pt x="903" y="116"/>
                    </a:lnTo>
                    <a:lnTo>
                      <a:pt x="903" y="116"/>
                    </a:lnTo>
                    <a:lnTo>
                      <a:pt x="903" y="116"/>
                    </a:lnTo>
                    <a:lnTo>
                      <a:pt x="903" y="118"/>
                    </a:lnTo>
                    <a:lnTo>
                      <a:pt x="906" y="118"/>
                    </a:lnTo>
                    <a:lnTo>
                      <a:pt x="906" y="118"/>
                    </a:lnTo>
                    <a:lnTo>
                      <a:pt x="908" y="118"/>
                    </a:lnTo>
                    <a:lnTo>
                      <a:pt x="908" y="118"/>
                    </a:lnTo>
                    <a:lnTo>
                      <a:pt x="908" y="116"/>
                    </a:lnTo>
                    <a:lnTo>
                      <a:pt x="908" y="116"/>
                    </a:lnTo>
                    <a:lnTo>
                      <a:pt x="910" y="113"/>
                    </a:lnTo>
                    <a:lnTo>
                      <a:pt x="915" y="111"/>
                    </a:lnTo>
                    <a:lnTo>
                      <a:pt x="917" y="111"/>
                    </a:lnTo>
                    <a:lnTo>
                      <a:pt x="917" y="113"/>
                    </a:lnTo>
                    <a:lnTo>
                      <a:pt x="917" y="113"/>
                    </a:lnTo>
                    <a:lnTo>
                      <a:pt x="920" y="111"/>
                    </a:lnTo>
                    <a:lnTo>
                      <a:pt x="922" y="109"/>
                    </a:lnTo>
                    <a:lnTo>
                      <a:pt x="922" y="109"/>
                    </a:lnTo>
                    <a:lnTo>
                      <a:pt x="917" y="106"/>
                    </a:lnTo>
                    <a:lnTo>
                      <a:pt x="917" y="106"/>
                    </a:lnTo>
                    <a:lnTo>
                      <a:pt x="920" y="106"/>
                    </a:lnTo>
                    <a:lnTo>
                      <a:pt x="922" y="106"/>
                    </a:lnTo>
                    <a:lnTo>
                      <a:pt x="922" y="106"/>
                    </a:lnTo>
                    <a:lnTo>
                      <a:pt x="924" y="104"/>
                    </a:lnTo>
                    <a:lnTo>
                      <a:pt x="924" y="104"/>
                    </a:lnTo>
                    <a:lnTo>
                      <a:pt x="927" y="102"/>
                    </a:lnTo>
                    <a:lnTo>
                      <a:pt x="929" y="102"/>
                    </a:lnTo>
                    <a:lnTo>
                      <a:pt x="929" y="102"/>
                    </a:lnTo>
                    <a:lnTo>
                      <a:pt x="932" y="99"/>
                    </a:lnTo>
                    <a:lnTo>
                      <a:pt x="932" y="99"/>
                    </a:lnTo>
                    <a:lnTo>
                      <a:pt x="932" y="99"/>
                    </a:lnTo>
                    <a:lnTo>
                      <a:pt x="932" y="97"/>
                    </a:lnTo>
                    <a:lnTo>
                      <a:pt x="932" y="97"/>
                    </a:lnTo>
                    <a:lnTo>
                      <a:pt x="932" y="97"/>
                    </a:lnTo>
                    <a:lnTo>
                      <a:pt x="934" y="97"/>
                    </a:lnTo>
                    <a:lnTo>
                      <a:pt x="934" y="94"/>
                    </a:lnTo>
                    <a:lnTo>
                      <a:pt x="934" y="94"/>
                    </a:lnTo>
                    <a:lnTo>
                      <a:pt x="934" y="94"/>
                    </a:lnTo>
                    <a:lnTo>
                      <a:pt x="932" y="94"/>
                    </a:lnTo>
                    <a:lnTo>
                      <a:pt x="929" y="94"/>
                    </a:lnTo>
                    <a:lnTo>
                      <a:pt x="929" y="94"/>
                    </a:lnTo>
                    <a:lnTo>
                      <a:pt x="929" y="92"/>
                    </a:lnTo>
                    <a:lnTo>
                      <a:pt x="927" y="92"/>
                    </a:lnTo>
                    <a:lnTo>
                      <a:pt x="922" y="92"/>
                    </a:lnTo>
                    <a:lnTo>
                      <a:pt x="922" y="92"/>
                    </a:lnTo>
                    <a:lnTo>
                      <a:pt x="920" y="94"/>
                    </a:lnTo>
                    <a:lnTo>
                      <a:pt x="920" y="97"/>
                    </a:lnTo>
                    <a:lnTo>
                      <a:pt x="915" y="97"/>
                    </a:lnTo>
                    <a:lnTo>
                      <a:pt x="915" y="94"/>
                    </a:lnTo>
                    <a:lnTo>
                      <a:pt x="913" y="92"/>
                    </a:lnTo>
                    <a:lnTo>
                      <a:pt x="913" y="92"/>
                    </a:lnTo>
                    <a:lnTo>
                      <a:pt x="908" y="92"/>
                    </a:lnTo>
                    <a:lnTo>
                      <a:pt x="906" y="92"/>
                    </a:lnTo>
                    <a:lnTo>
                      <a:pt x="901" y="94"/>
                    </a:lnTo>
                    <a:lnTo>
                      <a:pt x="896" y="94"/>
                    </a:lnTo>
                    <a:lnTo>
                      <a:pt x="896" y="94"/>
                    </a:lnTo>
                    <a:lnTo>
                      <a:pt x="896" y="97"/>
                    </a:lnTo>
                    <a:lnTo>
                      <a:pt x="896" y="97"/>
                    </a:lnTo>
                    <a:lnTo>
                      <a:pt x="896" y="97"/>
                    </a:lnTo>
                    <a:lnTo>
                      <a:pt x="901" y="97"/>
                    </a:lnTo>
                    <a:lnTo>
                      <a:pt x="903" y="97"/>
                    </a:lnTo>
                    <a:lnTo>
                      <a:pt x="903" y="99"/>
                    </a:lnTo>
                    <a:lnTo>
                      <a:pt x="903" y="99"/>
                    </a:lnTo>
                    <a:lnTo>
                      <a:pt x="901" y="99"/>
                    </a:lnTo>
                    <a:lnTo>
                      <a:pt x="898" y="99"/>
                    </a:lnTo>
                    <a:lnTo>
                      <a:pt x="896" y="99"/>
                    </a:lnTo>
                    <a:lnTo>
                      <a:pt x="896" y="99"/>
                    </a:lnTo>
                    <a:lnTo>
                      <a:pt x="898" y="99"/>
                    </a:lnTo>
                    <a:lnTo>
                      <a:pt x="901" y="99"/>
                    </a:lnTo>
                    <a:lnTo>
                      <a:pt x="901" y="102"/>
                    </a:lnTo>
                    <a:lnTo>
                      <a:pt x="906" y="102"/>
                    </a:lnTo>
                    <a:lnTo>
                      <a:pt x="901" y="102"/>
                    </a:lnTo>
                    <a:lnTo>
                      <a:pt x="898" y="102"/>
                    </a:lnTo>
                    <a:lnTo>
                      <a:pt x="898" y="102"/>
                    </a:lnTo>
                    <a:lnTo>
                      <a:pt x="896" y="102"/>
                    </a:lnTo>
                    <a:lnTo>
                      <a:pt x="896" y="102"/>
                    </a:lnTo>
                    <a:lnTo>
                      <a:pt x="896" y="102"/>
                    </a:lnTo>
                    <a:lnTo>
                      <a:pt x="898" y="104"/>
                    </a:lnTo>
                    <a:lnTo>
                      <a:pt x="898" y="104"/>
                    </a:lnTo>
                    <a:lnTo>
                      <a:pt x="898" y="104"/>
                    </a:lnTo>
                    <a:lnTo>
                      <a:pt x="896" y="104"/>
                    </a:lnTo>
                    <a:lnTo>
                      <a:pt x="894" y="104"/>
                    </a:lnTo>
                    <a:lnTo>
                      <a:pt x="894" y="104"/>
                    </a:lnTo>
                    <a:lnTo>
                      <a:pt x="894" y="104"/>
                    </a:lnTo>
                    <a:lnTo>
                      <a:pt x="889" y="99"/>
                    </a:lnTo>
                    <a:lnTo>
                      <a:pt x="889" y="99"/>
                    </a:lnTo>
                    <a:lnTo>
                      <a:pt x="889" y="99"/>
                    </a:lnTo>
                    <a:lnTo>
                      <a:pt x="889" y="99"/>
                    </a:lnTo>
                    <a:lnTo>
                      <a:pt x="889" y="97"/>
                    </a:lnTo>
                    <a:lnTo>
                      <a:pt x="889" y="97"/>
                    </a:lnTo>
                    <a:lnTo>
                      <a:pt x="887" y="97"/>
                    </a:lnTo>
                    <a:lnTo>
                      <a:pt x="884" y="97"/>
                    </a:lnTo>
                    <a:lnTo>
                      <a:pt x="884" y="97"/>
                    </a:lnTo>
                    <a:lnTo>
                      <a:pt x="882" y="97"/>
                    </a:lnTo>
                    <a:lnTo>
                      <a:pt x="879" y="97"/>
                    </a:lnTo>
                    <a:lnTo>
                      <a:pt x="877" y="97"/>
                    </a:lnTo>
                    <a:lnTo>
                      <a:pt x="875" y="99"/>
                    </a:lnTo>
                    <a:lnTo>
                      <a:pt x="877" y="99"/>
                    </a:lnTo>
                    <a:lnTo>
                      <a:pt x="877" y="99"/>
                    </a:lnTo>
                    <a:lnTo>
                      <a:pt x="882" y="99"/>
                    </a:lnTo>
                    <a:lnTo>
                      <a:pt x="882" y="99"/>
                    </a:lnTo>
                    <a:lnTo>
                      <a:pt x="877" y="102"/>
                    </a:lnTo>
                    <a:lnTo>
                      <a:pt x="875" y="102"/>
                    </a:lnTo>
                    <a:lnTo>
                      <a:pt x="875" y="102"/>
                    </a:lnTo>
                    <a:lnTo>
                      <a:pt x="875" y="102"/>
                    </a:lnTo>
                    <a:lnTo>
                      <a:pt x="875" y="104"/>
                    </a:lnTo>
                    <a:lnTo>
                      <a:pt x="877" y="104"/>
                    </a:lnTo>
                    <a:lnTo>
                      <a:pt x="877" y="104"/>
                    </a:lnTo>
                    <a:lnTo>
                      <a:pt x="875" y="104"/>
                    </a:lnTo>
                    <a:lnTo>
                      <a:pt x="875" y="104"/>
                    </a:lnTo>
                    <a:lnTo>
                      <a:pt x="875" y="106"/>
                    </a:lnTo>
                    <a:lnTo>
                      <a:pt x="875" y="106"/>
                    </a:lnTo>
                    <a:lnTo>
                      <a:pt x="875" y="106"/>
                    </a:lnTo>
                    <a:lnTo>
                      <a:pt x="879" y="106"/>
                    </a:lnTo>
                    <a:lnTo>
                      <a:pt x="879" y="106"/>
                    </a:lnTo>
                    <a:lnTo>
                      <a:pt x="877" y="106"/>
                    </a:lnTo>
                    <a:lnTo>
                      <a:pt x="875" y="106"/>
                    </a:lnTo>
                    <a:lnTo>
                      <a:pt x="875" y="106"/>
                    </a:lnTo>
                    <a:lnTo>
                      <a:pt x="872" y="106"/>
                    </a:lnTo>
                    <a:lnTo>
                      <a:pt x="870" y="104"/>
                    </a:lnTo>
                    <a:lnTo>
                      <a:pt x="868" y="106"/>
                    </a:lnTo>
                    <a:close/>
                    <a:moveTo>
                      <a:pt x="894" y="94"/>
                    </a:moveTo>
                    <a:lnTo>
                      <a:pt x="901" y="92"/>
                    </a:lnTo>
                    <a:lnTo>
                      <a:pt x="908" y="92"/>
                    </a:lnTo>
                    <a:lnTo>
                      <a:pt x="906" y="92"/>
                    </a:lnTo>
                    <a:lnTo>
                      <a:pt x="906" y="92"/>
                    </a:lnTo>
                    <a:lnTo>
                      <a:pt x="901" y="92"/>
                    </a:lnTo>
                    <a:lnTo>
                      <a:pt x="901" y="92"/>
                    </a:lnTo>
                    <a:lnTo>
                      <a:pt x="896" y="92"/>
                    </a:lnTo>
                    <a:lnTo>
                      <a:pt x="891" y="92"/>
                    </a:lnTo>
                    <a:lnTo>
                      <a:pt x="889" y="94"/>
                    </a:lnTo>
                    <a:lnTo>
                      <a:pt x="889" y="94"/>
                    </a:lnTo>
                    <a:lnTo>
                      <a:pt x="889" y="94"/>
                    </a:lnTo>
                    <a:lnTo>
                      <a:pt x="894" y="94"/>
                    </a:lnTo>
                    <a:close/>
                    <a:moveTo>
                      <a:pt x="849" y="102"/>
                    </a:moveTo>
                    <a:lnTo>
                      <a:pt x="849" y="102"/>
                    </a:lnTo>
                    <a:lnTo>
                      <a:pt x="846" y="104"/>
                    </a:lnTo>
                    <a:lnTo>
                      <a:pt x="846" y="104"/>
                    </a:lnTo>
                    <a:lnTo>
                      <a:pt x="856" y="104"/>
                    </a:lnTo>
                    <a:lnTo>
                      <a:pt x="856" y="104"/>
                    </a:lnTo>
                    <a:lnTo>
                      <a:pt x="851" y="106"/>
                    </a:lnTo>
                    <a:lnTo>
                      <a:pt x="851" y="106"/>
                    </a:lnTo>
                    <a:lnTo>
                      <a:pt x="853" y="106"/>
                    </a:lnTo>
                    <a:lnTo>
                      <a:pt x="861" y="106"/>
                    </a:lnTo>
                    <a:lnTo>
                      <a:pt x="861" y="106"/>
                    </a:lnTo>
                    <a:lnTo>
                      <a:pt x="863" y="106"/>
                    </a:lnTo>
                    <a:lnTo>
                      <a:pt x="865" y="104"/>
                    </a:lnTo>
                    <a:lnTo>
                      <a:pt x="870" y="104"/>
                    </a:lnTo>
                    <a:lnTo>
                      <a:pt x="870" y="104"/>
                    </a:lnTo>
                    <a:lnTo>
                      <a:pt x="870" y="104"/>
                    </a:lnTo>
                    <a:lnTo>
                      <a:pt x="868" y="104"/>
                    </a:lnTo>
                    <a:lnTo>
                      <a:pt x="868" y="102"/>
                    </a:lnTo>
                    <a:lnTo>
                      <a:pt x="868" y="102"/>
                    </a:lnTo>
                    <a:lnTo>
                      <a:pt x="870" y="99"/>
                    </a:lnTo>
                    <a:lnTo>
                      <a:pt x="870" y="99"/>
                    </a:lnTo>
                    <a:lnTo>
                      <a:pt x="870" y="99"/>
                    </a:lnTo>
                    <a:lnTo>
                      <a:pt x="865" y="99"/>
                    </a:lnTo>
                    <a:lnTo>
                      <a:pt x="858" y="99"/>
                    </a:lnTo>
                    <a:lnTo>
                      <a:pt x="851" y="99"/>
                    </a:lnTo>
                    <a:lnTo>
                      <a:pt x="846" y="99"/>
                    </a:lnTo>
                    <a:lnTo>
                      <a:pt x="844" y="102"/>
                    </a:lnTo>
                    <a:lnTo>
                      <a:pt x="844" y="102"/>
                    </a:lnTo>
                    <a:lnTo>
                      <a:pt x="849" y="102"/>
                    </a:lnTo>
                    <a:close/>
                    <a:moveTo>
                      <a:pt x="891" y="66"/>
                    </a:moveTo>
                    <a:lnTo>
                      <a:pt x="894" y="66"/>
                    </a:lnTo>
                    <a:lnTo>
                      <a:pt x="898" y="68"/>
                    </a:lnTo>
                    <a:lnTo>
                      <a:pt x="903" y="66"/>
                    </a:lnTo>
                    <a:lnTo>
                      <a:pt x="915" y="66"/>
                    </a:lnTo>
                    <a:lnTo>
                      <a:pt x="913" y="66"/>
                    </a:lnTo>
                    <a:lnTo>
                      <a:pt x="913" y="66"/>
                    </a:lnTo>
                    <a:lnTo>
                      <a:pt x="913" y="66"/>
                    </a:lnTo>
                    <a:lnTo>
                      <a:pt x="913" y="68"/>
                    </a:lnTo>
                    <a:lnTo>
                      <a:pt x="913" y="68"/>
                    </a:lnTo>
                    <a:lnTo>
                      <a:pt x="917" y="66"/>
                    </a:lnTo>
                    <a:lnTo>
                      <a:pt x="920" y="66"/>
                    </a:lnTo>
                    <a:lnTo>
                      <a:pt x="922" y="68"/>
                    </a:lnTo>
                    <a:lnTo>
                      <a:pt x="929" y="68"/>
                    </a:lnTo>
                    <a:lnTo>
                      <a:pt x="932" y="68"/>
                    </a:lnTo>
                    <a:lnTo>
                      <a:pt x="932" y="68"/>
                    </a:lnTo>
                    <a:lnTo>
                      <a:pt x="932" y="71"/>
                    </a:lnTo>
                    <a:lnTo>
                      <a:pt x="932" y="71"/>
                    </a:lnTo>
                    <a:lnTo>
                      <a:pt x="929" y="71"/>
                    </a:lnTo>
                    <a:lnTo>
                      <a:pt x="929" y="71"/>
                    </a:lnTo>
                    <a:lnTo>
                      <a:pt x="929" y="73"/>
                    </a:lnTo>
                    <a:lnTo>
                      <a:pt x="929" y="73"/>
                    </a:lnTo>
                    <a:lnTo>
                      <a:pt x="932" y="73"/>
                    </a:lnTo>
                    <a:lnTo>
                      <a:pt x="936" y="76"/>
                    </a:lnTo>
                    <a:lnTo>
                      <a:pt x="939" y="73"/>
                    </a:lnTo>
                    <a:lnTo>
                      <a:pt x="943" y="73"/>
                    </a:lnTo>
                    <a:lnTo>
                      <a:pt x="946" y="73"/>
                    </a:lnTo>
                    <a:lnTo>
                      <a:pt x="948" y="73"/>
                    </a:lnTo>
                    <a:lnTo>
                      <a:pt x="950" y="71"/>
                    </a:lnTo>
                    <a:lnTo>
                      <a:pt x="950" y="71"/>
                    </a:lnTo>
                    <a:lnTo>
                      <a:pt x="950" y="71"/>
                    </a:lnTo>
                    <a:lnTo>
                      <a:pt x="953" y="71"/>
                    </a:lnTo>
                    <a:lnTo>
                      <a:pt x="953" y="68"/>
                    </a:lnTo>
                    <a:lnTo>
                      <a:pt x="950" y="66"/>
                    </a:lnTo>
                    <a:lnTo>
                      <a:pt x="948" y="66"/>
                    </a:lnTo>
                    <a:lnTo>
                      <a:pt x="948" y="66"/>
                    </a:lnTo>
                    <a:lnTo>
                      <a:pt x="950" y="66"/>
                    </a:lnTo>
                    <a:lnTo>
                      <a:pt x="950" y="66"/>
                    </a:lnTo>
                    <a:lnTo>
                      <a:pt x="950" y="64"/>
                    </a:lnTo>
                    <a:lnTo>
                      <a:pt x="950" y="64"/>
                    </a:lnTo>
                    <a:lnTo>
                      <a:pt x="953" y="64"/>
                    </a:lnTo>
                    <a:lnTo>
                      <a:pt x="955" y="64"/>
                    </a:lnTo>
                    <a:lnTo>
                      <a:pt x="958" y="64"/>
                    </a:lnTo>
                    <a:lnTo>
                      <a:pt x="958" y="61"/>
                    </a:lnTo>
                    <a:lnTo>
                      <a:pt x="955" y="61"/>
                    </a:lnTo>
                    <a:lnTo>
                      <a:pt x="955" y="61"/>
                    </a:lnTo>
                    <a:lnTo>
                      <a:pt x="953" y="59"/>
                    </a:lnTo>
                    <a:lnTo>
                      <a:pt x="946" y="59"/>
                    </a:lnTo>
                    <a:lnTo>
                      <a:pt x="943" y="59"/>
                    </a:lnTo>
                    <a:lnTo>
                      <a:pt x="943" y="59"/>
                    </a:lnTo>
                    <a:lnTo>
                      <a:pt x="946" y="59"/>
                    </a:lnTo>
                    <a:lnTo>
                      <a:pt x="948" y="57"/>
                    </a:lnTo>
                    <a:lnTo>
                      <a:pt x="948" y="57"/>
                    </a:lnTo>
                    <a:lnTo>
                      <a:pt x="948" y="57"/>
                    </a:lnTo>
                    <a:lnTo>
                      <a:pt x="948" y="57"/>
                    </a:lnTo>
                    <a:lnTo>
                      <a:pt x="946" y="57"/>
                    </a:lnTo>
                    <a:lnTo>
                      <a:pt x="943" y="54"/>
                    </a:lnTo>
                    <a:lnTo>
                      <a:pt x="941" y="54"/>
                    </a:lnTo>
                    <a:lnTo>
                      <a:pt x="939" y="54"/>
                    </a:lnTo>
                    <a:lnTo>
                      <a:pt x="936" y="57"/>
                    </a:lnTo>
                    <a:lnTo>
                      <a:pt x="934" y="57"/>
                    </a:lnTo>
                    <a:lnTo>
                      <a:pt x="932" y="57"/>
                    </a:lnTo>
                    <a:lnTo>
                      <a:pt x="932" y="57"/>
                    </a:lnTo>
                    <a:lnTo>
                      <a:pt x="929" y="57"/>
                    </a:lnTo>
                    <a:lnTo>
                      <a:pt x="929" y="59"/>
                    </a:lnTo>
                    <a:lnTo>
                      <a:pt x="929" y="57"/>
                    </a:lnTo>
                    <a:lnTo>
                      <a:pt x="929" y="57"/>
                    </a:lnTo>
                    <a:lnTo>
                      <a:pt x="929" y="57"/>
                    </a:lnTo>
                    <a:lnTo>
                      <a:pt x="929" y="57"/>
                    </a:lnTo>
                    <a:lnTo>
                      <a:pt x="929" y="57"/>
                    </a:lnTo>
                    <a:lnTo>
                      <a:pt x="932" y="57"/>
                    </a:lnTo>
                    <a:lnTo>
                      <a:pt x="932" y="54"/>
                    </a:lnTo>
                    <a:lnTo>
                      <a:pt x="932" y="54"/>
                    </a:lnTo>
                    <a:lnTo>
                      <a:pt x="932" y="54"/>
                    </a:lnTo>
                    <a:lnTo>
                      <a:pt x="932" y="52"/>
                    </a:lnTo>
                    <a:lnTo>
                      <a:pt x="929" y="52"/>
                    </a:lnTo>
                    <a:lnTo>
                      <a:pt x="927" y="52"/>
                    </a:lnTo>
                    <a:lnTo>
                      <a:pt x="924" y="52"/>
                    </a:lnTo>
                    <a:lnTo>
                      <a:pt x="922" y="52"/>
                    </a:lnTo>
                    <a:lnTo>
                      <a:pt x="910" y="52"/>
                    </a:lnTo>
                    <a:lnTo>
                      <a:pt x="906" y="52"/>
                    </a:lnTo>
                    <a:lnTo>
                      <a:pt x="903" y="52"/>
                    </a:lnTo>
                    <a:lnTo>
                      <a:pt x="901" y="52"/>
                    </a:lnTo>
                    <a:lnTo>
                      <a:pt x="898" y="54"/>
                    </a:lnTo>
                    <a:lnTo>
                      <a:pt x="898" y="54"/>
                    </a:lnTo>
                    <a:lnTo>
                      <a:pt x="896" y="54"/>
                    </a:lnTo>
                    <a:lnTo>
                      <a:pt x="896" y="57"/>
                    </a:lnTo>
                    <a:lnTo>
                      <a:pt x="898" y="57"/>
                    </a:lnTo>
                    <a:lnTo>
                      <a:pt x="906" y="57"/>
                    </a:lnTo>
                    <a:lnTo>
                      <a:pt x="906" y="57"/>
                    </a:lnTo>
                    <a:lnTo>
                      <a:pt x="906" y="57"/>
                    </a:lnTo>
                    <a:lnTo>
                      <a:pt x="901" y="59"/>
                    </a:lnTo>
                    <a:lnTo>
                      <a:pt x="898" y="59"/>
                    </a:lnTo>
                    <a:lnTo>
                      <a:pt x="898" y="59"/>
                    </a:lnTo>
                    <a:lnTo>
                      <a:pt x="898" y="59"/>
                    </a:lnTo>
                    <a:lnTo>
                      <a:pt x="901" y="59"/>
                    </a:lnTo>
                    <a:lnTo>
                      <a:pt x="901" y="59"/>
                    </a:lnTo>
                    <a:lnTo>
                      <a:pt x="908" y="57"/>
                    </a:lnTo>
                    <a:lnTo>
                      <a:pt x="913" y="57"/>
                    </a:lnTo>
                    <a:lnTo>
                      <a:pt x="913" y="57"/>
                    </a:lnTo>
                    <a:lnTo>
                      <a:pt x="913" y="57"/>
                    </a:lnTo>
                    <a:lnTo>
                      <a:pt x="913" y="57"/>
                    </a:lnTo>
                    <a:lnTo>
                      <a:pt x="913" y="57"/>
                    </a:lnTo>
                    <a:lnTo>
                      <a:pt x="908" y="59"/>
                    </a:lnTo>
                    <a:lnTo>
                      <a:pt x="908" y="59"/>
                    </a:lnTo>
                    <a:lnTo>
                      <a:pt x="908" y="59"/>
                    </a:lnTo>
                    <a:lnTo>
                      <a:pt x="908" y="59"/>
                    </a:lnTo>
                    <a:lnTo>
                      <a:pt x="915" y="59"/>
                    </a:lnTo>
                    <a:lnTo>
                      <a:pt x="915" y="59"/>
                    </a:lnTo>
                    <a:lnTo>
                      <a:pt x="915" y="59"/>
                    </a:lnTo>
                    <a:lnTo>
                      <a:pt x="913" y="61"/>
                    </a:lnTo>
                    <a:lnTo>
                      <a:pt x="908" y="61"/>
                    </a:lnTo>
                    <a:lnTo>
                      <a:pt x="906" y="61"/>
                    </a:lnTo>
                    <a:lnTo>
                      <a:pt x="910" y="61"/>
                    </a:lnTo>
                    <a:lnTo>
                      <a:pt x="910" y="61"/>
                    </a:lnTo>
                    <a:lnTo>
                      <a:pt x="908" y="64"/>
                    </a:lnTo>
                    <a:lnTo>
                      <a:pt x="906" y="64"/>
                    </a:lnTo>
                    <a:lnTo>
                      <a:pt x="901" y="64"/>
                    </a:lnTo>
                    <a:lnTo>
                      <a:pt x="896" y="64"/>
                    </a:lnTo>
                    <a:lnTo>
                      <a:pt x="894" y="64"/>
                    </a:lnTo>
                    <a:lnTo>
                      <a:pt x="894" y="64"/>
                    </a:lnTo>
                    <a:lnTo>
                      <a:pt x="891" y="64"/>
                    </a:lnTo>
                    <a:lnTo>
                      <a:pt x="889" y="64"/>
                    </a:lnTo>
                    <a:lnTo>
                      <a:pt x="889" y="66"/>
                    </a:lnTo>
                    <a:lnTo>
                      <a:pt x="889" y="66"/>
                    </a:lnTo>
                    <a:lnTo>
                      <a:pt x="891" y="66"/>
                    </a:lnTo>
                    <a:close/>
                    <a:moveTo>
                      <a:pt x="910" y="68"/>
                    </a:moveTo>
                    <a:lnTo>
                      <a:pt x="910" y="68"/>
                    </a:lnTo>
                    <a:lnTo>
                      <a:pt x="910" y="66"/>
                    </a:lnTo>
                    <a:lnTo>
                      <a:pt x="910" y="68"/>
                    </a:lnTo>
                    <a:lnTo>
                      <a:pt x="908" y="68"/>
                    </a:lnTo>
                    <a:lnTo>
                      <a:pt x="903" y="68"/>
                    </a:lnTo>
                    <a:lnTo>
                      <a:pt x="903" y="68"/>
                    </a:lnTo>
                    <a:lnTo>
                      <a:pt x="903" y="68"/>
                    </a:lnTo>
                    <a:lnTo>
                      <a:pt x="903" y="68"/>
                    </a:lnTo>
                    <a:lnTo>
                      <a:pt x="906" y="68"/>
                    </a:lnTo>
                    <a:lnTo>
                      <a:pt x="906" y="68"/>
                    </a:lnTo>
                    <a:lnTo>
                      <a:pt x="910" y="68"/>
                    </a:lnTo>
                    <a:close/>
                    <a:moveTo>
                      <a:pt x="882" y="135"/>
                    </a:moveTo>
                    <a:lnTo>
                      <a:pt x="875" y="135"/>
                    </a:lnTo>
                    <a:lnTo>
                      <a:pt x="870" y="135"/>
                    </a:lnTo>
                    <a:lnTo>
                      <a:pt x="870" y="137"/>
                    </a:lnTo>
                    <a:lnTo>
                      <a:pt x="868" y="137"/>
                    </a:lnTo>
                    <a:lnTo>
                      <a:pt x="868" y="137"/>
                    </a:lnTo>
                    <a:lnTo>
                      <a:pt x="865" y="137"/>
                    </a:lnTo>
                    <a:lnTo>
                      <a:pt x="863" y="137"/>
                    </a:lnTo>
                    <a:lnTo>
                      <a:pt x="861" y="137"/>
                    </a:lnTo>
                    <a:lnTo>
                      <a:pt x="861" y="137"/>
                    </a:lnTo>
                    <a:lnTo>
                      <a:pt x="861" y="137"/>
                    </a:lnTo>
                    <a:lnTo>
                      <a:pt x="861" y="139"/>
                    </a:lnTo>
                    <a:lnTo>
                      <a:pt x="865" y="139"/>
                    </a:lnTo>
                    <a:lnTo>
                      <a:pt x="868" y="139"/>
                    </a:lnTo>
                    <a:lnTo>
                      <a:pt x="868" y="139"/>
                    </a:lnTo>
                    <a:lnTo>
                      <a:pt x="870" y="139"/>
                    </a:lnTo>
                    <a:lnTo>
                      <a:pt x="870" y="139"/>
                    </a:lnTo>
                    <a:lnTo>
                      <a:pt x="875" y="139"/>
                    </a:lnTo>
                    <a:lnTo>
                      <a:pt x="877" y="137"/>
                    </a:lnTo>
                    <a:lnTo>
                      <a:pt x="882" y="137"/>
                    </a:lnTo>
                    <a:lnTo>
                      <a:pt x="884" y="137"/>
                    </a:lnTo>
                    <a:lnTo>
                      <a:pt x="887" y="135"/>
                    </a:lnTo>
                    <a:lnTo>
                      <a:pt x="887" y="135"/>
                    </a:lnTo>
                    <a:lnTo>
                      <a:pt x="887" y="135"/>
                    </a:lnTo>
                    <a:lnTo>
                      <a:pt x="887" y="135"/>
                    </a:lnTo>
                    <a:lnTo>
                      <a:pt x="887" y="135"/>
                    </a:lnTo>
                    <a:lnTo>
                      <a:pt x="882" y="135"/>
                    </a:lnTo>
                    <a:close/>
                    <a:moveTo>
                      <a:pt x="861" y="97"/>
                    </a:moveTo>
                    <a:lnTo>
                      <a:pt x="863" y="97"/>
                    </a:lnTo>
                    <a:lnTo>
                      <a:pt x="865" y="97"/>
                    </a:lnTo>
                    <a:lnTo>
                      <a:pt x="868" y="97"/>
                    </a:lnTo>
                    <a:lnTo>
                      <a:pt x="868" y="97"/>
                    </a:lnTo>
                    <a:lnTo>
                      <a:pt x="868" y="97"/>
                    </a:lnTo>
                    <a:lnTo>
                      <a:pt x="868" y="94"/>
                    </a:lnTo>
                    <a:lnTo>
                      <a:pt x="863" y="94"/>
                    </a:lnTo>
                    <a:lnTo>
                      <a:pt x="863" y="94"/>
                    </a:lnTo>
                    <a:lnTo>
                      <a:pt x="863" y="94"/>
                    </a:lnTo>
                    <a:lnTo>
                      <a:pt x="863" y="94"/>
                    </a:lnTo>
                    <a:lnTo>
                      <a:pt x="861" y="94"/>
                    </a:lnTo>
                    <a:lnTo>
                      <a:pt x="858" y="94"/>
                    </a:lnTo>
                    <a:lnTo>
                      <a:pt x="861" y="92"/>
                    </a:lnTo>
                    <a:lnTo>
                      <a:pt x="861" y="92"/>
                    </a:lnTo>
                    <a:lnTo>
                      <a:pt x="861" y="92"/>
                    </a:lnTo>
                    <a:lnTo>
                      <a:pt x="861" y="92"/>
                    </a:lnTo>
                    <a:lnTo>
                      <a:pt x="858" y="92"/>
                    </a:lnTo>
                    <a:lnTo>
                      <a:pt x="853" y="92"/>
                    </a:lnTo>
                    <a:lnTo>
                      <a:pt x="853" y="94"/>
                    </a:lnTo>
                    <a:lnTo>
                      <a:pt x="851" y="94"/>
                    </a:lnTo>
                    <a:lnTo>
                      <a:pt x="851" y="94"/>
                    </a:lnTo>
                    <a:lnTo>
                      <a:pt x="851" y="94"/>
                    </a:lnTo>
                    <a:lnTo>
                      <a:pt x="849" y="97"/>
                    </a:lnTo>
                    <a:lnTo>
                      <a:pt x="849" y="97"/>
                    </a:lnTo>
                    <a:lnTo>
                      <a:pt x="851" y="97"/>
                    </a:lnTo>
                    <a:lnTo>
                      <a:pt x="861" y="97"/>
                    </a:lnTo>
                    <a:close/>
                    <a:moveTo>
                      <a:pt x="861" y="85"/>
                    </a:moveTo>
                    <a:lnTo>
                      <a:pt x="863" y="85"/>
                    </a:lnTo>
                    <a:lnTo>
                      <a:pt x="865" y="85"/>
                    </a:lnTo>
                    <a:lnTo>
                      <a:pt x="865" y="85"/>
                    </a:lnTo>
                    <a:lnTo>
                      <a:pt x="868" y="83"/>
                    </a:lnTo>
                    <a:lnTo>
                      <a:pt x="868" y="83"/>
                    </a:lnTo>
                    <a:lnTo>
                      <a:pt x="870" y="83"/>
                    </a:lnTo>
                    <a:lnTo>
                      <a:pt x="870" y="83"/>
                    </a:lnTo>
                    <a:lnTo>
                      <a:pt x="868" y="80"/>
                    </a:lnTo>
                    <a:lnTo>
                      <a:pt x="868" y="80"/>
                    </a:lnTo>
                    <a:lnTo>
                      <a:pt x="868" y="80"/>
                    </a:lnTo>
                    <a:lnTo>
                      <a:pt x="868" y="80"/>
                    </a:lnTo>
                    <a:lnTo>
                      <a:pt x="868" y="78"/>
                    </a:lnTo>
                    <a:lnTo>
                      <a:pt x="868" y="78"/>
                    </a:lnTo>
                    <a:lnTo>
                      <a:pt x="868" y="76"/>
                    </a:lnTo>
                    <a:lnTo>
                      <a:pt x="865" y="76"/>
                    </a:lnTo>
                    <a:lnTo>
                      <a:pt x="863" y="76"/>
                    </a:lnTo>
                    <a:lnTo>
                      <a:pt x="861" y="76"/>
                    </a:lnTo>
                    <a:lnTo>
                      <a:pt x="861" y="76"/>
                    </a:lnTo>
                    <a:lnTo>
                      <a:pt x="861" y="78"/>
                    </a:lnTo>
                    <a:lnTo>
                      <a:pt x="858" y="78"/>
                    </a:lnTo>
                    <a:lnTo>
                      <a:pt x="861" y="78"/>
                    </a:lnTo>
                    <a:lnTo>
                      <a:pt x="858" y="80"/>
                    </a:lnTo>
                    <a:lnTo>
                      <a:pt x="858" y="83"/>
                    </a:lnTo>
                    <a:lnTo>
                      <a:pt x="858" y="83"/>
                    </a:lnTo>
                    <a:lnTo>
                      <a:pt x="858" y="85"/>
                    </a:lnTo>
                    <a:lnTo>
                      <a:pt x="861" y="85"/>
                    </a:lnTo>
                    <a:close/>
                    <a:moveTo>
                      <a:pt x="920" y="338"/>
                    </a:moveTo>
                    <a:lnTo>
                      <a:pt x="922" y="338"/>
                    </a:lnTo>
                    <a:lnTo>
                      <a:pt x="922" y="336"/>
                    </a:lnTo>
                    <a:lnTo>
                      <a:pt x="922" y="336"/>
                    </a:lnTo>
                    <a:lnTo>
                      <a:pt x="924" y="334"/>
                    </a:lnTo>
                    <a:lnTo>
                      <a:pt x="922" y="334"/>
                    </a:lnTo>
                    <a:lnTo>
                      <a:pt x="922" y="334"/>
                    </a:lnTo>
                    <a:lnTo>
                      <a:pt x="922" y="334"/>
                    </a:lnTo>
                    <a:lnTo>
                      <a:pt x="920" y="334"/>
                    </a:lnTo>
                    <a:lnTo>
                      <a:pt x="917" y="334"/>
                    </a:lnTo>
                    <a:lnTo>
                      <a:pt x="913" y="334"/>
                    </a:lnTo>
                    <a:lnTo>
                      <a:pt x="908" y="336"/>
                    </a:lnTo>
                    <a:lnTo>
                      <a:pt x="908" y="336"/>
                    </a:lnTo>
                    <a:lnTo>
                      <a:pt x="906" y="336"/>
                    </a:lnTo>
                    <a:lnTo>
                      <a:pt x="903" y="334"/>
                    </a:lnTo>
                    <a:lnTo>
                      <a:pt x="903" y="336"/>
                    </a:lnTo>
                    <a:lnTo>
                      <a:pt x="894" y="341"/>
                    </a:lnTo>
                    <a:lnTo>
                      <a:pt x="889" y="343"/>
                    </a:lnTo>
                    <a:lnTo>
                      <a:pt x="889" y="343"/>
                    </a:lnTo>
                    <a:lnTo>
                      <a:pt x="889" y="343"/>
                    </a:lnTo>
                    <a:lnTo>
                      <a:pt x="889" y="345"/>
                    </a:lnTo>
                    <a:lnTo>
                      <a:pt x="889" y="345"/>
                    </a:lnTo>
                    <a:lnTo>
                      <a:pt x="889" y="348"/>
                    </a:lnTo>
                    <a:lnTo>
                      <a:pt x="887" y="348"/>
                    </a:lnTo>
                    <a:lnTo>
                      <a:pt x="887" y="350"/>
                    </a:lnTo>
                    <a:lnTo>
                      <a:pt x="894" y="348"/>
                    </a:lnTo>
                    <a:lnTo>
                      <a:pt x="896" y="348"/>
                    </a:lnTo>
                    <a:lnTo>
                      <a:pt x="896" y="348"/>
                    </a:lnTo>
                    <a:lnTo>
                      <a:pt x="898" y="348"/>
                    </a:lnTo>
                    <a:lnTo>
                      <a:pt x="898" y="348"/>
                    </a:lnTo>
                    <a:lnTo>
                      <a:pt x="908" y="345"/>
                    </a:lnTo>
                    <a:lnTo>
                      <a:pt x="910" y="343"/>
                    </a:lnTo>
                    <a:lnTo>
                      <a:pt x="913" y="343"/>
                    </a:lnTo>
                    <a:lnTo>
                      <a:pt x="917" y="341"/>
                    </a:lnTo>
                    <a:lnTo>
                      <a:pt x="920" y="338"/>
                    </a:lnTo>
                    <a:close/>
                    <a:moveTo>
                      <a:pt x="1147" y="381"/>
                    </a:moveTo>
                    <a:lnTo>
                      <a:pt x="1144" y="381"/>
                    </a:lnTo>
                    <a:lnTo>
                      <a:pt x="1144" y="381"/>
                    </a:lnTo>
                    <a:lnTo>
                      <a:pt x="1144" y="383"/>
                    </a:lnTo>
                    <a:lnTo>
                      <a:pt x="1144" y="383"/>
                    </a:lnTo>
                    <a:lnTo>
                      <a:pt x="1147" y="383"/>
                    </a:lnTo>
                    <a:lnTo>
                      <a:pt x="1149" y="386"/>
                    </a:lnTo>
                    <a:lnTo>
                      <a:pt x="1149" y="383"/>
                    </a:lnTo>
                    <a:lnTo>
                      <a:pt x="1149" y="383"/>
                    </a:lnTo>
                    <a:lnTo>
                      <a:pt x="1149" y="381"/>
                    </a:lnTo>
                    <a:lnTo>
                      <a:pt x="1147" y="381"/>
                    </a:lnTo>
                    <a:lnTo>
                      <a:pt x="1147" y="381"/>
                    </a:lnTo>
                    <a:close/>
                    <a:moveTo>
                      <a:pt x="1159" y="438"/>
                    </a:moveTo>
                    <a:lnTo>
                      <a:pt x="1159" y="438"/>
                    </a:lnTo>
                    <a:lnTo>
                      <a:pt x="1159" y="438"/>
                    </a:lnTo>
                    <a:lnTo>
                      <a:pt x="1159" y="438"/>
                    </a:lnTo>
                    <a:lnTo>
                      <a:pt x="1156" y="438"/>
                    </a:lnTo>
                    <a:lnTo>
                      <a:pt x="1156" y="438"/>
                    </a:lnTo>
                    <a:lnTo>
                      <a:pt x="1156" y="440"/>
                    </a:lnTo>
                    <a:lnTo>
                      <a:pt x="1159" y="440"/>
                    </a:lnTo>
                    <a:lnTo>
                      <a:pt x="1161" y="440"/>
                    </a:lnTo>
                    <a:lnTo>
                      <a:pt x="1161" y="440"/>
                    </a:lnTo>
                    <a:lnTo>
                      <a:pt x="1161" y="438"/>
                    </a:lnTo>
                    <a:lnTo>
                      <a:pt x="1159" y="438"/>
                    </a:lnTo>
                    <a:close/>
                    <a:moveTo>
                      <a:pt x="1149" y="360"/>
                    </a:moveTo>
                    <a:lnTo>
                      <a:pt x="1149" y="360"/>
                    </a:lnTo>
                    <a:lnTo>
                      <a:pt x="1149" y="360"/>
                    </a:lnTo>
                    <a:lnTo>
                      <a:pt x="1149" y="360"/>
                    </a:lnTo>
                    <a:lnTo>
                      <a:pt x="1152" y="362"/>
                    </a:lnTo>
                    <a:lnTo>
                      <a:pt x="1152" y="362"/>
                    </a:lnTo>
                    <a:lnTo>
                      <a:pt x="1154" y="364"/>
                    </a:lnTo>
                    <a:lnTo>
                      <a:pt x="1154" y="364"/>
                    </a:lnTo>
                    <a:lnTo>
                      <a:pt x="1154" y="364"/>
                    </a:lnTo>
                    <a:lnTo>
                      <a:pt x="1154" y="364"/>
                    </a:lnTo>
                    <a:lnTo>
                      <a:pt x="1156" y="364"/>
                    </a:lnTo>
                    <a:lnTo>
                      <a:pt x="1156" y="362"/>
                    </a:lnTo>
                    <a:lnTo>
                      <a:pt x="1159" y="362"/>
                    </a:lnTo>
                    <a:lnTo>
                      <a:pt x="1159" y="362"/>
                    </a:lnTo>
                    <a:lnTo>
                      <a:pt x="1159" y="360"/>
                    </a:lnTo>
                    <a:lnTo>
                      <a:pt x="1159" y="360"/>
                    </a:lnTo>
                    <a:lnTo>
                      <a:pt x="1159" y="360"/>
                    </a:lnTo>
                    <a:lnTo>
                      <a:pt x="1156" y="357"/>
                    </a:lnTo>
                    <a:lnTo>
                      <a:pt x="1154" y="357"/>
                    </a:lnTo>
                    <a:lnTo>
                      <a:pt x="1149" y="360"/>
                    </a:lnTo>
                    <a:close/>
                    <a:moveTo>
                      <a:pt x="941" y="279"/>
                    </a:moveTo>
                    <a:lnTo>
                      <a:pt x="941" y="279"/>
                    </a:lnTo>
                    <a:lnTo>
                      <a:pt x="939" y="277"/>
                    </a:lnTo>
                    <a:lnTo>
                      <a:pt x="939" y="277"/>
                    </a:lnTo>
                    <a:lnTo>
                      <a:pt x="936" y="277"/>
                    </a:lnTo>
                    <a:lnTo>
                      <a:pt x="934" y="274"/>
                    </a:lnTo>
                    <a:lnTo>
                      <a:pt x="932" y="274"/>
                    </a:lnTo>
                    <a:lnTo>
                      <a:pt x="932" y="274"/>
                    </a:lnTo>
                    <a:lnTo>
                      <a:pt x="932" y="277"/>
                    </a:lnTo>
                    <a:lnTo>
                      <a:pt x="932" y="277"/>
                    </a:lnTo>
                    <a:lnTo>
                      <a:pt x="934" y="277"/>
                    </a:lnTo>
                    <a:lnTo>
                      <a:pt x="934" y="277"/>
                    </a:lnTo>
                    <a:lnTo>
                      <a:pt x="934" y="279"/>
                    </a:lnTo>
                    <a:lnTo>
                      <a:pt x="934" y="279"/>
                    </a:lnTo>
                    <a:lnTo>
                      <a:pt x="934" y="279"/>
                    </a:lnTo>
                    <a:lnTo>
                      <a:pt x="932" y="282"/>
                    </a:lnTo>
                    <a:lnTo>
                      <a:pt x="934" y="282"/>
                    </a:lnTo>
                    <a:lnTo>
                      <a:pt x="934" y="282"/>
                    </a:lnTo>
                    <a:lnTo>
                      <a:pt x="936" y="282"/>
                    </a:lnTo>
                    <a:lnTo>
                      <a:pt x="936" y="282"/>
                    </a:lnTo>
                    <a:lnTo>
                      <a:pt x="939" y="282"/>
                    </a:lnTo>
                    <a:lnTo>
                      <a:pt x="936" y="282"/>
                    </a:lnTo>
                    <a:lnTo>
                      <a:pt x="936" y="284"/>
                    </a:lnTo>
                    <a:lnTo>
                      <a:pt x="936" y="284"/>
                    </a:lnTo>
                    <a:lnTo>
                      <a:pt x="936" y="284"/>
                    </a:lnTo>
                    <a:lnTo>
                      <a:pt x="939" y="284"/>
                    </a:lnTo>
                    <a:lnTo>
                      <a:pt x="939" y="284"/>
                    </a:lnTo>
                    <a:lnTo>
                      <a:pt x="939" y="284"/>
                    </a:lnTo>
                    <a:lnTo>
                      <a:pt x="939" y="284"/>
                    </a:lnTo>
                    <a:lnTo>
                      <a:pt x="939" y="284"/>
                    </a:lnTo>
                    <a:lnTo>
                      <a:pt x="939" y="284"/>
                    </a:lnTo>
                    <a:lnTo>
                      <a:pt x="939" y="284"/>
                    </a:lnTo>
                    <a:lnTo>
                      <a:pt x="941" y="284"/>
                    </a:lnTo>
                    <a:lnTo>
                      <a:pt x="941" y="284"/>
                    </a:lnTo>
                    <a:lnTo>
                      <a:pt x="943" y="284"/>
                    </a:lnTo>
                    <a:lnTo>
                      <a:pt x="943" y="284"/>
                    </a:lnTo>
                    <a:lnTo>
                      <a:pt x="943" y="282"/>
                    </a:lnTo>
                    <a:lnTo>
                      <a:pt x="943" y="282"/>
                    </a:lnTo>
                    <a:lnTo>
                      <a:pt x="941" y="282"/>
                    </a:lnTo>
                    <a:lnTo>
                      <a:pt x="939" y="282"/>
                    </a:lnTo>
                    <a:lnTo>
                      <a:pt x="939" y="282"/>
                    </a:lnTo>
                    <a:lnTo>
                      <a:pt x="939" y="279"/>
                    </a:lnTo>
                    <a:lnTo>
                      <a:pt x="939" y="279"/>
                    </a:lnTo>
                    <a:lnTo>
                      <a:pt x="941" y="279"/>
                    </a:lnTo>
                    <a:close/>
                    <a:moveTo>
                      <a:pt x="1211" y="599"/>
                    </a:moveTo>
                    <a:lnTo>
                      <a:pt x="1215" y="596"/>
                    </a:lnTo>
                    <a:lnTo>
                      <a:pt x="1215" y="596"/>
                    </a:lnTo>
                    <a:lnTo>
                      <a:pt x="1213" y="596"/>
                    </a:lnTo>
                    <a:lnTo>
                      <a:pt x="1213" y="594"/>
                    </a:lnTo>
                    <a:lnTo>
                      <a:pt x="1211" y="596"/>
                    </a:lnTo>
                    <a:lnTo>
                      <a:pt x="1211" y="596"/>
                    </a:lnTo>
                    <a:lnTo>
                      <a:pt x="1211" y="596"/>
                    </a:lnTo>
                    <a:lnTo>
                      <a:pt x="1211" y="596"/>
                    </a:lnTo>
                    <a:lnTo>
                      <a:pt x="1208" y="599"/>
                    </a:lnTo>
                    <a:lnTo>
                      <a:pt x="1211" y="599"/>
                    </a:lnTo>
                    <a:lnTo>
                      <a:pt x="1211" y="599"/>
                    </a:lnTo>
                    <a:close/>
                    <a:moveTo>
                      <a:pt x="1213" y="549"/>
                    </a:moveTo>
                    <a:lnTo>
                      <a:pt x="1211" y="549"/>
                    </a:lnTo>
                    <a:lnTo>
                      <a:pt x="1208" y="551"/>
                    </a:lnTo>
                    <a:lnTo>
                      <a:pt x="1208" y="551"/>
                    </a:lnTo>
                    <a:lnTo>
                      <a:pt x="1208" y="551"/>
                    </a:lnTo>
                    <a:lnTo>
                      <a:pt x="1211" y="551"/>
                    </a:lnTo>
                    <a:lnTo>
                      <a:pt x="1211" y="551"/>
                    </a:lnTo>
                    <a:lnTo>
                      <a:pt x="1213" y="549"/>
                    </a:lnTo>
                    <a:close/>
                    <a:moveTo>
                      <a:pt x="1166" y="343"/>
                    </a:moveTo>
                    <a:lnTo>
                      <a:pt x="1163" y="343"/>
                    </a:lnTo>
                    <a:lnTo>
                      <a:pt x="1166" y="343"/>
                    </a:lnTo>
                    <a:lnTo>
                      <a:pt x="1166" y="345"/>
                    </a:lnTo>
                    <a:lnTo>
                      <a:pt x="1168" y="345"/>
                    </a:lnTo>
                    <a:lnTo>
                      <a:pt x="1170" y="345"/>
                    </a:lnTo>
                    <a:lnTo>
                      <a:pt x="1170" y="345"/>
                    </a:lnTo>
                    <a:lnTo>
                      <a:pt x="1173" y="343"/>
                    </a:lnTo>
                    <a:lnTo>
                      <a:pt x="1173" y="343"/>
                    </a:lnTo>
                    <a:lnTo>
                      <a:pt x="1173" y="341"/>
                    </a:lnTo>
                    <a:lnTo>
                      <a:pt x="1170" y="341"/>
                    </a:lnTo>
                    <a:lnTo>
                      <a:pt x="1168" y="341"/>
                    </a:lnTo>
                    <a:lnTo>
                      <a:pt x="1168" y="341"/>
                    </a:lnTo>
                    <a:lnTo>
                      <a:pt x="1166" y="343"/>
                    </a:lnTo>
                    <a:lnTo>
                      <a:pt x="1166" y="343"/>
                    </a:lnTo>
                    <a:lnTo>
                      <a:pt x="1166" y="343"/>
                    </a:lnTo>
                    <a:lnTo>
                      <a:pt x="1166" y="343"/>
                    </a:lnTo>
                    <a:close/>
                    <a:moveTo>
                      <a:pt x="1156" y="466"/>
                    </a:moveTo>
                    <a:lnTo>
                      <a:pt x="1156" y="466"/>
                    </a:lnTo>
                    <a:lnTo>
                      <a:pt x="1156" y="466"/>
                    </a:lnTo>
                    <a:lnTo>
                      <a:pt x="1154" y="469"/>
                    </a:lnTo>
                    <a:lnTo>
                      <a:pt x="1154" y="469"/>
                    </a:lnTo>
                    <a:lnTo>
                      <a:pt x="1156" y="469"/>
                    </a:lnTo>
                    <a:lnTo>
                      <a:pt x="1159" y="469"/>
                    </a:lnTo>
                    <a:lnTo>
                      <a:pt x="1159" y="469"/>
                    </a:lnTo>
                    <a:lnTo>
                      <a:pt x="1159" y="469"/>
                    </a:lnTo>
                    <a:lnTo>
                      <a:pt x="1159" y="466"/>
                    </a:lnTo>
                    <a:lnTo>
                      <a:pt x="1159" y="466"/>
                    </a:lnTo>
                    <a:lnTo>
                      <a:pt x="1156" y="466"/>
                    </a:lnTo>
                    <a:close/>
                    <a:moveTo>
                      <a:pt x="1092" y="386"/>
                    </a:moveTo>
                    <a:lnTo>
                      <a:pt x="1095" y="386"/>
                    </a:lnTo>
                    <a:lnTo>
                      <a:pt x="1097" y="383"/>
                    </a:lnTo>
                    <a:lnTo>
                      <a:pt x="1099" y="383"/>
                    </a:lnTo>
                    <a:lnTo>
                      <a:pt x="1099" y="381"/>
                    </a:lnTo>
                    <a:lnTo>
                      <a:pt x="1099" y="381"/>
                    </a:lnTo>
                    <a:lnTo>
                      <a:pt x="1099" y="381"/>
                    </a:lnTo>
                    <a:lnTo>
                      <a:pt x="1099" y="379"/>
                    </a:lnTo>
                    <a:lnTo>
                      <a:pt x="1097" y="379"/>
                    </a:lnTo>
                    <a:lnTo>
                      <a:pt x="1097" y="381"/>
                    </a:lnTo>
                    <a:lnTo>
                      <a:pt x="1095" y="381"/>
                    </a:lnTo>
                    <a:lnTo>
                      <a:pt x="1092" y="383"/>
                    </a:lnTo>
                    <a:lnTo>
                      <a:pt x="1090" y="386"/>
                    </a:lnTo>
                    <a:lnTo>
                      <a:pt x="1090" y="386"/>
                    </a:lnTo>
                    <a:lnTo>
                      <a:pt x="1090" y="386"/>
                    </a:lnTo>
                    <a:lnTo>
                      <a:pt x="1092" y="386"/>
                    </a:lnTo>
                    <a:close/>
                    <a:moveTo>
                      <a:pt x="823" y="549"/>
                    </a:moveTo>
                    <a:lnTo>
                      <a:pt x="823" y="549"/>
                    </a:lnTo>
                    <a:lnTo>
                      <a:pt x="825" y="551"/>
                    </a:lnTo>
                    <a:lnTo>
                      <a:pt x="825" y="551"/>
                    </a:lnTo>
                    <a:lnTo>
                      <a:pt x="827" y="551"/>
                    </a:lnTo>
                    <a:lnTo>
                      <a:pt x="827" y="549"/>
                    </a:lnTo>
                    <a:lnTo>
                      <a:pt x="827" y="549"/>
                    </a:lnTo>
                    <a:lnTo>
                      <a:pt x="827" y="549"/>
                    </a:lnTo>
                    <a:lnTo>
                      <a:pt x="830" y="549"/>
                    </a:lnTo>
                    <a:lnTo>
                      <a:pt x="830" y="547"/>
                    </a:lnTo>
                    <a:lnTo>
                      <a:pt x="830" y="547"/>
                    </a:lnTo>
                    <a:lnTo>
                      <a:pt x="823" y="549"/>
                    </a:lnTo>
                    <a:close/>
                    <a:moveTo>
                      <a:pt x="832" y="523"/>
                    </a:moveTo>
                    <a:lnTo>
                      <a:pt x="832" y="523"/>
                    </a:lnTo>
                    <a:lnTo>
                      <a:pt x="832" y="523"/>
                    </a:lnTo>
                    <a:lnTo>
                      <a:pt x="832" y="523"/>
                    </a:lnTo>
                    <a:lnTo>
                      <a:pt x="832" y="523"/>
                    </a:lnTo>
                    <a:lnTo>
                      <a:pt x="832" y="523"/>
                    </a:lnTo>
                    <a:lnTo>
                      <a:pt x="832" y="523"/>
                    </a:lnTo>
                    <a:lnTo>
                      <a:pt x="832" y="521"/>
                    </a:lnTo>
                    <a:lnTo>
                      <a:pt x="832" y="523"/>
                    </a:lnTo>
                    <a:close/>
                    <a:moveTo>
                      <a:pt x="745" y="355"/>
                    </a:moveTo>
                    <a:lnTo>
                      <a:pt x="745" y="355"/>
                    </a:lnTo>
                    <a:lnTo>
                      <a:pt x="747" y="355"/>
                    </a:lnTo>
                    <a:lnTo>
                      <a:pt x="747" y="355"/>
                    </a:lnTo>
                    <a:lnTo>
                      <a:pt x="747" y="355"/>
                    </a:lnTo>
                    <a:lnTo>
                      <a:pt x="747" y="355"/>
                    </a:lnTo>
                    <a:lnTo>
                      <a:pt x="747" y="353"/>
                    </a:lnTo>
                    <a:lnTo>
                      <a:pt x="745" y="355"/>
                    </a:lnTo>
                    <a:close/>
                    <a:moveTo>
                      <a:pt x="953" y="274"/>
                    </a:moveTo>
                    <a:lnTo>
                      <a:pt x="953" y="274"/>
                    </a:lnTo>
                    <a:lnTo>
                      <a:pt x="955" y="272"/>
                    </a:lnTo>
                    <a:lnTo>
                      <a:pt x="955" y="272"/>
                    </a:lnTo>
                    <a:lnTo>
                      <a:pt x="955" y="272"/>
                    </a:lnTo>
                    <a:lnTo>
                      <a:pt x="953" y="272"/>
                    </a:lnTo>
                    <a:lnTo>
                      <a:pt x="953" y="272"/>
                    </a:lnTo>
                    <a:lnTo>
                      <a:pt x="953" y="272"/>
                    </a:lnTo>
                    <a:lnTo>
                      <a:pt x="953" y="272"/>
                    </a:lnTo>
                    <a:lnTo>
                      <a:pt x="953" y="272"/>
                    </a:lnTo>
                    <a:lnTo>
                      <a:pt x="953" y="272"/>
                    </a:lnTo>
                    <a:lnTo>
                      <a:pt x="953" y="274"/>
                    </a:lnTo>
                    <a:close/>
                    <a:moveTo>
                      <a:pt x="1064" y="407"/>
                    </a:moveTo>
                    <a:lnTo>
                      <a:pt x="1064" y="407"/>
                    </a:lnTo>
                    <a:lnTo>
                      <a:pt x="1062" y="407"/>
                    </a:lnTo>
                    <a:lnTo>
                      <a:pt x="1062" y="409"/>
                    </a:lnTo>
                    <a:lnTo>
                      <a:pt x="1062" y="409"/>
                    </a:lnTo>
                    <a:lnTo>
                      <a:pt x="1062" y="412"/>
                    </a:lnTo>
                    <a:lnTo>
                      <a:pt x="1062" y="412"/>
                    </a:lnTo>
                    <a:lnTo>
                      <a:pt x="1062" y="409"/>
                    </a:lnTo>
                    <a:lnTo>
                      <a:pt x="1062" y="412"/>
                    </a:lnTo>
                    <a:lnTo>
                      <a:pt x="1064" y="409"/>
                    </a:lnTo>
                    <a:lnTo>
                      <a:pt x="1064" y="409"/>
                    </a:lnTo>
                    <a:lnTo>
                      <a:pt x="1064" y="409"/>
                    </a:lnTo>
                    <a:lnTo>
                      <a:pt x="1064" y="409"/>
                    </a:lnTo>
                    <a:lnTo>
                      <a:pt x="1064" y="407"/>
                    </a:lnTo>
                    <a:close/>
                    <a:moveTo>
                      <a:pt x="813" y="525"/>
                    </a:moveTo>
                    <a:lnTo>
                      <a:pt x="811" y="525"/>
                    </a:lnTo>
                    <a:lnTo>
                      <a:pt x="801" y="525"/>
                    </a:lnTo>
                    <a:lnTo>
                      <a:pt x="801" y="525"/>
                    </a:lnTo>
                    <a:lnTo>
                      <a:pt x="799" y="525"/>
                    </a:lnTo>
                    <a:lnTo>
                      <a:pt x="797" y="528"/>
                    </a:lnTo>
                    <a:lnTo>
                      <a:pt x="797" y="528"/>
                    </a:lnTo>
                    <a:lnTo>
                      <a:pt x="799" y="530"/>
                    </a:lnTo>
                    <a:lnTo>
                      <a:pt x="806" y="533"/>
                    </a:lnTo>
                    <a:lnTo>
                      <a:pt x="809" y="533"/>
                    </a:lnTo>
                    <a:lnTo>
                      <a:pt x="811" y="535"/>
                    </a:lnTo>
                    <a:lnTo>
                      <a:pt x="813" y="535"/>
                    </a:lnTo>
                    <a:lnTo>
                      <a:pt x="813" y="535"/>
                    </a:lnTo>
                    <a:lnTo>
                      <a:pt x="816" y="533"/>
                    </a:lnTo>
                    <a:lnTo>
                      <a:pt x="816" y="533"/>
                    </a:lnTo>
                    <a:lnTo>
                      <a:pt x="816" y="530"/>
                    </a:lnTo>
                    <a:lnTo>
                      <a:pt x="816" y="528"/>
                    </a:lnTo>
                    <a:lnTo>
                      <a:pt x="813" y="525"/>
                    </a:lnTo>
                    <a:close/>
                    <a:moveTo>
                      <a:pt x="1081" y="341"/>
                    </a:moveTo>
                    <a:lnTo>
                      <a:pt x="1083" y="341"/>
                    </a:lnTo>
                    <a:lnTo>
                      <a:pt x="1085" y="341"/>
                    </a:lnTo>
                    <a:lnTo>
                      <a:pt x="1085" y="341"/>
                    </a:lnTo>
                    <a:lnTo>
                      <a:pt x="1088" y="341"/>
                    </a:lnTo>
                    <a:lnTo>
                      <a:pt x="1088" y="341"/>
                    </a:lnTo>
                    <a:lnTo>
                      <a:pt x="1088" y="341"/>
                    </a:lnTo>
                    <a:lnTo>
                      <a:pt x="1088" y="341"/>
                    </a:lnTo>
                    <a:lnTo>
                      <a:pt x="1088" y="341"/>
                    </a:lnTo>
                    <a:lnTo>
                      <a:pt x="1088" y="338"/>
                    </a:lnTo>
                    <a:lnTo>
                      <a:pt x="1085" y="336"/>
                    </a:lnTo>
                    <a:lnTo>
                      <a:pt x="1083" y="336"/>
                    </a:lnTo>
                    <a:lnTo>
                      <a:pt x="1081" y="336"/>
                    </a:lnTo>
                    <a:lnTo>
                      <a:pt x="1081" y="336"/>
                    </a:lnTo>
                    <a:lnTo>
                      <a:pt x="1078" y="336"/>
                    </a:lnTo>
                    <a:lnTo>
                      <a:pt x="1078" y="336"/>
                    </a:lnTo>
                    <a:lnTo>
                      <a:pt x="1081" y="338"/>
                    </a:lnTo>
                    <a:lnTo>
                      <a:pt x="1081" y="338"/>
                    </a:lnTo>
                    <a:lnTo>
                      <a:pt x="1081" y="341"/>
                    </a:lnTo>
                    <a:lnTo>
                      <a:pt x="1081" y="341"/>
                    </a:lnTo>
                    <a:close/>
                    <a:moveTo>
                      <a:pt x="1031" y="341"/>
                    </a:moveTo>
                    <a:lnTo>
                      <a:pt x="1033" y="341"/>
                    </a:lnTo>
                    <a:lnTo>
                      <a:pt x="1036" y="341"/>
                    </a:lnTo>
                    <a:lnTo>
                      <a:pt x="1036" y="341"/>
                    </a:lnTo>
                    <a:lnTo>
                      <a:pt x="1036" y="341"/>
                    </a:lnTo>
                    <a:lnTo>
                      <a:pt x="1033" y="338"/>
                    </a:lnTo>
                    <a:lnTo>
                      <a:pt x="1031" y="338"/>
                    </a:lnTo>
                    <a:lnTo>
                      <a:pt x="1029" y="338"/>
                    </a:lnTo>
                    <a:lnTo>
                      <a:pt x="1029" y="338"/>
                    </a:lnTo>
                    <a:lnTo>
                      <a:pt x="1026" y="338"/>
                    </a:lnTo>
                    <a:lnTo>
                      <a:pt x="1026" y="338"/>
                    </a:lnTo>
                    <a:lnTo>
                      <a:pt x="1029" y="338"/>
                    </a:lnTo>
                    <a:lnTo>
                      <a:pt x="1031" y="341"/>
                    </a:lnTo>
                    <a:close/>
                    <a:moveTo>
                      <a:pt x="1159" y="355"/>
                    </a:moveTo>
                    <a:lnTo>
                      <a:pt x="1156" y="355"/>
                    </a:lnTo>
                    <a:lnTo>
                      <a:pt x="1156" y="355"/>
                    </a:lnTo>
                    <a:lnTo>
                      <a:pt x="1156" y="353"/>
                    </a:lnTo>
                    <a:lnTo>
                      <a:pt x="1156" y="353"/>
                    </a:lnTo>
                    <a:lnTo>
                      <a:pt x="1156" y="353"/>
                    </a:lnTo>
                    <a:lnTo>
                      <a:pt x="1154" y="353"/>
                    </a:lnTo>
                    <a:lnTo>
                      <a:pt x="1154" y="355"/>
                    </a:lnTo>
                    <a:lnTo>
                      <a:pt x="1154" y="355"/>
                    </a:lnTo>
                    <a:lnTo>
                      <a:pt x="1154" y="355"/>
                    </a:lnTo>
                    <a:lnTo>
                      <a:pt x="1156" y="357"/>
                    </a:lnTo>
                    <a:lnTo>
                      <a:pt x="1156" y="357"/>
                    </a:lnTo>
                    <a:lnTo>
                      <a:pt x="1159" y="357"/>
                    </a:lnTo>
                    <a:lnTo>
                      <a:pt x="1159" y="357"/>
                    </a:lnTo>
                    <a:lnTo>
                      <a:pt x="1159" y="355"/>
                    </a:lnTo>
                    <a:lnTo>
                      <a:pt x="1159" y="355"/>
                    </a:lnTo>
                    <a:lnTo>
                      <a:pt x="1159" y="355"/>
                    </a:lnTo>
                    <a:lnTo>
                      <a:pt x="1159" y="355"/>
                    </a:lnTo>
                    <a:lnTo>
                      <a:pt x="1159" y="355"/>
                    </a:lnTo>
                    <a:close/>
                    <a:moveTo>
                      <a:pt x="1222" y="618"/>
                    </a:moveTo>
                    <a:lnTo>
                      <a:pt x="1222" y="618"/>
                    </a:lnTo>
                    <a:lnTo>
                      <a:pt x="1220" y="620"/>
                    </a:lnTo>
                    <a:lnTo>
                      <a:pt x="1218" y="620"/>
                    </a:lnTo>
                    <a:lnTo>
                      <a:pt x="1218" y="620"/>
                    </a:lnTo>
                    <a:lnTo>
                      <a:pt x="1215" y="620"/>
                    </a:lnTo>
                    <a:lnTo>
                      <a:pt x="1213" y="622"/>
                    </a:lnTo>
                    <a:lnTo>
                      <a:pt x="1213" y="620"/>
                    </a:lnTo>
                    <a:lnTo>
                      <a:pt x="1211" y="620"/>
                    </a:lnTo>
                    <a:lnTo>
                      <a:pt x="1208" y="622"/>
                    </a:lnTo>
                    <a:lnTo>
                      <a:pt x="1208" y="622"/>
                    </a:lnTo>
                    <a:lnTo>
                      <a:pt x="1206" y="622"/>
                    </a:lnTo>
                    <a:lnTo>
                      <a:pt x="1204" y="622"/>
                    </a:lnTo>
                    <a:lnTo>
                      <a:pt x="1204" y="622"/>
                    </a:lnTo>
                    <a:lnTo>
                      <a:pt x="1204" y="622"/>
                    </a:lnTo>
                    <a:lnTo>
                      <a:pt x="1208" y="622"/>
                    </a:lnTo>
                    <a:lnTo>
                      <a:pt x="1211" y="620"/>
                    </a:lnTo>
                    <a:lnTo>
                      <a:pt x="1211" y="620"/>
                    </a:lnTo>
                    <a:lnTo>
                      <a:pt x="1213" y="618"/>
                    </a:lnTo>
                    <a:lnTo>
                      <a:pt x="1213" y="618"/>
                    </a:lnTo>
                    <a:lnTo>
                      <a:pt x="1211" y="618"/>
                    </a:lnTo>
                    <a:lnTo>
                      <a:pt x="1208" y="618"/>
                    </a:lnTo>
                    <a:lnTo>
                      <a:pt x="1208" y="618"/>
                    </a:lnTo>
                    <a:lnTo>
                      <a:pt x="1208" y="615"/>
                    </a:lnTo>
                    <a:lnTo>
                      <a:pt x="1208" y="615"/>
                    </a:lnTo>
                    <a:lnTo>
                      <a:pt x="1211" y="615"/>
                    </a:lnTo>
                    <a:lnTo>
                      <a:pt x="1211" y="615"/>
                    </a:lnTo>
                    <a:lnTo>
                      <a:pt x="1211" y="615"/>
                    </a:lnTo>
                    <a:lnTo>
                      <a:pt x="1208" y="615"/>
                    </a:lnTo>
                    <a:lnTo>
                      <a:pt x="1206" y="615"/>
                    </a:lnTo>
                    <a:lnTo>
                      <a:pt x="1206" y="615"/>
                    </a:lnTo>
                    <a:lnTo>
                      <a:pt x="1211" y="613"/>
                    </a:lnTo>
                    <a:lnTo>
                      <a:pt x="1211" y="613"/>
                    </a:lnTo>
                    <a:lnTo>
                      <a:pt x="1213" y="611"/>
                    </a:lnTo>
                    <a:lnTo>
                      <a:pt x="1213" y="611"/>
                    </a:lnTo>
                    <a:lnTo>
                      <a:pt x="1213" y="611"/>
                    </a:lnTo>
                    <a:lnTo>
                      <a:pt x="1215" y="608"/>
                    </a:lnTo>
                    <a:lnTo>
                      <a:pt x="1218" y="608"/>
                    </a:lnTo>
                    <a:lnTo>
                      <a:pt x="1218" y="606"/>
                    </a:lnTo>
                    <a:lnTo>
                      <a:pt x="1218" y="606"/>
                    </a:lnTo>
                    <a:lnTo>
                      <a:pt x="1218" y="604"/>
                    </a:lnTo>
                    <a:lnTo>
                      <a:pt x="1215" y="604"/>
                    </a:lnTo>
                    <a:lnTo>
                      <a:pt x="1215" y="601"/>
                    </a:lnTo>
                    <a:lnTo>
                      <a:pt x="1213" y="601"/>
                    </a:lnTo>
                    <a:lnTo>
                      <a:pt x="1208" y="601"/>
                    </a:lnTo>
                    <a:lnTo>
                      <a:pt x="1208" y="601"/>
                    </a:lnTo>
                    <a:lnTo>
                      <a:pt x="1206" y="601"/>
                    </a:lnTo>
                    <a:lnTo>
                      <a:pt x="1206" y="604"/>
                    </a:lnTo>
                    <a:lnTo>
                      <a:pt x="1206" y="604"/>
                    </a:lnTo>
                    <a:lnTo>
                      <a:pt x="1204" y="604"/>
                    </a:lnTo>
                    <a:lnTo>
                      <a:pt x="1206" y="604"/>
                    </a:lnTo>
                    <a:lnTo>
                      <a:pt x="1206" y="601"/>
                    </a:lnTo>
                    <a:lnTo>
                      <a:pt x="1206" y="599"/>
                    </a:lnTo>
                    <a:lnTo>
                      <a:pt x="1206" y="599"/>
                    </a:lnTo>
                    <a:lnTo>
                      <a:pt x="1204" y="601"/>
                    </a:lnTo>
                    <a:lnTo>
                      <a:pt x="1201" y="601"/>
                    </a:lnTo>
                    <a:lnTo>
                      <a:pt x="1201" y="604"/>
                    </a:lnTo>
                    <a:lnTo>
                      <a:pt x="1199" y="604"/>
                    </a:lnTo>
                    <a:lnTo>
                      <a:pt x="1199" y="604"/>
                    </a:lnTo>
                    <a:lnTo>
                      <a:pt x="1196" y="604"/>
                    </a:lnTo>
                    <a:lnTo>
                      <a:pt x="1196" y="606"/>
                    </a:lnTo>
                    <a:lnTo>
                      <a:pt x="1194" y="606"/>
                    </a:lnTo>
                    <a:lnTo>
                      <a:pt x="1196" y="604"/>
                    </a:lnTo>
                    <a:lnTo>
                      <a:pt x="1194" y="604"/>
                    </a:lnTo>
                    <a:lnTo>
                      <a:pt x="1194" y="604"/>
                    </a:lnTo>
                    <a:lnTo>
                      <a:pt x="1192" y="606"/>
                    </a:lnTo>
                    <a:lnTo>
                      <a:pt x="1192" y="606"/>
                    </a:lnTo>
                    <a:lnTo>
                      <a:pt x="1192" y="606"/>
                    </a:lnTo>
                    <a:lnTo>
                      <a:pt x="1189" y="608"/>
                    </a:lnTo>
                    <a:lnTo>
                      <a:pt x="1189" y="608"/>
                    </a:lnTo>
                    <a:lnTo>
                      <a:pt x="1189" y="608"/>
                    </a:lnTo>
                    <a:lnTo>
                      <a:pt x="1189" y="608"/>
                    </a:lnTo>
                    <a:lnTo>
                      <a:pt x="1189" y="608"/>
                    </a:lnTo>
                    <a:lnTo>
                      <a:pt x="1189" y="608"/>
                    </a:lnTo>
                    <a:lnTo>
                      <a:pt x="1192" y="606"/>
                    </a:lnTo>
                    <a:lnTo>
                      <a:pt x="1192" y="604"/>
                    </a:lnTo>
                    <a:lnTo>
                      <a:pt x="1194" y="601"/>
                    </a:lnTo>
                    <a:lnTo>
                      <a:pt x="1194" y="601"/>
                    </a:lnTo>
                    <a:lnTo>
                      <a:pt x="1194" y="601"/>
                    </a:lnTo>
                    <a:lnTo>
                      <a:pt x="1194" y="599"/>
                    </a:lnTo>
                    <a:lnTo>
                      <a:pt x="1192" y="601"/>
                    </a:lnTo>
                    <a:lnTo>
                      <a:pt x="1192" y="601"/>
                    </a:lnTo>
                    <a:lnTo>
                      <a:pt x="1192" y="604"/>
                    </a:lnTo>
                    <a:lnTo>
                      <a:pt x="1189" y="604"/>
                    </a:lnTo>
                    <a:lnTo>
                      <a:pt x="1189" y="604"/>
                    </a:lnTo>
                    <a:lnTo>
                      <a:pt x="1192" y="601"/>
                    </a:lnTo>
                    <a:lnTo>
                      <a:pt x="1192" y="601"/>
                    </a:lnTo>
                    <a:lnTo>
                      <a:pt x="1192" y="601"/>
                    </a:lnTo>
                    <a:lnTo>
                      <a:pt x="1189" y="601"/>
                    </a:lnTo>
                    <a:lnTo>
                      <a:pt x="1185" y="601"/>
                    </a:lnTo>
                    <a:lnTo>
                      <a:pt x="1185" y="601"/>
                    </a:lnTo>
                    <a:lnTo>
                      <a:pt x="1180" y="601"/>
                    </a:lnTo>
                    <a:lnTo>
                      <a:pt x="1180" y="601"/>
                    </a:lnTo>
                    <a:lnTo>
                      <a:pt x="1182" y="599"/>
                    </a:lnTo>
                    <a:lnTo>
                      <a:pt x="1185" y="596"/>
                    </a:lnTo>
                    <a:lnTo>
                      <a:pt x="1185" y="596"/>
                    </a:lnTo>
                    <a:lnTo>
                      <a:pt x="1185" y="596"/>
                    </a:lnTo>
                    <a:lnTo>
                      <a:pt x="1182" y="596"/>
                    </a:lnTo>
                    <a:lnTo>
                      <a:pt x="1182" y="596"/>
                    </a:lnTo>
                    <a:lnTo>
                      <a:pt x="1180" y="599"/>
                    </a:lnTo>
                    <a:lnTo>
                      <a:pt x="1180" y="599"/>
                    </a:lnTo>
                    <a:lnTo>
                      <a:pt x="1182" y="596"/>
                    </a:lnTo>
                    <a:lnTo>
                      <a:pt x="1187" y="594"/>
                    </a:lnTo>
                    <a:lnTo>
                      <a:pt x="1189" y="592"/>
                    </a:lnTo>
                    <a:lnTo>
                      <a:pt x="1192" y="592"/>
                    </a:lnTo>
                    <a:lnTo>
                      <a:pt x="1192" y="589"/>
                    </a:lnTo>
                    <a:lnTo>
                      <a:pt x="1192" y="589"/>
                    </a:lnTo>
                    <a:lnTo>
                      <a:pt x="1189" y="592"/>
                    </a:lnTo>
                    <a:lnTo>
                      <a:pt x="1187" y="592"/>
                    </a:lnTo>
                    <a:lnTo>
                      <a:pt x="1187" y="589"/>
                    </a:lnTo>
                    <a:lnTo>
                      <a:pt x="1187" y="589"/>
                    </a:lnTo>
                    <a:lnTo>
                      <a:pt x="1182" y="589"/>
                    </a:lnTo>
                    <a:lnTo>
                      <a:pt x="1182" y="592"/>
                    </a:lnTo>
                    <a:lnTo>
                      <a:pt x="1182" y="592"/>
                    </a:lnTo>
                    <a:lnTo>
                      <a:pt x="1182" y="589"/>
                    </a:lnTo>
                    <a:lnTo>
                      <a:pt x="1182" y="589"/>
                    </a:lnTo>
                    <a:lnTo>
                      <a:pt x="1182" y="587"/>
                    </a:lnTo>
                    <a:lnTo>
                      <a:pt x="1182" y="587"/>
                    </a:lnTo>
                    <a:lnTo>
                      <a:pt x="1182" y="589"/>
                    </a:lnTo>
                    <a:lnTo>
                      <a:pt x="1180" y="589"/>
                    </a:lnTo>
                    <a:lnTo>
                      <a:pt x="1178" y="592"/>
                    </a:lnTo>
                    <a:lnTo>
                      <a:pt x="1178" y="592"/>
                    </a:lnTo>
                    <a:lnTo>
                      <a:pt x="1175" y="592"/>
                    </a:lnTo>
                    <a:lnTo>
                      <a:pt x="1173" y="594"/>
                    </a:lnTo>
                    <a:lnTo>
                      <a:pt x="1170" y="596"/>
                    </a:lnTo>
                    <a:lnTo>
                      <a:pt x="1168" y="599"/>
                    </a:lnTo>
                    <a:lnTo>
                      <a:pt x="1168" y="596"/>
                    </a:lnTo>
                    <a:lnTo>
                      <a:pt x="1170" y="596"/>
                    </a:lnTo>
                    <a:lnTo>
                      <a:pt x="1168" y="596"/>
                    </a:lnTo>
                    <a:lnTo>
                      <a:pt x="1168" y="594"/>
                    </a:lnTo>
                    <a:lnTo>
                      <a:pt x="1170" y="594"/>
                    </a:lnTo>
                    <a:lnTo>
                      <a:pt x="1170" y="594"/>
                    </a:lnTo>
                    <a:lnTo>
                      <a:pt x="1170" y="592"/>
                    </a:lnTo>
                    <a:lnTo>
                      <a:pt x="1173" y="592"/>
                    </a:lnTo>
                    <a:lnTo>
                      <a:pt x="1173" y="592"/>
                    </a:lnTo>
                    <a:lnTo>
                      <a:pt x="1173" y="589"/>
                    </a:lnTo>
                    <a:lnTo>
                      <a:pt x="1173" y="589"/>
                    </a:lnTo>
                    <a:lnTo>
                      <a:pt x="1178" y="587"/>
                    </a:lnTo>
                    <a:lnTo>
                      <a:pt x="1180" y="585"/>
                    </a:lnTo>
                    <a:lnTo>
                      <a:pt x="1180" y="582"/>
                    </a:lnTo>
                    <a:lnTo>
                      <a:pt x="1180" y="582"/>
                    </a:lnTo>
                    <a:lnTo>
                      <a:pt x="1182" y="582"/>
                    </a:lnTo>
                    <a:lnTo>
                      <a:pt x="1187" y="578"/>
                    </a:lnTo>
                    <a:lnTo>
                      <a:pt x="1187" y="578"/>
                    </a:lnTo>
                    <a:lnTo>
                      <a:pt x="1189" y="575"/>
                    </a:lnTo>
                    <a:lnTo>
                      <a:pt x="1189" y="575"/>
                    </a:lnTo>
                    <a:lnTo>
                      <a:pt x="1189" y="575"/>
                    </a:lnTo>
                    <a:lnTo>
                      <a:pt x="1192" y="573"/>
                    </a:lnTo>
                    <a:lnTo>
                      <a:pt x="1194" y="573"/>
                    </a:lnTo>
                    <a:lnTo>
                      <a:pt x="1196" y="568"/>
                    </a:lnTo>
                    <a:lnTo>
                      <a:pt x="1196" y="568"/>
                    </a:lnTo>
                    <a:lnTo>
                      <a:pt x="1196" y="568"/>
                    </a:lnTo>
                    <a:lnTo>
                      <a:pt x="1196" y="566"/>
                    </a:lnTo>
                    <a:lnTo>
                      <a:pt x="1196" y="566"/>
                    </a:lnTo>
                    <a:lnTo>
                      <a:pt x="1196" y="566"/>
                    </a:lnTo>
                    <a:lnTo>
                      <a:pt x="1196" y="566"/>
                    </a:lnTo>
                    <a:lnTo>
                      <a:pt x="1194" y="566"/>
                    </a:lnTo>
                    <a:lnTo>
                      <a:pt x="1194" y="566"/>
                    </a:lnTo>
                    <a:lnTo>
                      <a:pt x="1194" y="566"/>
                    </a:lnTo>
                    <a:lnTo>
                      <a:pt x="1194" y="563"/>
                    </a:lnTo>
                    <a:lnTo>
                      <a:pt x="1194" y="563"/>
                    </a:lnTo>
                    <a:lnTo>
                      <a:pt x="1196" y="563"/>
                    </a:lnTo>
                    <a:lnTo>
                      <a:pt x="1199" y="563"/>
                    </a:lnTo>
                    <a:lnTo>
                      <a:pt x="1201" y="561"/>
                    </a:lnTo>
                    <a:lnTo>
                      <a:pt x="1201" y="561"/>
                    </a:lnTo>
                    <a:lnTo>
                      <a:pt x="1204" y="561"/>
                    </a:lnTo>
                    <a:lnTo>
                      <a:pt x="1206" y="559"/>
                    </a:lnTo>
                    <a:lnTo>
                      <a:pt x="1206" y="559"/>
                    </a:lnTo>
                    <a:lnTo>
                      <a:pt x="1206" y="559"/>
                    </a:lnTo>
                    <a:lnTo>
                      <a:pt x="1206" y="559"/>
                    </a:lnTo>
                    <a:lnTo>
                      <a:pt x="1201" y="559"/>
                    </a:lnTo>
                    <a:lnTo>
                      <a:pt x="1201" y="559"/>
                    </a:lnTo>
                    <a:lnTo>
                      <a:pt x="1201" y="559"/>
                    </a:lnTo>
                    <a:lnTo>
                      <a:pt x="1201" y="561"/>
                    </a:lnTo>
                    <a:lnTo>
                      <a:pt x="1199" y="559"/>
                    </a:lnTo>
                    <a:lnTo>
                      <a:pt x="1199" y="559"/>
                    </a:lnTo>
                    <a:lnTo>
                      <a:pt x="1196" y="559"/>
                    </a:lnTo>
                    <a:lnTo>
                      <a:pt x="1192" y="561"/>
                    </a:lnTo>
                    <a:lnTo>
                      <a:pt x="1187" y="561"/>
                    </a:lnTo>
                    <a:lnTo>
                      <a:pt x="1185" y="563"/>
                    </a:lnTo>
                    <a:lnTo>
                      <a:pt x="1185" y="563"/>
                    </a:lnTo>
                    <a:lnTo>
                      <a:pt x="1182" y="563"/>
                    </a:lnTo>
                    <a:lnTo>
                      <a:pt x="1180" y="566"/>
                    </a:lnTo>
                    <a:lnTo>
                      <a:pt x="1180" y="568"/>
                    </a:lnTo>
                    <a:lnTo>
                      <a:pt x="1178" y="568"/>
                    </a:lnTo>
                    <a:lnTo>
                      <a:pt x="1175" y="570"/>
                    </a:lnTo>
                    <a:lnTo>
                      <a:pt x="1175" y="570"/>
                    </a:lnTo>
                    <a:lnTo>
                      <a:pt x="1175" y="570"/>
                    </a:lnTo>
                    <a:lnTo>
                      <a:pt x="1175" y="570"/>
                    </a:lnTo>
                    <a:lnTo>
                      <a:pt x="1175" y="573"/>
                    </a:lnTo>
                    <a:lnTo>
                      <a:pt x="1173" y="575"/>
                    </a:lnTo>
                    <a:lnTo>
                      <a:pt x="1170" y="575"/>
                    </a:lnTo>
                    <a:lnTo>
                      <a:pt x="1170" y="575"/>
                    </a:lnTo>
                    <a:lnTo>
                      <a:pt x="1168" y="575"/>
                    </a:lnTo>
                    <a:lnTo>
                      <a:pt x="1168" y="578"/>
                    </a:lnTo>
                    <a:lnTo>
                      <a:pt x="1168" y="578"/>
                    </a:lnTo>
                    <a:lnTo>
                      <a:pt x="1170" y="578"/>
                    </a:lnTo>
                    <a:lnTo>
                      <a:pt x="1170" y="578"/>
                    </a:lnTo>
                    <a:lnTo>
                      <a:pt x="1168" y="578"/>
                    </a:lnTo>
                    <a:lnTo>
                      <a:pt x="1168" y="578"/>
                    </a:lnTo>
                    <a:lnTo>
                      <a:pt x="1166" y="580"/>
                    </a:lnTo>
                    <a:lnTo>
                      <a:pt x="1163" y="580"/>
                    </a:lnTo>
                    <a:lnTo>
                      <a:pt x="1161" y="587"/>
                    </a:lnTo>
                    <a:lnTo>
                      <a:pt x="1156" y="589"/>
                    </a:lnTo>
                    <a:lnTo>
                      <a:pt x="1152" y="596"/>
                    </a:lnTo>
                    <a:lnTo>
                      <a:pt x="1152" y="596"/>
                    </a:lnTo>
                    <a:lnTo>
                      <a:pt x="1152" y="599"/>
                    </a:lnTo>
                    <a:lnTo>
                      <a:pt x="1152" y="601"/>
                    </a:lnTo>
                    <a:lnTo>
                      <a:pt x="1152" y="601"/>
                    </a:lnTo>
                    <a:lnTo>
                      <a:pt x="1152" y="601"/>
                    </a:lnTo>
                    <a:lnTo>
                      <a:pt x="1149" y="599"/>
                    </a:lnTo>
                    <a:lnTo>
                      <a:pt x="1149" y="599"/>
                    </a:lnTo>
                    <a:lnTo>
                      <a:pt x="1147" y="601"/>
                    </a:lnTo>
                    <a:lnTo>
                      <a:pt x="1144" y="601"/>
                    </a:lnTo>
                    <a:lnTo>
                      <a:pt x="1144" y="604"/>
                    </a:lnTo>
                    <a:lnTo>
                      <a:pt x="1144" y="604"/>
                    </a:lnTo>
                    <a:lnTo>
                      <a:pt x="1144" y="606"/>
                    </a:lnTo>
                    <a:lnTo>
                      <a:pt x="1144" y="606"/>
                    </a:lnTo>
                    <a:lnTo>
                      <a:pt x="1147" y="606"/>
                    </a:lnTo>
                    <a:lnTo>
                      <a:pt x="1147" y="606"/>
                    </a:lnTo>
                    <a:lnTo>
                      <a:pt x="1144" y="606"/>
                    </a:lnTo>
                    <a:lnTo>
                      <a:pt x="1144" y="608"/>
                    </a:lnTo>
                    <a:lnTo>
                      <a:pt x="1144" y="611"/>
                    </a:lnTo>
                    <a:lnTo>
                      <a:pt x="1144" y="611"/>
                    </a:lnTo>
                    <a:lnTo>
                      <a:pt x="1144" y="611"/>
                    </a:lnTo>
                    <a:lnTo>
                      <a:pt x="1144" y="611"/>
                    </a:lnTo>
                    <a:lnTo>
                      <a:pt x="1144" y="611"/>
                    </a:lnTo>
                    <a:lnTo>
                      <a:pt x="1142" y="608"/>
                    </a:lnTo>
                    <a:lnTo>
                      <a:pt x="1140" y="608"/>
                    </a:lnTo>
                    <a:lnTo>
                      <a:pt x="1140" y="608"/>
                    </a:lnTo>
                    <a:lnTo>
                      <a:pt x="1140" y="608"/>
                    </a:lnTo>
                    <a:lnTo>
                      <a:pt x="1137" y="611"/>
                    </a:lnTo>
                    <a:lnTo>
                      <a:pt x="1135" y="613"/>
                    </a:lnTo>
                    <a:lnTo>
                      <a:pt x="1133" y="615"/>
                    </a:lnTo>
                    <a:lnTo>
                      <a:pt x="1130" y="618"/>
                    </a:lnTo>
                    <a:lnTo>
                      <a:pt x="1130" y="620"/>
                    </a:lnTo>
                    <a:lnTo>
                      <a:pt x="1128" y="618"/>
                    </a:lnTo>
                    <a:lnTo>
                      <a:pt x="1128" y="618"/>
                    </a:lnTo>
                    <a:lnTo>
                      <a:pt x="1128" y="618"/>
                    </a:lnTo>
                    <a:lnTo>
                      <a:pt x="1128" y="618"/>
                    </a:lnTo>
                    <a:lnTo>
                      <a:pt x="1130" y="615"/>
                    </a:lnTo>
                    <a:lnTo>
                      <a:pt x="1128" y="615"/>
                    </a:lnTo>
                    <a:lnTo>
                      <a:pt x="1123" y="618"/>
                    </a:lnTo>
                    <a:lnTo>
                      <a:pt x="1123" y="620"/>
                    </a:lnTo>
                    <a:lnTo>
                      <a:pt x="1121" y="620"/>
                    </a:lnTo>
                    <a:lnTo>
                      <a:pt x="1126" y="620"/>
                    </a:lnTo>
                    <a:lnTo>
                      <a:pt x="1130" y="620"/>
                    </a:lnTo>
                    <a:lnTo>
                      <a:pt x="1130" y="620"/>
                    </a:lnTo>
                    <a:lnTo>
                      <a:pt x="1133" y="620"/>
                    </a:lnTo>
                    <a:lnTo>
                      <a:pt x="1135" y="620"/>
                    </a:lnTo>
                    <a:lnTo>
                      <a:pt x="1135" y="620"/>
                    </a:lnTo>
                    <a:lnTo>
                      <a:pt x="1133" y="622"/>
                    </a:lnTo>
                    <a:lnTo>
                      <a:pt x="1130" y="622"/>
                    </a:lnTo>
                    <a:lnTo>
                      <a:pt x="1128" y="625"/>
                    </a:lnTo>
                    <a:lnTo>
                      <a:pt x="1123" y="627"/>
                    </a:lnTo>
                    <a:lnTo>
                      <a:pt x="1116" y="632"/>
                    </a:lnTo>
                    <a:lnTo>
                      <a:pt x="1114" y="632"/>
                    </a:lnTo>
                    <a:lnTo>
                      <a:pt x="1114" y="634"/>
                    </a:lnTo>
                    <a:lnTo>
                      <a:pt x="1114" y="634"/>
                    </a:lnTo>
                    <a:lnTo>
                      <a:pt x="1114" y="637"/>
                    </a:lnTo>
                    <a:lnTo>
                      <a:pt x="1114" y="639"/>
                    </a:lnTo>
                    <a:lnTo>
                      <a:pt x="1114" y="639"/>
                    </a:lnTo>
                    <a:lnTo>
                      <a:pt x="1116" y="641"/>
                    </a:lnTo>
                    <a:lnTo>
                      <a:pt x="1118" y="639"/>
                    </a:lnTo>
                    <a:lnTo>
                      <a:pt x="1123" y="639"/>
                    </a:lnTo>
                    <a:lnTo>
                      <a:pt x="1126" y="639"/>
                    </a:lnTo>
                    <a:lnTo>
                      <a:pt x="1128" y="639"/>
                    </a:lnTo>
                    <a:lnTo>
                      <a:pt x="1130" y="637"/>
                    </a:lnTo>
                    <a:lnTo>
                      <a:pt x="1130" y="637"/>
                    </a:lnTo>
                    <a:lnTo>
                      <a:pt x="1130" y="639"/>
                    </a:lnTo>
                    <a:lnTo>
                      <a:pt x="1130" y="639"/>
                    </a:lnTo>
                    <a:lnTo>
                      <a:pt x="1135" y="639"/>
                    </a:lnTo>
                    <a:lnTo>
                      <a:pt x="1137" y="639"/>
                    </a:lnTo>
                    <a:lnTo>
                      <a:pt x="1140" y="639"/>
                    </a:lnTo>
                    <a:lnTo>
                      <a:pt x="1142" y="639"/>
                    </a:lnTo>
                    <a:lnTo>
                      <a:pt x="1152" y="639"/>
                    </a:lnTo>
                    <a:lnTo>
                      <a:pt x="1154" y="641"/>
                    </a:lnTo>
                    <a:lnTo>
                      <a:pt x="1156" y="639"/>
                    </a:lnTo>
                    <a:lnTo>
                      <a:pt x="1159" y="639"/>
                    </a:lnTo>
                    <a:lnTo>
                      <a:pt x="1161" y="639"/>
                    </a:lnTo>
                    <a:lnTo>
                      <a:pt x="1163" y="639"/>
                    </a:lnTo>
                    <a:lnTo>
                      <a:pt x="1163" y="639"/>
                    </a:lnTo>
                    <a:lnTo>
                      <a:pt x="1166" y="637"/>
                    </a:lnTo>
                    <a:lnTo>
                      <a:pt x="1166" y="637"/>
                    </a:lnTo>
                    <a:lnTo>
                      <a:pt x="1166" y="637"/>
                    </a:lnTo>
                    <a:lnTo>
                      <a:pt x="1168" y="637"/>
                    </a:lnTo>
                    <a:lnTo>
                      <a:pt x="1170" y="637"/>
                    </a:lnTo>
                    <a:lnTo>
                      <a:pt x="1170" y="634"/>
                    </a:lnTo>
                    <a:lnTo>
                      <a:pt x="1170" y="637"/>
                    </a:lnTo>
                    <a:lnTo>
                      <a:pt x="1168" y="639"/>
                    </a:lnTo>
                    <a:lnTo>
                      <a:pt x="1166" y="641"/>
                    </a:lnTo>
                    <a:lnTo>
                      <a:pt x="1163" y="641"/>
                    </a:lnTo>
                    <a:lnTo>
                      <a:pt x="1166" y="641"/>
                    </a:lnTo>
                    <a:lnTo>
                      <a:pt x="1168" y="641"/>
                    </a:lnTo>
                    <a:lnTo>
                      <a:pt x="1170" y="641"/>
                    </a:lnTo>
                    <a:lnTo>
                      <a:pt x="1170" y="641"/>
                    </a:lnTo>
                    <a:lnTo>
                      <a:pt x="1173" y="641"/>
                    </a:lnTo>
                    <a:lnTo>
                      <a:pt x="1175" y="641"/>
                    </a:lnTo>
                    <a:lnTo>
                      <a:pt x="1175" y="641"/>
                    </a:lnTo>
                    <a:lnTo>
                      <a:pt x="1175" y="641"/>
                    </a:lnTo>
                    <a:lnTo>
                      <a:pt x="1175" y="641"/>
                    </a:lnTo>
                    <a:lnTo>
                      <a:pt x="1178" y="639"/>
                    </a:lnTo>
                    <a:lnTo>
                      <a:pt x="1178" y="639"/>
                    </a:lnTo>
                    <a:lnTo>
                      <a:pt x="1180" y="639"/>
                    </a:lnTo>
                    <a:lnTo>
                      <a:pt x="1182" y="639"/>
                    </a:lnTo>
                    <a:lnTo>
                      <a:pt x="1182" y="639"/>
                    </a:lnTo>
                    <a:lnTo>
                      <a:pt x="1185" y="639"/>
                    </a:lnTo>
                    <a:lnTo>
                      <a:pt x="1185" y="639"/>
                    </a:lnTo>
                    <a:lnTo>
                      <a:pt x="1187" y="639"/>
                    </a:lnTo>
                    <a:lnTo>
                      <a:pt x="1187" y="639"/>
                    </a:lnTo>
                    <a:lnTo>
                      <a:pt x="1185" y="641"/>
                    </a:lnTo>
                    <a:lnTo>
                      <a:pt x="1182" y="641"/>
                    </a:lnTo>
                    <a:lnTo>
                      <a:pt x="1180" y="644"/>
                    </a:lnTo>
                    <a:lnTo>
                      <a:pt x="1175" y="646"/>
                    </a:lnTo>
                    <a:lnTo>
                      <a:pt x="1175" y="649"/>
                    </a:lnTo>
                    <a:lnTo>
                      <a:pt x="1173" y="649"/>
                    </a:lnTo>
                    <a:lnTo>
                      <a:pt x="1170" y="649"/>
                    </a:lnTo>
                    <a:lnTo>
                      <a:pt x="1168" y="651"/>
                    </a:lnTo>
                    <a:lnTo>
                      <a:pt x="1166" y="651"/>
                    </a:lnTo>
                    <a:lnTo>
                      <a:pt x="1163" y="651"/>
                    </a:lnTo>
                    <a:lnTo>
                      <a:pt x="1163" y="653"/>
                    </a:lnTo>
                    <a:lnTo>
                      <a:pt x="1163" y="653"/>
                    </a:lnTo>
                    <a:lnTo>
                      <a:pt x="1163" y="653"/>
                    </a:lnTo>
                    <a:lnTo>
                      <a:pt x="1163" y="653"/>
                    </a:lnTo>
                    <a:lnTo>
                      <a:pt x="1163" y="656"/>
                    </a:lnTo>
                    <a:lnTo>
                      <a:pt x="1166" y="656"/>
                    </a:lnTo>
                    <a:lnTo>
                      <a:pt x="1168" y="656"/>
                    </a:lnTo>
                    <a:lnTo>
                      <a:pt x="1170" y="653"/>
                    </a:lnTo>
                    <a:lnTo>
                      <a:pt x="1170" y="653"/>
                    </a:lnTo>
                    <a:lnTo>
                      <a:pt x="1173" y="653"/>
                    </a:lnTo>
                    <a:lnTo>
                      <a:pt x="1173" y="653"/>
                    </a:lnTo>
                    <a:lnTo>
                      <a:pt x="1175" y="653"/>
                    </a:lnTo>
                    <a:lnTo>
                      <a:pt x="1178" y="651"/>
                    </a:lnTo>
                    <a:lnTo>
                      <a:pt x="1178" y="651"/>
                    </a:lnTo>
                    <a:lnTo>
                      <a:pt x="1180" y="649"/>
                    </a:lnTo>
                    <a:lnTo>
                      <a:pt x="1185" y="644"/>
                    </a:lnTo>
                    <a:lnTo>
                      <a:pt x="1185" y="644"/>
                    </a:lnTo>
                    <a:lnTo>
                      <a:pt x="1187" y="644"/>
                    </a:lnTo>
                    <a:lnTo>
                      <a:pt x="1187" y="644"/>
                    </a:lnTo>
                    <a:lnTo>
                      <a:pt x="1189" y="641"/>
                    </a:lnTo>
                    <a:lnTo>
                      <a:pt x="1192" y="641"/>
                    </a:lnTo>
                    <a:lnTo>
                      <a:pt x="1192" y="641"/>
                    </a:lnTo>
                    <a:lnTo>
                      <a:pt x="1189" y="644"/>
                    </a:lnTo>
                    <a:lnTo>
                      <a:pt x="1189" y="644"/>
                    </a:lnTo>
                    <a:lnTo>
                      <a:pt x="1192" y="644"/>
                    </a:lnTo>
                    <a:lnTo>
                      <a:pt x="1192" y="644"/>
                    </a:lnTo>
                    <a:lnTo>
                      <a:pt x="1192" y="641"/>
                    </a:lnTo>
                    <a:lnTo>
                      <a:pt x="1194" y="641"/>
                    </a:lnTo>
                    <a:lnTo>
                      <a:pt x="1196" y="637"/>
                    </a:lnTo>
                    <a:lnTo>
                      <a:pt x="1199" y="634"/>
                    </a:lnTo>
                    <a:lnTo>
                      <a:pt x="1199" y="634"/>
                    </a:lnTo>
                    <a:lnTo>
                      <a:pt x="1201" y="634"/>
                    </a:lnTo>
                    <a:lnTo>
                      <a:pt x="1201" y="637"/>
                    </a:lnTo>
                    <a:lnTo>
                      <a:pt x="1201" y="639"/>
                    </a:lnTo>
                    <a:lnTo>
                      <a:pt x="1201" y="641"/>
                    </a:lnTo>
                    <a:lnTo>
                      <a:pt x="1201" y="641"/>
                    </a:lnTo>
                    <a:lnTo>
                      <a:pt x="1201" y="644"/>
                    </a:lnTo>
                    <a:lnTo>
                      <a:pt x="1201" y="644"/>
                    </a:lnTo>
                    <a:lnTo>
                      <a:pt x="1199" y="646"/>
                    </a:lnTo>
                    <a:lnTo>
                      <a:pt x="1194" y="651"/>
                    </a:lnTo>
                    <a:lnTo>
                      <a:pt x="1194" y="653"/>
                    </a:lnTo>
                    <a:lnTo>
                      <a:pt x="1192" y="653"/>
                    </a:lnTo>
                    <a:lnTo>
                      <a:pt x="1192" y="656"/>
                    </a:lnTo>
                    <a:lnTo>
                      <a:pt x="1192" y="656"/>
                    </a:lnTo>
                    <a:lnTo>
                      <a:pt x="1194" y="656"/>
                    </a:lnTo>
                    <a:lnTo>
                      <a:pt x="1194" y="656"/>
                    </a:lnTo>
                    <a:lnTo>
                      <a:pt x="1194" y="656"/>
                    </a:lnTo>
                    <a:lnTo>
                      <a:pt x="1199" y="653"/>
                    </a:lnTo>
                    <a:lnTo>
                      <a:pt x="1199" y="651"/>
                    </a:lnTo>
                    <a:lnTo>
                      <a:pt x="1201" y="651"/>
                    </a:lnTo>
                    <a:lnTo>
                      <a:pt x="1204" y="649"/>
                    </a:lnTo>
                    <a:lnTo>
                      <a:pt x="1204" y="649"/>
                    </a:lnTo>
                    <a:lnTo>
                      <a:pt x="1204" y="649"/>
                    </a:lnTo>
                    <a:lnTo>
                      <a:pt x="1204" y="651"/>
                    </a:lnTo>
                    <a:lnTo>
                      <a:pt x="1201" y="651"/>
                    </a:lnTo>
                    <a:lnTo>
                      <a:pt x="1204" y="653"/>
                    </a:lnTo>
                    <a:lnTo>
                      <a:pt x="1201" y="653"/>
                    </a:lnTo>
                    <a:lnTo>
                      <a:pt x="1201" y="658"/>
                    </a:lnTo>
                    <a:lnTo>
                      <a:pt x="1201" y="660"/>
                    </a:lnTo>
                    <a:lnTo>
                      <a:pt x="1201" y="660"/>
                    </a:lnTo>
                    <a:lnTo>
                      <a:pt x="1201" y="660"/>
                    </a:lnTo>
                    <a:lnTo>
                      <a:pt x="1204" y="658"/>
                    </a:lnTo>
                    <a:lnTo>
                      <a:pt x="1206" y="658"/>
                    </a:lnTo>
                    <a:lnTo>
                      <a:pt x="1206" y="658"/>
                    </a:lnTo>
                    <a:lnTo>
                      <a:pt x="1206" y="658"/>
                    </a:lnTo>
                    <a:lnTo>
                      <a:pt x="1206" y="658"/>
                    </a:lnTo>
                    <a:lnTo>
                      <a:pt x="1208" y="660"/>
                    </a:lnTo>
                    <a:lnTo>
                      <a:pt x="1208" y="658"/>
                    </a:lnTo>
                    <a:lnTo>
                      <a:pt x="1208" y="658"/>
                    </a:lnTo>
                    <a:lnTo>
                      <a:pt x="1211" y="658"/>
                    </a:lnTo>
                    <a:lnTo>
                      <a:pt x="1211" y="656"/>
                    </a:lnTo>
                    <a:lnTo>
                      <a:pt x="1213" y="653"/>
                    </a:lnTo>
                    <a:lnTo>
                      <a:pt x="1215" y="651"/>
                    </a:lnTo>
                    <a:lnTo>
                      <a:pt x="1215" y="651"/>
                    </a:lnTo>
                    <a:lnTo>
                      <a:pt x="1215" y="651"/>
                    </a:lnTo>
                    <a:lnTo>
                      <a:pt x="1220" y="644"/>
                    </a:lnTo>
                    <a:lnTo>
                      <a:pt x="1220" y="641"/>
                    </a:lnTo>
                    <a:lnTo>
                      <a:pt x="1222" y="641"/>
                    </a:lnTo>
                    <a:lnTo>
                      <a:pt x="1222" y="639"/>
                    </a:lnTo>
                    <a:lnTo>
                      <a:pt x="1222" y="637"/>
                    </a:lnTo>
                    <a:lnTo>
                      <a:pt x="1222" y="637"/>
                    </a:lnTo>
                    <a:lnTo>
                      <a:pt x="1222" y="637"/>
                    </a:lnTo>
                    <a:lnTo>
                      <a:pt x="1220" y="637"/>
                    </a:lnTo>
                    <a:lnTo>
                      <a:pt x="1220" y="637"/>
                    </a:lnTo>
                    <a:lnTo>
                      <a:pt x="1218" y="639"/>
                    </a:lnTo>
                    <a:lnTo>
                      <a:pt x="1218" y="641"/>
                    </a:lnTo>
                    <a:lnTo>
                      <a:pt x="1215" y="641"/>
                    </a:lnTo>
                    <a:lnTo>
                      <a:pt x="1213" y="644"/>
                    </a:lnTo>
                    <a:lnTo>
                      <a:pt x="1213" y="641"/>
                    </a:lnTo>
                    <a:lnTo>
                      <a:pt x="1213" y="641"/>
                    </a:lnTo>
                    <a:lnTo>
                      <a:pt x="1213" y="639"/>
                    </a:lnTo>
                    <a:lnTo>
                      <a:pt x="1215" y="637"/>
                    </a:lnTo>
                    <a:lnTo>
                      <a:pt x="1215" y="634"/>
                    </a:lnTo>
                    <a:lnTo>
                      <a:pt x="1220" y="632"/>
                    </a:lnTo>
                    <a:lnTo>
                      <a:pt x="1220" y="632"/>
                    </a:lnTo>
                    <a:lnTo>
                      <a:pt x="1222" y="630"/>
                    </a:lnTo>
                    <a:lnTo>
                      <a:pt x="1222" y="630"/>
                    </a:lnTo>
                    <a:lnTo>
                      <a:pt x="1222" y="630"/>
                    </a:lnTo>
                    <a:lnTo>
                      <a:pt x="1222" y="627"/>
                    </a:lnTo>
                    <a:lnTo>
                      <a:pt x="1218" y="630"/>
                    </a:lnTo>
                    <a:lnTo>
                      <a:pt x="1215" y="632"/>
                    </a:lnTo>
                    <a:lnTo>
                      <a:pt x="1208" y="637"/>
                    </a:lnTo>
                    <a:lnTo>
                      <a:pt x="1206" y="639"/>
                    </a:lnTo>
                    <a:lnTo>
                      <a:pt x="1206" y="639"/>
                    </a:lnTo>
                    <a:lnTo>
                      <a:pt x="1204" y="639"/>
                    </a:lnTo>
                    <a:lnTo>
                      <a:pt x="1204" y="639"/>
                    </a:lnTo>
                    <a:lnTo>
                      <a:pt x="1204" y="637"/>
                    </a:lnTo>
                    <a:lnTo>
                      <a:pt x="1204" y="637"/>
                    </a:lnTo>
                    <a:lnTo>
                      <a:pt x="1204" y="637"/>
                    </a:lnTo>
                    <a:lnTo>
                      <a:pt x="1208" y="632"/>
                    </a:lnTo>
                    <a:lnTo>
                      <a:pt x="1208" y="632"/>
                    </a:lnTo>
                    <a:lnTo>
                      <a:pt x="1208" y="632"/>
                    </a:lnTo>
                    <a:lnTo>
                      <a:pt x="1208" y="632"/>
                    </a:lnTo>
                    <a:lnTo>
                      <a:pt x="1206" y="632"/>
                    </a:lnTo>
                    <a:lnTo>
                      <a:pt x="1206" y="632"/>
                    </a:lnTo>
                    <a:lnTo>
                      <a:pt x="1206" y="630"/>
                    </a:lnTo>
                    <a:lnTo>
                      <a:pt x="1208" y="630"/>
                    </a:lnTo>
                    <a:lnTo>
                      <a:pt x="1208" y="630"/>
                    </a:lnTo>
                    <a:lnTo>
                      <a:pt x="1211" y="630"/>
                    </a:lnTo>
                    <a:lnTo>
                      <a:pt x="1211" y="630"/>
                    </a:lnTo>
                    <a:lnTo>
                      <a:pt x="1211" y="627"/>
                    </a:lnTo>
                    <a:lnTo>
                      <a:pt x="1211" y="627"/>
                    </a:lnTo>
                    <a:lnTo>
                      <a:pt x="1213" y="627"/>
                    </a:lnTo>
                    <a:lnTo>
                      <a:pt x="1215" y="625"/>
                    </a:lnTo>
                    <a:lnTo>
                      <a:pt x="1215" y="625"/>
                    </a:lnTo>
                    <a:lnTo>
                      <a:pt x="1218" y="625"/>
                    </a:lnTo>
                    <a:lnTo>
                      <a:pt x="1218" y="625"/>
                    </a:lnTo>
                    <a:lnTo>
                      <a:pt x="1218" y="622"/>
                    </a:lnTo>
                    <a:lnTo>
                      <a:pt x="1220" y="622"/>
                    </a:lnTo>
                    <a:lnTo>
                      <a:pt x="1222" y="622"/>
                    </a:lnTo>
                    <a:lnTo>
                      <a:pt x="1222" y="620"/>
                    </a:lnTo>
                    <a:lnTo>
                      <a:pt x="1222" y="620"/>
                    </a:lnTo>
                    <a:lnTo>
                      <a:pt x="1222" y="618"/>
                    </a:lnTo>
                    <a:lnTo>
                      <a:pt x="1222" y="618"/>
                    </a:lnTo>
                    <a:lnTo>
                      <a:pt x="1222" y="618"/>
                    </a:lnTo>
                    <a:close/>
                    <a:moveTo>
                      <a:pt x="1097" y="229"/>
                    </a:moveTo>
                    <a:lnTo>
                      <a:pt x="1097" y="227"/>
                    </a:lnTo>
                    <a:lnTo>
                      <a:pt x="1095" y="229"/>
                    </a:lnTo>
                    <a:lnTo>
                      <a:pt x="1092" y="229"/>
                    </a:lnTo>
                    <a:lnTo>
                      <a:pt x="1092" y="229"/>
                    </a:lnTo>
                    <a:lnTo>
                      <a:pt x="1092" y="232"/>
                    </a:lnTo>
                    <a:lnTo>
                      <a:pt x="1090" y="232"/>
                    </a:lnTo>
                    <a:lnTo>
                      <a:pt x="1092" y="232"/>
                    </a:lnTo>
                    <a:lnTo>
                      <a:pt x="1095" y="234"/>
                    </a:lnTo>
                    <a:lnTo>
                      <a:pt x="1095" y="234"/>
                    </a:lnTo>
                    <a:lnTo>
                      <a:pt x="1095" y="234"/>
                    </a:lnTo>
                    <a:lnTo>
                      <a:pt x="1097" y="234"/>
                    </a:lnTo>
                    <a:lnTo>
                      <a:pt x="1097" y="234"/>
                    </a:lnTo>
                    <a:lnTo>
                      <a:pt x="1097" y="234"/>
                    </a:lnTo>
                    <a:lnTo>
                      <a:pt x="1097" y="234"/>
                    </a:lnTo>
                    <a:lnTo>
                      <a:pt x="1097" y="232"/>
                    </a:lnTo>
                    <a:lnTo>
                      <a:pt x="1099" y="232"/>
                    </a:lnTo>
                    <a:lnTo>
                      <a:pt x="1099" y="232"/>
                    </a:lnTo>
                    <a:lnTo>
                      <a:pt x="1099" y="232"/>
                    </a:lnTo>
                    <a:lnTo>
                      <a:pt x="1099" y="229"/>
                    </a:lnTo>
                    <a:lnTo>
                      <a:pt x="1097" y="229"/>
                    </a:lnTo>
                    <a:close/>
                    <a:moveTo>
                      <a:pt x="1095" y="239"/>
                    </a:moveTo>
                    <a:lnTo>
                      <a:pt x="1092" y="241"/>
                    </a:lnTo>
                    <a:lnTo>
                      <a:pt x="1092" y="241"/>
                    </a:lnTo>
                    <a:lnTo>
                      <a:pt x="1092" y="241"/>
                    </a:lnTo>
                    <a:lnTo>
                      <a:pt x="1092" y="244"/>
                    </a:lnTo>
                    <a:lnTo>
                      <a:pt x="1095" y="244"/>
                    </a:lnTo>
                    <a:lnTo>
                      <a:pt x="1095" y="244"/>
                    </a:lnTo>
                    <a:lnTo>
                      <a:pt x="1099" y="244"/>
                    </a:lnTo>
                    <a:lnTo>
                      <a:pt x="1107" y="244"/>
                    </a:lnTo>
                    <a:lnTo>
                      <a:pt x="1109" y="244"/>
                    </a:lnTo>
                    <a:lnTo>
                      <a:pt x="1109" y="244"/>
                    </a:lnTo>
                    <a:lnTo>
                      <a:pt x="1109" y="244"/>
                    </a:lnTo>
                    <a:lnTo>
                      <a:pt x="1111" y="241"/>
                    </a:lnTo>
                    <a:lnTo>
                      <a:pt x="1111" y="241"/>
                    </a:lnTo>
                    <a:lnTo>
                      <a:pt x="1111" y="241"/>
                    </a:lnTo>
                    <a:lnTo>
                      <a:pt x="1109" y="241"/>
                    </a:lnTo>
                    <a:lnTo>
                      <a:pt x="1104" y="241"/>
                    </a:lnTo>
                    <a:lnTo>
                      <a:pt x="1102" y="239"/>
                    </a:lnTo>
                    <a:lnTo>
                      <a:pt x="1099" y="239"/>
                    </a:lnTo>
                    <a:lnTo>
                      <a:pt x="1095" y="239"/>
                    </a:lnTo>
                    <a:lnTo>
                      <a:pt x="1095" y="239"/>
                    </a:lnTo>
                    <a:close/>
                    <a:moveTo>
                      <a:pt x="1038" y="234"/>
                    </a:moveTo>
                    <a:lnTo>
                      <a:pt x="1036" y="237"/>
                    </a:lnTo>
                    <a:lnTo>
                      <a:pt x="1036" y="237"/>
                    </a:lnTo>
                    <a:lnTo>
                      <a:pt x="1036" y="237"/>
                    </a:lnTo>
                    <a:lnTo>
                      <a:pt x="1038" y="237"/>
                    </a:lnTo>
                    <a:lnTo>
                      <a:pt x="1040" y="237"/>
                    </a:lnTo>
                    <a:lnTo>
                      <a:pt x="1040" y="234"/>
                    </a:lnTo>
                    <a:lnTo>
                      <a:pt x="1040" y="234"/>
                    </a:lnTo>
                    <a:lnTo>
                      <a:pt x="1038" y="234"/>
                    </a:lnTo>
                    <a:close/>
                    <a:moveTo>
                      <a:pt x="1069" y="210"/>
                    </a:moveTo>
                    <a:lnTo>
                      <a:pt x="1069" y="210"/>
                    </a:lnTo>
                    <a:lnTo>
                      <a:pt x="1069" y="210"/>
                    </a:lnTo>
                    <a:lnTo>
                      <a:pt x="1069" y="210"/>
                    </a:lnTo>
                    <a:lnTo>
                      <a:pt x="1066" y="210"/>
                    </a:lnTo>
                    <a:lnTo>
                      <a:pt x="1066" y="210"/>
                    </a:lnTo>
                    <a:lnTo>
                      <a:pt x="1064" y="210"/>
                    </a:lnTo>
                    <a:lnTo>
                      <a:pt x="1059" y="213"/>
                    </a:lnTo>
                    <a:lnTo>
                      <a:pt x="1057" y="215"/>
                    </a:lnTo>
                    <a:lnTo>
                      <a:pt x="1059" y="215"/>
                    </a:lnTo>
                    <a:lnTo>
                      <a:pt x="1059" y="213"/>
                    </a:lnTo>
                    <a:lnTo>
                      <a:pt x="1062" y="213"/>
                    </a:lnTo>
                    <a:lnTo>
                      <a:pt x="1064" y="213"/>
                    </a:lnTo>
                    <a:lnTo>
                      <a:pt x="1066" y="213"/>
                    </a:lnTo>
                    <a:lnTo>
                      <a:pt x="1071" y="213"/>
                    </a:lnTo>
                    <a:lnTo>
                      <a:pt x="1071" y="210"/>
                    </a:lnTo>
                    <a:lnTo>
                      <a:pt x="1071" y="210"/>
                    </a:lnTo>
                    <a:lnTo>
                      <a:pt x="1071" y="210"/>
                    </a:lnTo>
                    <a:lnTo>
                      <a:pt x="1071" y="210"/>
                    </a:lnTo>
                    <a:lnTo>
                      <a:pt x="1069" y="210"/>
                    </a:lnTo>
                    <a:close/>
                    <a:moveTo>
                      <a:pt x="1464" y="9"/>
                    </a:moveTo>
                    <a:lnTo>
                      <a:pt x="1464" y="9"/>
                    </a:lnTo>
                    <a:lnTo>
                      <a:pt x="1464" y="9"/>
                    </a:lnTo>
                    <a:lnTo>
                      <a:pt x="1461" y="7"/>
                    </a:lnTo>
                    <a:lnTo>
                      <a:pt x="1452" y="7"/>
                    </a:lnTo>
                    <a:lnTo>
                      <a:pt x="1442" y="9"/>
                    </a:lnTo>
                    <a:lnTo>
                      <a:pt x="1442" y="9"/>
                    </a:lnTo>
                    <a:lnTo>
                      <a:pt x="1447" y="7"/>
                    </a:lnTo>
                    <a:lnTo>
                      <a:pt x="1447" y="7"/>
                    </a:lnTo>
                    <a:lnTo>
                      <a:pt x="1445" y="7"/>
                    </a:lnTo>
                    <a:lnTo>
                      <a:pt x="1442" y="4"/>
                    </a:lnTo>
                    <a:lnTo>
                      <a:pt x="1442" y="4"/>
                    </a:lnTo>
                    <a:lnTo>
                      <a:pt x="1442" y="4"/>
                    </a:lnTo>
                    <a:lnTo>
                      <a:pt x="1445" y="4"/>
                    </a:lnTo>
                    <a:lnTo>
                      <a:pt x="1445" y="4"/>
                    </a:lnTo>
                    <a:lnTo>
                      <a:pt x="1445" y="4"/>
                    </a:lnTo>
                    <a:lnTo>
                      <a:pt x="1445" y="4"/>
                    </a:lnTo>
                    <a:lnTo>
                      <a:pt x="1440" y="4"/>
                    </a:lnTo>
                    <a:lnTo>
                      <a:pt x="1438" y="4"/>
                    </a:lnTo>
                    <a:lnTo>
                      <a:pt x="1435" y="4"/>
                    </a:lnTo>
                    <a:lnTo>
                      <a:pt x="1433" y="4"/>
                    </a:lnTo>
                    <a:lnTo>
                      <a:pt x="1433" y="4"/>
                    </a:lnTo>
                    <a:lnTo>
                      <a:pt x="1433" y="2"/>
                    </a:lnTo>
                    <a:lnTo>
                      <a:pt x="1431" y="2"/>
                    </a:lnTo>
                    <a:lnTo>
                      <a:pt x="1431" y="2"/>
                    </a:lnTo>
                    <a:lnTo>
                      <a:pt x="1428" y="2"/>
                    </a:lnTo>
                    <a:lnTo>
                      <a:pt x="1428" y="2"/>
                    </a:lnTo>
                    <a:lnTo>
                      <a:pt x="1426" y="4"/>
                    </a:lnTo>
                    <a:lnTo>
                      <a:pt x="1426" y="4"/>
                    </a:lnTo>
                    <a:lnTo>
                      <a:pt x="1424" y="4"/>
                    </a:lnTo>
                    <a:lnTo>
                      <a:pt x="1424" y="4"/>
                    </a:lnTo>
                    <a:lnTo>
                      <a:pt x="1421" y="4"/>
                    </a:lnTo>
                    <a:lnTo>
                      <a:pt x="1416" y="4"/>
                    </a:lnTo>
                    <a:lnTo>
                      <a:pt x="1409" y="4"/>
                    </a:lnTo>
                    <a:lnTo>
                      <a:pt x="1407" y="4"/>
                    </a:lnTo>
                    <a:lnTo>
                      <a:pt x="1405" y="4"/>
                    </a:lnTo>
                    <a:lnTo>
                      <a:pt x="1400" y="7"/>
                    </a:lnTo>
                    <a:lnTo>
                      <a:pt x="1398" y="7"/>
                    </a:lnTo>
                    <a:lnTo>
                      <a:pt x="1390" y="7"/>
                    </a:lnTo>
                    <a:lnTo>
                      <a:pt x="1388" y="7"/>
                    </a:lnTo>
                    <a:lnTo>
                      <a:pt x="1390" y="4"/>
                    </a:lnTo>
                    <a:lnTo>
                      <a:pt x="1409" y="4"/>
                    </a:lnTo>
                    <a:lnTo>
                      <a:pt x="1412" y="4"/>
                    </a:lnTo>
                    <a:lnTo>
                      <a:pt x="1414" y="2"/>
                    </a:lnTo>
                    <a:lnTo>
                      <a:pt x="1414" y="2"/>
                    </a:lnTo>
                    <a:lnTo>
                      <a:pt x="1414" y="2"/>
                    </a:lnTo>
                    <a:lnTo>
                      <a:pt x="1405" y="2"/>
                    </a:lnTo>
                    <a:lnTo>
                      <a:pt x="1402" y="2"/>
                    </a:lnTo>
                    <a:lnTo>
                      <a:pt x="1398" y="2"/>
                    </a:lnTo>
                    <a:lnTo>
                      <a:pt x="1398" y="2"/>
                    </a:lnTo>
                    <a:lnTo>
                      <a:pt x="1395" y="2"/>
                    </a:lnTo>
                    <a:lnTo>
                      <a:pt x="1390" y="2"/>
                    </a:lnTo>
                    <a:lnTo>
                      <a:pt x="1383" y="2"/>
                    </a:lnTo>
                    <a:lnTo>
                      <a:pt x="1381" y="2"/>
                    </a:lnTo>
                    <a:lnTo>
                      <a:pt x="1381" y="0"/>
                    </a:lnTo>
                    <a:lnTo>
                      <a:pt x="1379" y="0"/>
                    </a:lnTo>
                    <a:lnTo>
                      <a:pt x="1379" y="0"/>
                    </a:lnTo>
                    <a:lnTo>
                      <a:pt x="1369" y="0"/>
                    </a:lnTo>
                    <a:lnTo>
                      <a:pt x="1367" y="0"/>
                    </a:lnTo>
                    <a:lnTo>
                      <a:pt x="1362" y="2"/>
                    </a:lnTo>
                    <a:lnTo>
                      <a:pt x="1362" y="2"/>
                    </a:lnTo>
                    <a:lnTo>
                      <a:pt x="1362" y="2"/>
                    </a:lnTo>
                    <a:lnTo>
                      <a:pt x="1364" y="2"/>
                    </a:lnTo>
                    <a:lnTo>
                      <a:pt x="1364" y="2"/>
                    </a:lnTo>
                    <a:lnTo>
                      <a:pt x="1362" y="2"/>
                    </a:lnTo>
                    <a:lnTo>
                      <a:pt x="1360" y="2"/>
                    </a:lnTo>
                    <a:lnTo>
                      <a:pt x="1355" y="0"/>
                    </a:lnTo>
                    <a:lnTo>
                      <a:pt x="1355" y="0"/>
                    </a:lnTo>
                    <a:lnTo>
                      <a:pt x="1345" y="0"/>
                    </a:lnTo>
                    <a:lnTo>
                      <a:pt x="1341" y="2"/>
                    </a:lnTo>
                    <a:lnTo>
                      <a:pt x="1338" y="2"/>
                    </a:lnTo>
                    <a:lnTo>
                      <a:pt x="1338" y="2"/>
                    </a:lnTo>
                    <a:lnTo>
                      <a:pt x="1336" y="2"/>
                    </a:lnTo>
                    <a:lnTo>
                      <a:pt x="1338" y="4"/>
                    </a:lnTo>
                    <a:lnTo>
                      <a:pt x="1343" y="4"/>
                    </a:lnTo>
                    <a:lnTo>
                      <a:pt x="1343" y="4"/>
                    </a:lnTo>
                    <a:lnTo>
                      <a:pt x="1336" y="4"/>
                    </a:lnTo>
                    <a:lnTo>
                      <a:pt x="1334" y="4"/>
                    </a:lnTo>
                    <a:lnTo>
                      <a:pt x="1331" y="2"/>
                    </a:lnTo>
                    <a:lnTo>
                      <a:pt x="1331" y="2"/>
                    </a:lnTo>
                    <a:lnTo>
                      <a:pt x="1329" y="2"/>
                    </a:lnTo>
                    <a:lnTo>
                      <a:pt x="1329" y="2"/>
                    </a:lnTo>
                    <a:lnTo>
                      <a:pt x="1315" y="2"/>
                    </a:lnTo>
                    <a:lnTo>
                      <a:pt x="1298" y="2"/>
                    </a:lnTo>
                    <a:lnTo>
                      <a:pt x="1298" y="2"/>
                    </a:lnTo>
                    <a:lnTo>
                      <a:pt x="1298" y="2"/>
                    </a:lnTo>
                    <a:lnTo>
                      <a:pt x="1303" y="4"/>
                    </a:lnTo>
                    <a:lnTo>
                      <a:pt x="1305" y="4"/>
                    </a:lnTo>
                    <a:lnTo>
                      <a:pt x="1305" y="4"/>
                    </a:lnTo>
                    <a:lnTo>
                      <a:pt x="1308" y="7"/>
                    </a:lnTo>
                    <a:lnTo>
                      <a:pt x="1308" y="7"/>
                    </a:lnTo>
                    <a:lnTo>
                      <a:pt x="1305" y="7"/>
                    </a:lnTo>
                    <a:lnTo>
                      <a:pt x="1303" y="7"/>
                    </a:lnTo>
                    <a:lnTo>
                      <a:pt x="1301" y="7"/>
                    </a:lnTo>
                    <a:lnTo>
                      <a:pt x="1301" y="7"/>
                    </a:lnTo>
                    <a:lnTo>
                      <a:pt x="1301" y="7"/>
                    </a:lnTo>
                    <a:lnTo>
                      <a:pt x="1301" y="7"/>
                    </a:lnTo>
                    <a:lnTo>
                      <a:pt x="1293" y="4"/>
                    </a:lnTo>
                    <a:lnTo>
                      <a:pt x="1291" y="2"/>
                    </a:lnTo>
                    <a:lnTo>
                      <a:pt x="1291" y="2"/>
                    </a:lnTo>
                    <a:lnTo>
                      <a:pt x="1286" y="2"/>
                    </a:lnTo>
                    <a:lnTo>
                      <a:pt x="1282" y="2"/>
                    </a:lnTo>
                    <a:lnTo>
                      <a:pt x="1275" y="2"/>
                    </a:lnTo>
                    <a:lnTo>
                      <a:pt x="1267" y="2"/>
                    </a:lnTo>
                    <a:lnTo>
                      <a:pt x="1263" y="2"/>
                    </a:lnTo>
                    <a:lnTo>
                      <a:pt x="1263" y="2"/>
                    </a:lnTo>
                    <a:lnTo>
                      <a:pt x="1265" y="4"/>
                    </a:lnTo>
                    <a:lnTo>
                      <a:pt x="1265" y="4"/>
                    </a:lnTo>
                    <a:lnTo>
                      <a:pt x="1267" y="4"/>
                    </a:lnTo>
                    <a:lnTo>
                      <a:pt x="1270" y="4"/>
                    </a:lnTo>
                    <a:lnTo>
                      <a:pt x="1275" y="4"/>
                    </a:lnTo>
                    <a:lnTo>
                      <a:pt x="1275" y="4"/>
                    </a:lnTo>
                    <a:lnTo>
                      <a:pt x="1272" y="4"/>
                    </a:lnTo>
                    <a:lnTo>
                      <a:pt x="1260" y="4"/>
                    </a:lnTo>
                    <a:lnTo>
                      <a:pt x="1256" y="4"/>
                    </a:lnTo>
                    <a:lnTo>
                      <a:pt x="1251" y="4"/>
                    </a:lnTo>
                    <a:lnTo>
                      <a:pt x="1249" y="4"/>
                    </a:lnTo>
                    <a:lnTo>
                      <a:pt x="1249" y="4"/>
                    </a:lnTo>
                    <a:lnTo>
                      <a:pt x="1249" y="4"/>
                    </a:lnTo>
                    <a:lnTo>
                      <a:pt x="1251" y="7"/>
                    </a:lnTo>
                    <a:lnTo>
                      <a:pt x="1249" y="7"/>
                    </a:lnTo>
                    <a:lnTo>
                      <a:pt x="1246" y="7"/>
                    </a:lnTo>
                    <a:lnTo>
                      <a:pt x="1244" y="7"/>
                    </a:lnTo>
                    <a:lnTo>
                      <a:pt x="1241" y="7"/>
                    </a:lnTo>
                    <a:lnTo>
                      <a:pt x="1237" y="7"/>
                    </a:lnTo>
                    <a:lnTo>
                      <a:pt x="1237" y="7"/>
                    </a:lnTo>
                    <a:lnTo>
                      <a:pt x="1237" y="7"/>
                    </a:lnTo>
                    <a:lnTo>
                      <a:pt x="1239" y="7"/>
                    </a:lnTo>
                    <a:lnTo>
                      <a:pt x="1239" y="7"/>
                    </a:lnTo>
                    <a:lnTo>
                      <a:pt x="1234" y="7"/>
                    </a:lnTo>
                    <a:lnTo>
                      <a:pt x="1232" y="9"/>
                    </a:lnTo>
                    <a:lnTo>
                      <a:pt x="1230" y="9"/>
                    </a:lnTo>
                    <a:lnTo>
                      <a:pt x="1230" y="9"/>
                    </a:lnTo>
                    <a:lnTo>
                      <a:pt x="1230" y="9"/>
                    </a:lnTo>
                    <a:lnTo>
                      <a:pt x="1232" y="12"/>
                    </a:lnTo>
                    <a:lnTo>
                      <a:pt x="1237" y="12"/>
                    </a:lnTo>
                    <a:lnTo>
                      <a:pt x="1249" y="14"/>
                    </a:lnTo>
                    <a:lnTo>
                      <a:pt x="1253" y="14"/>
                    </a:lnTo>
                    <a:lnTo>
                      <a:pt x="1253" y="16"/>
                    </a:lnTo>
                    <a:lnTo>
                      <a:pt x="1253" y="16"/>
                    </a:lnTo>
                    <a:lnTo>
                      <a:pt x="1251" y="16"/>
                    </a:lnTo>
                    <a:lnTo>
                      <a:pt x="1249" y="14"/>
                    </a:lnTo>
                    <a:lnTo>
                      <a:pt x="1246" y="14"/>
                    </a:lnTo>
                    <a:lnTo>
                      <a:pt x="1244" y="14"/>
                    </a:lnTo>
                    <a:lnTo>
                      <a:pt x="1234" y="12"/>
                    </a:lnTo>
                    <a:lnTo>
                      <a:pt x="1227" y="12"/>
                    </a:lnTo>
                    <a:lnTo>
                      <a:pt x="1225" y="12"/>
                    </a:lnTo>
                    <a:lnTo>
                      <a:pt x="1225" y="12"/>
                    </a:lnTo>
                    <a:lnTo>
                      <a:pt x="1222" y="12"/>
                    </a:lnTo>
                    <a:lnTo>
                      <a:pt x="1222" y="12"/>
                    </a:lnTo>
                    <a:lnTo>
                      <a:pt x="1222" y="12"/>
                    </a:lnTo>
                    <a:lnTo>
                      <a:pt x="1225" y="14"/>
                    </a:lnTo>
                    <a:lnTo>
                      <a:pt x="1225" y="14"/>
                    </a:lnTo>
                    <a:lnTo>
                      <a:pt x="1220" y="14"/>
                    </a:lnTo>
                    <a:lnTo>
                      <a:pt x="1220" y="14"/>
                    </a:lnTo>
                    <a:lnTo>
                      <a:pt x="1218" y="12"/>
                    </a:lnTo>
                    <a:lnTo>
                      <a:pt x="1218" y="12"/>
                    </a:lnTo>
                    <a:lnTo>
                      <a:pt x="1215" y="9"/>
                    </a:lnTo>
                    <a:lnTo>
                      <a:pt x="1213" y="9"/>
                    </a:lnTo>
                    <a:lnTo>
                      <a:pt x="1206" y="9"/>
                    </a:lnTo>
                    <a:lnTo>
                      <a:pt x="1206" y="9"/>
                    </a:lnTo>
                    <a:lnTo>
                      <a:pt x="1204" y="9"/>
                    </a:lnTo>
                    <a:lnTo>
                      <a:pt x="1204" y="9"/>
                    </a:lnTo>
                    <a:lnTo>
                      <a:pt x="1196" y="9"/>
                    </a:lnTo>
                    <a:lnTo>
                      <a:pt x="1194" y="9"/>
                    </a:lnTo>
                    <a:lnTo>
                      <a:pt x="1189" y="12"/>
                    </a:lnTo>
                    <a:lnTo>
                      <a:pt x="1187" y="12"/>
                    </a:lnTo>
                    <a:lnTo>
                      <a:pt x="1185" y="12"/>
                    </a:lnTo>
                    <a:lnTo>
                      <a:pt x="1180" y="12"/>
                    </a:lnTo>
                    <a:lnTo>
                      <a:pt x="1180" y="12"/>
                    </a:lnTo>
                    <a:lnTo>
                      <a:pt x="1192" y="14"/>
                    </a:lnTo>
                    <a:lnTo>
                      <a:pt x="1192" y="14"/>
                    </a:lnTo>
                    <a:lnTo>
                      <a:pt x="1192" y="14"/>
                    </a:lnTo>
                    <a:lnTo>
                      <a:pt x="1192" y="14"/>
                    </a:lnTo>
                    <a:lnTo>
                      <a:pt x="1189" y="14"/>
                    </a:lnTo>
                    <a:lnTo>
                      <a:pt x="1187" y="14"/>
                    </a:lnTo>
                    <a:lnTo>
                      <a:pt x="1185" y="14"/>
                    </a:lnTo>
                    <a:lnTo>
                      <a:pt x="1182" y="14"/>
                    </a:lnTo>
                    <a:lnTo>
                      <a:pt x="1180" y="14"/>
                    </a:lnTo>
                    <a:lnTo>
                      <a:pt x="1178" y="14"/>
                    </a:lnTo>
                    <a:lnTo>
                      <a:pt x="1175" y="14"/>
                    </a:lnTo>
                    <a:lnTo>
                      <a:pt x="1173" y="14"/>
                    </a:lnTo>
                    <a:lnTo>
                      <a:pt x="1170" y="14"/>
                    </a:lnTo>
                    <a:lnTo>
                      <a:pt x="1170" y="14"/>
                    </a:lnTo>
                    <a:lnTo>
                      <a:pt x="1168" y="14"/>
                    </a:lnTo>
                    <a:lnTo>
                      <a:pt x="1168" y="14"/>
                    </a:lnTo>
                    <a:lnTo>
                      <a:pt x="1166" y="14"/>
                    </a:lnTo>
                    <a:lnTo>
                      <a:pt x="1161" y="14"/>
                    </a:lnTo>
                    <a:lnTo>
                      <a:pt x="1154" y="14"/>
                    </a:lnTo>
                    <a:lnTo>
                      <a:pt x="1149" y="14"/>
                    </a:lnTo>
                    <a:lnTo>
                      <a:pt x="1147" y="14"/>
                    </a:lnTo>
                    <a:lnTo>
                      <a:pt x="1142" y="16"/>
                    </a:lnTo>
                    <a:lnTo>
                      <a:pt x="1140" y="16"/>
                    </a:lnTo>
                    <a:lnTo>
                      <a:pt x="1133" y="16"/>
                    </a:lnTo>
                    <a:lnTo>
                      <a:pt x="1130" y="16"/>
                    </a:lnTo>
                    <a:lnTo>
                      <a:pt x="1123" y="16"/>
                    </a:lnTo>
                    <a:lnTo>
                      <a:pt x="1118" y="16"/>
                    </a:lnTo>
                    <a:lnTo>
                      <a:pt x="1116" y="19"/>
                    </a:lnTo>
                    <a:lnTo>
                      <a:pt x="1114" y="19"/>
                    </a:lnTo>
                    <a:lnTo>
                      <a:pt x="1111" y="19"/>
                    </a:lnTo>
                    <a:lnTo>
                      <a:pt x="1114" y="19"/>
                    </a:lnTo>
                    <a:lnTo>
                      <a:pt x="1114" y="19"/>
                    </a:lnTo>
                    <a:lnTo>
                      <a:pt x="1116" y="19"/>
                    </a:lnTo>
                    <a:lnTo>
                      <a:pt x="1121" y="19"/>
                    </a:lnTo>
                    <a:lnTo>
                      <a:pt x="1123" y="19"/>
                    </a:lnTo>
                    <a:lnTo>
                      <a:pt x="1126" y="19"/>
                    </a:lnTo>
                    <a:lnTo>
                      <a:pt x="1126" y="19"/>
                    </a:lnTo>
                    <a:lnTo>
                      <a:pt x="1133" y="19"/>
                    </a:lnTo>
                    <a:lnTo>
                      <a:pt x="1133" y="19"/>
                    </a:lnTo>
                    <a:lnTo>
                      <a:pt x="1121" y="21"/>
                    </a:lnTo>
                    <a:lnTo>
                      <a:pt x="1118" y="21"/>
                    </a:lnTo>
                    <a:lnTo>
                      <a:pt x="1121" y="21"/>
                    </a:lnTo>
                    <a:lnTo>
                      <a:pt x="1123" y="21"/>
                    </a:lnTo>
                    <a:lnTo>
                      <a:pt x="1140" y="21"/>
                    </a:lnTo>
                    <a:lnTo>
                      <a:pt x="1147" y="21"/>
                    </a:lnTo>
                    <a:lnTo>
                      <a:pt x="1149" y="21"/>
                    </a:lnTo>
                    <a:lnTo>
                      <a:pt x="1156" y="21"/>
                    </a:lnTo>
                    <a:lnTo>
                      <a:pt x="1154" y="21"/>
                    </a:lnTo>
                    <a:lnTo>
                      <a:pt x="1149" y="21"/>
                    </a:lnTo>
                    <a:lnTo>
                      <a:pt x="1144" y="21"/>
                    </a:lnTo>
                    <a:lnTo>
                      <a:pt x="1140" y="21"/>
                    </a:lnTo>
                    <a:lnTo>
                      <a:pt x="1133" y="23"/>
                    </a:lnTo>
                    <a:lnTo>
                      <a:pt x="1128" y="23"/>
                    </a:lnTo>
                    <a:lnTo>
                      <a:pt x="1128" y="23"/>
                    </a:lnTo>
                    <a:lnTo>
                      <a:pt x="1133" y="23"/>
                    </a:lnTo>
                    <a:lnTo>
                      <a:pt x="1130" y="23"/>
                    </a:lnTo>
                    <a:lnTo>
                      <a:pt x="1128" y="23"/>
                    </a:lnTo>
                    <a:lnTo>
                      <a:pt x="1123" y="26"/>
                    </a:lnTo>
                    <a:lnTo>
                      <a:pt x="1121" y="26"/>
                    </a:lnTo>
                    <a:lnTo>
                      <a:pt x="1121" y="26"/>
                    </a:lnTo>
                    <a:lnTo>
                      <a:pt x="1123" y="28"/>
                    </a:lnTo>
                    <a:lnTo>
                      <a:pt x="1126" y="28"/>
                    </a:lnTo>
                    <a:lnTo>
                      <a:pt x="1133" y="26"/>
                    </a:lnTo>
                    <a:lnTo>
                      <a:pt x="1152" y="26"/>
                    </a:lnTo>
                    <a:lnTo>
                      <a:pt x="1159" y="26"/>
                    </a:lnTo>
                    <a:lnTo>
                      <a:pt x="1170" y="23"/>
                    </a:lnTo>
                    <a:lnTo>
                      <a:pt x="1175" y="23"/>
                    </a:lnTo>
                    <a:lnTo>
                      <a:pt x="1178" y="23"/>
                    </a:lnTo>
                    <a:lnTo>
                      <a:pt x="1180" y="23"/>
                    </a:lnTo>
                    <a:lnTo>
                      <a:pt x="1180" y="23"/>
                    </a:lnTo>
                    <a:lnTo>
                      <a:pt x="1168" y="26"/>
                    </a:lnTo>
                    <a:lnTo>
                      <a:pt x="1159" y="28"/>
                    </a:lnTo>
                    <a:lnTo>
                      <a:pt x="1154" y="28"/>
                    </a:lnTo>
                    <a:lnTo>
                      <a:pt x="1147" y="28"/>
                    </a:lnTo>
                    <a:lnTo>
                      <a:pt x="1137" y="28"/>
                    </a:lnTo>
                    <a:lnTo>
                      <a:pt x="1126" y="28"/>
                    </a:lnTo>
                    <a:lnTo>
                      <a:pt x="1126" y="28"/>
                    </a:lnTo>
                    <a:lnTo>
                      <a:pt x="1126" y="28"/>
                    </a:lnTo>
                    <a:lnTo>
                      <a:pt x="1126" y="31"/>
                    </a:lnTo>
                    <a:lnTo>
                      <a:pt x="1126" y="31"/>
                    </a:lnTo>
                    <a:lnTo>
                      <a:pt x="1128" y="31"/>
                    </a:lnTo>
                    <a:lnTo>
                      <a:pt x="1130" y="31"/>
                    </a:lnTo>
                    <a:lnTo>
                      <a:pt x="1133" y="31"/>
                    </a:lnTo>
                    <a:lnTo>
                      <a:pt x="1135" y="33"/>
                    </a:lnTo>
                    <a:lnTo>
                      <a:pt x="1137" y="33"/>
                    </a:lnTo>
                    <a:lnTo>
                      <a:pt x="1142" y="33"/>
                    </a:lnTo>
                    <a:lnTo>
                      <a:pt x="1147" y="31"/>
                    </a:lnTo>
                    <a:lnTo>
                      <a:pt x="1161" y="28"/>
                    </a:lnTo>
                    <a:lnTo>
                      <a:pt x="1163" y="28"/>
                    </a:lnTo>
                    <a:lnTo>
                      <a:pt x="1168" y="28"/>
                    </a:lnTo>
                    <a:lnTo>
                      <a:pt x="1182" y="26"/>
                    </a:lnTo>
                    <a:lnTo>
                      <a:pt x="1196" y="26"/>
                    </a:lnTo>
                    <a:lnTo>
                      <a:pt x="1196" y="26"/>
                    </a:lnTo>
                    <a:lnTo>
                      <a:pt x="1180" y="26"/>
                    </a:lnTo>
                    <a:lnTo>
                      <a:pt x="1173" y="28"/>
                    </a:lnTo>
                    <a:lnTo>
                      <a:pt x="1166" y="28"/>
                    </a:lnTo>
                    <a:lnTo>
                      <a:pt x="1156" y="31"/>
                    </a:lnTo>
                    <a:lnTo>
                      <a:pt x="1154" y="31"/>
                    </a:lnTo>
                    <a:lnTo>
                      <a:pt x="1152" y="33"/>
                    </a:lnTo>
                    <a:lnTo>
                      <a:pt x="1149" y="33"/>
                    </a:lnTo>
                    <a:lnTo>
                      <a:pt x="1149" y="33"/>
                    </a:lnTo>
                    <a:lnTo>
                      <a:pt x="1154" y="33"/>
                    </a:lnTo>
                    <a:lnTo>
                      <a:pt x="1154" y="33"/>
                    </a:lnTo>
                    <a:lnTo>
                      <a:pt x="1159" y="33"/>
                    </a:lnTo>
                    <a:lnTo>
                      <a:pt x="1163" y="33"/>
                    </a:lnTo>
                    <a:lnTo>
                      <a:pt x="1166" y="35"/>
                    </a:lnTo>
                    <a:lnTo>
                      <a:pt x="1173" y="33"/>
                    </a:lnTo>
                    <a:lnTo>
                      <a:pt x="1175" y="33"/>
                    </a:lnTo>
                    <a:lnTo>
                      <a:pt x="1178" y="33"/>
                    </a:lnTo>
                    <a:lnTo>
                      <a:pt x="1180" y="33"/>
                    </a:lnTo>
                    <a:lnTo>
                      <a:pt x="1185" y="33"/>
                    </a:lnTo>
                    <a:lnTo>
                      <a:pt x="1189" y="31"/>
                    </a:lnTo>
                    <a:lnTo>
                      <a:pt x="1196" y="31"/>
                    </a:lnTo>
                    <a:lnTo>
                      <a:pt x="1199" y="31"/>
                    </a:lnTo>
                    <a:lnTo>
                      <a:pt x="1204" y="31"/>
                    </a:lnTo>
                    <a:lnTo>
                      <a:pt x="1201" y="31"/>
                    </a:lnTo>
                    <a:lnTo>
                      <a:pt x="1194" y="33"/>
                    </a:lnTo>
                    <a:lnTo>
                      <a:pt x="1192" y="33"/>
                    </a:lnTo>
                    <a:lnTo>
                      <a:pt x="1194" y="33"/>
                    </a:lnTo>
                    <a:lnTo>
                      <a:pt x="1196" y="33"/>
                    </a:lnTo>
                    <a:lnTo>
                      <a:pt x="1208" y="33"/>
                    </a:lnTo>
                    <a:lnTo>
                      <a:pt x="1211" y="33"/>
                    </a:lnTo>
                    <a:lnTo>
                      <a:pt x="1215" y="33"/>
                    </a:lnTo>
                    <a:lnTo>
                      <a:pt x="1227" y="31"/>
                    </a:lnTo>
                    <a:lnTo>
                      <a:pt x="1232" y="31"/>
                    </a:lnTo>
                    <a:lnTo>
                      <a:pt x="1234" y="28"/>
                    </a:lnTo>
                    <a:lnTo>
                      <a:pt x="1237" y="28"/>
                    </a:lnTo>
                    <a:lnTo>
                      <a:pt x="1237" y="28"/>
                    </a:lnTo>
                    <a:lnTo>
                      <a:pt x="1239" y="28"/>
                    </a:lnTo>
                    <a:lnTo>
                      <a:pt x="1241" y="26"/>
                    </a:lnTo>
                    <a:lnTo>
                      <a:pt x="1244" y="26"/>
                    </a:lnTo>
                    <a:lnTo>
                      <a:pt x="1244" y="26"/>
                    </a:lnTo>
                    <a:lnTo>
                      <a:pt x="1246" y="26"/>
                    </a:lnTo>
                    <a:lnTo>
                      <a:pt x="1249" y="26"/>
                    </a:lnTo>
                    <a:lnTo>
                      <a:pt x="1256" y="23"/>
                    </a:lnTo>
                    <a:lnTo>
                      <a:pt x="1260" y="23"/>
                    </a:lnTo>
                    <a:lnTo>
                      <a:pt x="1275" y="21"/>
                    </a:lnTo>
                    <a:lnTo>
                      <a:pt x="1272" y="23"/>
                    </a:lnTo>
                    <a:lnTo>
                      <a:pt x="1265" y="23"/>
                    </a:lnTo>
                    <a:lnTo>
                      <a:pt x="1256" y="26"/>
                    </a:lnTo>
                    <a:lnTo>
                      <a:pt x="1251" y="26"/>
                    </a:lnTo>
                    <a:lnTo>
                      <a:pt x="1249" y="26"/>
                    </a:lnTo>
                    <a:lnTo>
                      <a:pt x="1246" y="28"/>
                    </a:lnTo>
                    <a:lnTo>
                      <a:pt x="1246" y="28"/>
                    </a:lnTo>
                    <a:lnTo>
                      <a:pt x="1249" y="28"/>
                    </a:lnTo>
                    <a:lnTo>
                      <a:pt x="1253" y="28"/>
                    </a:lnTo>
                    <a:lnTo>
                      <a:pt x="1260" y="28"/>
                    </a:lnTo>
                    <a:lnTo>
                      <a:pt x="1263" y="28"/>
                    </a:lnTo>
                    <a:lnTo>
                      <a:pt x="1265" y="28"/>
                    </a:lnTo>
                    <a:lnTo>
                      <a:pt x="1265" y="31"/>
                    </a:lnTo>
                    <a:lnTo>
                      <a:pt x="1263" y="31"/>
                    </a:lnTo>
                    <a:lnTo>
                      <a:pt x="1258" y="31"/>
                    </a:lnTo>
                    <a:lnTo>
                      <a:pt x="1246" y="31"/>
                    </a:lnTo>
                    <a:lnTo>
                      <a:pt x="1230" y="33"/>
                    </a:lnTo>
                    <a:lnTo>
                      <a:pt x="1230" y="33"/>
                    </a:lnTo>
                    <a:lnTo>
                      <a:pt x="1222" y="33"/>
                    </a:lnTo>
                    <a:lnTo>
                      <a:pt x="1211" y="35"/>
                    </a:lnTo>
                    <a:lnTo>
                      <a:pt x="1192" y="35"/>
                    </a:lnTo>
                    <a:lnTo>
                      <a:pt x="1189" y="38"/>
                    </a:lnTo>
                    <a:lnTo>
                      <a:pt x="1187" y="38"/>
                    </a:lnTo>
                    <a:lnTo>
                      <a:pt x="1185" y="38"/>
                    </a:lnTo>
                    <a:lnTo>
                      <a:pt x="1187" y="40"/>
                    </a:lnTo>
                    <a:lnTo>
                      <a:pt x="1189" y="40"/>
                    </a:lnTo>
                    <a:lnTo>
                      <a:pt x="1192" y="42"/>
                    </a:lnTo>
                    <a:lnTo>
                      <a:pt x="1194" y="42"/>
                    </a:lnTo>
                    <a:lnTo>
                      <a:pt x="1194" y="45"/>
                    </a:lnTo>
                    <a:lnTo>
                      <a:pt x="1196" y="45"/>
                    </a:lnTo>
                    <a:lnTo>
                      <a:pt x="1196" y="47"/>
                    </a:lnTo>
                    <a:lnTo>
                      <a:pt x="1201" y="47"/>
                    </a:lnTo>
                    <a:lnTo>
                      <a:pt x="1206" y="47"/>
                    </a:lnTo>
                    <a:lnTo>
                      <a:pt x="1208" y="47"/>
                    </a:lnTo>
                    <a:lnTo>
                      <a:pt x="1206" y="47"/>
                    </a:lnTo>
                    <a:lnTo>
                      <a:pt x="1201" y="47"/>
                    </a:lnTo>
                    <a:lnTo>
                      <a:pt x="1199" y="47"/>
                    </a:lnTo>
                    <a:lnTo>
                      <a:pt x="1196" y="47"/>
                    </a:lnTo>
                    <a:lnTo>
                      <a:pt x="1192" y="47"/>
                    </a:lnTo>
                    <a:lnTo>
                      <a:pt x="1189" y="47"/>
                    </a:lnTo>
                    <a:lnTo>
                      <a:pt x="1187" y="45"/>
                    </a:lnTo>
                    <a:lnTo>
                      <a:pt x="1187" y="45"/>
                    </a:lnTo>
                    <a:lnTo>
                      <a:pt x="1185" y="42"/>
                    </a:lnTo>
                    <a:lnTo>
                      <a:pt x="1185" y="42"/>
                    </a:lnTo>
                    <a:lnTo>
                      <a:pt x="1180" y="40"/>
                    </a:lnTo>
                    <a:lnTo>
                      <a:pt x="1178" y="40"/>
                    </a:lnTo>
                    <a:lnTo>
                      <a:pt x="1175" y="38"/>
                    </a:lnTo>
                    <a:lnTo>
                      <a:pt x="1173" y="38"/>
                    </a:lnTo>
                    <a:lnTo>
                      <a:pt x="1166" y="38"/>
                    </a:lnTo>
                    <a:lnTo>
                      <a:pt x="1161" y="38"/>
                    </a:lnTo>
                    <a:lnTo>
                      <a:pt x="1147" y="38"/>
                    </a:lnTo>
                    <a:lnTo>
                      <a:pt x="1144" y="38"/>
                    </a:lnTo>
                    <a:lnTo>
                      <a:pt x="1140" y="40"/>
                    </a:lnTo>
                    <a:lnTo>
                      <a:pt x="1140" y="42"/>
                    </a:lnTo>
                    <a:lnTo>
                      <a:pt x="1137" y="45"/>
                    </a:lnTo>
                    <a:lnTo>
                      <a:pt x="1140" y="45"/>
                    </a:lnTo>
                    <a:lnTo>
                      <a:pt x="1140" y="45"/>
                    </a:lnTo>
                    <a:lnTo>
                      <a:pt x="1144" y="47"/>
                    </a:lnTo>
                    <a:lnTo>
                      <a:pt x="1147" y="47"/>
                    </a:lnTo>
                    <a:lnTo>
                      <a:pt x="1149" y="47"/>
                    </a:lnTo>
                    <a:lnTo>
                      <a:pt x="1149" y="49"/>
                    </a:lnTo>
                    <a:lnTo>
                      <a:pt x="1152" y="49"/>
                    </a:lnTo>
                    <a:lnTo>
                      <a:pt x="1152" y="52"/>
                    </a:lnTo>
                    <a:lnTo>
                      <a:pt x="1152" y="52"/>
                    </a:lnTo>
                    <a:lnTo>
                      <a:pt x="1154" y="54"/>
                    </a:lnTo>
                    <a:lnTo>
                      <a:pt x="1156" y="54"/>
                    </a:lnTo>
                    <a:lnTo>
                      <a:pt x="1156" y="54"/>
                    </a:lnTo>
                    <a:lnTo>
                      <a:pt x="1154" y="54"/>
                    </a:lnTo>
                    <a:lnTo>
                      <a:pt x="1152" y="54"/>
                    </a:lnTo>
                    <a:lnTo>
                      <a:pt x="1149" y="54"/>
                    </a:lnTo>
                    <a:lnTo>
                      <a:pt x="1147" y="54"/>
                    </a:lnTo>
                    <a:lnTo>
                      <a:pt x="1144" y="54"/>
                    </a:lnTo>
                    <a:lnTo>
                      <a:pt x="1144" y="54"/>
                    </a:lnTo>
                    <a:lnTo>
                      <a:pt x="1144" y="57"/>
                    </a:lnTo>
                    <a:lnTo>
                      <a:pt x="1144" y="57"/>
                    </a:lnTo>
                    <a:lnTo>
                      <a:pt x="1144" y="57"/>
                    </a:lnTo>
                    <a:lnTo>
                      <a:pt x="1147" y="57"/>
                    </a:lnTo>
                    <a:lnTo>
                      <a:pt x="1152" y="57"/>
                    </a:lnTo>
                    <a:lnTo>
                      <a:pt x="1159" y="57"/>
                    </a:lnTo>
                    <a:lnTo>
                      <a:pt x="1163" y="57"/>
                    </a:lnTo>
                    <a:lnTo>
                      <a:pt x="1166" y="57"/>
                    </a:lnTo>
                    <a:lnTo>
                      <a:pt x="1168" y="57"/>
                    </a:lnTo>
                    <a:lnTo>
                      <a:pt x="1173" y="57"/>
                    </a:lnTo>
                    <a:lnTo>
                      <a:pt x="1175" y="57"/>
                    </a:lnTo>
                    <a:lnTo>
                      <a:pt x="1175" y="57"/>
                    </a:lnTo>
                    <a:lnTo>
                      <a:pt x="1175" y="57"/>
                    </a:lnTo>
                    <a:lnTo>
                      <a:pt x="1173" y="57"/>
                    </a:lnTo>
                    <a:lnTo>
                      <a:pt x="1168" y="59"/>
                    </a:lnTo>
                    <a:lnTo>
                      <a:pt x="1168" y="59"/>
                    </a:lnTo>
                    <a:lnTo>
                      <a:pt x="1166" y="59"/>
                    </a:lnTo>
                    <a:lnTo>
                      <a:pt x="1159" y="59"/>
                    </a:lnTo>
                    <a:lnTo>
                      <a:pt x="1156" y="59"/>
                    </a:lnTo>
                    <a:lnTo>
                      <a:pt x="1154" y="59"/>
                    </a:lnTo>
                    <a:lnTo>
                      <a:pt x="1154" y="59"/>
                    </a:lnTo>
                    <a:lnTo>
                      <a:pt x="1152" y="59"/>
                    </a:lnTo>
                    <a:lnTo>
                      <a:pt x="1147" y="59"/>
                    </a:lnTo>
                    <a:lnTo>
                      <a:pt x="1137" y="59"/>
                    </a:lnTo>
                    <a:lnTo>
                      <a:pt x="1137" y="57"/>
                    </a:lnTo>
                    <a:lnTo>
                      <a:pt x="1133" y="57"/>
                    </a:lnTo>
                    <a:lnTo>
                      <a:pt x="1128" y="59"/>
                    </a:lnTo>
                    <a:lnTo>
                      <a:pt x="1121" y="59"/>
                    </a:lnTo>
                    <a:lnTo>
                      <a:pt x="1111" y="59"/>
                    </a:lnTo>
                    <a:lnTo>
                      <a:pt x="1109" y="61"/>
                    </a:lnTo>
                    <a:lnTo>
                      <a:pt x="1104" y="64"/>
                    </a:lnTo>
                    <a:lnTo>
                      <a:pt x="1099" y="64"/>
                    </a:lnTo>
                    <a:lnTo>
                      <a:pt x="1097" y="66"/>
                    </a:lnTo>
                    <a:lnTo>
                      <a:pt x="1095" y="66"/>
                    </a:lnTo>
                    <a:lnTo>
                      <a:pt x="1092" y="68"/>
                    </a:lnTo>
                    <a:lnTo>
                      <a:pt x="1092" y="68"/>
                    </a:lnTo>
                    <a:lnTo>
                      <a:pt x="1099" y="68"/>
                    </a:lnTo>
                    <a:lnTo>
                      <a:pt x="1102" y="68"/>
                    </a:lnTo>
                    <a:lnTo>
                      <a:pt x="1107" y="68"/>
                    </a:lnTo>
                    <a:lnTo>
                      <a:pt x="1111" y="66"/>
                    </a:lnTo>
                    <a:lnTo>
                      <a:pt x="1114" y="66"/>
                    </a:lnTo>
                    <a:lnTo>
                      <a:pt x="1109" y="68"/>
                    </a:lnTo>
                    <a:lnTo>
                      <a:pt x="1107" y="71"/>
                    </a:lnTo>
                    <a:lnTo>
                      <a:pt x="1114" y="71"/>
                    </a:lnTo>
                    <a:lnTo>
                      <a:pt x="1116" y="68"/>
                    </a:lnTo>
                    <a:lnTo>
                      <a:pt x="1118" y="68"/>
                    </a:lnTo>
                    <a:lnTo>
                      <a:pt x="1126" y="66"/>
                    </a:lnTo>
                    <a:lnTo>
                      <a:pt x="1133" y="64"/>
                    </a:lnTo>
                    <a:lnTo>
                      <a:pt x="1126" y="68"/>
                    </a:lnTo>
                    <a:lnTo>
                      <a:pt x="1130" y="68"/>
                    </a:lnTo>
                    <a:lnTo>
                      <a:pt x="1130" y="68"/>
                    </a:lnTo>
                    <a:lnTo>
                      <a:pt x="1133" y="68"/>
                    </a:lnTo>
                    <a:lnTo>
                      <a:pt x="1128" y="68"/>
                    </a:lnTo>
                    <a:lnTo>
                      <a:pt x="1128" y="68"/>
                    </a:lnTo>
                    <a:lnTo>
                      <a:pt x="1121" y="71"/>
                    </a:lnTo>
                    <a:lnTo>
                      <a:pt x="1116" y="71"/>
                    </a:lnTo>
                    <a:lnTo>
                      <a:pt x="1111" y="73"/>
                    </a:lnTo>
                    <a:lnTo>
                      <a:pt x="1111" y="76"/>
                    </a:lnTo>
                    <a:lnTo>
                      <a:pt x="1107" y="78"/>
                    </a:lnTo>
                    <a:lnTo>
                      <a:pt x="1109" y="78"/>
                    </a:lnTo>
                    <a:lnTo>
                      <a:pt x="1111" y="80"/>
                    </a:lnTo>
                    <a:lnTo>
                      <a:pt x="1116" y="78"/>
                    </a:lnTo>
                    <a:lnTo>
                      <a:pt x="1121" y="78"/>
                    </a:lnTo>
                    <a:lnTo>
                      <a:pt x="1123" y="78"/>
                    </a:lnTo>
                    <a:lnTo>
                      <a:pt x="1126" y="78"/>
                    </a:lnTo>
                    <a:lnTo>
                      <a:pt x="1130" y="78"/>
                    </a:lnTo>
                    <a:lnTo>
                      <a:pt x="1133" y="76"/>
                    </a:lnTo>
                    <a:lnTo>
                      <a:pt x="1147" y="71"/>
                    </a:lnTo>
                    <a:lnTo>
                      <a:pt x="1147" y="71"/>
                    </a:lnTo>
                    <a:lnTo>
                      <a:pt x="1147" y="73"/>
                    </a:lnTo>
                    <a:lnTo>
                      <a:pt x="1144" y="73"/>
                    </a:lnTo>
                    <a:lnTo>
                      <a:pt x="1144" y="73"/>
                    </a:lnTo>
                    <a:lnTo>
                      <a:pt x="1140" y="76"/>
                    </a:lnTo>
                    <a:lnTo>
                      <a:pt x="1133" y="78"/>
                    </a:lnTo>
                    <a:lnTo>
                      <a:pt x="1128" y="78"/>
                    </a:lnTo>
                    <a:lnTo>
                      <a:pt x="1128" y="80"/>
                    </a:lnTo>
                    <a:lnTo>
                      <a:pt x="1126" y="80"/>
                    </a:lnTo>
                    <a:lnTo>
                      <a:pt x="1123" y="80"/>
                    </a:lnTo>
                    <a:lnTo>
                      <a:pt x="1121" y="80"/>
                    </a:lnTo>
                    <a:lnTo>
                      <a:pt x="1114" y="80"/>
                    </a:lnTo>
                    <a:lnTo>
                      <a:pt x="1111" y="80"/>
                    </a:lnTo>
                    <a:lnTo>
                      <a:pt x="1109" y="80"/>
                    </a:lnTo>
                    <a:lnTo>
                      <a:pt x="1102" y="80"/>
                    </a:lnTo>
                    <a:lnTo>
                      <a:pt x="1102" y="78"/>
                    </a:lnTo>
                    <a:lnTo>
                      <a:pt x="1102" y="78"/>
                    </a:lnTo>
                    <a:lnTo>
                      <a:pt x="1099" y="76"/>
                    </a:lnTo>
                    <a:lnTo>
                      <a:pt x="1099" y="76"/>
                    </a:lnTo>
                    <a:lnTo>
                      <a:pt x="1095" y="73"/>
                    </a:lnTo>
                    <a:lnTo>
                      <a:pt x="1092" y="73"/>
                    </a:lnTo>
                    <a:lnTo>
                      <a:pt x="1090" y="73"/>
                    </a:lnTo>
                    <a:lnTo>
                      <a:pt x="1088" y="73"/>
                    </a:lnTo>
                    <a:lnTo>
                      <a:pt x="1083" y="73"/>
                    </a:lnTo>
                    <a:lnTo>
                      <a:pt x="1078" y="76"/>
                    </a:lnTo>
                    <a:lnTo>
                      <a:pt x="1076" y="76"/>
                    </a:lnTo>
                    <a:lnTo>
                      <a:pt x="1076" y="78"/>
                    </a:lnTo>
                    <a:lnTo>
                      <a:pt x="1076" y="80"/>
                    </a:lnTo>
                    <a:lnTo>
                      <a:pt x="1076" y="80"/>
                    </a:lnTo>
                    <a:lnTo>
                      <a:pt x="1076" y="80"/>
                    </a:lnTo>
                    <a:lnTo>
                      <a:pt x="1078" y="83"/>
                    </a:lnTo>
                    <a:lnTo>
                      <a:pt x="1078" y="83"/>
                    </a:lnTo>
                    <a:lnTo>
                      <a:pt x="1081" y="83"/>
                    </a:lnTo>
                    <a:lnTo>
                      <a:pt x="1081" y="83"/>
                    </a:lnTo>
                    <a:lnTo>
                      <a:pt x="1081" y="85"/>
                    </a:lnTo>
                    <a:lnTo>
                      <a:pt x="1081" y="85"/>
                    </a:lnTo>
                    <a:lnTo>
                      <a:pt x="1081" y="85"/>
                    </a:lnTo>
                    <a:lnTo>
                      <a:pt x="1078" y="85"/>
                    </a:lnTo>
                    <a:lnTo>
                      <a:pt x="1073" y="85"/>
                    </a:lnTo>
                    <a:lnTo>
                      <a:pt x="1071" y="85"/>
                    </a:lnTo>
                    <a:lnTo>
                      <a:pt x="1069" y="85"/>
                    </a:lnTo>
                    <a:lnTo>
                      <a:pt x="1064" y="85"/>
                    </a:lnTo>
                    <a:lnTo>
                      <a:pt x="1062" y="85"/>
                    </a:lnTo>
                    <a:lnTo>
                      <a:pt x="1059" y="85"/>
                    </a:lnTo>
                    <a:lnTo>
                      <a:pt x="1055" y="87"/>
                    </a:lnTo>
                    <a:lnTo>
                      <a:pt x="1043" y="90"/>
                    </a:lnTo>
                    <a:lnTo>
                      <a:pt x="1038" y="92"/>
                    </a:lnTo>
                    <a:lnTo>
                      <a:pt x="1036" y="94"/>
                    </a:lnTo>
                    <a:lnTo>
                      <a:pt x="1036" y="94"/>
                    </a:lnTo>
                    <a:lnTo>
                      <a:pt x="1043" y="97"/>
                    </a:lnTo>
                    <a:lnTo>
                      <a:pt x="1045" y="97"/>
                    </a:lnTo>
                    <a:lnTo>
                      <a:pt x="1047" y="94"/>
                    </a:lnTo>
                    <a:lnTo>
                      <a:pt x="1050" y="92"/>
                    </a:lnTo>
                    <a:lnTo>
                      <a:pt x="1052" y="90"/>
                    </a:lnTo>
                    <a:lnTo>
                      <a:pt x="1050" y="94"/>
                    </a:lnTo>
                    <a:lnTo>
                      <a:pt x="1047" y="97"/>
                    </a:lnTo>
                    <a:lnTo>
                      <a:pt x="1052" y="97"/>
                    </a:lnTo>
                    <a:lnTo>
                      <a:pt x="1057" y="97"/>
                    </a:lnTo>
                    <a:lnTo>
                      <a:pt x="1062" y="94"/>
                    </a:lnTo>
                    <a:lnTo>
                      <a:pt x="1062" y="97"/>
                    </a:lnTo>
                    <a:lnTo>
                      <a:pt x="1064" y="97"/>
                    </a:lnTo>
                    <a:lnTo>
                      <a:pt x="1069" y="97"/>
                    </a:lnTo>
                    <a:lnTo>
                      <a:pt x="1071" y="94"/>
                    </a:lnTo>
                    <a:lnTo>
                      <a:pt x="1076" y="94"/>
                    </a:lnTo>
                    <a:lnTo>
                      <a:pt x="1076" y="94"/>
                    </a:lnTo>
                    <a:lnTo>
                      <a:pt x="1076" y="94"/>
                    </a:lnTo>
                    <a:lnTo>
                      <a:pt x="1076" y="94"/>
                    </a:lnTo>
                    <a:lnTo>
                      <a:pt x="1076" y="97"/>
                    </a:lnTo>
                    <a:lnTo>
                      <a:pt x="1081" y="97"/>
                    </a:lnTo>
                    <a:lnTo>
                      <a:pt x="1083" y="99"/>
                    </a:lnTo>
                    <a:lnTo>
                      <a:pt x="1085" y="99"/>
                    </a:lnTo>
                    <a:lnTo>
                      <a:pt x="1097" y="97"/>
                    </a:lnTo>
                    <a:lnTo>
                      <a:pt x="1104" y="92"/>
                    </a:lnTo>
                    <a:lnTo>
                      <a:pt x="1104" y="94"/>
                    </a:lnTo>
                    <a:lnTo>
                      <a:pt x="1104" y="97"/>
                    </a:lnTo>
                    <a:lnTo>
                      <a:pt x="1109" y="97"/>
                    </a:lnTo>
                    <a:lnTo>
                      <a:pt x="1123" y="94"/>
                    </a:lnTo>
                    <a:lnTo>
                      <a:pt x="1126" y="94"/>
                    </a:lnTo>
                    <a:lnTo>
                      <a:pt x="1126" y="94"/>
                    </a:lnTo>
                    <a:lnTo>
                      <a:pt x="1126" y="92"/>
                    </a:lnTo>
                    <a:lnTo>
                      <a:pt x="1126" y="92"/>
                    </a:lnTo>
                    <a:lnTo>
                      <a:pt x="1126" y="92"/>
                    </a:lnTo>
                    <a:lnTo>
                      <a:pt x="1126" y="92"/>
                    </a:lnTo>
                    <a:lnTo>
                      <a:pt x="1128" y="92"/>
                    </a:lnTo>
                    <a:lnTo>
                      <a:pt x="1128" y="92"/>
                    </a:lnTo>
                    <a:lnTo>
                      <a:pt x="1128" y="92"/>
                    </a:lnTo>
                    <a:lnTo>
                      <a:pt x="1130" y="92"/>
                    </a:lnTo>
                    <a:lnTo>
                      <a:pt x="1130" y="94"/>
                    </a:lnTo>
                    <a:lnTo>
                      <a:pt x="1130" y="94"/>
                    </a:lnTo>
                    <a:lnTo>
                      <a:pt x="1133" y="94"/>
                    </a:lnTo>
                    <a:lnTo>
                      <a:pt x="1135" y="94"/>
                    </a:lnTo>
                    <a:lnTo>
                      <a:pt x="1135" y="94"/>
                    </a:lnTo>
                    <a:lnTo>
                      <a:pt x="1137" y="94"/>
                    </a:lnTo>
                    <a:lnTo>
                      <a:pt x="1140" y="94"/>
                    </a:lnTo>
                    <a:lnTo>
                      <a:pt x="1140" y="94"/>
                    </a:lnTo>
                    <a:lnTo>
                      <a:pt x="1140" y="97"/>
                    </a:lnTo>
                    <a:lnTo>
                      <a:pt x="1140" y="97"/>
                    </a:lnTo>
                    <a:lnTo>
                      <a:pt x="1137" y="97"/>
                    </a:lnTo>
                    <a:lnTo>
                      <a:pt x="1137" y="99"/>
                    </a:lnTo>
                    <a:lnTo>
                      <a:pt x="1135" y="99"/>
                    </a:lnTo>
                    <a:lnTo>
                      <a:pt x="1135" y="99"/>
                    </a:lnTo>
                    <a:lnTo>
                      <a:pt x="1137" y="99"/>
                    </a:lnTo>
                    <a:lnTo>
                      <a:pt x="1137" y="99"/>
                    </a:lnTo>
                    <a:lnTo>
                      <a:pt x="1144" y="99"/>
                    </a:lnTo>
                    <a:lnTo>
                      <a:pt x="1149" y="99"/>
                    </a:lnTo>
                    <a:lnTo>
                      <a:pt x="1154" y="99"/>
                    </a:lnTo>
                    <a:lnTo>
                      <a:pt x="1159" y="97"/>
                    </a:lnTo>
                    <a:lnTo>
                      <a:pt x="1161" y="97"/>
                    </a:lnTo>
                    <a:lnTo>
                      <a:pt x="1166" y="97"/>
                    </a:lnTo>
                    <a:lnTo>
                      <a:pt x="1175" y="94"/>
                    </a:lnTo>
                    <a:lnTo>
                      <a:pt x="1178" y="92"/>
                    </a:lnTo>
                    <a:lnTo>
                      <a:pt x="1182" y="92"/>
                    </a:lnTo>
                    <a:lnTo>
                      <a:pt x="1182" y="90"/>
                    </a:lnTo>
                    <a:lnTo>
                      <a:pt x="1182" y="87"/>
                    </a:lnTo>
                    <a:lnTo>
                      <a:pt x="1182" y="87"/>
                    </a:lnTo>
                    <a:lnTo>
                      <a:pt x="1180" y="87"/>
                    </a:lnTo>
                    <a:lnTo>
                      <a:pt x="1180" y="87"/>
                    </a:lnTo>
                    <a:lnTo>
                      <a:pt x="1175" y="90"/>
                    </a:lnTo>
                    <a:lnTo>
                      <a:pt x="1173" y="90"/>
                    </a:lnTo>
                    <a:lnTo>
                      <a:pt x="1173" y="90"/>
                    </a:lnTo>
                    <a:lnTo>
                      <a:pt x="1170" y="87"/>
                    </a:lnTo>
                    <a:lnTo>
                      <a:pt x="1168" y="87"/>
                    </a:lnTo>
                    <a:lnTo>
                      <a:pt x="1170" y="87"/>
                    </a:lnTo>
                    <a:lnTo>
                      <a:pt x="1170" y="85"/>
                    </a:lnTo>
                    <a:lnTo>
                      <a:pt x="1173" y="85"/>
                    </a:lnTo>
                    <a:lnTo>
                      <a:pt x="1170" y="85"/>
                    </a:lnTo>
                    <a:lnTo>
                      <a:pt x="1166" y="85"/>
                    </a:lnTo>
                    <a:lnTo>
                      <a:pt x="1161" y="85"/>
                    </a:lnTo>
                    <a:lnTo>
                      <a:pt x="1161" y="85"/>
                    </a:lnTo>
                    <a:lnTo>
                      <a:pt x="1156" y="83"/>
                    </a:lnTo>
                    <a:lnTo>
                      <a:pt x="1156" y="83"/>
                    </a:lnTo>
                    <a:lnTo>
                      <a:pt x="1152" y="83"/>
                    </a:lnTo>
                    <a:lnTo>
                      <a:pt x="1149" y="83"/>
                    </a:lnTo>
                    <a:lnTo>
                      <a:pt x="1147" y="83"/>
                    </a:lnTo>
                    <a:lnTo>
                      <a:pt x="1144" y="85"/>
                    </a:lnTo>
                    <a:lnTo>
                      <a:pt x="1142" y="83"/>
                    </a:lnTo>
                    <a:lnTo>
                      <a:pt x="1142" y="83"/>
                    </a:lnTo>
                    <a:lnTo>
                      <a:pt x="1142" y="83"/>
                    </a:lnTo>
                    <a:lnTo>
                      <a:pt x="1142" y="83"/>
                    </a:lnTo>
                    <a:lnTo>
                      <a:pt x="1144" y="83"/>
                    </a:lnTo>
                    <a:lnTo>
                      <a:pt x="1149" y="83"/>
                    </a:lnTo>
                    <a:lnTo>
                      <a:pt x="1152" y="83"/>
                    </a:lnTo>
                    <a:lnTo>
                      <a:pt x="1152" y="80"/>
                    </a:lnTo>
                    <a:lnTo>
                      <a:pt x="1152" y="80"/>
                    </a:lnTo>
                    <a:lnTo>
                      <a:pt x="1152" y="80"/>
                    </a:lnTo>
                    <a:lnTo>
                      <a:pt x="1149" y="80"/>
                    </a:lnTo>
                    <a:lnTo>
                      <a:pt x="1152" y="78"/>
                    </a:lnTo>
                    <a:lnTo>
                      <a:pt x="1152" y="78"/>
                    </a:lnTo>
                    <a:lnTo>
                      <a:pt x="1154" y="80"/>
                    </a:lnTo>
                    <a:lnTo>
                      <a:pt x="1156" y="80"/>
                    </a:lnTo>
                    <a:lnTo>
                      <a:pt x="1159" y="83"/>
                    </a:lnTo>
                    <a:lnTo>
                      <a:pt x="1163" y="83"/>
                    </a:lnTo>
                    <a:lnTo>
                      <a:pt x="1168" y="83"/>
                    </a:lnTo>
                    <a:lnTo>
                      <a:pt x="1178" y="83"/>
                    </a:lnTo>
                    <a:lnTo>
                      <a:pt x="1180" y="83"/>
                    </a:lnTo>
                    <a:lnTo>
                      <a:pt x="1182" y="83"/>
                    </a:lnTo>
                    <a:lnTo>
                      <a:pt x="1187" y="80"/>
                    </a:lnTo>
                    <a:lnTo>
                      <a:pt x="1189" y="80"/>
                    </a:lnTo>
                    <a:lnTo>
                      <a:pt x="1192" y="80"/>
                    </a:lnTo>
                    <a:lnTo>
                      <a:pt x="1194" y="78"/>
                    </a:lnTo>
                    <a:lnTo>
                      <a:pt x="1196" y="78"/>
                    </a:lnTo>
                    <a:lnTo>
                      <a:pt x="1196" y="76"/>
                    </a:lnTo>
                    <a:lnTo>
                      <a:pt x="1199" y="73"/>
                    </a:lnTo>
                    <a:lnTo>
                      <a:pt x="1201" y="73"/>
                    </a:lnTo>
                    <a:lnTo>
                      <a:pt x="1201" y="73"/>
                    </a:lnTo>
                    <a:lnTo>
                      <a:pt x="1208" y="73"/>
                    </a:lnTo>
                    <a:lnTo>
                      <a:pt x="1213" y="73"/>
                    </a:lnTo>
                    <a:lnTo>
                      <a:pt x="1218" y="73"/>
                    </a:lnTo>
                    <a:lnTo>
                      <a:pt x="1222" y="71"/>
                    </a:lnTo>
                    <a:lnTo>
                      <a:pt x="1225" y="71"/>
                    </a:lnTo>
                    <a:lnTo>
                      <a:pt x="1227" y="71"/>
                    </a:lnTo>
                    <a:lnTo>
                      <a:pt x="1230" y="71"/>
                    </a:lnTo>
                    <a:lnTo>
                      <a:pt x="1237" y="68"/>
                    </a:lnTo>
                    <a:lnTo>
                      <a:pt x="1241" y="66"/>
                    </a:lnTo>
                    <a:lnTo>
                      <a:pt x="1241" y="66"/>
                    </a:lnTo>
                    <a:lnTo>
                      <a:pt x="1239" y="66"/>
                    </a:lnTo>
                    <a:lnTo>
                      <a:pt x="1234" y="64"/>
                    </a:lnTo>
                    <a:lnTo>
                      <a:pt x="1230" y="64"/>
                    </a:lnTo>
                    <a:lnTo>
                      <a:pt x="1232" y="64"/>
                    </a:lnTo>
                    <a:lnTo>
                      <a:pt x="1237" y="64"/>
                    </a:lnTo>
                    <a:lnTo>
                      <a:pt x="1244" y="64"/>
                    </a:lnTo>
                    <a:lnTo>
                      <a:pt x="1249" y="64"/>
                    </a:lnTo>
                    <a:lnTo>
                      <a:pt x="1256" y="61"/>
                    </a:lnTo>
                    <a:lnTo>
                      <a:pt x="1256" y="61"/>
                    </a:lnTo>
                    <a:lnTo>
                      <a:pt x="1258" y="61"/>
                    </a:lnTo>
                    <a:lnTo>
                      <a:pt x="1258" y="59"/>
                    </a:lnTo>
                    <a:lnTo>
                      <a:pt x="1256" y="59"/>
                    </a:lnTo>
                    <a:lnTo>
                      <a:pt x="1253" y="59"/>
                    </a:lnTo>
                    <a:lnTo>
                      <a:pt x="1249" y="59"/>
                    </a:lnTo>
                    <a:lnTo>
                      <a:pt x="1244" y="59"/>
                    </a:lnTo>
                    <a:lnTo>
                      <a:pt x="1244" y="57"/>
                    </a:lnTo>
                    <a:lnTo>
                      <a:pt x="1244" y="57"/>
                    </a:lnTo>
                    <a:lnTo>
                      <a:pt x="1241" y="57"/>
                    </a:lnTo>
                    <a:lnTo>
                      <a:pt x="1239" y="57"/>
                    </a:lnTo>
                    <a:lnTo>
                      <a:pt x="1234" y="57"/>
                    </a:lnTo>
                    <a:lnTo>
                      <a:pt x="1225" y="57"/>
                    </a:lnTo>
                    <a:lnTo>
                      <a:pt x="1222" y="57"/>
                    </a:lnTo>
                    <a:lnTo>
                      <a:pt x="1220" y="57"/>
                    </a:lnTo>
                    <a:lnTo>
                      <a:pt x="1220" y="57"/>
                    </a:lnTo>
                    <a:lnTo>
                      <a:pt x="1218" y="57"/>
                    </a:lnTo>
                    <a:lnTo>
                      <a:pt x="1215" y="57"/>
                    </a:lnTo>
                    <a:lnTo>
                      <a:pt x="1215" y="54"/>
                    </a:lnTo>
                    <a:lnTo>
                      <a:pt x="1215" y="54"/>
                    </a:lnTo>
                    <a:lnTo>
                      <a:pt x="1218" y="54"/>
                    </a:lnTo>
                    <a:lnTo>
                      <a:pt x="1222" y="54"/>
                    </a:lnTo>
                    <a:lnTo>
                      <a:pt x="1225" y="54"/>
                    </a:lnTo>
                    <a:lnTo>
                      <a:pt x="1230" y="54"/>
                    </a:lnTo>
                    <a:lnTo>
                      <a:pt x="1237" y="54"/>
                    </a:lnTo>
                    <a:lnTo>
                      <a:pt x="1239" y="54"/>
                    </a:lnTo>
                    <a:lnTo>
                      <a:pt x="1241" y="54"/>
                    </a:lnTo>
                    <a:lnTo>
                      <a:pt x="1244" y="54"/>
                    </a:lnTo>
                    <a:lnTo>
                      <a:pt x="1246" y="54"/>
                    </a:lnTo>
                    <a:lnTo>
                      <a:pt x="1251" y="54"/>
                    </a:lnTo>
                    <a:lnTo>
                      <a:pt x="1251" y="54"/>
                    </a:lnTo>
                    <a:lnTo>
                      <a:pt x="1253" y="57"/>
                    </a:lnTo>
                    <a:lnTo>
                      <a:pt x="1260" y="57"/>
                    </a:lnTo>
                    <a:lnTo>
                      <a:pt x="1263" y="54"/>
                    </a:lnTo>
                    <a:lnTo>
                      <a:pt x="1265" y="52"/>
                    </a:lnTo>
                    <a:lnTo>
                      <a:pt x="1263" y="52"/>
                    </a:lnTo>
                    <a:lnTo>
                      <a:pt x="1258" y="54"/>
                    </a:lnTo>
                    <a:lnTo>
                      <a:pt x="1256" y="52"/>
                    </a:lnTo>
                    <a:lnTo>
                      <a:pt x="1253" y="52"/>
                    </a:lnTo>
                    <a:lnTo>
                      <a:pt x="1251" y="52"/>
                    </a:lnTo>
                    <a:lnTo>
                      <a:pt x="1249" y="52"/>
                    </a:lnTo>
                    <a:lnTo>
                      <a:pt x="1249" y="49"/>
                    </a:lnTo>
                    <a:lnTo>
                      <a:pt x="1244" y="49"/>
                    </a:lnTo>
                    <a:lnTo>
                      <a:pt x="1241" y="49"/>
                    </a:lnTo>
                    <a:lnTo>
                      <a:pt x="1241" y="49"/>
                    </a:lnTo>
                    <a:lnTo>
                      <a:pt x="1249" y="49"/>
                    </a:lnTo>
                    <a:lnTo>
                      <a:pt x="1251" y="49"/>
                    </a:lnTo>
                    <a:lnTo>
                      <a:pt x="1253" y="49"/>
                    </a:lnTo>
                    <a:lnTo>
                      <a:pt x="1258" y="49"/>
                    </a:lnTo>
                    <a:lnTo>
                      <a:pt x="1260" y="49"/>
                    </a:lnTo>
                    <a:lnTo>
                      <a:pt x="1265" y="49"/>
                    </a:lnTo>
                    <a:lnTo>
                      <a:pt x="1270" y="49"/>
                    </a:lnTo>
                    <a:lnTo>
                      <a:pt x="1272" y="49"/>
                    </a:lnTo>
                    <a:lnTo>
                      <a:pt x="1275" y="49"/>
                    </a:lnTo>
                    <a:lnTo>
                      <a:pt x="1277" y="49"/>
                    </a:lnTo>
                    <a:lnTo>
                      <a:pt x="1282" y="49"/>
                    </a:lnTo>
                    <a:lnTo>
                      <a:pt x="1284" y="49"/>
                    </a:lnTo>
                    <a:lnTo>
                      <a:pt x="1284" y="49"/>
                    </a:lnTo>
                    <a:lnTo>
                      <a:pt x="1286" y="47"/>
                    </a:lnTo>
                    <a:lnTo>
                      <a:pt x="1286" y="47"/>
                    </a:lnTo>
                    <a:lnTo>
                      <a:pt x="1286" y="47"/>
                    </a:lnTo>
                    <a:lnTo>
                      <a:pt x="1286" y="45"/>
                    </a:lnTo>
                    <a:lnTo>
                      <a:pt x="1286" y="45"/>
                    </a:lnTo>
                    <a:lnTo>
                      <a:pt x="1284" y="45"/>
                    </a:lnTo>
                    <a:lnTo>
                      <a:pt x="1279" y="45"/>
                    </a:lnTo>
                    <a:lnTo>
                      <a:pt x="1275" y="45"/>
                    </a:lnTo>
                    <a:lnTo>
                      <a:pt x="1275" y="45"/>
                    </a:lnTo>
                    <a:lnTo>
                      <a:pt x="1277" y="42"/>
                    </a:lnTo>
                    <a:lnTo>
                      <a:pt x="1282" y="42"/>
                    </a:lnTo>
                    <a:lnTo>
                      <a:pt x="1284" y="45"/>
                    </a:lnTo>
                    <a:lnTo>
                      <a:pt x="1289" y="45"/>
                    </a:lnTo>
                    <a:lnTo>
                      <a:pt x="1298" y="47"/>
                    </a:lnTo>
                    <a:lnTo>
                      <a:pt x="1301" y="47"/>
                    </a:lnTo>
                    <a:lnTo>
                      <a:pt x="1303" y="45"/>
                    </a:lnTo>
                    <a:lnTo>
                      <a:pt x="1310" y="45"/>
                    </a:lnTo>
                    <a:lnTo>
                      <a:pt x="1312" y="45"/>
                    </a:lnTo>
                    <a:lnTo>
                      <a:pt x="1315" y="45"/>
                    </a:lnTo>
                    <a:lnTo>
                      <a:pt x="1315" y="42"/>
                    </a:lnTo>
                    <a:lnTo>
                      <a:pt x="1315" y="42"/>
                    </a:lnTo>
                    <a:lnTo>
                      <a:pt x="1312" y="42"/>
                    </a:lnTo>
                    <a:lnTo>
                      <a:pt x="1322" y="42"/>
                    </a:lnTo>
                    <a:lnTo>
                      <a:pt x="1324" y="40"/>
                    </a:lnTo>
                    <a:lnTo>
                      <a:pt x="1327" y="40"/>
                    </a:lnTo>
                    <a:lnTo>
                      <a:pt x="1324" y="40"/>
                    </a:lnTo>
                    <a:lnTo>
                      <a:pt x="1322" y="40"/>
                    </a:lnTo>
                    <a:lnTo>
                      <a:pt x="1312" y="40"/>
                    </a:lnTo>
                    <a:lnTo>
                      <a:pt x="1310" y="40"/>
                    </a:lnTo>
                    <a:lnTo>
                      <a:pt x="1308" y="40"/>
                    </a:lnTo>
                    <a:lnTo>
                      <a:pt x="1308" y="40"/>
                    </a:lnTo>
                    <a:lnTo>
                      <a:pt x="1310" y="40"/>
                    </a:lnTo>
                    <a:lnTo>
                      <a:pt x="1312" y="40"/>
                    </a:lnTo>
                    <a:lnTo>
                      <a:pt x="1312" y="40"/>
                    </a:lnTo>
                    <a:lnTo>
                      <a:pt x="1315" y="40"/>
                    </a:lnTo>
                    <a:lnTo>
                      <a:pt x="1322" y="40"/>
                    </a:lnTo>
                    <a:lnTo>
                      <a:pt x="1331" y="38"/>
                    </a:lnTo>
                    <a:lnTo>
                      <a:pt x="1334" y="38"/>
                    </a:lnTo>
                    <a:lnTo>
                      <a:pt x="1331" y="35"/>
                    </a:lnTo>
                    <a:lnTo>
                      <a:pt x="1331" y="33"/>
                    </a:lnTo>
                    <a:lnTo>
                      <a:pt x="1331" y="33"/>
                    </a:lnTo>
                    <a:lnTo>
                      <a:pt x="1334" y="35"/>
                    </a:lnTo>
                    <a:lnTo>
                      <a:pt x="1336" y="35"/>
                    </a:lnTo>
                    <a:lnTo>
                      <a:pt x="1336" y="35"/>
                    </a:lnTo>
                    <a:lnTo>
                      <a:pt x="1338" y="35"/>
                    </a:lnTo>
                    <a:lnTo>
                      <a:pt x="1341" y="35"/>
                    </a:lnTo>
                    <a:lnTo>
                      <a:pt x="1343" y="35"/>
                    </a:lnTo>
                    <a:lnTo>
                      <a:pt x="1353" y="33"/>
                    </a:lnTo>
                    <a:lnTo>
                      <a:pt x="1357" y="33"/>
                    </a:lnTo>
                    <a:lnTo>
                      <a:pt x="1369" y="31"/>
                    </a:lnTo>
                    <a:lnTo>
                      <a:pt x="1383" y="26"/>
                    </a:lnTo>
                    <a:lnTo>
                      <a:pt x="1390" y="26"/>
                    </a:lnTo>
                    <a:lnTo>
                      <a:pt x="1402" y="23"/>
                    </a:lnTo>
                    <a:lnTo>
                      <a:pt x="1412" y="21"/>
                    </a:lnTo>
                    <a:lnTo>
                      <a:pt x="1412" y="21"/>
                    </a:lnTo>
                    <a:lnTo>
                      <a:pt x="1407" y="21"/>
                    </a:lnTo>
                    <a:lnTo>
                      <a:pt x="1402" y="21"/>
                    </a:lnTo>
                    <a:lnTo>
                      <a:pt x="1369" y="23"/>
                    </a:lnTo>
                    <a:lnTo>
                      <a:pt x="1367" y="23"/>
                    </a:lnTo>
                    <a:lnTo>
                      <a:pt x="1364" y="23"/>
                    </a:lnTo>
                    <a:lnTo>
                      <a:pt x="1367" y="23"/>
                    </a:lnTo>
                    <a:lnTo>
                      <a:pt x="1388" y="21"/>
                    </a:lnTo>
                    <a:lnTo>
                      <a:pt x="1390" y="21"/>
                    </a:lnTo>
                    <a:lnTo>
                      <a:pt x="1390" y="21"/>
                    </a:lnTo>
                    <a:lnTo>
                      <a:pt x="1390" y="21"/>
                    </a:lnTo>
                    <a:lnTo>
                      <a:pt x="1393" y="19"/>
                    </a:lnTo>
                    <a:lnTo>
                      <a:pt x="1400" y="19"/>
                    </a:lnTo>
                    <a:lnTo>
                      <a:pt x="1405" y="19"/>
                    </a:lnTo>
                    <a:lnTo>
                      <a:pt x="1407" y="19"/>
                    </a:lnTo>
                    <a:lnTo>
                      <a:pt x="1409" y="19"/>
                    </a:lnTo>
                    <a:lnTo>
                      <a:pt x="1412" y="19"/>
                    </a:lnTo>
                    <a:lnTo>
                      <a:pt x="1419" y="19"/>
                    </a:lnTo>
                    <a:lnTo>
                      <a:pt x="1421" y="19"/>
                    </a:lnTo>
                    <a:lnTo>
                      <a:pt x="1424" y="16"/>
                    </a:lnTo>
                    <a:lnTo>
                      <a:pt x="1431" y="16"/>
                    </a:lnTo>
                    <a:lnTo>
                      <a:pt x="1445" y="14"/>
                    </a:lnTo>
                    <a:lnTo>
                      <a:pt x="1450" y="14"/>
                    </a:lnTo>
                    <a:lnTo>
                      <a:pt x="1452" y="14"/>
                    </a:lnTo>
                    <a:lnTo>
                      <a:pt x="1459" y="12"/>
                    </a:lnTo>
                    <a:lnTo>
                      <a:pt x="1464" y="12"/>
                    </a:lnTo>
                    <a:lnTo>
                      <a:pt x="1464" y="9"/>
                    </a:lnTo>
                    <a:lnTo>
                      <a:pt x="1464" y="9"/>
                    </a:lnTo>
                    <a:close/>
                    <a:moveTo>
                      <a:pt x="1206" y="210"/>
                    </a:moveTo>
                    <a:lnTo>
                      <a:pt x="1206" y="210"/>
                    </a:lnTo>
                    <a:lnTo>
                      <a:pt x="1204" y="213"/>
                    </a:lnTo>
                    <a:lnTo>
                      <a:pt x="1201" y="213"/>
                    </a:lnTo>
                    <a:lnTo>
                      <a:pt x="1206" y="213"/>
                    </a:lnTo>
                    <a:lnTo>
                      <a:pt x="1206" y="213"/>
                    </a:lnTo>
                    <a:lnTo>
                      <a:pt x="1208" y="213"/>
                    </a:lnTo>
                    <a:lnTo>
                      <a:pt x="1208" y="210"/>
                    </a:lnTo>
                    <a:lnTo>
                      <a:pt x="1208" y="210"/>
                    </a:lnTo>
                    <a:lnTo>
                      <a:pt x="1208" y="210"/>
                    </a:lnTo>
                    <a:lnTo>
                      <a:pt x="1206" y="210"/>
                    </a:lnTo>
                    <a:close/>
                    <a:moveTo>
                      <a:pt x="1251" y="255"/>
                    </a:moveTo>
                    <a:lnTo>
                      <a:pt x="1253" y="255"/>
                    </a:lnTo>
                    <a:lnTo>
                      <a:pt x="1253" y="255"/>
                    </a:lnTo>
                    <a:lnTo>
                      <a:pt x="1253" y="255"/>
                    </a:lnTo>
                    <a:lnTo>
                      <a:pt x="1251" y="255"/>
                    </a:lnTo>
                    <a:lnTo>
                      <a:pt x="1249" y="255"/>
                    </a:lnTo>
                    <a:lnTo>
                      <a:pt x="1249" y="258"/>
                    </a:lnTo>
                    <a:lnTo>
                      <a:pt x="1246" y="258"/>
                    </a:lnTo>
                    <a:lnTo>
                      <a:pt x="1246" y="258"/>
                    </a:lnTo>
                    <a:lnTo>
                      <a:pt x="1246" y="258"/>
                    </a:lnTo>
                    <a:lnTo>
                      <a:pt x="1249" y="258"/>
                    </a:lnTo>
                    <a:lnTo>
                      <a:pt x="1251" y="255"/>
                    </a:lnTo>
                    <a:close/>
                    <a:moveTo>
                      <a:pt x="1149" y="106"/>
                    </a:moveTo>
                    <a:lnTo>
                      <a:pt x="1152" y="106"/>
                    </a:lnTo>
                    <a:lnTo>
                      <a:pt x="1154" y="106"/>
                    </a:lnTo>
                    <a:lnTo>
                      <a:pt x="1154" y="104"/>
                    </a:lnTo>
                    <a:lnTo>
                      <a:pt x="1154" y="104"/>
                    </a:lnTo>
                    <a:lnTo>
                      <a:pt x="1156" y="104"/>
                    </a:lnTo>
                    <a:lnTo>
                      <a:pt x="1159" y="102"/>
                    </a:lnTo>
                    <a:lnTo>
                      <a:pt x="1159" y="102"/>
                    </a:lnTo>
                    <a:lnTo>
                      <a:pt x="1159" y="102"/>
                    </a:lnTo>
                    <a:lnTo>
                      <a:pt x="1156" y="102"/>
                    </a:lnTo>
                    <a:lnTo>
                      <a:pt x="1152" y="104"/>
                    </a:lnTo>
                    <a:lnTo>
                      <a:pt x="1149" y="104"/>
                    </a:lnTo>
                    <a:lnTo>
                      <a:pt x="1144" y="104"/>
                    </a:lnTo>
                    <a:lnTo>
                      <a:pt x="1144" y="106"/>
                    </a:lnTo>
                    <a:lnTo>
                      <a:pt x="1147" y="106"/>
                    </a:lnTo>
                    <a:lnTo>
                      <a:pt x="1149" y="106"/>
                    </a:lnTo>
                    <a:close/>
                    <a:moveTo>
                      <a:pt x="1196" y="575"/>
                    </a:moveTo>
                    <a:lnTo>
                      <a:pt x="1196" y="575"/>
                    </a:lnTo>
                    <a:lnTo>
                      <a:pt x="1196" y="575"/>
                    </a:lnTo>
                    <a:lnTo>
                      <a:pt x="1196" y="575"/>
                    </a:lnTo>
                    <a:lnTo>
                      <a:pt x="1196" y="575"/>
                    </a:lnTo>
                    <a:lnTo>
                      <a:pt x="1199" y="575"/>
                    </a:lnTo>
                    <a:lnTo>
                      <a:pt x="1199" y="575"/>
                    </a:lnTo>
                    <a:lnTo>
                      <a:pt x="1199" y="573"/>
                    </a:lnTo>
                    <a:lnTo>
                      <a:pt x="1199" y="573"/>
                    </a:lnTo>
                    <a:lnTo>
                      <a:pt x="1196" y="575"/>
                    </a:lnTo>
                    <a:lnTo>
                      <a:pt x="1196" y="575"/>
                    </a:lnTo>
                    <a:close/>
                    <a:moveTo>
                      <a:pt x="1201" y="599"/>
                    </a:moveTo>
                    <a:lnTo>
                      <a:pt x="1201" y="599"/>
                    </a:lnTo>
                    <a:lnTo>
                      <a:pt x="1199" y="599"/>
                    </a:lnTo>
                    <a:lnTo>
                      <a:pt x="1201" y="601"/>
                    </a:lnTo>
                    <a:lnTo>
                      <a:pt x="1201" y="601"/>
                    </a:lnTo>
                    <a:lnTo>
                      <a:pt x="1201" y="601"/>
                    </a:lnTo>
                    <a:lnTo>
                      <a:pt x="1201" y="599"/>
                    </a:lnTo>
                    <a:lnTo>
                      <a:pt x="1206" y="599"/>
                    </a:lnTo>
                    <a:lnTo>
                      <a:pt x="1206" y="599"/>
                    </a:lnTo>
                    <a:lnTo>
                      <a:pt x="1206" y="599"/>
                    </a:lnTo>
                    <a:lnTo>
                      <a:pt x="1204" y="599"/>
                    </a:lnTo>
                    <a:lnTo>
                      <a:pt x="1201" y="599"/>
                    </a:lnTo>
                    <a:lnTo>
                      <a:pt x="1201" y="599"/>
                    </a:lnTo>
                    <a:lnTo>
                      <a:pt x="1201" y="599"/>
                    </a:lnTo>
                    <a:lnTo>
                      <a:pt x="1201" y="599"/>
                    </a:lnTo>
                    <a:lnTo>
                      <a:pt x="1201" y="599"/>
                    </a:lnTo>
                    <a:close/>
                    <a:moveTo>
                      <a:pt x="1260" y="263"/>
                    </a:moveTo>
                    <a:lnTo>
                      <a:pt x="1258" y="260"/>
                    </a:lnTo>
                    <a:lnTo>
                      <a:pt x="1258" y="258"/>
                    </a:lnTo>
                    <a:lnTo>
                      <a:pt x="1256" y="258"/>
                    </a:lnTo>
                    <a:lnTo>
                      <a:pt x="1251" y="260"/>
                    </a:lnTo>
                    <a:lnTo>
                      <a:pt x="1249" y="260"/>
                    </a:lnTo>
                    <a:lnTo>
                      <a:pt x="1246" y="260"/>
                    </a:lnTo>
                    <a:lnTo>
                      <a:pt x="1246" y="260"/>
                    </a:lnTo>
                    <a:lnTo>
                      <a:pt x="1244" y="260"/>
                    </a:lnTo>
                    <a:lnTo>
                      <a:pt x="1244" y="260"/>
                    </a:lnTo>
                    <a:lnTo>
                      <a:pt x="1239" y="260"/>
                    </a:lnTo>
                    <a:lnTo>
                      <a:pt x="1234" y="260"/>
                    </a:lnTo>
                    <a:lnTo>
                      <a:pt x="1232" y="263"/>
                    </a:lnTo>
                    <a:lnTo>
                      <a:pt x="1232" y="263"/>
                    </a:lnTo>
                    <a:lnTo>
                      <a:pt x="1239" y="258"/>
                    </a:lnTo>
                    <a:lnTo>
                      <a:pt x="1239" y="258"/>
                    </a:lnTo>
                    <a:lnTo>
                      <a:pt x="1241" y="258"/>
                    </a:lnTo>
                    <a:lnTo>
                      <a:pt x="1241" y="258"/>
                    </a:lnTo>
                    <a:lnTo>
                      <a:pt x="1244" y="255"/>
                    </a:lnTo>
                    <a:lnTo>
                      <a:pt x="1246" y="255"/>
                    </a:lnTo>
                    <a:lnTo>
                      <a:pt x="1241" y="253"/>
                    </a:lnTo>
                    <a:lnTo>
                      <a:pt x="1239" y="253"/>
                    </a:lnTo>
                    <a:lnTo>
                      <a:pt x="1239" y="253"/>
                    </a:lnTo>
                    <a:lnTo>
                      <a:pt x="1237" y="253"/>
                    </a:lnTo>
                    <a:lnTo>
                      <a:pt x="1234" y="253"/>
                    </a:lnTo>
                    <a:lnTo>
                      <a:pt x="1234" y="253"/>
                    </a:lnTo>
                    <a:lnTo>
                      <a:pt x="1232" y="253"/>
                    </a:lnTo>
                    <a:lnTo>
                      <a:pt x="1230" y="253"/>
                    </a:lnTo>
                    <a:lnTo>
                      <a:pt x="1227" y="253"/>
                    </a:lnTo>
                    <a:lnTo>
                      <a:pt x="1227" y="253"/>
                    </a:lnTo>
                    <a:lnTo>
                      <a:pt x="1225" y="253"/>
                    </a:lnTo>
                    <a:lnTo>
                      <a:pt x="1222" y="253"/>
                    </a:lnTo>
                    <a:lnTo>
                      <a:pt x="1225" y="253"/>
                    </a:lnTo>
                    <a:lnTo>
                      <a:pt x="1227" y="253"/>
                    </a:lnTo>
                    <a:lnTo>
                      <a:pt x="1230" y="253"/>
                    </a:lnTo>
                    <a:lnTo>
                      <a:pt x="1232" y="253"/>
                    </a:lnTo>
                    <a:lnTo>
                      <a:pt x="1234" y="251"/>
                    </a:lnTo>
                    <a:lnTo>
                      <a:pt x="1237" y="248"/>
                    </a:lnTo>
                    <a:lnTo>
                      <a:pt x="1237" y="246"/>
                    </a:lnTo>
                    <a:lnTo>
                      <a:pt x="1234" y="248"/>
                    </a:lnTo>
                    <a:lnTo>
                      <a:pt x="1232" y="246"/>
                    </a:lnTo>
                    <a:lnTo>
                      <a:pt x="1232" y="244"/>
                    </a:lnTo>
                    <a:lnTo>
                      <a:pt x="1230" y="244"/>
                    </a:lnTo>
                    <a:lnTo>
                      <a:pt x="1227" y="244"/>
                    </a:lnTo>
                    <a:lnTo>
                      <a:pt x="1225" y="244"/>
                    </a:lnTo>
                    <a:lnTo>
                      <a:pt x="1225" y="244"/>
                    </a:lnTo>
                    <a:lnTo>
                      <a:pt x="1225" y="244"/>
                    </a:lnTo>
                    <a:lnTo>
                      <a:pt x="1227" y="241"/>
                    </a:lnTo>
                    <a:lnTo>
                      <a:pt x="1227" y="241"/>
                    </a:lnTo>
                    <a:lnTo>
                      <a:pt x="1230" y="241"/>
                    </a:lnTo>
                    <a:lnTo>
                      <a:pt x="1227" y="241"/>
                    </a:lnTo>
                    <a:lnTo>
                      <a:pt x="1227" y="239"/>
                    </a:lnTo>
                    <a:lnTo>
                      <a:pt x="1227" y="241"/>
                    </a:lnTo>
                    <a:lnTo>
                      <a:pt x="1222" y="241"/>
                    </a:lnTo>
                    <a:lnTo>
                      <a:pt x="1220" y="244"/>
                    </a:lnTo>
                    <a:lnTo>
                      <a:pt x="1218" y="244"/>
                    </a:lnTo>
                    <a:lnTo>
                      <a:pt x="1218" y="246"/>
                    </a:lnTo>
                    <a:lnTo>
                      <a:pt x="1218" y="246"/>
                    </a:lnTo>
                    <a:lnTo>
                      <a:pt x="1218" y="246"/>
                    </a:lnTo>
                    <a:lnTo>
                      <a:pt x="1218" y="246"/>
                    </a:lnTo>
                    <a:lnTo>
                      <a:pt x="1218" y="244"/>
                    </a:lnTo>
                    <a:lnTo>
                      <a:pt x="1220" y="241"/>
                    </a:lnTo>
                    <a:lnTo>
                      <a:pt x="1220" y="241"/>
                    </a:lnTo>
                    <a:lnTo>
                      <a:pt x="1218" y="241"/>
                    </a:lnTo>
                    <a:lnTo>
                      <a:pt x="1218" y="241"/>
                    </a:lnTo>
                    <a:lnTo>
                      <a:pt x="1215" y="241"/>
                    </a:lnTo>
                    <a:lnTo>
                      <a:pt x="1213" y="241"/>
                    </a:lnTo>
                    <a:lnTo>
                      <a:pt x="1213" y="241"/>
                    </a:lnTo>
                    <a:lnTo>
                      <a:pt x="1215" y="241"/>
                    </a:lnTo>
                    <a:lnTo>
                      <a:pt x="1215" y="239"/>
                    </a:lnTo>
                    <a:lnTo>
                      <a:pt x="1213" y="239"/>
                    </a:lnTo>
                    <a:lnTo>
                      <a:pt x="1211" y="241"/>
                    </a:lnTo>
                    <a:lnTo>
                      <a:pt x="1206" y="244"/>
                    </a:lnTo>
                    <a:lnTo>
                      <a:pt x="1206" y="244"/>
                    </a:lnTo>
                    <a:lnTo>
                      <a:pt x="1206" y="244"/>
                    </a:lnTo>
                    <a:lnTo>
                      <a:pt x="1204" y="244"/>
                    </a:lnTo>
                    <a:lnTo>
                      <a:pt x="1204" y="244"/>
                    </a:lnTo>
                    <a:lnTo>
                      <a:pt x="1206" y="241"/>
                    </a:lnTo>
                    <a:lnTo>
                      <a:pt x="1211" y="239"/>
                    </a:lnTo>
                    <a:lnTo>
                      <a:pt x="1211" y="239"/>
                    </a:lnTo>
                    <a:lnTo>
                      <a:pt x="1213" y="237"/>
                    </a:lnTo>
                    <a:lnTo>
                      <a:pt x="1208" y="237"/>
                    </a:lnTo>
                    <a:lnTo>
                      <a:pt x="1206" y="237"/>
                    </a:lnTo>
                    <a:lnTo>
                      <a:pt x="1206" y="239"/>
                    </a:lnTo>
                    <a:lnTo>
                      <a:pt x="1204" y="241"/>
                    </a:lnTo>
                    <a:lnTo>
                      <a:pt x="1204" y="241"/>
                    </a:lnTo>
                    <a:lnTo>
                      <a:pt x="1206" y="239"/>
                    </a:lnTo>
                    <a:lnTo>
                      <a:pt x="1204" y="239"/>
                    </a:lnTo>
                    <a:lnTo>
                      <a:pt x="1201" y="239"/>
                    </a:lnTo>
                    <a:lnTo>
                      <a:pt x="1201" y="239"/>
                    </a:lnTo>
                    <a:lnTo>
                      <a:pt x="1201" y="239"/>
                    </a:lnTo>
                    <a:lnTo>
                      <a:pt x="1204" y="237"/>
                    </a:lnTo>
                    <a:lnTo>
                      <a:pt x="1204" y="237"/>
                    </a:lnTo>
                    <a:lnTo>
                      <a:pt x="1204" y="237"/>
                    </a:lnTo>
                    <a:lnTo>
                      <a:pt x="1204" y="234"/>
                    </a:lnTo>
                    <a:lnTo>
                      <a:pt x="1204" y="234"/>
                    </a:lnTo>
                    <a:lnTo>
                      <a:pt x="1208" y="234"/>
                    </a:lnTo>
                    <a:lnTo>
                      <a:pt x="1208" y="232"/>
                    </a:lnTo>
                    <a:lnTo>
                      <a:pt x="1208" y="232"/>
                    </a:lnTo>
                    <a:lnTo>
                      <a:pt x="1206" y="232"/>
                    </a:lnTo>
                    <a:lnTo>
                      <a:pt x="1204" y="232"/>
                    </a:lnTo>
                    <a:lnTo>
                      <a:pt x="1201" y="232"/>
                    </a:lnTo>
                    <a:lnTo>
                      <a:pt x="1201" y="232"/>
                    </a:lnTo>
                    <a:lnTo>
                      <a:pt x="1199" y="232"/>
                    </a:lnTo>
                    <a:lnTo>
                      <a:pt x="1199" y="232"/>
                    </a:lnTo>
                    <a:lnTo>
                      <a:pt x="1196" y="232"/>
                    </a:lnTo>
                    <a:lnTo>
                      <a:pt x="1196" y="232"/>
                    </a:lnTo>
                    <a:lnTo>
                      <a:pt x="1194" y="232"/>
                    </a:lnTo>
                    <a:lnTo>
                      <a:pt x="1192" y="232"/>
                    </a:lnTo>
                    <a:lnTo>
                      <a:pt x="1192" y="232"/>
                    </a:lnTo>
                    <a:lnTo>
                      <a:pt x="1192" y="229"/>
                    </a:lnTo>
                    <a:lnTo>
                      <a:pt x="1192" y="229"/>
                    </a:lnTo>
                    <a:lnTo>
                      <a:pt x="1192" y="227"/>
                    </a:lnTo>
                    <a:lnTo>
                      <a:pt x="1189" y="227"/>
                    </a:lnTo>
                    <a:lnTo>
                      <a:pt x="1187" y="227"/>
                    </a:lnTo>
                    <a:lnTo>
                      <a:pt x="1182" y="227"/>
                    </a:lnTo>
                    <a:lnTo>
                      <a:pt x="1178" y="225"/>
                    </a:lnTo>
                    <a:lnTo>
                      <a:pt x="1178" y="225"/>
                    </a:lnTo>
                    <a:lnTo>
                      <a:pt x="1178" y="225"/>
                    </a:lnTo>
                    <a:lnTo>
                      <a:pt x="1180" y="225"/>
                    </a:lnTo>
                    <a:lnTo>
                      <a:pt x="1185" y="227"/>
                    </a:lnTo>
                    <a:lnTo>
                      <a:pt x="1187" y="227"/>
                    </a:lnTo>
                    <a:lnTo>
                      <a:pt x="1189" y="225"/>
                    </a:lnTo>
                    <a:lnTo>
                      <a:pt x="1189" y="225"/>
                    </a:lnTo>
                    <a:lnTo>
                      <a:pt x="1192" y="225"/>
                    </a:lnTo>
                    <a:lnTo>
                      <a:pt x="1194" y="227"/>
                    </a:lnTo>
                    <a:lnTo>
                      <a:pt x="1196" y="227"/>
                    </a:lnTo>
                    <a:lnTo>
                      <a:pt x="1199" y="225"/>
                    </a:lnTo>
                    <a:lnTo>
                      <a:pt x="1201" y="225"/>
                    </a:lnTo>
                    <a:lnTo>
                      <a:pt x="1201" y="222"/>
                    </a:lnTo>
                    <a:lnTo>
                      <a:pt x="1201" y="222"/>
                    </a:lnTo>
                    <a:lnTo>
                      <a:pt x="1199" y="220"/>
                    </a:lnTo>
                    <a:lnTo>
                      <a:pt x="1196" y="220"/>
                    </a:lnTo>
                    <a:lnTo>
                      <a:pt x="1194" y="220"/>
                    </a:lnTo>
                    <a:lnTo>
                      <a:pt x="1185" y="222"/>
                    </a:lnTo>
                    <a:lnTo>
                      <a:pt x="1185" y="220"/>
                    </a:lnTo>
                    <a:lnTo>
                      <a:pt x="1192" y="220"/>
                    </a:lnTo>
                    <a:lnTo>
                      <a:pt x="1194" y="218"/>
                    </a:lnTo>
                    <a:lnTo>
                      <a:pt x="1199" y="220"/>
                    </a:lnTo>
                    <a:lnTo>
                      <a:pt x="1201" y="218"/>
                    </a:lnTo>
                    <a:lnTo>
                      <a:pt x="1204" y="220"/>
                    </a:lnTo>
                    <a:lnTo>
                      <a:pt x="1206" y="220"/>
                    </a:lnTo>
                    <a:lnTo>
                      <a:pt x="1206" y="220"/>
                    </a:lnTo>
                    <a:lnTo>
                      <a:pt x="1208" y="220"/>
                    </a:lnTo>
                    <a:lnTo>
                      <a:pt x="1211" y="220"/>
                    </a:lnTo>
                    <a:lnTo>
                      <a:pt x="1215" y="220"/>
                    </a:lnTo>
                    <a:lnTo>
                      <a:pt x="1218" y="220"/>
                    </a:lnTo>
                    <a:lnTo>
                      <a:pt x="1218" y="220"/>
                    </a:lnTo>
                    <a:lnTo>
                      <a:pt x="1220" y="218"/>
                    </a:lnTo>
                    <a:lnTo>
                      <a:pt x="1220" y="218"/>
                    </a:lnTo>
                    <a:lnTo>
                      <a:pt x="1220" y="218"/>
                    </a:lnTo>
                    <a:lnTo>
                      <a:pt x="1218" y="218"/>
                    </a:lnTo>
                    <a:lnTo>
                      <a:pt x="1215" y="215"/>
                    </a:lnTo>
                    <a:lnTo>
                      <a:pt x="1213" y="215"/>
                    </a:lnTo>
                    <a:lnTo>
                      <a:pt x="1213" y="215"/>
                    </a:lnTo>
                    <a:lnTo>
                      <a:pt x="1208" y="215"/>
                    </a:lnTo>
                    <a:lnTo>
                      <a:pt x="1206" y="215"/>
                    </a:lnTo>
                    <a:lnTo>
                      <a:pt x="1206" y="215"/>
                    </a:lnTo>
                    <a:lnTo>
                      <a:pt x="1204" y="215"/>
                    </a:lnTo>
                    <a:lnTo>
                      <a:pt x="1199" y="213"/>
                    </a:lnTo>
                    <a:lnTo>
                      <a:pt x="1194" y="213"/>
                    </a:lnTo>
                    <a:lnTo>
                      <a:pt x="1189" y="213"/>
                    </a:lnTo>
                    <a:lnTo>
                      <a:pt x="1187" y="213"/>
                    </a:lnTo>
                    <a:lnTo>
                      <a:pt x="1187" y="213"/>
                    </a:lnTo>
                    <a:lnTo>
                      <a:pt x="1189" y="213"/>
                    </a:lnTo>
                    <a:lnTo>
                      <a:pt x="1194" y="210"/>
                    </a:lnTo>
                    <a:lnTo>
                      <a:pt x="1196" y="210"/>
                    </a:lnTo>
                    <a:lnTo>
                      <a:pt x="1201" y="210"/>
                    </a:lnTo>
                    <a:lnTo>
                      <a:pt x="1201" y="210"/>
                    </a:lnTo>
                    <a:lnTo>
                      <a:pt x="1204" y="210"/>
                    </a:lnTo>
                    <a:lnTo>
                      <a:pt x="1204" y="210"/>
                    </a:lnTo>
                    <a:lnTo>
                      <a:pt x="1206" y="210"/>
                    </a:lnTo>
                    <a:lnTo>
                      <a:pt x="1208" y="208"/>
                    </a:lnTo>
                    <a:lnTo>
                      <a:pt x="1211" y="208"/>
                    </a:lnTo>
                    <a:lnTo>
                      <a:pt x="1215" y="210"/>
                    </a:lnTo>
                    <a:lnTo>
                      <a:pt x="1218" y="210"/>
                    </a:lnTo>
                    <a:lnTo>
                      <a:pt x="1218" y="210"/>
                    </a:lnTo>
                    <a:lnTo>
                      <a:pt x="1218" y="210"/>
                    </a:lnTo>
                    <a:lnTo>
                      <a:pt x="1220" y="208"/>
                    </a:lnTo>
                    <a:lnTo>
                      <a:pt x="1220" y="208"/>
                    </a:lnTo>
                    <a:lnTo>
                      <a:pt x="1220" y="206"/>
                    </a:lnTo>
                    <a:lnTo>
                      <a:pt x="1220" y="203"/>
                    </a:lnTo>
                    <a:lnTo>
                      <a:pt x="1218" y="201"/>
                    </a:lnTo>
                    <a:lnTo>
                      <a:pt x="1215" y="201"/>
                    </a:lnTo>
                    <a:lnTo>
                      <a:pt x="1213" y="199"/>
                    </a:lnTo>
                    <a:lnTo>
                      <a:pt x="1213" y="199"/>
                    </a:lnTo>
                    <a:lnTo>
                      <a:pt x="1211" y="201"/>
                    </a:lnTo>
                    <a:lnTo>
                      <a:pt x="1208" y="201"/>
                    </a:lnTo>
                    <a:lnTo>
                      <a:pt x="1208" y="201"/>
                    </a:lnTo>
                    <a:lnTo>
                      <a:pt x="1208" y="201"/>
                    </a:lnTo>
                    <a:lnTo>
                      <a:pt x="1208" y="203"/>
                    </a:lnTo>
                    <a:lnTo>
                      <a:pt x="1208" y="203"/>
                    </a:lnTo>
                    <a:lnTo>
                      <a:pt x="1208" y="203"/>
                    </a:lnTo>
                    <a:lnTo>
                      <a:pt x="1206" y="203"/>
                    </a:lnTo>
                    <a:lnTo>
                      <a:pt x="1204" y="203"/>
                    </a:lnTo>
                    <a:lnTo>
                      <a:pt x="1204" y="203"/>
                    </a:lnTo>
                    <a:lnTo>
                      <a:pt x="1201" y="206"/>
                    </a:lnTo>
                    <a:lnTo>
                      <a:pt x="1199" y="206"/>
                    </a:lnTo>
                    <a:lnTo>
                      <a:pt x="1199" y="206"/>
                    </a:lnTo>
                    <a:lnTo>
                      <a:pt x="1196" y="206"/>
                    </a:lnTo>
                    <a:lnTo>
                      <a:pt x="1201" y="203"/>
                    </a:lnTo>
                    <a:lnTo>
                      <a:pt x="1201" y="203"/>
                    </a:lnTo>
                    <a:lnTo>
                      <a:pt x="1204" y="203"/>
                    </a:lnTo>
                    <a:lnTo>
                      <a:pt x="1204" y="201"/>
                    </a:lnTo>
                    <a:lnTo>
                      <a:pt x="1204" y="201"/>
                    </a:lnTo>
                    <a:lnTo>
                      <a:pt x="1204" y="201"/>
                    </a:lnTo>
                    <a:lnTo>
                      <a:pt x="1201" y="201"/>
                    </a:lnTo>
                    <a:lnTo>
                      <a:pt x="1196" y="201"/>
                    </a:lnTo>
                    <a:lnTo>
                      <a:pt x="1192" y="201"/>
                    </a:lnTo>
                    <a:lnTo>
                      <a:pt x="1189" y="203"/>
                    </a:lnTo>
                    <a:lnTo>
                      <a:pt x="1187" y="203"/>
                    </a:lnTo>
                    <a:lnTo>
                      <a:pt x="1185" y="203"/>
                    </a:lnTo>
                    <a:lnTo>
                      <a:pt x="1182" y="203"/>
                    </a:lnTo>
                    <a:lnTo>
                      <a:pt x="1185" y="203"/>
                    </a:lnTo>
                    <a:lnTo>
                      <a:pt x="1189" y="201"/>
                    </a:lnTo>
                    <a:lnTo>
                      <a:pt x="1194" y="201"/>
                    </a:lnTo>
                    <a:lnTo>
                      <a:pt x="1196" y="201"/>
                    </a:lnTo>
                    <a:lnTo>
                      <a:pt x="1199" y="201"/>
                    </a:lnTo>
                    <a:lnTo>
                      <a:pt x="1204" y="199"/>
                    </a:lnTo>
                    <a:lnTo>
                      <a:pt x="1204" y="199"/>
                    </a:lnTo>
                    <a:lnTo>
                      <a:pt x="1206" y="199"/>
                    </a:lnTo>
                    <a:lnTo>
                      <a:pt x="1208" y="199"/>
                    </a:lnTo>
                    <a:lnTo>
                      <a:pt x="1208" y="199"/>
                    </a:lnTo>
                    <a:lnTo>
                      <a:pt x="1211" y="196"/>
                    </a:lnTo>
                    <a:lnTo>
                      <a:pt x="1211" y="196"/>
                    </a:lnTo>
                    <a:lnTo>
                      <a:pt x="1213" y="196"/>
                    </a:lnTo>
                    <a:lnTo>
                      <a:pt x="1213" y="194"/>
                    </a:lnTo>
                    <a:lnTo>
                      <a:pt x="1213" y="194"/>
                    </a:lnTo>
                    <a:lnTo>
                      <a:pt x="1211" y="194"/>
                    </a:lnTo>
                    <a:lnTo>
                      <a:pt x="1208" y="194"/>
                    </a:lnTo>
                    <a:lnTo>
                      <a:pt x="1206" y="192"/>
                    </a:lnTo>
                    <a:lnTo>
                      <a:pt x="1204" y="192"/>
                    </a:lnTo>
                    <a:lnTo>
                      <a:pt x="1204" y="192"/>
                    </a:lnTo>
                    <a:lnTo>
                      <a:pt x="1201" y="192"/>
                    </a:lnTo>
                    <a:lnTo>
                      <a:pt x="1199" y="192"/>
                    </a:lnTo>
                    <a:lnTo>
                      <a:pt x="1199" y="192"/>
                    </a:lnTo>
                    <a:lnTo>
                      <a:pt x="1196" y="192"/>
                    </a:lnTo>
                    <a:lnTo>
                      <a:pt x="1194" y="189"/>
                    </a:lnTo>
                    <a:lnTo>
                      <a:pt x="1194" y="192"/>
                    </a:lnTo>
                    <a:lnTo>
                      <a:pt x="1189" y="192"/>
                    </a:lnTo>
                    <a:lnTo>
                      <a:pt x="1185" y="192"/>
                    </a:lnTo>
                    <a:lnTo>
                      <a:pt x="1180" y="194"/>
                    </a:lnTo>
                    <a:lnTo>
                      <a:pt x="1178" y="194"/>
                    </a:lnTo>
                    <a:lnTo>
                      <a:pt x="1175" y="196"/>
                    </a:lnTo>
                    <a:lnTo>
                      <a:pt x="1168" y="201"/>
                    </a:lnTo>
                    <a:lnTo>
                      <a:pt x="1166" y="203"/>
                    </a:lnTo>
                    <a:lnTo>
                      <a:pt x="1166" y="203"/>
                    </a:lnTo>
                    <a:lnTo>
                      <a:pt x="1173" y="199"/>
                    </a:lnTo>
                    <a:lnTo>
                      <a:pt x="1173" y="196"/>
                    </a:lnTo>
                    <a:lnTo>
                      <a:pt x="1173" y="196"/>
                    </a:lnTo>
                    <a:lnTo>
                      <a:pt x="1173" y="196"/>
                    </a:lnTo>
                    <a:lnTo>
                      <a:pt x="1173" y="196"/>
                    </a:lnTo>
                    <a:lnTo>
                      <a:pt x="1170" y="196"/>
                    </a:lnTo>
                    <a:lnTo>
                      <a:pt x="1168" y="196"/>
                    </a:lnTo>
                    <a:lnTo>
                      <a:pt x="1166" y="199"/>
                    </a:lnTo>
                    <a:lnTo>
                      <a:pt x="1166" y="199"/>
                    </a:lnTo>
                    <a:lnTo>
                      <a:pt x="1166" y="199"/>
                    </a:lnTo>
                    <a:lnTo>
                      <a:pt x="1163" y="196"/>
                    </a:lnTo>
                    <a:lnTo>
                      <a:pt x="1166" y="196"/>
                    </a:lnTo>
                    <a:lnTo>
                      <a:pt x="1166" y="196"/>
                    </a:lnTo>
                    <a:lnTo>
                      <a:pt x="1168" y="196"/>
                    </a:lnTo>
                    <a:lnTo>
                      <a:pt x="1170" y="194"/>
                    </a:lnTo>
                    <a:lnTo>
                      <a:pt x="1173" y="194"/>
                    </a:lnTo>
                    <a:lnTo>
                      <a:pt x="1175" y="194"/>
                    </a:lnTo>
                    <a:lnTo>
                      <a:pt x="1178" y="194"/>
                    </a:lnTo>
                    <a:lnTo>
                      <a:pt x="1185" y="192"/>
                    </a:lnTo>
                    <a:lnTo>
                      <a:pt x="1187" y="189"/>
                    </a:lnTo>
                    <a:lnTo>
                      <a:pt x="1187" y="189"/>
                    </a:lnTo>
                    <a:lnTo>
                      <a:pt x="1187" y="187"/>
                    </a:lnTo>
                    <a:lnTo>
                      <a:pt x="1189" y="187"/>
                    </a:lnTo>
                    <a:lnTo>
                      <a:pt x="1187" y="187"/>
                    </a:lnTo>
                    <a:lnTo>
                      <a:pt x="1187" y="184"/>
                    </a:lnTo>
                    <a:lnTo>
                      <a:pt x="1187" y="187"/>
                    </a:lnTo>
                    <a:lnTo>
                      <a:pt x="1182" y="187"/>
                    </a:lnTo>
                    <a:lnTo>
                      <a:pt x="1180" y="187"/>
                    </a:lnTo>
                    <a:lnTo>
                      <a:pt x="1178" y="187"/>
                    </a:lnTo>
                    <a:lnTo>
                      <a:pt x="1175" y="187"/>
                    </a:lnTo>
                    <a:lnTo>
                      <a:pt x="1170" y="187"/>
                    </a:lnTo>
                    <a:lnTo>
                      <a:pt x="1168" y="189"/>
                    </a:lnTo>
                    <a:lnTo>
                      <a:pt x="1166" y="189"/>
                    </a:lnTo>
                    <a:lnTo>
                      <a:pt x="1163" y="192"/>
                    </a:lnTo>
                    <a:lnTo>
                      <a:pt x="1159" y="192"/>
                    </a:lnTo>
                    <a:lnTo>
                      <a:pt x="1161" y="189"/>
                    </a:lnTo>
                    <a:lnTo>
                      <a:pt x="1163" y="189"/>
                    </a:lnTo>
                    <a:lnTo>
                      <a:pt x="1166" y="189"/>
                    </a:lnTo>
                    <a:lnTo>
                      <a:pt x="1170" y="187"/>
                    </a:lnTo>
                    <a:lnTo>
                      <a:pt x="1173" y="187"/>
                    </a:lnTo>
                    <a:lnTo>
                      <a:pt x="1173" y="187"/>
                    </a:lnTo>
                    <a:lnTo>
                      <a:pt x="1178" y="187"/>
                    </a:lnTo>
                    <a:lnTo>
                      <a:pt x="1178" y="187"/>
                    </a:lnTo>
                    <a:lnTo>
                      <a:pt x="1180" y="184"/>
                    </a:lnTo>
                    <a:lnTo>
                      <a:pt x="1185" y="184"/>
                    </a:lnTo>
                    <a:lnTo>
                      <a:pt x="1185" y="182"/>
                    </a:lnTo>
                    <a:lnTo>
                      <a:pt x="1185" y="182"/>
                    </a:lnTo>
                    <a:lnTo>
                      <a:pt x="1185" y="182"/>
                    </a:lnTo>
                    <a:lnTo>
                      <a:pt x="1185" y="180"/>
                    </a:lnTo>
                    <a:lnTo>
                      <a:pt x="1182" y="180"/>
                    </a:lnTo>
                    <a:lnTo>
                      <a:pt x="1182" y="180"/>
                    </a:lnTo>
                    <a:lnTo>
                      <a:pt x="1180" y="177"/>
                    </a:lnTo>
                    <a:lnTo>
                      <a:pt x="1178" y="177"/>
                    </a:lnTo>
                    <a:lnTo>
                      <a:pt x="1173" y="177"/>
                    </a:lnTo>
                    <a:lnTo>
                      <a:pt x="1170" y="177"/>
                    </a:lnTo>
                    <a:lnTo>
                      <a:pt x="1170" y="177"/>
                    </a:lnTo>
                    <a:lnTo>
                      <a:pt x="1170" y="177"/>
                    </a:lnTo>
                    <a:lnTo>
                      <a:pt x="1168" y="175"/>
                    </a:lnTo>
                    <a:lnTo>
                      <a:pt x="1161" y="177"/>
                    </a:lnTo>
                    <a:lnTo>
                      <a:pt x="1161" y="177"/>
                    </a:lnTo>
                    <a:lnTo>
                      <a:pt x="1159" y="180"/>
                    </a:lnTo>
                    <a:lnTo>
                      <a:pt x="1159" y="182"/>
                    </a:lnTo>
                    <a:lnTo>
                      <a:pt x="1159" y="182"/>
                    </a:lnTo>
                    <a:lnTo>
                      <a:pt x="1159" y="182"/>
                    </a:lnTo>
                    <a:lnTo>
                      <a:pt x="1156" y="182"/>
                    </a:lnTo>
                    <a:lnTo>
                      <a:pt x="1156" y="180"/>
                    </a:lnTo>
                    <a:lnTo>
                      <a:pt x="1156" y="177"/>
                    </a:lnTo>
                    <a:lnTo>
                      <a:pt x="1156" y="177"/>
                    </a:lnTo>
                    <a:lnTo>
                      <a:pt x="1152" y="177"/>
                    </a:lnTo>
                    <a:lnTo>
                      <a:pt x="1152" y="180"/>
                    </a:lnTo>
                    <a:lnTo>
                      <a:pt x="1149" y="180"/>
                    </a:lnTo>
                    <a:lnTo>
                      <a:pt x="1147" y="180"/>
                    </a:lnTo>
                    <a:lnTo>
                      <a:pt x="1154" y="177"/>
                    </a:lnTo>
                    <a:lnTo>
                      <a:pt x="1156" y="175"/>
                    </a:lnTo>
                    <a:lnTo>
                      <a:pt x="1159" y="175"/>
                    </a:lnTo>
                    <a:lnTo>
                      <a:pt x="1156" y="175"/>
                    </a:lnTo>
                    <a:lnTo>
                      <a:pt x="1156" y="175"/>
                    </a:lnTo>
                    <a:lnTo>
                      <a:pt x="1154" y="175"/>
                    </a:lnTo>
                    <a:lnTo>
                      <a:pt x="1152" y="175"/>
                    </a:lnTo>
                    <a:lnTo>
                      <a:pt x="1147" y="175"/>
                    </a:lnTo>
                    <a:lnTo>
                      <a:pt x="1147" y="177"/>
                    </a:lnTo>
                    <a:lnTo>
                      <a:pt x="1144" y="177"/>
                    </a:lnTo>
                    <a:lnTo>
                      <a:pt x="1140" y="180"/>
                    </a:lnTo>
                    <a:lnTo>
                      <a:pt x="1137" y="182"/>
                    </a:lnTo>
                    <a:lnTo>
                      <a:pt x="1133" y="184"/>
                    </a:lnTo>
                    <a:lnTo>
                      <a:pt x="1133" y="184"/>
                    </a:lnTo>
                    <a:lnTo>
                      <a:pt x="1135" y="182"/>
                    </a:lnTo>
                    <a:lnTo>
                      <a:pt x="1137" y="180"/>
                    </a:lnTo>
                    <a:lnTo>
                      <a:pt x="1140" y="180"/>
                    </a:lnTo>
                    <a:lnTo>
                      <a:pt x="1140" y="180"/>
                    </a:lnTo>
                    <a:lnTo>
                      <a:pt x="1140" y="177"/>
                    </a:lnTo>
                    <a:lnTo>
                      <a:pt x="1142" y="177"/>
                    </a:lnTo>
                    <a:lnTo>
                      <a:pt x="1144" y="175"/>
                    </a:lnTo>
                    <a:lnTo>
                      <a:pt x="1140" y="175"/>
                    </a:lnTo>
                    <a:lnTo>
                      <a:pt x="1137" y="175"/>
                    </a:lnTo>
                    <a:lnTo>
                      <a:pt x="1137" y="175"/>
                    </a:lnTo>
                    <a:lnTo>
                      <a:pt x="1142" y="175"/>
                    </a:lnTo>
                    <a:lnTo>
                      <a:pt x="1144" y="175"/>
                    </a:lnTo>
                    <a:lnTo>
                      <a:pt x="1147" y="175"/>
                    </a:lnTo>
                    <a:lnTo>
                      <a:pt x="1152" y="173"/>
                    </a:lnTo>
                    <a:lnTo>
                      <a:pt x="1152" y="173"/>
                    </a:lnTo>
                    <a:lnTo>
                      <a:pt x="1154" y="170"/>
                    </a:lnTo>
                    <a:lnTo>
                      <a:pt x="1154" y="170"/>
                    </a:lnTo>
                    <a:lnTo>
                      <a:pt x="1154" y="170"/>
                    </a:lnTo>
                    <a:lnTo>
                      <a:pt x="1154" y="170"/>
                    </a:lnTo>
                    <a:lnTo>
                      <a:pt x="1154" y="168"/>
                    </a:lnTo>
                    <a:lnTo>
                      <a:pt x="1152" y="168"/>
                    </a:lnTo>
                    <a:lnTo>
                      <a:pt x="1149" y="168"/>
                    </a:lnTo>
                    <a:lnTo>
                      <a:pt x="1147" y="168"/>
                    </a:lnTo>
                    <a:lnTo>
                      <a:pt x="1144" y="170"/>
                    </a:lnTo>
                    <a:lnTo>
                      <a:pt x="1140" y="170"/>
                    </a:lnTo>
                    <a:lnTo>
                      <a:pt x="1135" y="173"/>
                    </a:lnTo>
                    <a:lnTo>
                      <a:pt x="1133" y="173"/>
                    </a:lnTo>
                    <a:lnTo>
                      <a:pt x="1130" y="175"/>
                    </a:lnTo>
                    <a:lnTo>
                      <a:pt x="1128" y="175"/>
                    </a:lnTo>
                    <a:lnTo>
                      <a:pt x="1128" y="175"/>
                    </a:lnTo>
                    <a:lnTo>
                      <a:pt x="1128" y="175"/>
                    </a:lnTo>
                    <a:lnTo>
                      <a:pt x="1130" y="173"/>
                    </a:lnTo>
                    <a:lnTo>
                      <a:pt x="1135" y="170"/>
                    </a:lnTo>
                    <a:lnTo>
                      <a:pt x="1137" y="170"/>
                    </a:lnTo>
                    <a:lnTo>
                      <a:pt x="1140" y="170"/>
                    </a:lnTo>
                    <a:lnTo>
                      <a:pt x="1147" y="166"/>
                    </a:lnTo>
                    <a:lnTo>
                      <a:pt x="1147" y="166"/>
                    </a:lnTo>
                    <a:lnTo>
                      <a:pt x="1149" y="166"/>
                    </a:lnTo>
                    <a:lnTo>
                      <a:pt x="1149" y="163"/>
                    </a:lnTo>
                    <a:lnTo>
                      <a:pt x="1149" y="163"/>
                    </a:lnTo>
                    <a:lnTo>
                      <a:pt x="1147" y="161"/>
                    </a:lnTo>
                    <a:lnTo>
                      <a:pt x="1144" y="161"/>
                    </a:lnTo>
                    <a:lnTo>
                      <a:pt x="1142" y="161"/>
                    </a:lnTo>
                    <a:lnTo>
                      <a:pt x="1140" y="161"/>
                    </a:lnTo>
                    <a:lnTo>
                      <a:pt x="1137" y="161"/>
                    </a:lnTo>
                    <a:lnTo>
                      <a:pt x="1137" y="161"/>
                    </a:lnTo>
                    <a:lnTo>
                      <a:pt x="1135" y="158"/>
                    </a:lnTo>
                    <a:lnTo>
                      <a:pt x="1133" y="158"/>
                    </a:lnTo>
                    <a:lnTo>
                      <a:pt x="1130" y="158"/>
                    </a:lnTo>
                    <a:lnTo>
                      <a:pt x="1126" y="158"/>
                    </a:lnTo>
                    <a:lnTo>
                      <a:pt x="1121" y="158"/>
                    </a:lnTo>
                    <a:lnTo>
                      <a:pt x="1118" y="158"/>
                    </a:lnTo>
                    <a:lnTo>
                      <a:pt x="1116" y="158"/>
                    </a:lnTo>
                    <a:lnTo>
                      <a:pt x="1109" y="161"/>
                    </a:lnTo>
                    <a:lnTo>
                      <a:pt x="1109" y="161"/>
                    </a:lnTo>
                    <a:lnTo>
                      <a:pt x="1107" y="161"/>
                    </a:lnTo>
                    <a:lnTo>
                      <a:pt x="1107" y="161"/>
                    </a:lnTo>
                    <a:lnTo>
                      <a:pt x="1107" y="163"/>
                    </a:lnTo>
                    <a:lnTo>
                      <a:pt x="1107" y="163"/>
                    </a:lnTo>
                    <a:lnTo>
                      <a:pt x="1107" y="163"/>
                    </a:lnTo>
                    <a:lnTo>
                      <a:pt x="1111" y="166"/>
                    </a:lnTo>
                    <a:lnTo>
                      <a:pt x="1114" y="166"/>
                    </a:lnTo>
                    <a:lnTo>
                      <a:pt x="1114" y="166"/>
                    </a:lnTo>
                    <a:lnTo>
                      <a:pt x="1114" y="168"/>
                    </a:lnTo>
                    <a:lnTo>
                      <a:pt x="1111" y="168"/>
                    </a:lnTo>
                    <a:lnTo>
                      <a:pt x="1107" y="166"/>
                    </a:lnTo>
                    <a:lnTo>
                      <a:pt x="1104" y="166"/>
                    </a:lnTo>
                    <a:lnTo>
                      <a:pt x="1104" y="166"/>
                    </a:lnTo>
                    <a:lnTo>
                      <a:pt x="1102" y="166"/>
                    </a:lnTo>
                    <a:lnTo>
                      <a:pt x="1102" y="163"/>
                    </a:lnTo>
                    <a:lnTo>
                      <a:pt x="1099" y="166"/>
                    </a:lnTo>
                    <a:lnTo>
                      <a:pt x="1095" y="168"/>
                    </a:lnTo>
                    <a:lnTo>
                      <a:pt x="1095" y="170"/>
                    </a:lnTo>
                    <a:lnTo>
                      <a:pt x="1095" y="170"/>
                    </a:lnTo>
                    <a:lnTo>
                      <a:pt x="1097" y="170"/>
                    </a:lnTo>
                    <a:lnTo>
                      <a:pt x="1095" y="173"/>
                    </a:lnTo>
                    <a:lnTo>
                      <a:pt x="1095" y="173"/>
                    </a:lnTo>
                    <a:lnTo>
                      <a:pt x="1095" y="173"/>
                    </a:lnTo>
                    <a:lnTo>
                      <a:pt x="1095" y="170"/>
                    </a:lnTo>
                    <a:lnTo>
                      <a:pt x="1092" y="170"/>
                    </a:lnTo>
                    <a:lnTo>
                      <a:pt x="1092" y="168"/>
                    </a:lnTo>
                    <a:lnTo>
                      <a:pt x="1095" y="168"/>
                    </a:lnTo>
                    <a:lnTo>
                      <a:pt x="1097" y="166"/>
                    </a:lnTo>
                    <a:lnTo>
                      <a:pt x="1095" y="163"/>
                    </a:lnTo>
                    <a:lnTo>
                      <a:pt x="1095" y="163"/>
                    </a:lnTo>
                    <a:lnTo>
                      <a:pt x="1092" y="166"/>
                    </a:lnTo>
                    <a:lnTo>
                      <a:pt x="1090" y="166"/>
                    </a:lnTo>
                    <a:lnTo>
                      <a:pt x="1088" y="166"/>
                    </a:lnTo>
                    <a:lnTo>
                      <a:pt x="1088" y="163"/>
                    </a:lnTo>
                    <a:lnTo>
                      <a:pt x="1088" y="163"/>
                    </a:lnTo>
                    <a:lnTo>
                      <a:pt x="1088" y="163"/>
                    </a:lnTo>
                    <a:lnTo>
                      <a:pt x="1085" y="163"/>
                    </a:lnTo>
                    <a:lnTo>
                      <a:pt x="1085" y="163"/>
                    </a:lnTo>
                    <a:lnTo>
                      <a:pt x="1083" y="163"/>
                    </a:lnTo>
                    <a:lnTo>
                      <a:pt x="1083" y="166"/>
                    </a:lnTo>
                    <a:lnTo>
                      <a:pt x="1083" y="166"/>
                    </a:lnTo>
                    <a:lnTo>
                      <a:pt x="1083" y="168"/>
                    </a:lnTo>
                    <a:lnTo>
                      <a:pt x="1083" y="168"/>
                    </a:lnTo>
                    <a:lnTo>
                      <a:pt x="1081" y="166"/>
                    </a:lnTo>
                    <a:lnTo>
                      <a:pt x="1081" y="166"/>
                    </a:lnTo>
                    <a:lnTo>
                      <a:pt x="1076" y="168"/>
                    </a:lnTo>
                    <a:lnTo>
                      <a:pt x="1069" y="170"/>
                    </a:lnTo>
                    <a:lnTo>
                      <a:pt x="1066" y="170"/>
                    </a:lnTo>
                    <a:lnTo>
                      <a:pt x="1066" y="173"/>
                    </a:lnTo>
                    <a:lnTo>
                      <a:pt x="1066" y="173"/>
                    </a:lnTo>
                    <a:lnTo>
                      <a:pt x="1066" y="173"/>
                    </a:lnTo>
                    <a:lnTo>
                      <a:pt x="1066" y="170"/>
                    </a:lnTo>
                    <a:lnTo>
                      <a:pt x="1066" y="170"/>
                    </a:lnTo>
                    <a:lnTo>
                      <a:pt x="1066" y="170"/>
                    </a:lnTo>
                    <a:lnTo>
                      <a:pt x="1066" y="170"/>
                    </a:lnTo>
                    <a:lnTo>
                      <a:pt x="1069" y="168"/>
                    </a:lnTo>
                    <a:lnTo>
                      <a:pt x="1069" y="168"/>
                    </a:lnTo>
                    <a:lnTo>
                      <a:pt x="1069" y="168"/>
                    </a:lnTo>
                    <a:lnTo>
                      <a:pt x="1071" y="168"/>
                    </a:lnTo>
                    <a:lnTo>
                      <a:pt x="1071" y="168"/>
                    </a:lnTo>
                    <a:lnTo>
                      <a:pt x="1069" y="168"/>
                    </a:lnTo>
                    <a:lnTo>
                      <a:pt x="1069" y="166"/>
                    </a:lnTo>
                    <a:lnTo>
                      <a:pt x="1071" y="166"/>
                    </a:lnTo>
                    <a:lnTo>
                      <a:pt x="1076" y="166"/>
                    </a:lnTo>
                    <a:lnTo>
                      <a:pt x="1078" y="163"/>
                    </a:lnTo>
                    <a:lnTo>
                      <a:pt x="1078" y="163"/>
                    </a:lnTo>
                    <a:lnTo>
                      <a:pt x="1076" y="163"/>
                    </a:lnTo>
                    <a:lnTo>
                      <a:pt x="1066" y="166"/>
                    </a:lnTo>
                    <a:lnTo>
                      <a:pt x="1069" y="166"/>
                    </a:lnTo>
                    <a:lnTo>
                      <a:pt x="1073" y="163"/>
                    </a:lnTo>
                    <a:lnTo>
                      <a:pt x="1078" y="161"/>
                    </a:lnTo>
                    <a:lnTo>
                      <a:pt x="1083" y="158"/>
                    </a:lnTo>
                    <a:lnTo>
                      <a:pt x="1085" y="158"/>
                    </a:lnTo>
                    <a:lnTo>
                      <a:pt x="1088" y="158"/>
                    </a:lnTo>
                    <a:lnTo>
                      <a:pt x="1088" y="156"/>
                    </a:lnTo>
                    <a:lnTo>
                      <a:pt x="1085" y="156"/>
                    </a:lnTo>
                    <a:lnTo>
                      <a:pt x="1085" y="156"/>
                    </a:lnTo>
                    <a:lnTo>
                      <a:pt x="1085" y="154"/>
                    </a:lnTo>
                    <a:lnTo>
                      <a:pt x="1085" y="154"/>
                    </a:lnTo>
                    <a:lnTo>
                      <a:pt x="1088" y="151"/>
                    </a:lnTo>
                    <a:lnTo>
                      <a:pt x="1088" y="151"/>
                    </a:lnTo>
                    <a:lnTo>
                      <a:pt x="1088" y="151"/>
                    </a:lnTo>
                    <a:lnTo>
                      <a:pt x="1088" y="149"/>
                    </a:lnTo>
                    <a:lnTo>
                      <a:pt x="1085" y="149"/>
                    </a:lnTo>
                    <a:lnTo>
                      <a:pt x="1085" y="149"/>
                    </a:lnTo>
                    <a:lnTo>
                      <a:pt x="1085" y="144"/>
                    </a:lnTo>
                    <a:lnTo>
                      <a:pt x="1085" y="142"/>
                    </a:lnTo>
                    <a:lnTo>
                      <a:pt x="1085" y="142"/>
                    </a:lnTo>
                    <a:lnTo>
                      <a:pt x="1085" y="142"/>
                    </a:lnTo>
                    <a:lnTo>
                      <a:pt x="1081" y="142"/>
                    </a:lnTo>
                    <a:lnTo>
                      <a:pt x="1078" y="142"/>
                    </a:lnTo>
                    <a:lnTo>
                      <a:pt x="1071" y="142"/>
                    </a:lnTo>
                    <a:lnTo>
                      <a:pt x="1069" y="142"/>
                    </a:lnTo>
                    <a:lnTo>
                      <a:pt x="1069" y="142"/>
                    </a:lnTo>
                    <a:lnTo>
                      <a:pt x="1066" y="142"/>
                    </a:lnTo>
                    <a:lnTo>
                      <a:pt x="1062" y="142"/>
                    </a:lnTo>
                    <a:lnTo>
                      <a:pt x="1055" y="144"/>
                    </a:lnTo>
                    <a:lnTo>
                      <a:pt x="1052" y="144"/>
                    </a:lnTo>
                    <a:lnTo>
                      <a:pt x="1052" y="144"/>
                    </a:lnTo>
                    <a:lnTo>
                      <a:pt x="1052" y="147"/>
                    </a:lnTo>
                    <a:lnTo>
                      <a:pt x="1052" y="147"/>
                    </a:lnTo>
                    <a:lnTo>
                      <a:pt x="1050" y="144"/>
                    </a:lnTo>
                    <a:lnTo>
                      <a:pt x="1045" y="147"/>
                    </a:lnTo>
                    <a:lnTo>
                      <a:pt x="1040" y="147"/>
                    </a:lnTo>
                    <a:lnTo>
                      <a:pt x="1036" y="147"/>
                    </a:lnTo>
                    <a:lnTo>
                      <a:pt x="1026" y="151"/>
                    </a:lnTo>
                    <a:lnTo>
                      <a:pt x="1026" y="151"/>
                    </a:lnTo>
                    <a:lnTo>
                      <a:pt x="1029" y="154"/>
                    </a:lnTo>
                    <a:lnTo>
                      <a:pt x="1036" y="156"/>
                    </a:lnTo>
                    <a:lnTo>
                      <a:pt x="1036" y="156"/>
                    </a:lnTo>
                    <a:lnTo>
                      <a:pt x="1029" y="154"/>
                    </a:lnTo>
                    <a:lnTo>
                      <a:pt x="1026" y="154"/>
                    </a:lnTo>
                    <a:lnTo>
                      <a:pt x="1024" y="154"/>
                    </a:lnTo>
                    <a:lnTo>
                      <a:pt x="1021" y="154"/>
                    </a:lnTo>
                    <a:lnTo>
                      <a:pt x="1019" y="156"/>
                    </a:lnTo>
                    <a:lnTo>
                      <a:pt x="1019" y="156"/>
                    </a:lnTo>
                    <a:lnTo>
                      <a:pt x="1017" y="156"/>
                    </a:lnTo>
                    <a:lnTo>
                      <a:pt x="1017" y="158"/>
                    </a:lnTo>
                    <a:lnTo>
                      <a:pt x="1014" y="158"/>
                    </a:lnTo>
                    <a:lnTo>
                      <a:pt x="1014" y="161"/>
                    </a:lnTo>
                    <a:lnTo>
                      <a:pt x="1014" y="161"/>
                    </a:lnTo>
                    <a:lnTo>
                      <a:pt x="1014" y="161"/>
                    </a:lnTo>
                    <a:lnTo>
                      <a:pt x="1017" y="163"/>
                    </a:lnTo>
                    <a:lnTo>
                      <a:pt x="1017" y="163"/>
                    </a:lnTo>
                    <a:lnTo>
                      <a:pt x="1017" y="163"/>
                    </a:lnTo>
                    <a:lnTo>
                      <a:pt x="1019" y="163"/>
                    </a:lnTo>
                    <a:lnTo>
                      <a:pt x="1021" y="163"/>
                    </a:lnTo>
                    <a:lnTo>
                      <a:pt x="1021" y="163"/>
                    </a:lnTo>
                    <a:lnTo>
                      <a:pt x="1024" y="163"/>
                    </a:lnTo>
                    <a:lnTo>
                      <a:pt x="1024" y="163"/>
                    </a:lnTo>
                    <a:lnTo>
                      <a:pt x="1021" y="166"/>
                    </a:lnTo>
                    <a:lnTo>
                      <a:pt x="1021" y="166"/>
                    </a:lnTo>
                    <a:lnTo>
                      <a:pt x="1021" y="166"/>
                    </a:lnTo>
                    <a:lnTo>
                      <a:pt x="1021" y="168"/>
                    </a:lnTo>
                    <a:lnTo>
                      <a:pt x="1024" y="168"/>
                    </a:lnTo>
                    <a:lnTo>
                      <a:pt x="1024" y="170"/>
                    </a:lnTo>
                    <a:lnTo>
                      <a:pt x="1024" y="170"/>
                    </a:lnTo>
                    <a:lnTo>
                      <a:pt x="1024" y="170"/>
                    </a:lnTo>
                    <a:lnTo>
                      <a:pt x="1021" y="168"/>
                    </a:lnTo>
                    <a:lnTo>
                      <a:pt x="1017" y="166"/>
                    </a:lnTo>
                    <a:lnTo>
                      <a:pt x="1012" y="166"/>
                    </a:lnTo>
                    <a:lnTo>
                      <a:pt x="1012" y="166"/>
                    </a:lnTo>
                    <a:lnTo>
                      <a:pt x="1007" y="168"/>
                    </a:lnTo>
                    <a:lnTo>
                      <a:pt x="1005" y="170"/>
                    </a:lnTo>
                    <a:lnTo>
                      <a:pt x="1002" y="170"/>
                    </a:lnTo>
                    <a:lnTo>
                      <a:pt x="1002" y="170"/>
                    </a:lnTo>
                    <a:lnTo>
                      <a:pt x="1002" y="170"/>
                    </a:lnTo>
                    <a:lnTo>
                      <a:pt x="1002" y="173"/>
                    </a:lnTo>
                    <a:lnTo>
                      <a:pt x="1005" y="173"/>
                    </a:lnTo>
                    <a:lnTo>
                      <a:pt x="1005" y="175"/>
                    </a:lnTo>
                    <a:lnTo>
                      <a:pt x="1005" y="175"/>
                    </a:lnTo>
                    <a:lnTo>
                      <a:pt x="1005" y="175"/>
                    </a:lnTo>
                    <a:lnTo>
                      <a:pt x="1007" y="175"/>
                    </a:lnTo>
                    <a:lnTo>
                      <a:pt x="1007" y="175"/>
                    </a:lnTo>
                    <a:lnTo>
                      <a:pt x="1010" y="175"/>
                    </a:lnTo>
                    <a:lnTo>
                      <a:pt x="1012" y="177"/>
                    </a:lnTo>
                    <a:lnTo>
                      <a:pt x="1012" y="177"/>
                    </a:lnTo>
                    <a:lnTo>
                      <a:pt x="1010" y="180"/>
                    </a:lnTo>
                    <a:lnTo>
                      <a:pt x="1010" y="180"/>
                    </a:lnTo>
                    <a:lnTo>
                      <a:pt x="1007" y="182"/>
                    </a:lnTo>
                    <a:lnTo>
                      <a:pt x="1002" y="187"/>
                    </a:lnTo>
                    <a:lnTo>
                      <a:pt x="1000" y="187"/>
                    </a:lnTo>
                    <a:lnTo>
                      <a:pt x="1000" y="187"/>
                    </a:lnTo>
                    <a:lnTo>
                      <a:pt x="998" y="187"/>
                    </a:lnTo>
                    <a:lnTo>
                      <a:pt x="998" y="187"/>
                    </a:lnTo>
                    <a:lnTo>
                      <a:pt x="998" y="187"/>
                    </a:lnTo>
                    <a:lnTo>
                      <a:pt x="998" y="187"/>
                    </a:lnTo>
                    <a:lnTo>
                      <a:pt x="1000" y="184"/>
                    </a:lnTo>
                    <a:lnTo>
                      <a:pt x="998" y="184"/>
                    </a:lnTo>
                    <a:lnTo>
                      <a:pt x="991" y="184"/>
                    </a:lnTo>
                    <a:lnTo>
                      <a:pt x="988" y="184"/>
                    </a:lnTo>
                    <a:lnTo>
                      <a:pt x="984" y="187"/>
                    </a:lnTo>
                    <a:lnTo>
                      <a:pt x="981" y="187"/>
                    </a:lnTo>
                    <a:lnTo>
                      <a:pt x="976" y="187"/>
                    </a:lnTo>
                    <a:lnTo>
                      <a:pt x="976" y="187"/>
                    </a:lnTo>
                    <a:lnTo>
                      <a:pt x="979" y="187"/>
                    </a:lnTo>
                    <a:lnTo>
                      <a:pt x="984" y="187"/>
                    </a:lnTo>
                    <a:lnTo>
                      <a:pt x="988" y="184"/>
                    </a:lnTo>
                    <a:lnTo>
                      <a:pt x="991" y="184"/>
                    </a:lnTo>
                    <a:lnTo>
                      <a:pt x="995" y="184"/>
                    </a:lnTo>
                    <a:lnTo>
                      <a:pt x="1000" y="182"/>
                    </a:lnTo>
                    <a:lnTo>
                      <a:pt x="1002" y="182"/>
                    </a:lnTo>
                    <a:lnTo>
                      <a:pt x="1002" y="180"/>
                    </a:lnTo>
                    <a:lnTo>
                      <a:pt x="1000" y="180"/>
                    </a:lnTo>
                    <a:lnTo>
                      <a:pt x="1000" y="177"/>
                    </a:lnTo>
                    <a:lnTo>
                      <a:pt x="998" y="177"/>
                    </a:lnTo>
                    <a:lnTo>
                      <a:pt x="995" y="175"/>
                    </a:lnTo>
                    <a:lnTo>
                      <a:pt x="995" y="173"/>
                    </a:lnTo>
                    <a:lnTo>
                      <a:pt x="998" y="170"/>
                    </a:lnTo>
                    <a:lnTo>
                      <a:pt x="998" y="168"/>
                    </a:lnTo>
                    <a:lnTo>
                      <a:pt x="998" y="168"/>
                    </a:lnTo>
                    <a:lnTo>
                      <a:pt x="1000" y="166"/>
                    </a:lnTo>
                    <a:lnTo>
                      <a:pt x="1002" y="163"/>
                    </a:lnTo>
                    <a:lnTo>
                      <a:pt x="1005" y="163"/>
                    </a:lnTo>
                    <a:lnTo>
                      <a:pt x="1005" y="161"/>
                    </a:lnTo>
                    <a:lnTo>
                      <a:pt x="1002" y="158"/>
                    </a:lnTo>
                    <a:lnTo>
                      <a:pt x="1005" y="158"/>
                    </a:lnTo>
                    <a:lnTo>
                      <a:pt x="1005" y="156"/>
                    </a:lnTo>
                    <a:lnTo>
                      <a:pt x="1007" y="156"/>
                    </a:lnTo>
                    <a:lnTo>
                      <a:pt x="1007" y="154"/>
                    </a:lnTo>
                    <a:lnTo>
                      <a:pt x="1010" y="154"/>
                    </a:lnTo>
                    <a:lnTo>
                      <a:pt x="1019" y="149"/>
                    </a:lnTo>
                    <a:lnTo>
                      <a:pt x="1021" y="149"/>
                    </a:lnTo>
                    <a:lnTo>
                      <a:pt x="1029" y="144"/>
                    </a:lnTo>
                    <a:lnTo>
                      <a:pt x="1033" y="144"/>
                    </a:lnTo>
                    <a:lnTo>
                      <a:pt x="1038" y="142"/>
                    </a:lnTo>
                    <a:lnTo>
                      <a:pt x="1043" y="142"/>
                    </a:lnTo>
                    <a:lnTo>
                      <a:pt x="1043" y="142"/>
                    </a:lnTo>
                    <a:lnTo>
                      <a:pt x="1043" y="139"/>
                    </a:lnTo>
                    <a:lnTo>
                      <a:pt x="1043" y="139"/>
                    </a:lnTo>
                    <a:lnTo>
                      <a:pt x="1043" y="139"/>
                    </a:lnTo>
                    <a:lnTo>
                      <a:pt x="1031" y="139"/>
                    </a:lnTo>
                    <a:lnTo>
                      <a:pt x="1026" y="139"/>
                    </a:lnTo>
                    <a:lnTo>
                      <a:pt x="1021" y="139"/>
                    </a:lnTo>
                    <a:lnTo>
                      <a:pt x="1010" y="139"/>
                    </a:lnTo>
                    <a:lnTo>
                      <a:pt x="1007" y="142"/>
                    </a:lnTo>
                    <a:lnTo>
                      <a:pt x="1002" y="142"/>
                    </a:lnTo>
                    <a:lnTo>
                      <a:pt x="998" y="144"/>
                    </a:lnTo>
                    <a:lnTo>
                      <a:pt x="988" y="147"/>
                    </a:lnTo>
                    <a:lnTo>
                      <a:pt x="988" y="147"/>
                    </a:lnTo>
                    <a:lnTo>
                      <a:pt x="988" y="147"/>
                    </a:lnTo>
                    <a:lnTo>
                      <a:pt x="986" y="147"/>
                    </a:lnTo>
                    <a:lnTo>
                      <a:pt x="986" y="149"/>
                    </a:lnTo>
                    <a:lnTo>
                      <a:pt x="984" y="149"/>
                    </a:lnTo>
                    <a:lnTo>
                      <a:pt x="979" y="149"/>
                    </a:lnTo>
                    <a:lnTo>
                      <a:pt x="976" y="151"/>
                    </a:lnTo>
                    <a:lnTo>
                      <a:pt x="976" y="151"/>
                    </a:lnTo>
                    <a:lnTo>
                      <a:pt x="974" y="154"/>
                    </a:lnTo>
                    <a:lnTo>
                      <a:pt x="974" y="154"/>
                    </a:lnTo>
                    <a:lnTo>
                      <a:pt x="972" y="156"/>
                    </a:lnTo>
                    <a:lnTo>
                      <a:pt x="969" y="156"/>
                    </a:lnTo>
                    <a:lnTo>
                      <a:pt x="965" y="158"/>
                    </a:lnTo>
                    <a:lnTo>
                      <a:pt x="962" y="161"/>
                    </a:lnTo>
                    <a:lnTo>
                      <a:pt x="958" y="163"/>
                    </a:lnTo>
                    <a:lnTo>
                      <a:pt x="958" y="163"/>
                    </a:lnTo>
                    <a:lnTo>
                      <a:pt x="955" y="163"/>
                    </a:lnTo>
                    <a:lnTo>
                      <a:pt x="955" y="166"/>
                    </a:lnTo>
                    <a:lnTo>
                      <a:pt x="955" y="166"/>
                    </a:lnTo>
                    <a:lnTo>
                      <a:pt x="953" y="166"/>
                    </a:lnTo>
                    <a:lnTo>
                      <a:pt x="955" y="168"/>
                    </a:lnTo>
                    <a:lnTo>
                      <a:pt x="955" y="168"/>
                    </a:lnTo>
                    <a:lnTo>
                      <a:pt x="955" y="168"/>
                    </a:lnTo>
                    <a:lnTo>
                      <a:pt x="950" y="170"/>
                    </a:lnTo>
                    <a:lnTo>
                      <a:pt x="946" y="170"/>
                    </a:lnTo>
                    <a:lnTo>
                      <a:pt x="946" y="173"/>
                    </a:lnTo>
                    <a:lnTo>
                      <a:pt x="946" y="173"/>
                    </a:lnTo>
                    <a:lnTo>
                      <a:pt x="946" y="175"/>
                    </a:lnTo>
                    <a:lnTo>
                      <a:pt x="943" y="177"/>
                    </a:lnTo>
                    <a:lnTo>
                      <a:pt x="941" y="180"/>
                    </a:lnTo>
                    <a:lnTo>
                      <a:pt x="941" y="180"/>
                    </a:lnTo>
                    <a:lnTo>
                      <a:pt x="943" y="180"/>
                    </a:lnTo>
                    <a:lnTo>
                      <a:pt x="946" y="182"/>
                    </a:lnTo>
                    <a:lnTo>
                      <a:pt x="948" y="182"/>
                    </a:lnTo>
                    <a:lnTo>
                      <a:pt x="955" y="184"/>
                    </a:lnTo>
                    <a:lnTo>
                      <a:pt x="960" y="184"/>
                    </a:lnTo>
                    <a:lnTo>
                      <a:pt x="962" y="184"/>
                    </a:lnTo>
                    <a:lnTo>
                      <a:pt x="965" y="184"/>
                    </a:lnTo>
                    <a:lnTo>
                      <a:pt x="965" y="184"/>
                    </a:lnTo>
                    <a:lnTo>
                      <a:pt x="967" y="187"/>
                    </a:lnTo>
                    <a:lnTo>
                      <a:pt x="969" y="187"/>
                    </a:lnTo>
                    <a:lnTo>
                      <a:pt x="969" y="187"/>
                    </a:lnTo>
                    <a:lnTo>
                      <a:pt x="965" y="189"/>
                    </a:lnTo>
                    <a:lnTo>
                      <a:pt x="960" y="189"/>
                    </a:lnTo>
                    <a:lnTo>
                      <a:pt x="958" y="189"/>
                    </a:lnTo>
                    <a:lnTo>
                      <a:pt x="953" y="187"/>
                    </a:lnTo>
                    <a:lnTo>
                      <a:pt x="953" y="187"/>
                    </a:lnTo>
                    <a:lnTo>
                      <a:pt x="950" y="187"/>
                    </a:lnTo>
                    <a:lnTo>
                      <a:pt x="946" y="187"/>
                    </a:lnTo>
                    <a:lnTo>
                      <a:pt x="941" y="187"/>
                    </a:lnTo>
                    <a:lnTo>
                      <a:pt x="939" y="187"/>
                    </a:lnTo>
                    <a:lnTo>
                      <a:pt x="941" y="187"/>
                    </a:lnTo>
                    <a:lnTo>
                      <a:pt x="939" y="187"/>
                    </a:lnTo>
                    <a:lnTo>
                      <a:pt x="939" y="192"/>
                    </a:lnTo>
                    <a:lnTo>
                      <a:pt x="939" y="192"/>
                    </a:lnTo>
                    <a:lnTo>
                      <a:pt x="939" y="196"/>
                    </a:lnTo>
                    <a:lnTo>
                      <a:pt x="939" y="196"/>
                    </a:lnTo>
                    <a:lnTo>
                      <a:pt x="941" y="196"/>
                    </a:lnTo>
                    <a:lnTo>
                      <a:pt x="943" y="196"/>
                    </a:lnTo>
                    <a:lnTo>
                      <a:pt x="946" y="199"/>
                    </a:lnTo>
                    <a:lnTo>
                      <a:pt x="948" y="201"/>
                    </a:lnTo>
                    <a:lnTo>
                      <a:pt x="948" y="201"/>
                    </a:lnTo>
                    <a:lnTo>
                      <a:pt x="948" y="201"/>
                    </a:lnTo>
                    <a:lnTo>
                      <a:pt x="950" y="199"/>
                    </a:lnTo>
                    <a:lnTo>
                      <a:pt x="953" y="199"/>
                    </a:lnTo>
                    <a:lnTo>
                      <a:pt x="953" y="199"/>
                    </a:lnTo>
                    <a:lnTo>
                      <a:pt x="958" y="199"/>
                    </a:lnTo>
                    <a:lnTo>
                      <a:pt x="960" y="199"/>
                    </a:lnTo>
                    <a:lnTo>
                      <a:pt x="960" y="199"/>
                    </a:lnTo>
                    <a:lnTo>
                      <a:pt x="960" y="199"/>
                    </a:lnTo>
                    <a:lnTo>
                      <a:pt x="960" y="199"/>
                    </a:lnTo>
                    <a:lnTo>
                      <a:pt x="960" y="199"/>
                    </a:lnTo>
                    <a:lnTo>
                      <a:pt x="965" y="199"/>
                    </a:lnTo>
                    <a:lnTo>
                      <a:pt x="965" y="199"/>
                    </a:lnTo>
                    <a:lnTo>
                      <a:pt x="967" y="199"/>
                    </a:lnTo>
                    <a:lnTo>
                      <a:pt x="972" y="196"/>
                    </a:lnTo>
                    <a:lnTo>
                      <a:pt x="969" y="196"/>
                    </a:lnTo>
                    <a:lnTo>
                      <a:pt x="969" y="199"/>
                    </a:lnTo>
                    <a:lnTo>
                      <a:pt x="967" y="199"/>
                    </a:lnTo>
                    <a:lnTo>
                      <a:pt x="967" y="201"/>
                    </a:lnTo>
                    <a:lnTo>
                      <a:pt x="967" y="201"/>
                    </a:lnTo>
                    <a:lnTo>
                      <a:pt x="967" y="203"/>
                    </a:lnTo>
                    <a:lnTo>
                      <a:pt x="967" y="203"/>
                    </a:lnTo>
                    <a:lnTo>
                      <a:pt x="972" y="203"/>
                    </a:lnTo>
                    <a:lnTo>
                      <a:pt x="979" y="203"/>
                    </a:lnTo>
                    <a:lnTo>
                      <a:pt x="984" y="203"/>
                    </a:lnTo>
                    <a:lnTo>
                      <a:pt x="986" y="203"/>
                    </a:lnTo>
                    <a:lnTo>
                      <a:pt x="986" y="203"/>
                    </a:lnTo>
                    <a:lnTo>
                      <a:pt x="986" y="203"/>
                    </a:lnTo>
                    <a:lnTo>
                      <a:pt x="988" y="206"/>
                    </a:lnTo>
                    <a:lnTo>
                      <a:pt x="998" y="206"/>
                    </a:lnTo>
                    <a:lnTo>
                      <a:pt x="1002" y="206"/>
                    </a:lnTo>
                    <a:lnTo>
                      <a:pt x="1007" y="206"/>
                    </a:lnTo>
                    <a:lnTo>
                      <a:pt x="1007" y="206"/>
                    </a:lnTo>
                    <a:lnTo>
                      <a:pt x="1010" y="206"/>
                    </a:lnTo>
                    <a:lnTo>
                      <a:pt x="1014" y="208"/>
                    </a:lnTo>
                    <a:lnTo>
                      <a:pt x="1017" y="208"/>
                    </a:lnTo>
                    <a:lnTo>
                      <a:pt x="1019" y="208"/>
                    </a:lnTo>
                    <a:lnTo>
                      <a:pt x="1021" y="208"/>
                    </a:lnTo>
                    <a:lnTo>
                      <a:pt x="1029" y="206"/>
                    </a:lnTo>
                    <a:lnTo>
                      <a:pt x="1033" y="210"/>
                    </a:lnTo>
                    <a:lnTo>
                      <a:pt x="1036" y="208"/>
                    </a:lnTo>
                    <a:lnTo>
                      <a:pt x="1036" y="208"/>
                    </a:lnTo>
                    <a:lnTo>
                      <a:pt x="1036" y="208"/>
                    </a:lnTo>
                    <a:lnTo>
                      <a:pt x="1033" y="206"/>
                    </a:lnTo>
                    <a:lnTo>
                      <a:pt x="1033" y="206"/>
                    </a:lnTo>
                    <a:lnTo>
                      <a:pt x="1031" y="206"/>
                    </a:lnTo>
                    <a:lnTo>
                      <a:pt x="1031" y="206"/>
                    </a:lnTo>
                    <a:lnTo>
                      <a:pt x="1029" y="203"/>
                    </a:lnTo>
                    <a:lnTo>
                      <a:pt x="1029" y="203"/>
                    </a:lnTo>
                    <a:lnTo>
                      <a:pt x="1031" y="203"/>
                    </a:lnTo>
                    <a:lnTo>
                      <a:pt x="1036" y="203"/>
                    </a:lnTo>
                    <a:lnTo>
                      <a:pt x="1040" y="203"/>
                    </a:lnTo>
                    <a:lnTo>
                      <a:pt x="1040" y="203"/>
                    </a:lnTo>
                    <a:lnTo>
                      <a:pt x="1045" y="206"/>
                    </a:lnTo>
                    <a:lnTo>
                      <a:pt x="1045" y="206"/>
                    </a:lnTo>
                    <a:lnTo>
                      <a:pt x="1047" y="206"/>
                    </a:lnTo>
                    <a:lnTo>
                      <a:pt x="1052" y="206"/>
                    </a:lnTo>
                    <a:lnTo>
                      <a:pt x="1055" y="208"/>
                    </a:lnTo>
                    <a:lnTo>
                      <a:pt x="1057" y="206"/>
                    </a:lnTo>
                    <a:lnTo>
                      <a:pt x="1062" y="206"/>
                    </a:lnTo>
                    <a:lnTo>
                      <a:pt x="1064" y="206"/>
                    </a:lnTo>
                    <a:lnTo>
                      <a:pt x="1066" y="206"/>
                    </a:lnTo>
                    <a:lnTo>
                      <a:pt x="1066" y="203"/>
                    </a:lnTo>
                    <a:lnTo>
                      <a:pt x="1066" y="203"/>
                    </a:lnTo>
                    <a:lnTo>
                      <a:pt x="1069" y="201"/>
                    </a:lnTo>
                    <a:lnTo>
                      <a:pt x="1069" y="201"/>
                    </a:lnTo>
                    <a:lnTo>
                      <a:pt x="1069" y="201"/>
                    </a:lnTo>
                    <a:lnTo>
                      <a:pt x="1066" y="199"/>
                    </a:lnTo>
                    <a:lnTo>
                      <a:pt x="1064" y="199"/>
                    </a:lnTo>
                    <a:lnTo>
                      <a:pt x="1064" y="199"/>
                    </a:lnTo>
                    <a:lnTo>
                      <a:pt x="1064" y="196"/>
                    </a:lnTo>
                    <a:lnTo>
                      <a:pt x="1064" y="196"/>
                    </a:lnTo>
                    <a:lnTo>
                      <a:pt x="1066" y="196"/>
                    </a:lnTo>
                    <a:lnTo>
                      <a:pt x="1069" y="194"/>
                    </a:lnTo>
                    <a:lnTo>
                      <a:pt x="1071" y="194"/>
                    </a:lnTo>
                    <a:lnTo>
                      <a:pt x="1071" y="194"/>
                    </a:lnTo>
                    <a:lnTo>
                      <a:pt x="1071" y="196"/>
                    </a:lnTo>
                    <a:lnTo>
                      <a:pt x="1071" y="196"/>
                    </a:lnTo>
                    <a:lnTo>
                      <a:pt x="1071" y="196"/>
                    </a:lnTo>
                    <a:lnTo>
                      <a:pt x="1073" y="199"/>
                    </a:lnTo>
                    <a:lnTo>
                      <a:pt x="1073" y="199"/>
                    </a:lnTo>
                    <a:lnTo>
                      <a:pt x="1073" y="199"/>
                    </a:lnTo>
                    <a:lnTo>
                      <a:pt x="1076" y="201"/>
                    </a:lnTo>
                    <a:lnTo>
                      <a:pt x="1076" y="201"/>
                    </a:lnTo>
                    <a:lnTo>
                      <a:pt x="1078" y="201"/>
                    </a:lnTo>
                    <a:lnTo>
                      <a:pt x="1083" y="201"/>
                    </a:lnTo>
                    <a:lnTo>
                      <a:pt x="1083" y="201"/>
                    </a:lnTo>
                    <a:lnTo>
                      <a:pt x="1083" y="201"/>
                    </a:lnTo>
                    <a:lnTo>
                      <a:pt x="1081" y="203"/>
                    </a:lnTo>
                    <a:lnTo>
                      <a:pt x="1081" y="206"/>
                    </a:lnTo>
                    <a:lnTo>
                      <a:pt x="1081" y="206"/>
                    </a:lnTo>
                    <a:lnTo>
                      <a:pt x="1081" y="208"/>
                    </a:lnTo>
                    <a:lnTo>
                      <a:pt x="1081" y="208"/>
                    </a:lnTo>
                    <a:lnTo>
                      <a:pt x="1085" y="208"/>
                    </a:lnTo>
                    <a:lnTo>
                      <a:pt x="1088" y="208"/>
                    </a:lnTo>
                    <a:lnTo>
                      <a:pt x="1088" y="208"/>
                    </a:lnTo>
                    <a:lnTo>
                      <a:pt x="1088" y="208"/>
                    </a:lnTo>
                    <a:lnTo>
                      <a:pt x="1088" y="210"/>
                    </a:lnTo>
                    <a:lnTo>
                      <a:pt x="1085" y="210"/>
                    </a:lnTo>
                    <a:lnTo>
                      <a:pt x="1083" y="210"/>
                    </a:lnTo>
                    <a:lnTo>
                      <a:pt x="1083" y="210"/>
                    </a:lnTo>
                    <a:lnTo>
                      <a:pt x="1083" y="210"/>
                    </a:lnTo>
                    <a:lnTo>
                      <a:pt x="1083" y="213"/>
                    </a:lnTo>
                    <a:lnTo>
                      <a:pt x="1085" y="213"/>
                    </a:lnTo>
                    <a:lnTo>
                      <a:pt x="1088" y="213"/>
                    </a:lnTo>
                    <a:lnTo>
                      <a:pt x="1088" y="213"/>
                    </a:lnTo>
                    <a:lnTo>
                      <a:pt x="1090" y="210"/>
                    </a:lnTo>
                    <a:lnTo>
                      <a:pt x="1092" y="210"/>
                    </a:lnTo>
                    <a:lnTo>
                      <a:pt x="1092" y="210"/>
                    </a:lnTo>
                    <a:lnTo>
                      <a:pt x="1095" y="210"/>
                    </a:lnTo>
                    <a:lnTo>
                      <a:pt x="1095" y="210"/>
                    </a:lnTo>
                    <a:lnTo>
                      <a:pt x="1092" y="213"/>
                    </a:lnTo>
                    <a:lnTo>
                      <a:pt x="1090" y="213"/>
                    </a:lnTo>
                    <a:lnTo>
                      <a:pt x="1090" y="213"/>
                    </a:lnTo>
                    <a:lnTo>
                      <a:pt x="1090" y="213"/>
                    </a:lnTo>
                    <a:lnTo>
                      <a:pt x="1090" y="215"/>
                    </a:lnTo>
                    <a:lnTo>
                      <a:pt x="1090" y="215"/>
                    </a:lnTo>
                    <a:lnTo>
                      <a:pt x="1090" y="215"/>
                    </a:lnTo>
                    <a:lnTo>
                      <a:pt x="1092" y="215"/>
                    </a:lnTo>
                    <a:lnTo>
                      <a:pt x="1095" y="215"/>
                    </a:lnTo>
                    <a:lnTo>
                      <a:pt x="1097" y="218"/>
                    </a:lnTo>
                    <a:lnTo>
                      <a:pt x="1097" y="218"/>
                    </a:lnTo>
                    <a:lnTo>
                      <a:pt x="1097" y="220"/>
                    </a:lnTo>
                    <a:lnTo>
                      <a:pt x="1097" y="220"/>
                    </a:lnTo>
                    <a:lnTo>
                      <a:pt x="1095" y="220"/>
                    </a:lnTo>
                    <a:lnTo>
                      <a:pt x="1092" y="222"/>
                    </a:lnTo>
                    <a:lnTo>
                      <a:pt x="1090" y="222"/>
                    </a:lnTo>
                    <a:lnTo>
                      <a:pt x="1088" y="222"/>
                    </a:lnTo>
                    <a:lnTo>
                      <a:pt x="1085" y="222"/>
                    </a:lnTo>
                    <a:lnTo>
                      <a:pt x="1083" y="222"/>
                    </a:lnTo>
                    <a:lnTo>
                      <a:pt x="1083" y="222"/>
                    </a:lnTo>
                    <a:lnTo>
                      <a:pt x="1081" y="222"/>
                    </a:lnTo>
                    <a:lnTo>
                      <a:pt x="1081" y="225"/>
                    </a:lnTo>
                    <a:lnTo>
                      <a:pt x="1078" y="227"/>
                    </a:lnTo>
                    <a:lnTo>
                      <a:pt x="1078" y="227"/>
                    </a:lnTo>
                    <a:lnTo>
                      <a:pt x="1078" y="227"/>
                    </a:lnTo>
                    <a:lnTo>
                      <a:pt x="1078" y="227"/>
                    </a:lnTo>
                    <a:lnTo>
                      <a:pt x="1078" y="227"/>
                    </a:lnTo>
                    <a:lnTo>
                      <a:pt x="1081" y="229"/>
                    </a:lnTo>
                    <a:lnTo>
                      <a:pt x="1083" y="227"/>
                    </a:lnTo>
                    <a:lnTo>
                      <a:pt x="1090" y="225"/>
                    </a:lnTo>
                    <a:lnTo>
                      <a:pt x="1092" y="225"/>
                    </a:lnTo>
                    <a:lnTo>
                      <a:pt x="1095" y="225"/>
                    </a:lnTo>
                    <a:lnTo>
                      <a:pt x="1097" y="222"/>
                    </a:lnTo>
                    <a:lnTo>
                      <a:pt x="1097" y="225"/>
                    </a:lnTo>
                    <a:lnTo>
                      <a:pt x="1099" y="225"/>
                    </a:lnTo>
                    <a:lnTo>
                      <a:pt x="1102" y="225"/>
                    </a:lnTo>
                    <a:lnTo>
                      <a:pt x="1104" y="222"/>
                    </a:lnTo>
                    <a:lnTo>
                      <a:pt x="1107" y="222"/>
                    </a:lnTo>
                    <a:lnTo>
                      <a:pt x="1107" y="222"/>
                    </a:lnTo>
                    <a:lnTo>
                      <a:pt x="1107" y="222"/>
                    </a:lnTo>
                    <a:lnTo>
                      <a:pt x="1107" y="222"/>
                    </a:lnTo>
                    <a:lnTo>
                      <a:pt x="1104" y="222"/>
                    </a:lnTo>
                    <a:lnTo>
                      <a:pt x="1102" y="222"/>
                    </a:lnTo>
                    <a:lnTo>
                      <a:pt x="1104" y="225"/>
                    </a:lnTo>
                    <a:lnTo>
                      <a:pt x="1104" y="225"/>
                    </a:lnTo>
                    <a:lnTo>
                      <a:pt x="1104" y="225"/>
                    </a:lnTo>
                    <a:lnTo>
                      <a:pt x="1104" y="225"/>
                    </a:lnTo>
                    <a:lnTo>
                      <a:pt x="1102" y="227"/>
                    </a:lnTo>
                    <a:lnTo>
                      <a:pt x="1102" y="227"/>
                    </a:lnTo>
                    <a:lnTo>
                      <a:pt x="1102" y="227"/>
                    </a:lnTo>
                    <a:lnTo>
                      <a:pt x="1104" y="227"/>
                    </a:lnTo>
                    <a:lnTo>
                      <a:pt x="1104" y="227"/>
                    </a:lnTo>
                    <a:lnTo>
                      <a:pt x="1104" y="227"/>
                    </a:lnTo>
                    <a:lnTo>
                      <a:pt x="1104" y="227"/>
                    </a:lnTo>
                    <a:lnTo>
                      <a:pt x="1104" y="227"/>
                    </a:lnTo>
                    <a:lnTo>
                      <a:pt x="1104" y="229"/>
                    </a:lnTo>
                    <a:lnTo>
                      <a:pt x="1107" y="232"/>
                    </a:lnTo>
                    <a:lnTo>
                      <a:pt x="1107" y="232"/>
                    </a:lnTo>
                    <a:lnTo>
                      <a:pt x="1109" y="232"/>
                    </a:lnTo>
                    <a:lnTo>
                      <a:pt x="1111" y="232"/>
                    </a:lnTo>
                    <a:lnTo>
                      <a:pt x="1111" y="229"/>
                    </a:lnTo>
                    <a:lnTo>
                      <a:pt x="1111" y="227"/>
                    </a:lnTo>
                    <a:lnTo>
                      <a:pt x="1111" y="227"/>
                    </a:lnTo>
                    <a:lnTo>
                      <a:pt x="1114" y="227"/>
                    </a:lnTo>
                    <a:lnTo>
                      <a:pt x="1114" y="227"/>
                    </a:lnTo>
                    <a:lnTo>
                      <a:pt x="1114" y="229"/>
                    </a:lnTo>
                    <a:lnTo>
                      <a:pt x="1114" y="229"/>
                    </a:lnTo>
                    <a:lnTo>
                      <a:pt x="1114" y="229"/>
                    </a:lnTo>
                    <a:lnTo>
                      <a:pt x="1114" y="229"/>
                    </a:lnTo>
                    <a:lnTo>
                      <a:pt x="1111" y="232"/>
                    </a:lnTo>
                    <a:lnTo>
                      <a:pt x="1111" y="232"/>
                    </a:lnTo>
                    <a:lnTo>
                      <a:pt x="1111" y="232"/>
                    </a:lnTo>
                    <a:lnTo>
                      <a:pt x="1111" y="234"/>
                    </a:lnTo>
                    <a:lnTo>
                      <a:pt x="1111" y="234"/>
                    </a:lnTo>
                    <a:lnTo>
                      <a:pt x="1111" y="237"/>
                    </a:lnTo>
                    <a:lnTo>
                      <a:pt x="1114" y="234"/>
                    </a:lnTo>
                    <a:lnTo>
                      <a:pt x="1118" y="234"/>
                    </a:lnTo>
                    <a:lnTo>
                      <a:pt x="1118" y="234"/>
                    </a:lnTo>
                    <a:lnTo>
                      <a:pt x="1116" y="234"/>
                    </a:lnTo>
                    <a:lnTo>
                      <a:pt x="1116" y="237"/>
                    </a:lnTo>
                    <a:lnTo>
                      <a:pt x="1118" y="239"/>
                    </a:lnTo>
                    <a:lnTo>
                      <a:pt x="1118" y="241"/>
                    </a:lnTo>
                    <a:lnTo>
                      <a:pt x="1118" y="244"/>
                    </a:lnTo>
                    <a:lnTo>
                      <a:pt x="1118" y="246"/>
                    </a:lnTo>
                    <a:lnTo>
                      <a:pt x="1118" y="253"/>
                    </a:lnTo>
                    <a:lnTo>
                      <a:pt x="1118" y="253"/>
                    </a:lnTo>
                    <a:lnTo>
                      <a:pt x="1118" y="253"/>
                    </a:lnTo>
                    <a:lnTo>
                      <a:pt x="1118" y="253"/>
                    </a:lnTo>
                    <a:lnTo>
                      <a:pt x="1114" y="255"/>
                    </a:lnTo>
                    <a:lnTo>
                      <a:pt x="1114" y="258"/>
                    </a:lnTo>
                    <a:lnTo>
                      <a:pt x="1109" y="258"/>
                    </a:lnTo>
                    <a:lnTo>
                      <a:pt x="1107" y="258"/>
                    </a:lnTo>
                    <a:lnTo>
                      <a:pt x="1104" y="260"/>
                    </a:lnTo>
                    <a:lnTo>
                      <a:pt x="1102" y="263"/>
                    </a:lnTo>
                    <a:lnTo>
                      <a:pt x="1102" y="263"/>
                    </a:lnTo>
                    <a:lnTo>
                      <a:pt x="1099" y="265"/>
                    </a:lnTo>
                    <a:lnTo>
                      <a:pt x="1097" y="265"/>
                    </a:lnTo>
                    <a:lnTo>
                      <a:pt x="1097" y="265"/>
                    </a:lnTo>
                    <a:lnTo>
                      <a:pt x="1095" y="265"/>
                    </a:lnTo>
                    <a:lnTo>
                      <a:pt x="1092" y="267"/>
                    </a:lnTo>
                    <a:lnTo>
                      <a:pt x="1090" y="267"/>
                    </a:lnTo>
                    <a:lnTo>
                      <a:pt x="1083" y="270"/>
                    </a:lnTo>
                    <a:lnTo>
                      <a:pt x="1076" y="274"/>
                    </a:lnTo>
                    <a:lnTo>
                      <a:pt x="1073" y="274"/>
                    </a:lnTo>
                    <a:lnTo>
                      <a:pt x="1073" y="274"/>
                    </a:lnTo>
                    <a:lnTo>
                      <a:pt x="1073" y="274"/>
                    </a:lnTo>
                    <a:lnTo>
                      <a:pt x="1073" y="277"/>
                    </a:lnTo>
                    <a:lnTo>
                      <a:pt x="1076" y="279"/>
                    </a:lnTo>
                    <a:lnTo>
                      <a:pt x="1078" y="282"/>
                    </a:lnTo>
                    <a:lnTo>
                      <a:pt x="1078" y="282"/>
                    </a:lnTo>
                    <a:lnTo>
                      <a:pt x="1078" y="284"/>
                    </a:lnTo>
                    <a:lnTo>
                      <a:pt x="1078" y="286"/>
                    </a:lnTo>
                    <a:lnTo>
                      <a:pt x="1078" y="286"/>
                    </a:lnTo>
                    <a:lnTo>
                      <a:pt x="1076" y="286"/>
                    </a:lnTo>
                    <a:lnTo>
                      <a:pt x="1073" y="286"/>
                    </a:lnTo>
                    <a:lnTo>
                      <a:pt x="1071" y="286"/>
                    </a:lnTo>
                    <a:lnTo>
                      <a:pt x="1069" y="286"/>
                    </a:lnTo>
                    <a:lnTo>
                      <a:pt x="1066" y="286"/>
                    </a:lnTo>
                    <a:lnTo>
                      <a:pt x="1064" y="289"/>
                    </a:lnTo>
                    <a:lnTo>
                      <a:pt x="1062" y="289"/>
                    </a:lnTo>
                    <a:lnTo>
                      <a:pt x="1062" y="289"/>
                    </a:lnTo>
                    <a:lnTo>
                      <a:pt x="1059" y="289"/>
                    </a:lnTo>
                    <a:lnTo>
                      <a:pt x="1057" y="289"/>
                    </a:lnTo>
                    <a:lnTo>
                      <a:pt x="1055" y="289"/>
                    </a:lnTo>
                    <a:lnTo>
                      <a:pt x="1055" y="289"/>
                    </a:lnTo>
                    <a:lnTo>
                      <a:pt x="1052" y="289"/>
                    </a:lnTo>
                    <a:lnTo>
                      <a:pt x="1052" y="291"/>
                    </a:lnTo>
                    <a:lnTo>
                      <a:pt x="1050" y="291"/>
                    </a:lnTo>
                    <a:lnTo>
                      <a:pt x="1045" y="291"/>
                    </a:lnTo>
                    <a:lnTo>
                      <a:pt x="1043" y="291"/>
                    </a:lnTo>
                    <a:lnTo>
                      <a:pt x="1043" y="291"/>
                    </a:lnTo>
                    <a:lnTo>
                      <a:pt x="1045" y="293"/>
                    </a:lnTo>
                    <a:lnTo>
                      <a:pt x="1045" y="293"/>
                    </a:lnTo>
                    <a:lnTo>
                      <a:pt x="1045" y="296"/>
                    </a:lnTo>
                    <a:lnTo>
                      <a:pt x="1045" y="296"/>
                    </a:lnTo>
                    <a:lnTo>
                      <a:pt x="1045" y="296"/>
                    </a:lnTo>
                    <a:lnTo>
                      <a:pt x="1043" y="296"/>
                    </a:lnTo>
                    <a:lnTo>
                      <a:pt x="1043" y="298"/>
                    </a:lnTo>
                    <a:lnTo>
                      <a:pt x="1043" y="298"/>
                    </a:lnTo>
                    <a:lnTo>
                      <a:pt x="1043" y="298"/>
                    </a:lnTo>
                    <a:lnTo>
                      <a:pt x="1040" y="298"/>
                    </a:lnTo>
                    <a:lnTo>
                      <a:pt x="1040" y="298"/>
                    </a:lnTo>
                    <a:lnTo>
                      <a:pt x="1040" y="298"/>
                    </a:lnTo>
                    <a:lnTo>
                      <a:pt x="1043" y="296"/>
                    </a:lnTo>
                    <a:lnTo>
                      <a:pt x="1043" y="296"/>
                    </a:lnTo>
                    <a:lnTo>
                      <a:pt x="1043" y="296"/>
                    </a:lnTo>
                    <a:lnTo>
                      <a:pt x="1043" y="293"/>
                    </a:lnTo>
                    <a:lnTo>
                      <a:pt x="1043" y="291"/>
                    </a:lnTo>
                    <a:lnTo>
                      <a:pt x="1038" y="291"/>
                    </a:lnTo>
                    <a:lnTo>
                      <a:pt x="1033" y="289"/>
                    </a:lnTo>
                    <a:lnTo>
                      <a:pt x="1031" y="289"/>
                    </a:lnTo>
                    <a:lnTo>
                      <a:pt x="1029" y="289"/>
                    </a:lnTo>
                    <a:lnTo>
                      <a:pt x="1026" y="289"/>
                    </a:lnTo>
                    <a:lnTo>
                      <a:pt x="1024" y="286"/>
                    </a:lnTo>
                    <a:lnTo>
                      <a:pt x="1024" y="286"/>
                    </a:lnTo>
                    <a:lnTo>
                      <a:pt x="1024" y="289"/>
                    </a:lnTo>
                    <a:lnTo>
                      <a:pt x="1021" y="289"/>
                    </a:lnTo>
                    <a:lnTo>
                      <a:pt x="1021" y="289"/>
                    </a:lnTo>
                    <a:lnTo>
                      <a:pt x="1019" y="289"/>
                    </a:lnTo>
                    <a:lnTo>
                      <a:pt x="1019" y="291"/>
                    </a:lnTo>
                    <a:lnTo>
                      <a:pt x="1019" y="291"/>
                    </a:lnTo>
                    <a:lnTo>
                      <a:pt x="1019" y="293"/>
                    </a:lnTo>
                    <a:lnTo>
                      <a:pt x="1010" y="293"/>
                    </a:lnTo>
                    <a:lnTo>
                      <a:pt x="1007" y="296"/>
                    </a:lnTo>
                    <a:lnTo>
                      <a:pt x="1007" y="296"/>
                    </a:lnTo>
                    <a:lnTo>
                      <a:pt x="1005" y="296"/>
                    </a:lnTo>
                    <a:lnTo>
                      <a:pt x="1002" y="300"/>
                    </a:lnTo>
                    <a:lnTo>
                      <a:pt x="1002" y="300"/>
                    </a:lnTo>
                    <a:lnTo>
                      <a:pt x="1002" y="300"/>
                    </a:lnTo>
                    <a:lnTo>
                      <a:pt x="1000" y="303"/>
                    </a:lnTo>
                    <a:lnTo>
                      <a:pt x="1000" y="303"/>
                    </a:lnTo>
                    <a:lnTo>
                      <a:pt x="1000" y="305"/>
                    </a:lnTo>
                    <a:lnTo>
                      <a:pt x="1000" y="305"/>
                    </a:lnTo>
                    <a:lnTo>
                      <a:pt x="1002" y="308"/>
                    </a:lnTo>
                    <a:lnTo>
                      <a:pt x="1002" y="308"/>
                    </a:lnTo>
                    <a:lnTo>
                      <a:pt x="1005" y="308"/>
                    </a:lnTo>
                    <a:lnTo>
                      <a:pt x="1007" y="308"/>
                    </a:lnTo>
                    <a:lnTo>
                      <a:pt x="1007" y="310"/>
                    </a:lnTo>
                    <a:lnTo>
                      <a:pt x="1010" y="310"/>
                    </a:lnTo>
                    <a:lnTo>
                      <a:pt x="1010" y="310"/>
                    </a:lnTo>
                    <a:lnTo>
                      <a:pt x="1012" y="310"/>
                    </a:lnTo>
                    <a:lnTo>
                      <a:pt x="1014" y="310"/>
                    </a:lnTo>
                    <a:lnTo>
                      <a:pt x="1017" y="310"/>
                    </a:lnTo>
                    <a:lnTo>
                      <a:pt x="1019" y="310"/>
                    </a:lnTo>
                    <a:lnTo>
                      <a:pt x="1019" y="308"/>
                    </a:lnTo>
                    <a:lnTo>
                      <a:pt x="1019" y="310"/>
                    </a:lnTo>
                    <a:lnTo>
                      <a:pt x="1021" y="308"/>
                    </a:lnTo>
                    <a:lnTo>
                      <a:pt x="1026" y="308"/>
                    </a:lnTo>
                    <a:lnTo>
                      <a:pt x="1029" y="308"/>
                    </a:lnTo>
                    <a:lnTo>
                      <a:pt x="1031" y="308"/>
                    </a:lnTo>
                    <a:lnTo>
                      <a:pt x="1031" y="308"/>
                    </a:lnTo>
                    <a:lnTo>
                      <a:pt x="1033" y="305"/>
                    </a:lnTo>
                    <a:lnTo>
                      <a:pt x="1038" y="305"/>
                    </a:lnTo>
                    <a:lnTo>
                      <a:pt x="1040" y="305"/>
                    </a:lnTo>
                    <a:lnTo>
                      <a:pt x="1040" y="305"/>
                    </a:lnTo>
                    <a:lnTo>
                      <a:pt x="1043" y="305"/>
                    </a:lnTo>
                    <a:lnTo>
                      <a:pt x="1045" y="305"/>
                    </a:lnTo>
                    <a:lnTo>
                      <a:pt x="1047" y="305"/>
                    </a:lnTo>
                    <a:lnTo>
                      <a:pt x="1050" y="303"/>
                    </a:lnTo>
                    <a:lnTo>
                      <a:pt x="1050" y="303"/>
                    </a:lnTo>
                    <a:lnTo>
                      <a:pt x="1050" y="300"/>
                    </a:lnTo>
                    <a:lnTo>
                      <a:pt x="1050" y="300"/>
                    </a:lnTo>
                    <a:lnTo>
                      <a:pt x="1050" y="300"/>
                    </a:lnTo>
                    <a:lnTo>
                      <a:pt x="1050" y="300"/>
                    </a:lnTo>
                    <a:lnTo>
                      <a:pt x="1052" y="300"/>
                    </a:lnTo>
                    <a:lnTo>
                      <a:pt x="1052" y="298"/>
                    </a:lnTo>
                    <a:lnTo>
                      <a:pt x="1052" y="298"/>
                    </a:lnTo>
                    <a:lnTo>
                      <a:pt x="1055" y="298"/>
                    </a:lnTo>
                    <a:lnTo>
                      <a:pt x="1055" y="300"/>
                    </a:lnTo>
                    <a:lnTo>
                      <a:pt x="1052" y="300"/>
                    </a:lnTo>
                    <a:lnTo>
                      <a:pt x="1052" y="303"/>
                    </a:lnTo>
                    <a:lnTo>
                      <a:pt x="1055" y="303"/>
                    </a:lnTo>
                    <a:lnTo>
                      <a:pt x="1055" y="303"/>
                    </a:lnTo>
                    <a:lnTo>
                      <a:pt x="1057" y="303"/>
                    </a:lnTo>
                    <a:lnTo>
                      <a:pt x="1057" y="303"/>
                    </a:lnTo>
                    <a:lnTo>
                      <a:pt x="1057" y="305"/>
                    </a:lnTo>
                    <a:lnTo>
                      <a:pt x="1057" y="305"/>
                    </a:lnTo>
                    <a:lnTo>
                      <a:pt x="1057" y="308"/>
                    </a:lnTo>
                    <a:lnTo>
                      <a:pt x="1057" y="308"/>
                    </a:lnTo>
                    <a:lnTo>
                      <a:pt x="1057" y="305"/>
                    </a:lnTo>
                    <a:lnTo>
                      <a:pt x="1059" y="305"/>
                    </a:lnTo>
                    <a:lnTo>
                      <a:pt x="1062" y="303"/>
                    </a:lnTo>
                    <a:lnTo>
                      <a:pt x="1062" y="303"/>
                    </a:lnTo>
                    <a:lnTo>
                      <a:pt x="1062" y="303"/>
                    </a:lnTo>
                    <a:lnTo>
                      <a:pt x="1064" y="303"/>
                    </a:lnTo>
                    <a:lnTo>
                      <a:pt x="1064" y="303"/>
                    </a:lnTo>
                    <a:lnTo>
                      <a:pt x="1069" y="303"/>
                    </a:lnTo>
                    <a:lnTo>
                      <a:pt x="1069" y="303"/>
                    </a:lnTo>
                    <a:lnTo>
                      <a:pt x="1069" y="303"/>
                    </a:lnTo>
                    <a:lnTo>
                      <a:pt x="1066" y="308"/>
                    </a:lnTo>
                    <a:lnTo>
                      <a:pt x="1064" y="308"/>
                    </a:lnTo>
                    <a:lnTo>
                      <a:pt x="1066" y="308"/>
                    </a:lnTo>
                    <a:lnTo>
                      <a:pt x="1066" y="308"/>
                    </a:lnTo>
                    <a:lnTo>
                      <a:pt x="1066" y="310"/>
                    </a:lnTo>
                    <a:lnTo>
                      <a:pt x="1069" y="312"/>
                    </a:lnTo>
                    <a:lnTo>
                      <a:pt x="1071" y="315"/>
                    </a:lnTo>
                    <a:lnTo>
                      <a:pt x="1071" y="315"/>
                    </a:lnTo>
                    <a:lnTo>
                      <a:pt x="1071" y="315"/>
                    </a:lnTo>
                    <a:lnTo>
                      <a:pt x="1071" y="317"/>
                    </a:lnTo>
                    <a:lnTo>
                      <a:pt x="1071" y="317"/>
                    </a:lnTo>
                    <a:lnTo>
                      <a:pt x="1071" y="317"/>
                    </a:lnTo>
                    <a:lnTo>
                      <a:pt x="1076" y="317"/>
                    </a:lnTo>
                    <a:lnTo>
                      <a:pt x="1076" y="317"/>
                    </a:lnTo>
                    <a:lnTo>
                      <a:pt x="1078" y="317"/>
                    </a:lnTo>
                    <a:lnTo>
                      <a:pt x="1076" y="317"/>
                    </a:lnTo>
                    <a:lnTo>
                      <a:pt x="1076" y="317"/>
                    </a:lnTo>
                    <a:lnTo>
                      <a:pt x="1073" y="319"/>
                    </a:lnTo>
                    <a:lnTo>
                      <a:pt x="1073" y="319"/>
                    </a:lnTo>
                    <a:lnTo>
                      <a:pt x="1073" y="319"/>
                    </a:lnTo>
                    <a:lnTo>
                      <a:pt x="1081" y="319"/>
                    </a:lnTo>
                    <a:lnTo>
                      <a:pt x="1081" y="319"/>
                    </a:lnTo>
                    <a:lnTo>
                      <a:pt x="1083" y="322"/>
                    </a:lnTo>
                    <a:lnTo>
                      <a:pt x="1083" y="322"/>
                    </a:lnTo>
                    <a:lnTo>
                      <a:pt x="1083" y="322"/>
                    </a:lnTo>
                    <a:lnTo>
                      <a:pt x="1083" y="322"/>
                    </a:lnTo>
                    <a:lnTo>
                      <a:pt x="1085" y="322"/>
                    </a:lnTo>
                    <a:lnTo>
                      <a:pt x="1085" y="322"/>
                    </a:lnTo>
                    <a:lnTo>
                      <a:pt x="1083" y="324"/>
                    </a:lnTo>
                    <a:lnTo>
                      <a:pt x="1081" y="324"/>
                    </a:lnTo>
                    <a:lnTo>
                      <a:pt x="1078" y="324"/>
                    </a:lnTo>
                    <a:lnTo>
                      <a:pt x="1076" y="324"/>
                    </a:lnTo>
                    <a:lnTo>
                      <a:pt x="1073" y="324"/>
                    </a:lnTo>
                    <a:lnTo>
                      <a:pt x="1073" y="327"/>
                    </a:lnTo>
                    <a:lnTo>
                      <a:pt x="1076" y="327"/>
                    </a:lnTo>
                    <a:lnTo>
                      <a:pt x="1076" y="329"/>
                    </a:lnTo>
                    <a:lnTo>
                      <a:pt x="1078" y="331"/>
                    </a:lnTo>
                    <a:lnTo>
                      <a:pt x="1078" y="331"/>
                    </a:lnTo>
                    <a:lnTo>
                      <a:pt x="1081" y="334"/>
                    </a:lnTo>
                    <a:lnTo>
                      <a:pt x="1085" y="331"/>
                    </a:lnTo>
                    <a:lnTo>
                      <a:pt x="1085" y="331"/>
                    </a:lnTo>
                    <a:lnTo>
                      <a:pt x="1083" y="334"/>
                    </a:lnTo>
                    <a:lnTo>
                      <a:pt x="1081" y="334"/>
                    </a:lnTo>
                    <a:lnTo>
                      <a:pt x="1083" y="334"/>
                    </a:lnTo>
                    <a:lnTo>
                      <a:pt x="1085" y="336"/>
                    </a:lnTo>
                    <a:lnTo>
                      <a:pt x="1088" y="336"/>
                    </a:lnTo>
                    <a:lnTo>
                      <a:pt x="1090" y="338"/>
                    </a:lnTo>
                    <a:lnTo>
                      <a:pt x="1092" y="338"/>
                    </a:lnTo>
                    <a:lnTo>
                      <a:pt x="1095" y="338"/>
                    </a:lnTo>
                    <a:lnTo>
                      <a:pt x="1095" y="338"/>
                    </a:lnTo>
                    <a:lnTo>
                      <a:pt x="1097" y="338"/>
                    </a:lnTo>
                    <a:lnTo>
                      <a:pt x="1099" y="338"/>
                    </a:lnTo>
                    <a:lnTo>
                      <a:pt x="1102" y="338"/>
                    </a:lnTo>
                    <a:lnTo>
                      <a:pt x="1102" y="341"/>
                    </a:lnTo>
                    <a:lnTo>
                      <a:pt x="1104" y="343"/>
                    </a:lnTo>
                    <a:lnTo>
                      <a:pt x="1104" y="345"/>
                    </a:lnTo>
                    <a:lnTo>
                      <a:pt x="1109" y="345"/>
                    </a:lnTo>
                    <a:lnTo>
                      <a:pt x="1109" y="348"/>
                    </a:lnTo>
                    <a:lnTo>
                      <a:pt x="1109" y="348"/>
                    </a:lnTo>
                    <a:lnTo>
                      <a:pt x="1111" y="348"/>
                    </a:lnTo>
                    <a:lnTo>
                      <a:pt x="1126" y="350"/>
                    </a:lnTo>
                    <a:lnTo>
                      <a:pt x="1126" y="350"/>
                    </a:lnTo>
                    <a:lnTo>
                      <a:pt x="1126" y="350"/>
                    </a:lnTo>
                    <a:lnTo>
                      <a:pt x="1128" y="350"/>
                    </a:lnTo>
                    <a:lnTo>
                      <a:pt x="1133" y="353"/>
                    </a:lnTo>
                    <a:lnTo>
                      <a:pt x="1135" y="353"/>
                    </a:lnTo>
                    <a:lnTo>
                      <a:pt x="1137" y="355"/>
                    </a:lnTo>
                    <a:lnTo>
                      <a:pt x="1137" y="355"/>
                    </a:lnTo>
                    <a:lnTo>
                      <a:pt x="1140" y="355"/>
                    </a:lnTo>
                    <a:lnTo>
                      <a:pt x="1142" y="355"/>
                    </a:lnTo>
                    <a:lnTo>
                      <a:pt x="1142" y="355"/>
                    </a:lnTo>
                    <a:lnTo>
                      <a:pt x="1142" y="353"/>
                    </a:lnTo>
                    <a:lnTo>
                      <a:pt x="1142" y="350"/>
                    </a:lnTo>
                    <a:lnTo>
                      <a:pt x="1144" y="350"/>
                    </a:lnTo>
                    <a:lnTo>
                      <a:pt x="1144" y="350"/>
                    </a:lnTo>
                    <a:lnTo>
                      <a:pt x="1147" y="350"/>
                    </a:lnTo>
                    <a:lnTo>
                      <a:pt x="1147" y="348"/>
                    </a:lnTo>
                    <a:lnTo>
                      <a:pt x="1147" y="348"/>
                    </a:lnTo>
                    <a:lnTo>
                      <a:pt x="1144" y="348"/>
                    </a:lnTo>
                    <a:lnTo>
                      <a:pt x="1144" y="345"/>
                    </a:lnTo>
                    <a:lnTo>
                      <a:pt x="1142" y="345"/>
                    </a:lnTo>
                    <a:lnTo>
                      <a:pt x="1142" y="343"/>
                    </a:lnTo>
                    <a:lnTo>
                      <a:pt x="1142" y="343"/>
                    </a:lnTo>
                    <a:lnTo>
                      <a:pt x="1142" y="341"/>
                    </a:lnTo>
                    <a:lnTo>
                      <a:pt x="1142" y="341"/>
                    </a:lnTo>
                    <a:lnTo>
                      <a:pt x="1137" y="338"/>
                    </a:lnTo>
                    <a:lnTo>
                      <a:pt x="1137" y="338"/>
                    </a:lnTo>
                    <a:lnTo>
                      <a:pt x="1135" y="336"/>
                    </a:lnTo>
                    <a:lnTo>
                      <a:pt x="1135" y="336"/>
                    </a:lnTo>
                    <a:lnTo>
                      <a:pt x="1135" y="336"/>
                    </a:lnTo>
                    <a:lnTo>
                      <a:pt x="1133" y="334"/>
                    </a:lnTo>
                    <a:lnTo>
                      <a:pt x="1130" y="334"/>
                    </a:lnTo>
                    <a:lnTo>
                      <a:pt x="1130" y="334"/>
                    </a:lnTo>
                    <a:lnTo>
                      <a:pt x="1133" y="331"/>
                    </a:lnTo>
                    <a:lnTo>
                      <a:pt x="1133" y="331"/>
                    </a:lnTo>
                    <a:lnTo>
                      <a:pt x="1130" y="331"/>
                    </a:lnTo>
                    <a:lnTo>
                      <a:pt x="1128" y="331"/>
                    </a:lnTo>
                    <a:lnTo>
                      <a:pt x="1126" y="329"/>
                    </a:lnTo>
                    <a:lnTo>
                      <a:pt x="1126" y="329"/>
                    </a:lnTo>
                    <a:lnTo>
                      <a:pt x="1126" y="327"/>
                    </a:lnTo>
                    <a:lnTo>
                      <a:pt x="1123" y="324"/>
                    </a:lnTo>
                    <a:lnTo>
                      <a:pt x="1123" y="324"/>
                    </a:lnTo>
                    <a:lnTo>
                      <a:pt x="1123" y="322"/>
                    </a:lnTo>
                    <a:lnTo>
                      <a:pt x="1121" y="319"/>
                    </a:lnTo>
                    <a:lnTo>
                      <a:pt x="1123" y="319"/>
                    </a:lnTo>
                    <a:lnTo>
                      <a:pt x="1126" y="319"/>
                    </a:lnTo>
                    <a:lnTo>
                      <a:pt x="1128" y="319"/>
                    </a:lnTo>
                    <a:lnTo>
                      <a:pt x="1130" y="322"/>
                    </a:lnTo>
                    <a:lnTo>
                      <a:pt x="1135" y="324"/>
                    </a:lnTo>
                    <a:lnTo>
                      <a:pt x="1135" y="324"/>
                    </a:lnTo>
                    <a:lnTo>
                      <a:pt x="1135" y="324"/>
                    </a:lnTo>
                    <a:lnTo>
                      <a:pt x="1135" y="324"/>
                    </a:lnTo>
                    <a:lnTo>
                      <a:pt x="1137" y="322"/>
                    </a:lnTo>
                    <a:lnTo>
                      <a:pt x="1137" y="319"/>
                    </a:lnTo>
                    <a:lnTo>
                      <a:pt x="1137" y="319"/>
                    </a:lnTo>
                    <a:lnTo>
                      <a:pt x="1137" y="322"/>
                    </a:lnTo>
                    <a:lnTo>
                      <a:pt x="1140" y="324"/>
                    </a:lnTo>
                    <a:lnTo>
                      <a:pt x="1142" y="327"/>
                    </a:lnTo>
                    <a:lnTo>
                      <a:pt x="1142" y="327"/>
                    </a:lnTo>
                    <a:lnTo>
                      <a:pt x="1144" y="327"/>
                    </a:lnTo>
                    <a:lnTo>
                      <a:pt x="1144" y="327"/>
                    </a:lnTo>
                    <a:lnTo>
                      <a:pt x="1144" y="329"/>
                    </a:lnTo>
                    <a:lnTo>
                      <a:pt x="1144" y="329"/>
                    </a:lnTo>
                    <a:lnTo>
                      <a:pt x="1147" y="329"/>
                    </a:lnTo>
                    <a:lnTo>
                      <a:pt x="1147" y="331"/>
                    </a:lnTo>
                    <a:lnTo>
                      <a:pt x="1147" y="331"/>
                    </a:lnTo>
                    <a:lnTo>
                      <a:pt x="1147" y="331"/>
                    </a:lnTo>
                    <a:lnTo>
                      <a:pt x="1147" y="331"/>
                    </a:lnTo>
                    <a:lnTo>
                      <a:pt x="1147" y="331"/>
                    </a:lnTo>
                    <a:lnTo>
                      <a:pt x="1147" y="331"/>
                    </a:lnTo>
                    <a:lnTo>
                      <a:pt x="1149" y="329"/>
                    </a:lnTo>
                    <a:lnTo>
                      <a:pt x="1149" y="329"/>
                    </a:lnTo>
                    <a:lnTo>
                      <a:pt x="1149" y="329"/>
                    </a:lnTo>
                    <a:lnTo>
                      <a:pt x="1149" y="331"/>
                    </a:lnTo>
                    <a:lnTo>
                      <a:pt x="1149" y="334"/>
                    </a:lnTo>
                    <a:lnTo>
                      <a:pt x="1152" y="334"/>
                    </a:lnTo>
                    <a:lnTo>
                      <a:pt x="1152" y="334"/>
                    </a:lnTo>
                    <a:lnTo>
                      <a:pt x="1152" y="334"/>
                    </a:lnTo>
                    <a:lnTo>
                      <a:pt x="1154" y="331"/>
                    </a:lnTo>
                    <a:lnTo>
                      <a:pt x="1154" y="331"/>
                    </a:lnTo>
                    <a:lnTo>
                      <a:pt x="1154" y="331"/>
                    </a:lnTo>
                    <a:lnTo>
                      <a:pt x="1156" y="334"/>
                    </a:lnTo>
                    <a:lnTo>
                      <a:pt x="1156" y="334"/>
                    </a:lnTo>
                    <a:lnTo>
                      <a:pt x="1156" y="334"/>
                    </a:lnTo>
                    <a:lnTo>
                      <a:pt x="1156" y="336"/>
                    </a:lnTo>
                    <a:lnTo>
                      <a:pt x="1156" y="336"/>
                    </a:lnTo>
                    <a:lnTo>
                      <a:pt x="1159" y="334"/>
                    </a:lnTo>
                    <a:lnTo>
                      <a:pt x="1159" y="334"/>
                    </a:lnTo>
                    <a:lnTo>
                      <a:pt x="1161" y="336"/>
                    </a:lnTo>
                    <a:lnTo>
                      <a:pt x="1161" y="338"/>
                    </a:lnTo>
                    <a:lnTo>
                      <a:pt x="1163" y="338"/>
                    </a:lnTo>
                    <a:lnTo>
                      <a:pt x="1163" y="341"/>
                    </a:lnTo>
                    <a:lnTo>
                      <a:pt x="1163" y="341"/>
                    </a:lnTo>
                    <a:lnTo>
                      <a:pt x="1166" y="341"/>
                    </a:lnTo>
                    <a:lnTo>
                      <a:pt x="1166" y="338"/>
                    </a:lnTo>
                    <a:lnTo>
                      <a:pt x="1166" y="334"/>
                    </a:lnTo>
                    <a:lnTo>
                      <a:pt x="1168" y="334"/>
                    </a:lnTo>
                    <a:lnTo>
                      <a:pt x="1170" y="336"/>
                    </a:lnTo>
                    <a:lnTo>
                      <a:pt x="1170" y="336"/>
                    </a:lnTo>
                    <a:lnTo>
                      <a:pt x="1173" y="336"/>
                    </a:lnTo>
                    <a:lnTo>
                      <a:pt x="1173" y="336"/>
                    </a:lnTo>
                    <a:lnTo>
                      <a:pt x="1173" y="334"/>
                    </a:lnTo>
                    <a:lnTo>
                      <a:pt x="1173" y="334"/>
                    </a:lnTo>
                    <a:lnTo>
                      <a:pt x="1173" y="334"/>
                    </a:lnTo>
                    <a:lnTo>
                      <a:pt x="1173" y="331"/>
                    </a:lnTo>
                    <a:lnTo>
                      <a:pt x="1173" y="331"/>
                    </a:lnTo>
                    <a:lnTo>
                      <a:pt x="1173" y="329"/>
                    </a:lnTo>
                    <a:lnTo>
                      <a:pt x="1173" y="329"/>
                    </a:lnTo>
                    <a:lnTo>
                      <a:pt x="1173" y="329"/>
                    </a:lnTo>
                    <a:lnTo>
                      <a:pt x="1173" y="329"/>
                    </a:lnTo>
                    <a:lnTo>
                      <a:pt x="1173" y="327"/>
                    </a:lnTo>
                    <a:lnTo>
                      <a:pt x="1175" y="324"/>
                    </a:lnTo>
                    <a:lnTo>
                      <a:pt x="1175" y="322"/>
                    </a:lnTo>
                    <a:lnTo>
                      <a:pt x="1175" y="319"/>
                    </a:lnTo>
                    <a:lnTo>
                      <a:pt x="1175" y="319"/>
                    </a:lnTo>
                    <a:lnTo>
                      <a:pt x="1175" y="319"/>
                    </a:lnTo>
                    <a:lnTo>
                      <a:pt x="1178" y="322"/>
                    </a:lnTo>
                    <a:lnTo>
                      <a:pt x="1178" y="322"/>
                    </a:lnTo>
                    <a:lnTo>
                      <a:pt x="1178" y="322"/>
                    </a:lnTo>
                    <a:lnTo>
                      <a:pt x="1178" y="329"/>
                    </a:lnTo>
                    <a:lnTo>
                      <a:pt x="1178" y="329"/>
                    </a:lnTo>
                    <a:lnTo>
                      <a:pt x="1178" y="329"/>
                    </a:lnTo>
                    <a:lnTo>
                      <a:pt x="1180" y="329"/>
                    </a:lnTo>
                    <a:lnTo>
                      <a:pt x="1180" y="327"/>
                    </a:lnTo>
                    <a:lnTo>
                      <a:pt x="1182" y="324"/>
                    </a:lnTo>
                    <a:lnTo>
                      <a:pt x="1182" y="322"/>
                    </a:lnTo>
                    <a:lnTo>
                      <a:pt x="1185" y="319"/>
                    </a:lnTo>
                    <a:lnTo>
                      <a:pt x="1185" y="319"/>
                    </a:lnTo>
                    <a:lnTo>
                      <a:pt x="1187" y="319"/>
                    </a:lnTo>
                    <a:lnTo>
                      <a:pt x="1187" y="319"/>
                    </a:lnTo>
                    <a:lnTo>
                      <a:pt x="1187" y="317"/>
                    </a:lnTo>
                    <a:lnTo>
                      <a:pt x="1185" y="317"/>
                    </a:lnTo>
                    <a:lnTo>
                      <a:pt x="1182" y="317"/>
                    </a:lnTo>
                    <a:lnTo>
                      <a:pt x="1182" y="317"/>
                    </a:lnTo>
                    <a:lnTo>
                      <a:pt x="1185" y="315"/>
                    </a:lnTo>
                    <a:lnTo>
                      <a:pt x="1187" y="315"/>
                    </a:lnTo>
                    <a:lnTo>
                      <a:pt x="1187" y="315"/>
                    </a:lnTo>
                    <a:lnTo>
                      <a:pt x="1185" y="315"/>
                    </a:lnTo>
                    <a:lnTo>
                      <a:pt x="1182" y="315"/>
                    </a:lnTo>
                    <a:lnTo>
                      <a:pt x="1180" y="315"/>
                    </a:lnTo>
                    <a:lnTo>
                      <a:pt x="1180" y="315"/>
                    </a:lnTo>
                    <a:lnTo>
                      <a:pt x="1180" y="315"/>
                    </a:lnTo>
                    <a:lnTo>
                      <a:pt x="1180" y="312"/>
                    </a:lnTo>
                    <a:lnTo>
                      <a:pt x="1180" y="312"/>
                    </a:lnTo>
                    <a:lnTo>
                      <a:pt x="1180" y="312"/>
                    </a:lnTo>
                    <a:lnTo>
                      <a:pt x="1180" y="310"/>
                    </a:lnTo>
                    <a:lnTo>
                      <a:pt x="1178" y="310"/>
                    </a:lnTo>
                    <a:lnTo>
                      <a:pt x="1175" y="310"/>
                    </a:lnTo>
                    <a:lnTo>
                      <a:pt x="1175" y="308"/>
                    </a:lnTo>
                    <a:lnTo>
                      <a:pt x="1178" y="308"/>
                    </a:lnTo>
                    <a:lnTo>
                      <a:pt x="1180" y="308"/>
                    </a:lnTo>
                    <a:lnTo>
                      <a:pt x="1182" y="308"/>
                    </a:lnTo>
                    <a:lnTo>
                      <a:pt x="1185" y="305"/>
                    </a:lnTo>
                    <a:lnTo>
                      <a:pt x="1185" y="305"/>
                    </a:lnTo>
                    <a:lnTo>
                      <a:pt x="1185" y="305"/>
                    </a:lnTo>
                    <a:lnTo>
                      <a:pt x="1180" y="305"/>
                    </a:lnTo>
                    <a:lnTo>
                      <a:pt x="1180" y="305"/>
                    </a:lnTo>
                    <a:lnTo>
                      <a:pt x="1180" y="305"/>
                    </a:lnTo>
                    <a:lnTo>
                      <a:pt x="1182" y="303"/>
                    </a:lnTo>
                    <a:lnTo>
                      <a:pt x="1185" y="303"/>
                    </a:lnTo>
                    <a:lnTo>
                      <a:pt x="1182" y="300"/>
                    </a:lnTo>
                    <a:lnTo>
                      <a:pt x="1182" y="300"/>
                    </a:lnTo>
                    <a:lnTo>
                      <a:pt x="1180" y="300"/>
                    </a:lnTo>
                    <a:lnTo>
                      <a:pt x="1180" y="300"/>
                    </a:lnTo>
                    <a:lnTo>
                      <a:pt x="1180" y="298"/>
                    </a:lnTo>
                    <a:lnTo>
                      <a:pt x="1178" y="298"/>
                    </a:lnTo>
                    <a:lnTo>
                      <a:pt x="1175" y="298"/>
                    </a:lnTo>
                    <a:lnTo>
                      <a:pt x="1175" y="300"/>
                    </a:lnTo>
                    <a:lnTo>
                      <a:pt x="1173" y="300"/>
                    </a:lnTo>
                    <a:lnTo>
                      <a:pt x="1173" y="300"/>
                    </a:lnTo>
                    <a:lnTo>
                      <a:pt x="1170" y="300"/>
                    </a:lnTo>
                    <a:lnTo>
                      <a:pt x="1170" y="300"/>
                    </a:lnTo>
                    <a:lnTo>
                      <a:pt x="1173" y="298"/>
                    </a:lnTo>
                    <a:lnTo>
                      <a:pt x="1173" y="298"/>
                    </a:lnTo>
                    <a:lnTo>
                      <a:pt x="1173" y="298"/>
                    </a:lnTo>
                    <a:lnTo>
                      <a:pt x="1170" y="296"/>
                    </a:lnTo>
                    <a:lnTo>
                      <a:pt x="1168" y="296"/>
                    </a:lnTo>
                    <a:lnTo>
                      <a:pt x="1168" y="296"/>
                    </a:lnTo>
                    <a:lnTo>
                      <a:pt x="1166" y="298"/>
                    </a:lnTo>
                    <a:lnTo>
                      <a:pt x="1166" y="298"/>
                    </a:lnTo>
                    <a:lnTo>
                      <a:pt x="1166" y="298"/>
                    </a:lnTo>
                    <a:lnTo>
                      <a:pt x="1168" y="296"/>
                    </a:lnTo>
                    <a:lnTo>
                      <a:pt x="1168" y="293"/>
                    </a:lnTo>
                    <a:lnTo>
                      <a:pt x="1168" y="293"/>
                    </a:lnTo>
                    <a:lnTo>
                      <a:pt x="1166" y="293"/>
                    </a:lnTo>
                    <a:lnTo>
                      <a:pt x="1166" y="293"/>
                    </a:lnTo>
                    <a:lnTo>
                      <a:pt x="1166" y="293"/>
                    </a:lnTo>
                    <a:lnTo>
                      <a:pt x="1166" y="293"/>
                    </a:lnTo>
                    <a:lnTo>
                      <a:pt x="1166" y="293"/>
                    </a:lnTo>
                    <a:lnTo>
                      <a:pt x="1166" y="293"/>
                    </a:lnTo>
                    <a:lnTo>
                      <a:pt x="1166" y="291"/>
                    </a:lnTo>
                    <a:lnTo>
                      <a:pt x="1166" y="291"/>
                    </a:lnTo>
                    <a:lnTo>
                      <a:pt x="1163" y="289"/>
                    </a:lnTo>
                    <a:lnTo>
                      <a:pt x="1163" y="289"/>
                    </a:lnTo>
                    <a:lnTo>
                      <a:pt x="1163" y="289"/>
                    </a:lnTo>
                    <a:lnTo>
                      <a:pt x="1168" y="289"/>
                    </a:lnTo>
                    <a:lnTo>
                      <a:pt x="1168" y="289"/>
                    </a:lnTo>
                    <a:lnTo>
                      <a:pt x="1166" y="286"/>
                    </a:lnTo>
                    <a:lnTo>
                      <a:pt x="1166" y="286"/>
                    </a:lnTo>
                    <a:lnTo>
                      <a:pt x="1166" y="286"/>
                    </a:lnTo>
                    <a:lnTo>
                      <a:pt x="1166" y="284"/>
                    </a:lnTo>
                    <a:lnTo>
                      <a:pt x="1163" y="284"/>
                    </a:lnTo>
                    <a:lnTo>
                      <a:pt x="1163" y="284"/>
                    </a:lnTo>
                    <a:lnTo>
                      <a:pt x="1163" y="284"/>
                    </a:lnTo>
                    <a:lnTo>
                      <a:pt x="1161" y="284"/>
                    </a:lnTo>
                    <a:lnTo>
                      <a:pt x="1159" y="286"/>
                    </a:lnTo>
                    <a:lnTo>
                      <a:pt x="1156" y="286"/>
                    </a:lnTo>
                    <a:lnTo>
                      <a:pt x="1156" y="284"/>
                    </a:lnTo>
                    <a:lnTo>
                      <a:pt x="1159" y="284"/>
                    </a:lnTo>
                    <a:lnTo>
                      <a:pt x="1161" y="282"/>
                    </a:lnTo>
                    <a:lnTo>
                      <a:pt x="1161" y="282"/>
                    </a:lnTo>
                    <a:lnTo>
                      <a:pt x="1159" y="282"/>
                    </a:lnTo>
                    <a:lnTo>
                      <a:pt x="1159" y="282"/>
                    </a:lnTo>
                    <a:lnTo>
                      <a:pt x="1156" y="279"/>
                    </a:lnTo>
                    <a:lnTo>
                      <a:pt x="1156" y="279"/>
                    </a:lnTo>
                    <a:lnTo>
                      <a:pt x="1159" y="277"/>
                    </a:lnTo>
                    <a:lnTo>
                      <a:pt x="1159" y="277"/>
                    </a:lnTo>
                    <a:lnTo>
                      <a:pt x="1159" y="277"/>
                    </a:lnTo>
                    <a:lnTo>
                      <a:pt x="1156" y="274"/>
                    </a:lnTo>
                    <a:lnTo>
                      <a:pt x="1156" y="274"/>
                    </a:lnTo>
                    <a:lnTo>
                      <a:pt x="1154" y="274"/>
                    </a:lnTo>
                    <a:lnTo>
                      <a:pt x="1154" y="274"/>
                    </a:lnTo>
                    <a:lnTo>
                      <a:pt x="1156" y="272"/>
                    </a:lnTo>
                    <a:lnTo>
                      <a:pt x="1159" y="272"/>
                    </a:lnTo>
                    <a:lnTo>
                      <a:pt x="1161" y="274"/>
                    </a:lnTo>
                    <a:lnTo>
                      <a:pt x="1163" y="277"/>
                    </a:lnTo>
                    <a:lnTo>
                      <a:pt x="1163" y="277"/>
                    </a:lnTo>
                    <a:lnTo>
                      <a:pt x="1168" y="279"/>
                    </a:lnTo>
                    <a:lnTo>
                      <a:pt x="1168" y="279"/>
                    </a:lnTo>
                    <a:lnTo>
                      <a:pt x="1170" y="279"/>
                    </a:lnTo>
                    <a:lnTo>
                      <a:pt x="1170" y="279"/>
                    </a:lnTo>
                    <a:lnTo>
                      <a:pt x="1173" y="277"/>
                    </a:lnTo>
                    <a:lnTo>
                      <a:pt x="1173" y="274"/>
                    </a:lnTo>
                    <a:lnTo>
                      <a:pt x="1170" y="274"/>
                    </a:lnTo>
                    <a:lnTo>
                      <a:pt x="1168" y="272"/>
                    </a:lnTo>
                    <a:lnTo>
                      <a:pt x="1168" y="270"/>
                    </a:lnTo>
                    <a:lnTo>
                      <a:pt x="1168" y="270"/>
                    </a:lnTo>
                    <a:lnTo>
                      <a:pt x="1168" y="267"/>
                    </a:lnTo>
                    <a:lnTo>
                      <a:pt x="1170" y="270"/>
                    </a:lnTo>
                    <a:lnTo>
                      <a:pt x="1173" y="270"/>
                    </a:lnTo>
                    <a:lnTo>
                      <a:pt x="1175" y="272"/>
                    </a:lnTo>
                    <a:lnTo>
                      <a:pt x="1175" y="272"/>
                    </a:lnTo>
                    <a:lnTo>
                      <a:pt x="1175" y="272"/>
                    </a:lnTo>
                    <a:lnTo>
                      <a:pt x="1178" y="272"/>
                    </a:lnTo>
                    <a:lnTo>
                      <a:pt x="1178" y="270"/>
                    </a:lnTo>
                    <a:lnTo>
                      <a:pt x="1178" y="267"/>
                    </a:lnTo>
                    <a:lnTo>
                      <a:pt x="1178" y="267"/>
                    </a:lnTo>
                    <a:lnTo>
                      <a:pt x="1180" y="267"/>
                    </a:lnTo>
                    <a:lnTo>
                      <a:pt x="1180" y="267"/>
                    </a:lnTo>
                    <a:lnTo>
                      <a:pt x="1182" y="267"/>
                    </a:lnTo>
                    <a:lnTo>
                      <a:pt x="1182" y="267"/>
                    </a:lnTo>
                    <a:lnTo>
                      <a:pt x="1182" y="265"/>
                    </a:lnTo>
                    <a:lnTo>
                      <a:pt x="1182" y="265"/>
                    </a:lnTo>
                    <a:lnTo>
                      <a:pt x="1185" y="267"/>
                    </a:lnTo>
                    <a:lnTo>
                      <a:pt x="1185" y="267"/>
                    </a:lnTo>
                    <a:lnTo>
                      <a:pt x="1185" y="267"/>
                    </a:lnTo>
                    <a:lnTo>
                      <a:pt x="1185" y="270"/>
                    </a:lnTo>
                    <a:lnTo>
                      <a:pt x="1187" y="272"/>
                    </a:lnTo>
                    <a:lnTo>
                      <a:pt x="1187" y="272"/>
                    </a:lnTo>
                    <a:lnTo>
                      <a:pt x="1189" y="272"/>
                    </a:lnTo>
                    <a:lnTo>
                      <a:pt x="1189" y="274"/>
                    </a:lnTo>
                    <a:lnTo>
                      <a:pt x="1189" y="274"/>
                    </a:lnTo>
                    <a:lnTo>
                      <a:pt x="1192" y="274"/>
                    </a:lnTo>
                    <a:lnTo>
                      <a:pt x="1194" y="274"/>
                    </a:lnTo>
                    <a:lnTo>
                      <a:pt x="1194" y="274"/>
                    </a:lnTo>
                    <a:lnTo>
                      <a:pt x="1196" y="274"/>
                    </a:lnTo>
                    <a:lnTo>
                      <a:pt x="1196" y="274"/>
                    </a:lnTo>
                    <a:lnTo>
                      <a:pt x="1192" y="277"/>
                    </a:lnTo>
                    <a:lnTo>
                      <a:pt x="1192" y="277"/>
                    </a:lnTo>
                    <a:lnTo>
                      <a:pt x="1192" y="277"/>
                    </a:lnTo>
                    <a:lnTo>
                      <a:pt x="1196" y="277"/>
                    </a:lnTo>
                    <a:lnTo>
                      <a:pt x="1199" y="277"/>
                    </a:lnTo>
                    <a:lnTo>
                      <a:pt x="1199" y="277"/>
                    </a:lnTo>
                    <a:lnTo>
                      <a:pt x="1204" y="277"/>
                    </a:lnTo>
                    <a:lnTo>
                      <a:pt x="1206" y="274"/>
                    </a:lnTo>
                    <a:lnTo>
                      <a:pt x="1211" y="272"/>
                    </a:lnTo>
                    <a:lnTo>
                      <a:pt x="1211" y="272"/>
                    </a:lnTo>
                    <a:lnTo>
                      <a:pt x="1215" y="272"/>
                    </a:lnTo>
                    <a:lnTo>
                      <a:pt x="1215" y="272"/>
                    </a:lnTo>
                    <a:lnTo>
                      <a:pt x="1213" y="272"/>
                    </a:lnTo>
                    <a:lnTo>
                      <a:pt x="1211" y="274"/>
                    </a:lnTo>
                    <a:lnTo>
                      <a:pt x="1208" y="277"/>
                    </a:lnTo>
                    <a:lnTo>
                      <a:pt x="1206" y="277"/>
                    </a:lnTo>
                    <a:lnTo>
                      <a:pt x="1204" y="277"/>
                    </a:lnTo>
                    <a:lnTo>
                      <a:pt x="1201" y="279"/>
                    </a:lnTo>
                    <a:lnTo>
                      <a:pt x="1199" y="279"/>
                    </a:lnTo>
                    <a:lnTo>
                      <a:pt x="1196" y="282"/>
                    </a:lnTo>
                    <a:lnTo>
                      <a:pt x="1196" y="282"/>
                    </a:lnTo>
                    <a:lnTo>
                      <a:pt x="1196" y="282"/>
                    </a:lnTo>
                    <a:lnTo>
                      <a:pt x="1196" y="282"/>
                    </a:lnTo>
                    <a:lnTo>
                      <a:pt x="1196" y="284"/>
                    </a:lnTo>
                    <a:lnTo>
                      <a:pt x="1196" y="284"/>
                    </a:lnTo>
                    <a:lnTo>
                      <a:pt x="1196" y="286"/>
                    </a:lnTo>
                    <a:lnTo>
                      <a:pt x="1196" y="286"/>
                    </a:lnTo>
                    <a:lnTo>
                      <a:pt x="1196" y="289"/>
                    </a:lnTo>
                    <a:lnTo>
                      <a:pt x="1199" y="291"/>
                    </a:lnTo>
                    <a:lnTo>
                      <a:pt x="1199" y="291"/>
                    </a:lnTo>
                    <a:lnTo>
                      <a:pt x="1199" y="293"/>
                    </a:lnTo>
                    <a:lnTo>
                      <a:pt x="1199" y="293"/>
                    </a:lnTo>
                    <a:lnTo>
                      <a:pt x="1204" y="291"/>
                    </a:lnTo>
                    <a:lnTo>
                      <a:pt x="1206" y="289"/>
                    </a:lnTo>
                    <a:lnTo>
                      <a:pt x="1206" y="289"/>
                    </a:lnTo>
                    <a:lnTo>
                      <a:pt x="1208" y="289"/>
                    </a:lnTo>
                    <a:lnTo>
                      <a:pt x="1206" y="289"/>
                    </a:lnTo>
                    <a:lnTo>
                      <a:pt x="1204" y="293"/>
                    </a:lnTo>
                    <a:lnTo>
                      <a:pt x="1204" y="293"/>
                    </a:lnTo>
                    <a:lnTo>
                      <a:pt x="1206" y="293"/>
                    </a:lnTo>
                    <a:lnTo>
                      <a:pt x="1206" y="293"/>
                    </a:lnTo>
                    <a:lnTo>
                      <a:pt x="1208" y="293"/>
                    </a:lnTo>
                    <a:lnTo>
                      <a:pt x="1208" y="293"/>
                    </a:lnTo>
                    <a:lnTo>
                      <a:pt x="1211" y="293"/>
                    </a:lnTo>
                    <a:lnTo>
                      <a:pt x="1211" y="296"/>
                    </a:lnTo>
                    <a:lnTo>
                      <a:pt x="1211" y="296"/>
                    </a:lnTo>
                    <a:lnTo>
                      <a:pt x="1211" y="298"/>
                    </a:lnTo>
                    <a:lnTo>
                      <a:pt x="1213" y="296"/>
                    </a:lnTo>
                    <a:lnTo>
                      <a:pt x="1215" y="293"/>
                    </a:lnTo>
                    <a:lnTo>
                      <a:pt x="1218" y="291"/>
                    </a:lnTo>
                    <a:lnTo>
                      <a:pt x="1222" y="286"/>
                    </a:lnTo>
                    <a:lnTo>
                      <a:pt x="1222" y="284"/>
                    </a:lnTo>
                    <a:lnTo>
                      <a:pt x="1220" y="284"/>
                    </a:lnTo>
                    <a:lnTo>
                      <a:pt x="1218" y="284"/>
                    </a:lnTo>
                    <a:lnTo>
                      <a:pt x="1218" y="284"/>
                    </a:lnTo>
                    <a:lnTo>
                      <a:pt x="1222" y="282"/>
                    </a:lnTo>
                    <a:lnTo>
                      <a:pt x="1222" y="282"/>
                    </a:lnTo>
                    <a:lnTo>
                      <a:pt x="1222" y="279"/>
                    </a:lnTo>
                    <a:lnTo>
                      <a:pt x="1222" y="279"/>
                    </a:lnTo>
                    <a:lnTo>
                      <a:pt x="1225" y="284"/>
                    </a:lnTo>
                    <a:lnTo>
                      <a:pt x="1225" y="284"/>
                    </a:lnTo>
                    <a:lnTo>
                      <a:pt x="1227" y="284"/>
                    </a:lnTo>
                    <a:lnTo>
                      <a:pt x="1230" y="284"/>
                    </a:lnTo>
                    <a:lnTo>
                      <a:pt x="1232" y="284"/>
                    </a:lnTo>
                    <a:lnTo>
                      <a:pt x="1232" y="284"/>
                    </a:lnTo>
                    <a:lnTo>
                      <a:pt x="1234" y="282"/>
                    </a:lnTo>
                    <a:lnTo>
                      <a:pt x="1237" y="282"/>
                    </a:lnTo>
                    <a:lnTo>
                      <a:pt x="1239" y="279"/>
                    </a:lnTo>
                    <a:lnTo>
                      <a:pt x="1239" y="279"/>
                    </a:lnTo>
                    <a:lnTo>
                      <a:pt x="1239" y="279"/>
                    </a:lnTo>
                    <a:lnTo>
                      <a:pt x="1239" y="279"/>
                    </a:lnTo>
                    <a:lnTo>
                      <a:pt x="1239" y="277"/>
                    </a:lnTo>
                    <a:lnTo>
                      <a:pt x="1237" y="277"/>
                    </a:lnTo>
                    <a:lnTo>
                      <a:pt x="1237" y="277"/>
                    </a:lnTo>
                    <a:lnTo>
                      <a:pt x="1239" y="277"/>
                    </a:lnTo>
                    <a:lnTo>
                      <a:pt x="1241" y="277"/>
                    </a:lnTo>
                    <a:lnTo>
                      <a:pt x="1244" y="277"/>
                    </a:lnTo>
                    <a:lnTo>
                      <a:pt x="1246" y="277"/>
                    </a:lnTo>
                    <a:lnTo>
                      <a:pt x="1246" y="277"/>
                    </a:lnTo>
                    <a:lnTo>
                      <a:pt x="1244" y="274"/>
                    </a:lnTo>
                    <a:lnTo>
                      <a:pt x="1241" y="272"/>
                    </a:lnTo>
                    <a:lnTo>
                      <a:pt x="1241" y="272"/>
                    </a:lnTo>
                    <a:lnTo>
                      <a:pt x="1244" y="272"/>
                    </a:lnTo>
                    <a:lnTo>
                      <a:pt x="1244" y="272"/>
                    </a:lnTo>
                    <a:lnTo>
                      <a:pt x="1241" y="270"/>
                    </a:lnTo>
                    <a:lnTo>
                      <a:pt x="1244" y="270"/>
                    </a:lnTo>
                    <a:lnTo>
                      <a:pt x="1246" y="270"/>
                    </a:lnTo>
                    <a:lnTo>
                      <a:pt x="1246" y="270"/>
                    </a:lnTo>
                    <a:lnTo>
                      <a:pt x="1246" y="272"/>
                    </a:lnTo>
                    <a:lnTo>
                      <a:pt x="1251" y="272"/>
                    </a:lnTo>
                    <a:lnTo>
                      <a:pt x="1251" y="272"/>
                    </a:lnTo>
                    <a:lnTo>
                      <a:pt x="1256" y="270"/>
                    </a:lnTo>
                    <a:lnTo>
                      <a:pt x="1256" y="270"/>
                    </a:lnTo>
                    <a:lnTo>
                      <a:pt x="1256" y="267"/>
                    </a:lnTo>
                    <a:lnTo>
                      <a:pt x="1251" y="265"/>
                    </a:lnTo>
                    <a:lnTo>
                      <a:pt x="1251" y="265"/>
                    </a:lnTo>
                    <a:lnTo>
                      <a:pt x="1253" y="265"/>
                    </a:lnTo>
                    <a:lnTo>
                      <a:pt x="1256" y="265"/>
                    </a:lnTo>
                    <a:lnTo>
                      <a:pt x="1256" y="265"/>
                    </a:lnTo>
                    <a:lnTo>
                      <a:pt x="1258" y="267"/>
                    </a:lnTo>
                    <a:lnTo>
                      <a:pt x="1260" y="267"/>
                    </a:lnTo>
                    <a:lnTo>
                      <a:pt x="1263" y="265"/>
                    </a:lnTo>
                    <a:lnTo>
                      <a:pt x="1263" y="265"/>
                    </a:lnTo>
                    <a:lnTo>
                      <a:pt x="1263" y="265"/>
                    </a:lnTo>
                    <a:lnTo>
                      <a:pt x="1260" y="263"/>
                    </a:lnTo>
                    <a:close/>
                    <a:moveTo>
                      <a:pt x="1196" y="639"/>
                    </a:moveTo>
                    <a:lnTo>
                      <a:pt x="1199" y="639"/>
                    </a:lnTo>
                    <a:lnTo>
                      <a:pt x="1196" y="639"/>
                    </a:lnTo>
                    <a:lnTo>
                      <a:pt x="1196" y="639"/>
                    </a:lnTo>
                    <a:lnTo>
                      <a:pt x="1196" y="641"/>
                    </a:lnTo>
                    <a:lnTo>
                      <a:pt x="1196" y="641"/>
                    </a:lnTo>
                    <a:lnTo>
                      <a:pt x="1194" y="641"/>
                    </a:lnTo>
                    <a:lnTo>
                      <a:pt x="1194" y="644"/>
                    </a:lnTo>
                    <a:lnTo>
                      <a:pt x="1194" y="644"/>
                    </a:lnTo>
                    <a:lnTo>
                      <a:pt x="1194" y="644"/>
                    </a:lnTo>
                    <a:lnTo>
                      <a:pt x="1194" y="644"/>
                    </a:lnTo>
                    <a:lnTo>
                      <a:pt x="1196" y="639"/>
                    </a:lnTo>
                    <a:close/>
                    <a:moveTo>
                      <a:pt x="1043" y="208"/>
                    </a:moveTo>
                    <a:lnTo>
                      <a:pt x="1043" y="208"/>
                    </a:lnTo>
                    <a:lnTo>
                      <a:pt x="1040" y="208"/>
                    </a:lnTo>
                    <a:lnTo>
                      <a:pt x="1040" y="208"/>
                    </a:lnTo>
                    <a:lnTo>
                      <a:pt x="1040" y="210"/>
                    </a:lnTo>
                    <a:lnTo>
                      <a:pt x="1040" y="210"/>
                    </a:lnTo>
                    <a:lnTo>
                      <a:pt x="1038" y="210"/>
                    </a:lnTo>
                    <a:lnTo>
                      <a:pt x="1036" y="210"/>
                    </a:lnTo>
                    <a:lnTo>
                      <a:pt x="1036" y="210"/>
                    </a:lnTo>
                    <a:lnTo>
                      <a:pt x="1033" y="210"/>
                    </a:lnTo>
                    <a:lnTo>
                      <a:pt x="1033" y="210"/>
                    </a:lnTo>
                    <a:lnTo>
                      <a:pt x="1038" y="210"/>
                    </a:lnTo>
                    <a:lnTo>
                      <a:pt x="1038" y="210"/>
                    </a:lnTo>
                    <a:lnTo>
                      <a:pt x="1038" y="213"/>
                    </a:lnTo>
                    <a:lnTo>
                      <a:pt x="1040" y="213"/>
                    </a:lnTo>
                    <a:lnTo>
                      <a:pt x="1040" y="213"/>
                    </a:lnTo>
                    <a:lnTo>
                      <a:pt x="1040" y="213"/>
                    </a:lnTo>
                    <a:lnTo>
                      <a:pt x="1040" y="213"/>
                    </a:lnTo>
                    <a:lnTo>
                      <a:pt x="1040" y="213"/>
                    </a:lnTo>
                    <a:lnTo>
                      <a:pt x="1043" y="213"/>
                    </a:lnTo>
                    <a:lnTo>
                      <a:pt x="1043" y="213"/>
                    </a:lnTo>
                    <a:lnTo>
                      <a:pt x="1043" y="213"/>
                    </a:lnTo>
                    <a:lnTo>
                      <a:pt x="1043" y="213"/>
                    </a:lnTo>
                    <a:lnTo>
                      <a:pt x="1043" y="210"/>
                    </a:lnTo>
                    <a:lnTo>
                      <a:pt x="1045" y="213"/>
                    </a:lnTo>
                    <a:lnTo>
                      <a:pt x="1050" y="210"/>
                    </a:lnTo>
                    <a:lnTo>
                      <a:pt x="1052" y="210"/>
                    </a:lnTo>
                    <a:lnTo>
                      <a:pt x="1055" y="210"/>
                    </a:lnTo>
                    <a:lnTo>
                      <a:pt x="1055" y="210"/>
                    </a:lnTo>
                    <a:lnTo>
                      <a:pt x="1055" y="208"/>
                    </a:lnTo>
                    <a:lnTo>
                      <a:pt x="1052" y="208"/>
                    </a:lnTo>
                    <a:lnTo>
                      <a:pt x="1050" y="208"/>
                    </a:lnTo>
                    <a:lnTo>
                      <a:pt x="1047" y="210"/>
                    </a:lnTo>
                    <a:lnTo>
                      <a:pt x="1045" y="210"/>
                    </a:lnTo>
                    <a:lnTo>
                      <a:pt x="1045" y="210"/>
                    </a:lnTo>
                    <a:lnTo>
                      <a:pt x="1045" y="210"/>
                    </a:lnTo>
                    <a:lnTo>
                      <a:pt x="1045" y="208"/>
                    </a:lnTo>
                    <a:lnTo>
                      <a:pt x="1043" y="208"/>
                    </a:lnTo>
                    <a:close/>
                    <a:moveTo>
                      <a:pt x="1076" y="220"/>
                    </a:moveTo>
                    <a:lnTo>
                      <a:pt x="1078" y="220"/>
                    </a:lnTo>
                    <a:lnTo>
                      <a:pt x="1081" y="220"/>
                    </a:lnTo>
                    <a:lnTo>
                      <a:pt x="1081" y="218"/>
                    </a:lnTo>
                    <a:lnTo>
                      <a:pt x="1083" y="218"/>
                    </a:lnTo>
                    <a:lnTo>
                      <a:pt x="1085" y="218"/>
                    </a:lnTo>
                    <a:lnTo>
                      <a:pt x="1085" y="218"/>
                    </a:lnTo>
                    <a:lnTo>
                      <a:pt x="1085" y="215"/>
                    </a:lnTo>
                    <a:lnTo>
                      <a:pt x="1085" y="215"/>
                    </a:lnTo>
                    <a:lnTo>
                      <a:pt x="1085" y="215"/>
                    </a:lnTo>
                    <a:lnTo>
                      <a:pt x="1081" y="215"/>
                    </a:lnTo>
                    <a:lnTo>
                      <a:pt x="1081" y="215"/>
                    </a:lnTo>
                    <a:lnTo>
                      <a:pt x="1078" y="215"/>
                    </a:lnTo>
                    <a:lnTo>
                      <a:pt x="1078" y="215"/>
                    </a:lnTo>
                    <a:lnTo>
                      <a:pt x="1076" y="215"/>
                    </a:lnTo>
                    <a:lnTo>
                      <a:pt x="1076" y="215"/>
                    </a:lnTo>
                    <a:lnTo>
                      <a:pt x="1076" y="218"/>
                    </a:lnTo>
                    <a:lnTo>
                      <a:pt x="1073" y="218"/>
                    </a:lnTo>
                    <a:lnTo>
                      <a:pt x="1073" y="220"/>
                    </a:lnTo>
                    <a:lnTo>
                      <a:pt x="1073" y="220"/>
                    </a:lnTo>
                    <a:lnTo>
                      <a:pt x="1076" y="220"/>
                    </a:lnTo>
                    <a:lnTo>
                      <a:pt x="1076" y="220"/>
                    </a:lnTo>
                    <a:close/>
                    <a:moveTo>
                      <a:pt x="1069" y="237"/>
                    </a:moveTo>
                    <a:lnTo>
                      <a:pt x="1069" y="237"/>
                    </a:lnTo>
                    <a:lnTo>
                      <a:pt x="1064" y="239"/>
                    </a:lnTo>
                    <a:lnTo>
                      <a:pt x="1059" y="241"/>
                    </a:lnTo>
                    <a:lnTo>
                      <a:pt x="1057" y="244"/>
                    </a:lnTo>
                    <a:lnTo>
                      <a:pt x="1055" y="246"/>
                    </a:lnTo>
                    <a:lnTo>
                      <a:pt x="1055" y="246"/>
                    </a:lnTo>
                    <a:lnTo>
                      <a:pt x="1052" y="251"/>
                    </a:lnTo>
                    <a:lnTo>
                      <a:pt x="1052" y="251"/>
                    </a:lnTo>
                    <a:lnTo>
                      <a:pt x="1052" y="253"/>
                    </a:lnTo>
                    <a:lnTo>
                      <a:pt x="1052" y="253"/>
                    </a:lnTo>
                    <a:lnTo>
                      <a:pt x="1052" y="255"/>
                    </a:lnTo>
                    <a:lnTo>
                      <a:pt x="1055" y="255"/>
                    </a:lnTo>
                    <a:lnTo>
                      <a:pt x="1057" y="255"/>
                    </a:lnTo>
                    <a:lnTo>
                      <a:pt x="1062" y="253"/>
                    </a:lnTo>
                    <a:lnTo>
                      <a:pt x="1066" y="253"/>
                    </a:lnTo>
                    <a:lnTo>
                      <a:pt x="1069" y="253"/>
                    </a:lnTo>
                    <a:lnTo>
                      <a:pt x="1076" y="253"/>
                    </a:lnTo>
                    <a:lnTo>
                      <a:pt x="1078" y="251"/>
                    </a:lnTo>
                    <a:lnTo>
                      <a:pt x="1081" y="251"/>
                    </a:lnTo>
                    <a:lnTo>
                      <a:pt x="1081" y="248"/>
                    </a:lnTo>
                    <a:lnTo>
                      <a:pt x="1083" y="248"/>
                    </a:lnTo>
                    <a:lnTo>
                      <a:pt x="1085" y="246"/>
                    </a:lnTo>
                    <a:lnTo>
                      <a:pt x="1088" y="241"/>
                    </a:lnTo>
                    <a:lnTo>
                      <a:pt x="1088" y="241"/>
                    </a:lnTo>
                    <a:lnTo>
                      <a:pt x="1090" y="239"/>
                    </a:lnTo>
                    <a:lnTo>
                      <a:pt x="1090" y="239"/>
                    </a:lnTo>
                    <a:lnTo>
                      <a:pt x="1090" y="239"/>
                    </a:lnTo>
                    <a:lnTo>
                      <a:pt x="1090" y="237"/>
                    </a:lnTo>
                    <a:lnTo>
                      <a:pt x="1090" y="237"/>
                    </a:lnTo>
                    <a:lnTo>
                      <a:pt x="1090" y="237"/>
                    </a:lnTo>
                    <a:lnTo>
                      <a:pt x="1085" y="234"/>
                    </a:lnTo>
                    <a:lnTo>
                      <a:pt x="1083" y="234"/>
                    </a:lnTo>
                    <a:lnTo>
                      <a:pt x="1081" y="234"/>
                    </a:lnTo>
                    <a:lnTo>
                      <a:pt x="1078" y="234"/>
                    </a:lnTo>
                    <a:lnTo>
                      <a:pt x="1078" y="234"/>
                    </a:lnTo>
                    <a:lnTo>
                      <a:pt x="1076" y="234"/>
                    </a:lnTo>
                    <a:lnTo>
                      <a:pt x="1071" y="237"/>
                    </a:lnTo>
                    <a:lnTo>
                      <a:pt x="1069" y="237"/>
                    </a:lnTo>
                    <a:close/>
                    <a:moveTo>
                      <a:pt x="1055" y="218"/>
                    </a:moveTo>
                    <a:lnTo>
                      <a:pt x="1055" y="218"/>
                    </a:lnTo>
                    <a:lnTo>
                      <a:pt x="1052" y="220"/>
                    </a:lnTo>
                    <a:lnTo>
                      <a:pt x="1052" y="220"/>
                    </a:lnTo>
                    <a:lnTo>
                      <a:pt x="1047" y="222"/>
                    </a:lnTo>
                    <a:lnTo>
                      <a:pt x="1045" y="222"/>
                    </a:lnTo>
                    <a:lnTo>
                      <a:pt x="1045" y="222"/>
                    </a:lnTo>
                    <a:lnTo>
                      <a:pt x="1043" y="225"/>
                    </a:lnTo>
                    <a:lnTo>
                      <a:pt x="1043" y="225"/>
                    </a:lnTo>
                    <a:lnTo>
                      <a:pt x="1043" y="225"/>
                    </a:lnTo>
                    <a:lnTo>
                      <a:pt x="1043" y="225"/>
                    </a:lnTo>
                    <a:lnTo>
                      <a:pt x="1043" y="225"/>
                    </a:lnTo>
                    <a:lnTo>
                      <a:pt x="1043" y="225"/>
                    </a:lnTo>
                    <a:lnTo>
                      <a:pt x="1043" y="225"/>
                    </a:lnTo>
                    <a:lnTo>
                      <a:pt x="1047" y="225"/>
                    </a:lnTo>
                    <a:lnTo>
                      <a:pt x="1050" y="225"/>
                    </a:lnTo>
                    <a:lnTo>
                      <a:pt x="1050" y="225"/>
                    </a:lnTo>
                    <a:lnTo>
                      <a:pt x="1052" y="222"/>
                    </a:lnTo>
                    <a:lnTo>
                      <a:pt x="1055" y="222"/>
                    </a:lnTo>
                    <a:lnTo>
                      <a:pt x="1057" y="220"/>
                    </a:lnTo>
                    <a:lnTo>
                      <a:pt x="1057" y="220"/>
                    </a:lnTo>
                    <a:lnTo>
                      <a:pt x="1057" y="220"/>
                    </a:lnTo>
                    <a:lnTo>
                      <a:pt x="1059" y="220"/>
                    </a:lnTo>
                    <a:lnTo>
                      <a:pt x="1062" y="218"/>
                    </a:lnTo>
                    <a:lnTo>
                      <a:pt x="1064" y="218"/>
                    </a:lnTo>
                    <a:lnTo>
                      <a:pt x="1064" y="218"/>
                    </a:lnTo>
                    <a:lnTo>
                      <a:pt x="1064" y="215"/>
                    </a:lnTo>
                    <a:lnTo>
                      <a:pt x="1064" y="215"/>
                    </a:lnTo>
                    <a:lnTo>
                      <a:pt x="1064" y="215"/>
                    </a:lnTo>
                    <a:lnTo>
                      <a:pt x="1062" y="215"/>
                    </a:lnTo>
                    <a:lnTo>
                      <a:pt x="1059" y="215"/>
                    </a:lnTo>
                    <a:lnTo>
                      <a:pt x="1059" y="218"/>
                    </a:lnTo>
                    <a:lnTo>
                      <a:pt x="1057" y="218"/>
                    </a:lnTo>
                    <a:lnTo>
                      <a:pt x="1057" y="218"/>
                    </a:lnTo>
                    <a:lnTo>
                      <a:pt x="1057" y="218"/>
                    </a:lnTo>
                    <a:lnTo>
                      <a:pt x="1057" y="218"/>
                    </a:lnTo>
                    <a:lnTo>
                      <a:pt x="1055" y="218"/>
                    </a:lnTo>
                    <a:close/>
                    <a:moveTo>
                      <a:pt x="1069" y="682"/>
                    </a:moveTo>
                    <a:lnTo>
                      <a:pt x="1069" y="682"/>
                    </a:lnTo>
                    <a:lnTo>
                      <a:pt x="1069" y="684"/>
                    </a:lnTo>
                    <a:lnTo>
                      <a:pt x="1069" y="684"/>
                    </a:lnTo>
                    <a:lnTo>
                      <a:pt x="1069" y="684"/>
                    </a:lnTo>
                    <a:lnTo>
                      <a:pt x="1071" y="682"/>
                    </a:lnTo>
                    <a:lnTo>
                      <a:pt x="1071" y="682"/>
                    </a:lnTo>
                    <a:lnTo>
                      <a:pt x="1069" y="682"/>
                    </a:lnTo>
                    <a:lnTo>
                      <a:pt x="1069" y="682"/>
                    </a:lnTo>
                    <a:close/>
                    <a:moveTo>
                      <a:pt x="1121" y="585"/>
                    </a:moveTo>
                    <a:lnTo>
                      <a:pt x="1123" y="585"/>
                    </a:lnTo>
                    <a:lnTo>
                      <a:pt x="1126" y="582"/>
                    </a:lnTo>
                    <a:lnTo>
                      <a:pt x="1130" y="580"/>
                    </a:lnTo>
                    <a:lnTo>
                      <a:pt x="1135" y="578"/>
                    </a:lnTo>
                    <a:lnTo>
                      <a:pt x="1140" y="575"/>
                    </a:lnTo>
                    <a:lnTo>
                      <a:pt x="1142" y="573"/>
                    </a:lnTo>
                    <a:lnTo>
                      <a:pt x="1152" y="566"/>
                    </a:lnTo>
                    <a:lnTo>
                      <a:pt x="1152" y="566"/>
                    </a:lnTo>
                    <a:lnTo>
                      <a:pt x="1154" y="563"/>
                    </a:lnTo>
                    <a:lnTo>
                      <a:pt x="1154" y="563"/>
                    </a:lnTo>
                    <a:lnTo>
                      <a:pt x="1156" y="563"/>
                    </a:lnTo>
                    <a:lnTo>
                      <a:pt x="1159" y="563"/>
                    </a:lnTo>
                    <a:lnTo>
                      <a:pt x="1161" y="563"/>
                    </a:lnTo>
                    <a:lnTo>
                      <a:pt x="1163" y="563"/>
                    </a:lnTo>
                    <a:lnTo>
                      <a:pt x="1166" y="561"/>
                    </a:lnTo>
                    <a:lnTo>
                      <a:pt x="1168" y="561"/>
                    </a:lnTo>
                    <a:lnTo>
                      <a:pt x="1173" y="561"/>
                    </a:lnTo>
                    <a:lnTo>
                      <a:pt x="1175" y="561"/>
                    </a:lnTo>
                    <a:lnTo>
                      <a:pt x="1178" y="561"/>
                    </a:lnTo>
                    <a:lnTo>
                      <a:pt x="1180" y="561"/>
                    </a:lnTo>
                    <a:lnTo>
                      <a:pt x="1180" y="561"/>
                    </a:lnTo>
                    <a:lnTo>
                      <a:pt x="1189" y="556"/>
                    </a:lnTo>
                    <a:lnTo>
                      <a:pt x="1194" y="554"/>
                    </a:lnTo>
                    <a:lnTo>
                      <a:pt x="1199" y="551"/>
                    </a:lnTo>
                    <a:lnTo>
                      <a:pt x="1206" y="547"/>
                    </a:lnTo>
                    <a:lnTo>
                      <a:pt x="1208" y="544"/>
                    </a:lnTo>
                    <a:lnTo>
                      <a:pt x="1208" y="544"/>
                    </a:lnTo>
                    <a:lnTo>
                      <a:pt x="1206" y="544"/>
                    </a:lnTo>
                    <a:lnTo>
                      <a:pt x="1206" y="542"/>
                    </a:lnTo>
                    <a:lnTo>
                      <a:pt x="1204" y="542"/>
                    </a:lnTo>
                    <a:lnTo>
                      <a:pt x="1204" y="542"/>
                    </a:lnTo>
                    <a:lnTo>
                      <a:pt x="1206" y="542"/>
                    </a:lnTo>
                    <a:lnTo>
                      <a:pt x="1206" y="542"/>
                    </a:lnTo>
                    <a:lnTo>
                      <a:pt x="1208" y="542"/>
                    </a:lnTo>
                    <a:lnTo>
                      <a:pt x="1208" y="540"/>
                    </a:lnTo>
                    <a:lnTo>
                      <a:pt x="1208" y="540"/>
                    </a:lnTo>
                    <a:lnTo>
                      <a:pt x="1206" y="540"/>
                    </a:lnTo>
                    <a:lnTo>
                      <a:pt x="1204" y="540"/>
                    </a:lnTo>
                    <a:lnTo>
                      <a:pt x="1201" y="540"/>
                    </a:lnTo>
                    <a:lnTo>
                      <a:pt x="1199" y="537"/>
                    </a:lnTo>
                    <a:lnTo>
                      <a:pt x="1201" y="537"/>
                    </a:lnTo>
                    <a:lnTo>
                      <a:pt x="1204" y="537"/>
                    </a:lnTo>
                    <a:lnTo>
                      <a:pt x="1208" y="537"/>
                    </a:lnTo>
                    <a:lnTo>
                      <a:pt x="1208" y="537"/>
                    </a:lnTo>
                    <a:lnTo>
                      <a:pt x="1208" y="535"/>
                    </a:lnTo>
                    <a:lnTo>
                      <a:pt x="1208" y="535"/>
                    </a:lnTo>
                    <a:lnTo>
                      <a:pt x="1208" y="533"/>
                    </a:lnTo>
                    <a:lnTo>
                      <a:pt x="1211" y="533"/>
                    </a:lnTo>
                    <a:lnTo>
                      <a:pt x="1211" y="530"/>
                    </a:lnTo>
                    <a:lnTo>
                      <a:pt x="1213" y="525"/>
                    </a:lnTo>
                    <a:lnTo>
                      <a:pt x="1213" y="525"/>
                    </a:lnTo>
                    <a:lnTo>
                      <a:pt x="1213" y="523"/>
                    </a:lnTo>
                    <a:lnTo>
                      <a:pt x="1213" y="523"/>
                    </a:lnTo>
                    <a:lnTo>
                      <a:pt x="1213" y="523"/>
                    </a:lnTo>
                    <a:lnTo>
                      <a:pt x="1213" y="523"/>
                    </a:lnTo>
                    <a:lnTo>
                      <a:pt x="1213" y="521"/>
                    </a:lnTo>
                    <a:lnTo>
                      <a:pt x="1213" y="521"/>
                    </a:lnTo>
                    <a:lnTo>
                      <a:pt x="1211" y="518"/>
                    </a:lnTo>
                    <a:lnTo>
                      <a:pt x="1208" y="516"/>
                    </a:lnTo>
                    <a:lnTo>
                      <a:pt x="1208" y="516"/>
                    </a:lnTo>
                    <a:lnTo>
                      <a:pt x="1208" y="514"/>
                    </a:lnTo>
                    <a:lnTo>
                      <a:pt x="1208" y="514"/>
                    </a:lnTo>
                    <a:lnTo>
                      <a:pt x="1206" y="514"/>
                    </a:lnTo>
                    <a:lnTo>
                      <a:pt x="1204" y="514"/>
                    </a:lnTo>
                    <a:lnTo>
                      <a:pt x="1201" y="514"/>
                    </a:lnTo>
                    <a:lnTo>
                      <a:pt x="1199" y="516"/>
                    </a:lnTo>
                    <a:lnTo>
                      <a:pt x="1194" y="518"/>
                    </a:lnTo>
                    <a:lnTo>
                      <a:pt x="1192" y="521"/>
                    </a:lnTo>
                    <a:lnTo>
                      <a:pt x="1192" y="518"/>
                    </a:lnTo>
                    <a:lnTo>
                      <a:pt x="1192" y="518"/>
                    </a:lnTo>
                    <a:lnTo>
                      <a:pt x="1189" y="516"/>
                    </a:lnTo>
                    <a:lnTo>
                      <a:pt x="1189" y="516"/>
                    </a:lnTo>
                    <a:lnTo>
                      <a:pt x="1189" y="516"/>
                    </a:lnTo>
                    <a:lnTo>
                      <a:pt x="1194" y="516"/>
                    </a:lnTo>
                    <a:lnTo>
                      <a:pt x="1196" y="514"/>
                    </a:lnTo>
                    <a:lnTo>
                      <a:pt x="1196" y="514"/>
                    </a:lnTo>
                    <a:lnTo>
                      <a:pt x="1199" y="511"/>
                    </a:lnTo>
                    <a:lnTo>
                      <a:pt x="1196" y="511"/>
                    </a:lnTo>
                    <a:lnTo>
                      <a:pt x="1196" y="506"/>
                    </a:lnTo>
                    <a:lnTo>
                      <a:pt x="1194" y="504"/>
                    </a:lnTo>
                    <a:lnTo>
                      <a:pt x="1185" y="504"/>
                    </a:lnTo>
                    <a:lnTo>
                      <a:pt x="1182" y="504"/>
                    </a:lnTo>
                    <a:lnTo>
                      <a:pt x="1182" y="506"/>
                    </a:lnTo>
                    <a:lnTo>
                      <a:pt x="1182" y="506"/>
                    </a:lnTo>
                    <a:lnTo>
                      <a:pt x="1182" y="506"/>
                    </a:lnTo>
                    <a:lnTo>
                      <a:pt x="1185" y="506"/>
                    </a:lnTo>
                    <a:lnTo>
                      <a:pt x="1185" y="506"/>
                    </a:lnTo>
                    <a:lnTo>
                      <a:pt x="1187" y="506"/>
                    </a:lnTo>
                    <a:lnTo>
                      <a:pt x="1187" y="506"/>
                    </a:lnTo>
                    <a:lnTo>
                      <a:pt x="1185" y="506"/>
                    </a:lnTo>
                    <a:lnTo>
                      <a:pt x="1180" y="509"/>
                    </a:lnTo>
                    <a:lnTo>
                      <a:pt x="1175" y="509"/>
                    </a:lnTo>
                    <a:lnTo>
                      <a:pt x="1170" y="511"/>
                    </a:lnTo>
                    <a:lnTo>
                      <a:pt x="1166" y="514"/>
                    </a:lnTo>
                    <a:lnTo>
                      <a:pt x="1161" y="516"/>
                    </a:lnTo>
                    <a:lnTo>
                      <a:pt x="1159" y="518"/>
                    </a:lnTo>
                    <a:lnTo>
                      <a:pt x="1156" y="518"/>
                    </a:lnTo>
                    <a:lnTo>
                      <a:pt x="1152" y="518"/>
                    </a:lnTo>
                    <a:lnTo>
                      <a:pt x="1152" y="518"/>
                    </a:lnTo>
                    <a:lnTo>
                      <a:pt x="1149" y="521"/>
                    </a:lnTo>
                    <a:lnTo>
                      <a:pt x="1147" y="523"/>
                    </a:lnTo>
                    <a:lnTo>
                      <a:pt x="1142" y="523"/>
                    </a:lnTo>
                    <a:lnTo>
                      <a:pt x="1142" y="523"/>
                    </a:lnTo>
                    <a:lnTo>
                      <a:pt x="1142" y="523"/>
                    </a:lnTo>
                    <a:lnTo>
                      <a:pt x="1144" y="523"/>
                    </a:lnTo>
                    <a:lnTo>
                      <a:pt x="1144" y="523"/>
                    </a:lnTo>
                    <a:lnTo>
                      <a:pt x="1144" y="523"/>
                    </a:lnTo>
                    <a:lnTo>
                      <a:pt x="1144" y="521"/>
                    </a:lnTo>
                    <a:lnTo>
                      <a:pt x="1147" y="521"/>
                    </a:lnTo>
                    <a:lnTo>
                      <a:pt x="1149" y="518"/>
                    </a:lnTo>
                    <a:lnTo>
                      <a:pt x="1147" y="518"/>
                    </a:lnTo>
                    <a:lnTo>
                      <a:pt x="1144" y="516"/>
                    </a:lnTo>
                    <a:lnTo>
                      <a:pt x="1144" y="516"/>
                    </a:lnTo>
                    <a:lnTo>
                      <a:pt x="1147" y="516"/>
                    </a:lnTo>
                    <a:lnTo>
                      <a:pt x="1149" y="518"/>
                    </a:lnTo>
                    <a:lnTo>
                      <a:pt x="1149" y="516"/>
                    </a:lnTo>
                    <a:lnTo>
                      <a:pt x="1149" y="516"/>
                    </a:lnTo>
                    <a:lnTo>
                      <a:pt x="1149" y="516"/>
                    </a:lnTo>
                    <a:lnTo>
                      <a:pt x="1152" y="514"/>
                    </a:lnTo>
                    <a:lnTo>
                      <a:pt x="1152" y="514"/>
                    </a:lnTo>
                    <a:lnTo>
                      <a:pt x="1154" y="514"/>
                    </a:lnTo>
                    <a:lnTo>
                      <a:pt x="1156" y="511"/>
                    </a:lnTo>
                    <a:lnTo>
                      <a:pt x="1156" y="511"/>
                    </a:lnTo>
                    <a:lnTo>
                      <a:pt x="1159" y="514"/>
                    </a:lnTo>
                    <a:lnTo>
                      <a:pt x="1161" y="511"/>
                    </a:lnTo>
                    <a:lnTo>
                      <a:pt x="1166" y="511"/>
                    </a:lnTo>
                    <a:lnTo>
                      <a:pt x="1168" y="509"/>
                    </a:lnTo>
                    <a:lnTo>
                      <a:pt x="1170" y="509"/>
                    </a:lnTo>
                    <a:lnTo>
                      <a:pt x="1170" y="509"/>
                    </a:lnTo>
                    <a:lnTo>
                      <a:pt x="1170" y="509"/>
                    </a:lnTo>
                    <a:lnTo>
                      <a:pt x="1173" y="509"/>
                    </a:lnTo>
                    <a:lnTo>
                      <a:pt x="1175" y="509"/>
                    </a:lnTo>
                    <a:lnTo>
                      <a:pt x="1175" y="509"/>
                    </a:lnTo>
                    <a:lnTo>
                      <a:pt x="1178" y="506"/>
                    </a:lnTo>
                    <a:lnTo>
                      <a:pt x="1180" y="504"/>
                    </a:lnTo>
                    <a:lnTo>
                      <a:pt x="1182" y="504"/>
                    </a:lnTo>
                    <a:lnTo>
                      <a:pt x="1185" y="504"/>
                    </a:lnTo>
                    <a:lnTo>
                      <a:pt x="1187" y="502"/>
                    </a:lnTo>
                    <a:lnTo>
                      <a:pt x="1187" y="502"/>
                    </a:lnTo>
                    <a:lnTo>
                      <a:pt x="1192" y="502"/>
                    </a:lnTo>
                    <a:lnTo>
                      <a:pt x="1194" y="502"/>
                    </a:lnTo>
                    <a:lnTo>
                      <a:pt x="1196" y="499"/>
                    </a:lnTo>
                    <a:lnTo>
                      <a:pt x="1199" y="499"/>
                    </a:lnTo>
                    <a:lnTo>
                      <a:pt x="1201" y="497"/>
                    </a:lnTo>
                    <a:lnTo>
                      <a:pt x="1201" y="497"/>
                    </a:lnTo>
                    <a:lnTo>
                      <a:pt x="1199" y="497"/>
                    </a:lnTo>
                    <a:lnTo>
                      <a:pt x="1196" y="497"/>
                    </a:lnTo>
                    <a:lnTo>
                      <a:pt x="1196" y="495"/>
                    </a:lnTo>
                    <a:lnTo>
                      <a:pt x="1194" y="495"/>
                    </a:lnTo>
                    <a:lnTo>
                      <a:pt x="1194" y="495"/>
                    </a:lnTo>
                    <a:lnTo>
                      <a:pt x="1194" y="492"/>
                    </a:lnTo>
                    <a:lnTo>
                      <a:pt x="1192" y="492"/>
                    </a:lnTo>
                    <a:lnTo>
                      <a:pt x="1189" y="492"/>
                    </a:lnTo>
                    <a:lnTo>
                      <a:pt x="1189" y="492"/>
                    </a:lnTo>
                    <a:lnTo>
                      <a:pt x="1187" y="495"/>
                    </a:lnTo>
                    <a:lnTo>
                      <a:pt x="1185" y="492"/>
                    </a:lnTo>
                    <a:lnTo>
                      <a:pt x="1180" y="492"/>
                    </a:lnTo>
                    <a:lnTo>
                      <a:pt x="1180" y="490"/>
                    </a:lnTo>
                    <a:lnTo>
                      <a:pt x="1180" y="488"/>
                    </a:lnTo>
                    <a:lnTo>
                      <a:pt x="1180" y="485"/>
                    </a:lnTo>
                    <a:lnTo>
                      <a:pt x="1180" y="485"/>
                    </a:lnTo>
                    <a:lnTo>
                      <a:pt x="1178" y="485"/>
                    </a:lnTo>
                    <a:lnTo>
                      <a:pt x="1175" y="485"/>
                    </a:lnTo>
                    <a:lnTo>
                      <a:pt x="1173" y="488"/>
                    </a:lnTo>
                    <a:lnTo>
                      <a:pt x="1173" y="488"/>
                    </a:lnTo>
                    <a:lnTo>
                      <a:pt x="1166" y="492"/>
                    </a:lnTo>
                    <a:lnTo>
                      <a:pt x="1163" y="492"/>
                    </a:lnTo>
                    <a:lnTo>
                      <a:pt x="1166" y="492"/>
                    </a:lnTo>
                    <a:lnTo>
                      <a:pt x="1166" y="490"/>
                    </a:lnTo>
                    <a:lnTo>
                      <a:pt x="1173" y="488"/>
                    </a:lnTo>
                    <a:lnTo>
                      <a:pt x="1173" y="485"/>
                    </a:lnTo>
                    <a:lnTo>
                      <a:pt x="1173" y="485"/>
                    </a:lnTo>
                    <a:lnTo>
                      <a:pt x="1170" y="485"/>
                    </a:lnTo>
                    <a:lnTo>
                      <a:pt x="1170" y="485"/>
                    </a:lnTo>
                    <a:lnTo>
                      <a:pt x="1170" y="483"/>
                    </a:lnTo>
                    <a:lnTo>
                      <a:pt x="1170" y="483"/>
                    </a:lnTo>
                    <a:lnTo>
                      <a:pt x="1168" y="483"/>
                    </a:lnTo>
                    <a:lnTo>
                      <a:pt x="1166" y="483"/>
                    </a:lnTo>
                    <a:lnTo>
                      <a:pt x="1163" y="485"/>
                    </a:lnTo>
                    <a:lnTo>
                      <a:pt x="1161" y="485"/>
                    </a:lnTo>
                    <a:lnTo>
                      <a:pt x="1156" y="488"/>
                    </a:lnTo>
                    <a:lnTo>
                      <a:pt x="1154" y="488"/>
                    </a:lnTo>
                    <a:lnTo>
                      <a:pt x="1156" y="488"/>
                    </a:lnTo>
                    <a:lnTo>
                      <a:pt x="1159" y="485"/>
                    </a:lnTo>
                    <a:lnTo>
                      <a:pt x="1159" y="485"/>
                    </a:lnTo>
                    <a:lnTo>
                      <a:pt x="1161" y="483"/>
                    </a:lnTo>
                    <a:lnTo>
                      <a:pt x="1163" y="480"/>
                    </a:lnTo>
                    <a:lnTo>
                      <a:pt x="1166" y="480"/>
                    </a:lnTo>
                    <a:lnTo>
                      <a:pt x="1163" y="478"/>
                    </a:lnTo>
                    <a:lnTo>
                      <a:pt x="1163" y="476"/>
                    </a:lnTo>
                    <a:lnTo>
                      <a:pt x="1163" y="476"/>
                    </a:lnTo>
                    <a:lnTo>
                      <a:pt x="1163" y="476"/>
                    </a:lnTo>
                    <a:lnTo>
                      <a:pt x="1166" y="473"/>
                    </a:lnTo>
                    <a:lnTo>
                      <a:pt x="1163" y="473"/>
                    </a:lnTo>
                    <a:lnTo>
                      <a:pt x="1163" y="473"/>
                    </a:lnTo>
                    <a:lnTo>
                      <a:pt x="1161" y="476"/>
                    </a:lnTo>
                    <a:lnTo>
                      <a:pt x="1161" y="473"/>
                    </a:lnTo>
                    <a:lnTo>
                      <a:pt x="1161" y="473"/>
                    </a:lnTo>
                    <a:lnTo>
                      <a:pt x="1161" y="471"/>
                    </a:lnTo>
                    <a:lnTo>
                      <a:pt x="1161" y="471"/>
                    </a:lnTo>
                    <a:lnTo>
                      <a:pt x="1159" y="471"/>
                    </a:lnTo>
                    <a:lnTo>
                      <a:pt x="1159" y="471"/>
                    </a:lnTo>
                    <a:lnTo>
                      <a:pt x="1156" y="471"/>
                    </a:lnTo>
                    <a:lnTo>
                      <a:pt x="1154" y="471"/>
                    </a:lnTo>
                    <a:lnTo>
                      <a:pt x="1154" y="471"/>
                    </a:lnTo>
                    <a:lnTo>
                      <a:pt x="1154" y="471"/>
                    </a:lnTo>
                    <a:lnTo>
                      <a:pt x="1154" y="471"/>
                    </a:lnTo>
                    <a:lnTo>
                      <a:pt x="1152" y="469"/>
                    </a:lnTo>
                    <a:lnTo>
                      <a:pt x="1149" y="469"/>
                    </a:lnTo>
                    <a:lnTo>
                      <a:pt x="1152" y="469"/>
                    </a:lnTo>
                    <a:lnTo>
                      <a:pt x="1154" y="469"/>
                    </a:lnTo>
                    <a:lnTo>
                      <a:pt x="1154" y="469"/>
                    </a:lnTo>
                    <a:lnTo>
                      <a:pt x="1154" y="464"/>
                    </a:lnTo>
                    <a:lnTo>
                      <a:pt x="1154" y="464"/>
                    </a:lnTo>
                    <a:lnTo>
                      <a:pt x="1152" y="464"/>
                    </a:lnTo>
                    <a:lnTo>
                      <a:pt x="1149" y="464"/>
                    </a:lnTo>
                    <a:lnTo>
                      <a:pt x="1149" y="464"/>
                    </a:lnTo>
                    <a:lnTo>
                      <a:pt x="1154" y="461"/>
                    </a:lnTo>
                    <a:lnTo>
                      <a:pt x="1154" y="461"/>
                    </a:lnTo>
                    <a:lnTo>
                      <a:pt x="1154" y="461"/>
                    </a:lnTo>
                    <a:lnTo>
                      <a:pt x="1152" y="461"/>
                    </a:lnTo>
                    <a:lnTo>
                      <a:pt x="1147" y="461"/>
                    </a:lnTo>
                    <a:lnTo>
                      <a:pt x="1147" y="459"/>
                    </a:lnTo>
                    <a:lnTo>
                      <a:pt x="1149" y="459"/>
                    </a:lnTo>
                    <a:lnTo>
                      <a:pt x="1152" y="459"/>
                    </a:lnTo>
                    <a:lnTo>
                      <a:pt x="1152" y="459"/>
                    </a:lnTo>
                    <a:lnTo>
                      <a:pt x="1149" y="457"/>
                    </a:lnTo>
                    <a:lnTo>
                      <a:pt x="1149" y="457"/>
                    </a:lnTo>
                    <a:lnTo>
                      <a:pt x="1147" y="457"/>
                    </a:lnTo>
                    <a:lnTo>
                      <a:pt x="1147" y="457"/>
                    </a:lnTo>
                    <a:lnTo>
                      <a:pt x="1142" y="454"/>
                    </a:lnTo>
                    <a:lnTo>
                      <a:pt x="1142" y="454"/>
                    </a:lnTo>
                    <a:lnTo>
                      <a:pt x="1142" y="452"/>
                    </a:lnTo>
                    <a:lnTo>
                      <a:pt x="1144" y="452"/>
                    </a:lnTo>
                    <a:lnTo>
                      <a:pt x="1144" y="452"/>
                    </a:lnTo>
                    <a:lnTo>
                      <a:pt x="1144" y="454"/>
                    </a:lnTo>
                    <a:lnTo>
                      <a:pt x="1144" y="454"/>
                    </a:lnTo>
                    <a:lnTo>
                      <a:pt x="1147" y="454"/>
                    </a:lnTo>
                    <a:lnTo>
                      <a:pt x="1156" y="457"/>
                    </a:lnTo>
                    <a:lnTo>
                      <a:pt x="1159" y="457"/>
                    </a:lnTo>
                    <a:lnTo>
                      <a:pt x="1159" y="454"/>
                    </a:lnTo>
                    <a:lnTo>
                      <a:pt x="1159" y="452"/>
                    </a:lnTo>
                    <a:lnTo>
                      <a:pt x="1161" y="452"/>
                    </a:lnTo>
                    <a:lnTo>
                      <a:pt x="1161" y="450"/>
                    </a:lnTo>
                    <a:lnTo>
                      <a:pt x="1159" y="445"/>
                    </a:lnTo>
                    <a:lnTo>
                      <a:pt x="1159" y="445"/>
                    </a:lnTo>
                    <a:lnTo>
                      <a:pt x="1156" y="445"/>
                    </a:lnTo>
                    <a:lnTo>
                      <a:pt x="1156" y="445"/>
                    </a:lnTo>
                    <a:lnTo>
                      <a:pt x="1154" y="445"/>
                    </a:lnTo>
                    <a:lnTo>
                      <a:pt x="1154" y="445"/>
                    </a:lnTo>
                    <a:lnTo>
                      <a:pt x="1156" y="445"/>
                    </a:lnTo>
                    <a:lnTo>
                      <a:pt x="1156" y="443"/>
                    </a:lnTo>
                    <a:lnTo>
                      <a:pt x="1159" y="443"/>
                    </a:lnTo>
                    <a:lnTo>
                      <a:pt x="1159" y="443"/>
                    </a:lnTo>
                    <a:lnTo>
                      <a:pt x="1156" y="440"/>
                    </a:lnTo>
                    <a:lnTo>
                      <a:pt x="1154" y="440"/>
                    </a:lnTo>
                    <a:lnTo>
                      <a:pt x="1154" y="440"/>
                    </a:lnTo>
                    <a:lnTo>
                      <a:pt x="1152" y="440"/>
                    </a:lnTo>
                    <a:lnTo>
                      <a:pt x="1149" y="440"/>
                    </a:lnTo>
                    <a:lnTo>
                      <a:pt x="1149" y="440"/>
                    </a:lnTo>
                    <a:lnTo>
                      <a:pt x="1149" y="440"/>
                    </a:lnTo>
                    <a:lnTo>
                      <a:pt x="1152" y="440"/>
                    </a:lnTo>
                    <a:lnTo>
                      <a:pt x="1152" y="440"/>
                    </a:lnTo>
                    <a:lnTo>
                      <a:pt x="1154" y="438"/>
                    </a:lnTo>
                    <a:lnTo>
                      <a:pt x="1154" y="438"/>
                    </a:lnTo>
                    <a:lnTo>
                      <a:pt x="1156" y="438"/>
                    </a:lnTo>
                    <a:lnTo>
                      <a:pt x="1159" y="438"/>
                    </a:lnTo>
                    <a:lnTo>
                      <a:pt x="1159" y="435"/>
                    </a:lnTo>
                    <a:lnTo>
                      <a:pt x="1159" y="433"/>
                    </a:lnTo>
                    <a:lnTo>
                      <a:pt x="1161" y="433"/>
                    </a:lnTo>
                    <a:lnTo>
                      <a:pt x="1161" y="433"/>
                    </a:lnTo>
                    <a:lnTo>
                      <a:pt x="1161" y="433"/>
                    </a:lnTo>
                    <a:lnTo>
                      <a:pt x="1161" y="431"/>
                    </a:lnTo>
                    <a:lnTo>
                      <a:pt x="1159" y="431"/>
                    </a:lnTo>
                    <a:lnTo>
                      <a:pt x="1159" y="431"/>
                    </a:lnTo>
                    <a:lnTo>
                      <a:pt x="1156" y="431"/>
                    </a:lnTo>
                    <a:lnTo>
                      <a:pt x="1156" y="426"/>
                    </a:lnTo>
                    <a:lnTo>
                      <a:pt x="1154" y="426"/>
                    </a:lnTo>
                    <a:lnTo>
                      <a:pt x="1152" y="426"/>
                    </a:lnTo>
                    <a:lnTo>
                      <a:pt x="1147" y="428"/>
                    </a:lnTo>
                    <a:lnTo>
                      <a:pt x="1142" y="431"/>
                    </a:lnTo>
                    <a:lnTo>
                      <a:pt x="1142" y="428"/>
                    </a:lnTo>
                    <a:lnTo>
                      <a:pt x="1144" y="428"/>
                    </a:lnTo>
                    <a:lnTo>
                      <a:pt x="1147" y="428"/>
                    </a:lnTo>
                    <a:lnTo>
                      <a:pt x="1152" y="426"/>
                    </a:lnTo>
                    <a:lnTo>
                      <a:pt x="1154" y="424"/>
                    </a:lnTo>
                    <a:lnTo>
                      <a:pt x="1156" y="421"/>
                    </a:lnTo>
                    <a:lnTo>
                      <a:pt x="1156" y="419"/>
                    </a:lnTo>
                    <a:lnTo>
                      <a:pt x="1156" y="419"/>
                    </a:lnTo>
                    <a:lnTo>
                      <a:pt x="1154" y="421"/>
                    </a:lnTo>
                    <a:lnTo>
                      <a:pt x="1149" y="421"/>
                    </a:lnTo>
                    <a:lnTo>
                      <a:pt x="1149" y="421"/>
                    </a:lnTo>
                    <a:lnTo>
                      <a:pt x="1149" y="421"/>
                    </a:lnTo>
                    <a:lnTo>
                      <a:pt x="1149" y="421"/>
                    </a:lnTo>
                    <a:lnTo>
                      <a:pt x="1147" y="421"/>
                    </a:lnTo>
                    <a:lnTo>
                      <a:pt x="1147" y="421"/>
                    </a:lnTo>
                    <a:lnTo>
                      <a:pt x="1142" y="424"/>
                    </a:lnTo>
                    <a:lnTo>
                      <a:pt x="1142" y="424"/>
                    </a:lnTo>
                    <a:lnTo>
                      <a:pt x="1144" y="421"/>
                    </a:lnTo>
                    <a:lnTo>
                      <a:pt x="1144" y="421"/>
                    </a:lnTo>
                    <a:lnTo>
                      <a:pt x="1149" y="419"/>
                    </a:lnTo>
                    <a:lnTo>
                      <a:pt x="1152" y="419"/>
                    </a:lnTo>
                    <a:lnTo>
                      <a:pt x="1156" y="416"/>
                    </a:lnTo>
                    <a:lnTo>
                      <a:pt x="1156" y="414"/>
                    </a:lnTo>
                    <a:lnTo>
                      <a:pt x="1154" y="412"/>
                    </a:lnTo>
                    <a:lnTo>
                      <a:pt x="1154" y="412"/>
                    </a:lnTo>
                    <a:lnTo>
                      <a:pt x="1152" y="412"/>
                    </a:lnTo>
                    <a:lnTo>
                      <a:pt x="1152" y="412"/>
                    </a:lnTo>
                    <a:lnTo>
                      <a:pt x="1152" y="412"/>
                    </a:lnTo>
                    <a:lnTo>
                      <a:pt x="1152" y="412"/>
                    </a:lnTo>
                    <a:lnTo>
                      <a:pt x="1152" y="409"/>
                    </a:lnTo>
                    <a:lnTo>
                      <a:pt x="1152" y="409"/>
                    </a:lnTo>
                    <a:lnTo>
                      <a:pt x="1152" y="409"/>
                    </a:lnTo>
                    <a:lnTo>
                      <a:pt x="1154" y="409"/>
                    </a:lnTo>
                    <a:lnTo>
                      <a:pt x="1154" y="409"/>
                    </a:lnTo>
                    <a:lnTo>
                      <a:pt x="1152" y="409"/>
                    </a:lnTo>
                    <a:lnTo>
                      <a:pt x="1152" y="409"/>
                    </a:lnTo>
                    <a:lnTo>
                      <a:pt x="1149" y="409"/>
                    </a:lnTo>
                    <a:lnTo>
                      <a:pt x="1144" y="409"/>
                    </a:lnTo>
                    <a:lnTo>
                      <a:pt x="1142" y="409"/>
                    </a:lnTo>
                    <a:lnTo>
                      <a:pt x="1142" y="409"/>
                    </a:lnTo>
                    <a:lnTo>
                      <a:pt x="1144" y="409"/>
                    </a:lnTo>
                    <a:lnTo>
                      <a:pt x="1147" y="409"/>
                    </a:lnTo>
                    <a:lnTo>
                      <a:pt x="1147" y="409"/>
                    </a:lnTo>
                    <a:lnTo>
                      <a:pt x="1149" y="407"/>
                    </a:lnTo>
                    <a:lnTo>
                      <a:pt x="1152" y="407"/>
                    </a:lnTo>
                    <a:lnTo>
                      <a:pt x="1152" y="405"/>
                    </a:lnTo>
                    <a:lnTo>
                      <a:pt x="1152" y="402"/>
                    </a:lnTo>
                    <a:lnTo>
                      <a:pt x="1149" y="405"/>
                    </a:lnTo>
                    <a:lnTo>
                      <a:pt x="1147" y="405"/>
                    </a:lnTo>
                    <a:lnTo>
                      <a:pt x="1149" y="405"/>
                    </a:lnTo>
                    <a:lnTo>
                      <a:pt x="1149" y="402"/>
                    </a:lnTo>
                    <a:lnTo>
                      <a:pt x="1147" y="402"/>
                    </a:lnTo>
                    <a:lnTo>
                      <a:pt x="1147" y="402"/>
                    </a:lnTo>
                    <a:lnTo>
                      <a:pt x="1149" y="402"/>
                    </a:lnTo>
                    <a:lnTo>
                      <a:pt x="1152" y="400"/>
                    </a:lnTo>
                    <a:lnTo>
                      <a:pt x="1149" y="400"/>
                    </a:lnTo>
                    <a:lnTo>
                      <a:pt x="1149" y="398"/>
                    </a:lnTo>
                    <a:lnTo>
                      <a:pt x="1149" y="398"/>
                    </a:lnTo>
                    <a:lnTo>
                      <a:pt x="1149" y="395"/>
                    </a:lnTo>
                    <a:lnTo>
                      <a:pt x="1149" y="395"/>
                    </a:lnTo>
                    <a:lnTo>
                      <a:pt x="1147" y="395"/>
                    </a:lnTo>
                    <a:lnTo>
                      <a:pt x="1147" y="395"/>
                    </a:lnTo>
                    <a:lnTo>
                      <a:pt x="1147" y="393"/>
                    </a:lnTo>
                    <a:lnTo>
                      <a:pt x="1149" y="390"/>
                    </a:lnTo>
                    <a:lnTo>
                      <a:pt x="1149" y="390"/>
                    </a:lnTo>
                    <a:lnTo>
                      <a:pt x="1147" y="390"/>
                    </a:lnTo>
                    <a:lnTo>
                      <a:pt x="1144" y="390"/>
                    </a:lnTo>
                    <a:lnTo>
                      <a:pt x="1142" y="390"/>
                    </a:lnTo>
                    <a:lnTo>
                      <a:pt x="1140" y="390"/>
                    </a:lnTo>
                    <a:lnTo>
                      <a:pt x="1142" y="390"/>
                    </a:lnTo>
                    <a:lnTo>
                      <a:pt x="1144" y="388"/>
                    </a:lnTo>
                    <a:lnTo>
                      <a:pt x="1147" y="388"/>
                    </a:lnTo>
                    <a:lnTo>
                      <a:pt x="1147" y="386"/>
                    </a:lnTo>
                    <a:lnTo>
                      <a:pt x="1147" y="386"/>
                    </a:lnTo>
                    <a:lnTo>
                      <a:pt x="1144" y="383"/>
                    </a:lnTo>
                    <a:lnTo>
                      <a:pt x="1144" y="383"/>
                    </a:lnTo>
                    <a:lnTo>
                      <a:pt x="1142" y="386"/>
                    </a:lnTo>
                    <a:lnTo>
                      <a:pt x="1142" y="386"/>
                    </a:lnTo>
                    <a:lnTo>
                      <a:pt x="1140" y="386"/>
                    </a:lnTo>
                    <a:lnTo>
                      <a:pt x="1137" y="390"/>
                    </a:lnTo>
                    <a:lnTo>
                      <a:pt x="1135" y="390"/>
                    </a:lnTo>
                    <a:lnTo>
                      <a:pt x="1133" y="393"/>
                    </a:lnTo>
                    <a:lnTo>
                      <a:pt x="1133" y="393"/>
                    </a:lnTo>
                    <a:lnTo>
                      <a:pt x="1133" y="393"/>
                    </a:lnTo>
                    <a:lnTo>
                      <a:pt x="1133" y="395"/>
                    </a:lnTo>
                    <a:lnTo>
                      <a:pt x="1135" y="395"/>
                    </a:lnTo>
                    <a:lnTo>
                      <a:pt x="1133" y="395"/>
                    </a:lnTo>
                    <a:lnTo>
                      <a:pt x="1133" y="395"/>
                    </a:lnTo>
                    <a:lnTo>
                      <a:pt x="1130" y="395"/>
                    </a:lnTo>
                    <a:lnTo>
                      <a:pt x="1130" y="395"/>
                    </a:lnTo>
                    <a:lnTo>
                      <a:pt x="1128" y="395"/>
                    </a:lnTo>
                    <a:lnTo>
                      <a:pt x="1128" y="395"/>
                    </a:lnTo>
                    <a:lnTo>
                      <a:pt x="1126" y="398"/>
                    </a:lnTo>
                    <a:lnTo>
                      <a:pt x="1126" y="398"/>
                    </a:lnTo>
                    <a:lnTo>
                      <a:pt x="1126" y="398"/>
                    </a:lnTo>
                    <a:lnTo>
                      <a:pt x="1126" y="400"/>
                    </a:lnTo>
                    <a:lnTo>
                      <a:pt x="1128" y="400"/>
                    </a:lnTo>
                    <a:lnTo>
                      <a:pt x="1128" y="400"/>
                    </a:lnTo>
                    <a:lnTo>
                      <a:pt x="1128" y="402"/>
                    </a:lnTo>
                    <a:lnTo>
                      <a:pt x="1130" y="402"/>
                    </a:lnTo>
                    <a:lnTo>
                      <a:pt x="1130" y="402"/>
                    </a:lnTo>
                    <a:lnTo>
                      <a:pt x="1130" y="402"/>
                    </a:lnTo>
                    <a:lnTo>
                      <a:pt x="1128" y="400"/>
                    </a:lnTo>
                    <a:lnTo>
                      <a:pt x="1126" y="400"/>
                    </a:lnTo>
                    <a:lnTo>
                      <a:pt x="1126" y="400"/>
                    </a:lnTo>
                    <a:lnTo>
                      <a:pt x="1123" y="402"/>
                    </a:lnTo>
                    <a:lnTo>
                      <a:pt x="1123" y="405"/>
                    </a:lnTo>
                    <a:lnTo>
                      <a:pt x="1123" y="405"/>
                    </a:lnTo>
                    <a:lnTo>
                      <a:pt x="1123" y="402"/>
                    </a:lnTo>
                    <a:lnTo>
                      <a:pt x="1121" y="405"/>
                    </a:lnTo>
                    <a:lnTo>
                      <a:pt x="1121" y="405"/>
                    </a:lnTo>
                    <a:lnTo>
                      <a:pt x="1121" y="407"/>
                    </a:lnTo>
                    <a:lnTo>
                      <a:pt x="1118" y="405"/>
                    </a:lnTo>
                    <a:lnTo>
                      <a:pt x="1118" y="405"/>
                    </a:lnTo>
                    <a:lnTo>
                      <a:pt x="1118" y="407"/>
                    </a:lnTo>
                    <a:lnTo>
                      <a:pt x="1118" y="407"/>
                    </a:lnTo>
                    <a:lnTo>
                      <a:pt x="1118" y="407"/>
                    </a:lnTo>
                    <a:lnTo>
                      <a:pt x="1118" y="407"/>
                    </a:lnTo>
                    <a:lnTo>
                      <a:pt x="1121" y="409"/>
                    </a:lnTo>
                    <a:lnTo>
                      <a:pt x="1121" y="409"/>
                    </a:lnTo>
                    <a:lnTo>
                      <a:pt x="1121" y="409"/>
                    </a:lnTo>
                    <a:lnTo>
                      <a:pt x="1118" y="409"/>
                    </a:lnTo>
                    <a:lnTo>
                      <a:pt x="1118" y="409"/>
                    </a:lnTo>
                    <a:lnTo>
                      <a:pt x="1116" y="409"/>
                    </a:lnTo>
                    <a:lnTo>
                      <a:pt x="1116" y="409"/>
                    </a:lnTo>
                    <a:lnTo>
                      <a:pt x="1116" y="409"/>
                    </a:lnTo>
                    <a:lnTo>
                      <a:pt x="1116" y="412"/>
                    </a:lnTo>
                    <a:lnTo>
                      <a:pt x="1114" y="409"/>
                    </a:lnTo>
                    <a:lnTo>
                      <a:pt x="1114" y="409"/>
                    </a:lnTo>
                    <a:lnTo>
                      <a:pt x="1111" y="412"/>
                    </a:lnTo>
                    <a:lnTo>
                      <a:pt x="1111" y="412"/>
                    </a:lnTo>
                    <a:lnTo>
                      <a:pt x="1111" y="412"/>
                    </a:lnTo>
                    <a:lnTo>
                      <a:pt x="1111" y="414"/>
                    </a:lnTo>
                    <a:lnTo>
                      <a:pt x="1111" y="414"/>
                    </a:lnTo>
                    <a:lnTo>
                      <a:pt x="1109" y="414"/>
                    </a:lnTo>
                    <a:lnTo>
                      <a:pt x="1109" y="414"/>
                    </a:lnTo>
                    <a:lnTo>
                      <a:pt x="1109" y="414"/>
                    </a:lnTo>
                    <a:lnTo>
                      <a:pt x="1109" y="416"/>
                    </a:lnTo>
                    <a:lnTo>
                      <a:pt x="1109" y="419"/>
                    </a:lnTo>
                    <a:lnTo>
                      <a:pt x="1109" y="419"/>
                    </a:lnTo>
                    <a:lnTo>
                      <a:pt x="1107" y="419"/>
                    </a:lnTo>
                    <a:lnTo>
                      <a:pt x="1104" y="421"/>
                    </a:lnTo>
                    <a:lnTo>
                      <a:pt x="1104" y="421"/>
                    </a:lnTo>
                    <a:lnTo>
                      <a:pt x="1107" y="419"/>
                    </a:lnTo>
                    <a:lnTo>
                      <a:pt x="1107" y="419"/>
                    </a:lnTo>
                    <a:lnTo>
                      <a:pt x="1107" y="416"/>
                    </a:lnTo>
                    <a:lnTo>
                      <a:pt x="1107" y="416"/>
                    </a:lnTo>
                    <a:lnTo>
                      <a:pt x="1107" y="414"/>
                    </a:lnTo>
                    <a:lnTo>
                      <a:pt x="1104" y="414"/>
                    </a:lnTo>
                    <a:lnTo>
                      <a:pt x="1104" y="414"/>
                    </a:lnTo>
                    <a:lnTo>
                      <a:pt x="1102" y="416"/>
                    </a:lnTo>
                    <a:lnTo>
                      <a:pt x="1099" y="416"/>
                    </a:lnTo>
                    <a:lnTo>
                      <a:pt x="1099" y="416"/>
                    </a:lnTo>
                    <a:lnTo>
                      <a:pt x="1097" y="419"/>
                    </a:lnTo>
                    <a:lnTo>
                      <a:pt x="1095" y="421"/>
                    </a:lnTo>
                    <a:lnTo>
                      <a:pt x="1092" y="421"/>
                    </a:lnTo>
                    <a:lnTo>
                      <a:pt x="1090" y="421"/>
                    </a:lnTo>
                    <a:lnTo>
                      <a:pt x="1088" y="424"/>
                    </a:lnTo>
                    <a:lnTo>
                      <a:pt x="1083" y="424"/>
                    </a:lnTo>
                    <a:lnTo>
                      <a:pt x="1078" y="426"/>
                    </a:lnTo>
                    <a:lnTo>
                      <a:pt x="1078" y="426"/>
                    </a:lnTo>
                    <a:lnTo>
                      <a:pt x="1078" y="426"/>
                    </a:lnTo>
                    <a:lnTo>
                      <a:pt x="1076" y="428"/>
                    </a:lnTo>
                    <a:lnTo>
                      <a:pt x="1076" y="431"/>
                    </a:lnTo>
                    <a:lnTo>
                      <a:pt x="1076" y="428"/>
                    </a:lnTo>
                    <a:lnTo>
                      <a:pt x="1076" y="428"/>
                    </a:lnTo>
                    <a:lnTo>
                      <a:pt x="1076" y="426"/>
                    </a:lnTo>
                    <a:lnTo>
                      <a:pt x="1078" y="426"/>
                    </a:lnTo>
                    <a:lnTo>
                      <a:pt x="1078" y="421"/>
                    </a:lnTo>
                    <a:lnTo>
                      <a:pt x="1078" y="421"/>
                    </a:lnTo>
                    <a:lnTo>
                      <a:pt x="1078" y="424"/>
                    </a:lnTo>
                    <a:lnTo>
                      <a:pt x="1076" y="424"/>
                    </a:lnTo>
                    <a:lnTo>
                      <a:pt x="1076" y="424"/>
                    </a:lnTo>
                    <a:lnTo>
                      <a:pt x="1071" y="426"/>
                    </a:lnTo>
                    <a:lnTo>
                      <a:pt x="1071" y="426"/>
                    </a:lnTo>
                    <a:lnTo>
                      <a:pt x="1076" y="424"/>
                    </a:lnTo>
                    <a:lnTo>
                      <a:pt x="1076" y="424"/>
                    </a:lnTo>
                    <a:lnTo>
                      <a:pt x="1076" y="424"/>
                    </a:lnTo>
                    <a:lnTo>
                      <a:pt x="1076" y="421"/>
                    </a:lnTo>
                    <a:lnTo>
                      <a:pt x="1076" y="421"/>
                    </a:lnTo>
                    <a:lnTo>
                      <a:pt x="1073" y="421"/>
                    </a:lnTo>
                    <a:lnTo>
                      <a:pt x="1071" y="421"/>
                    </a:lnTo>
                    <a:lnTo>
                      <a:pt x="1069" y="426"/>
                    </a:lnTo>
                    <a:lnTo>
                      <a:pt x="1066" y="428"/>
                    </a:lnTo>
                    <a:lnTo>
                      <a:pt x="1064" y="428"/>
                    </a:lnTo>
                    <a:lnTo>
                      <a:pt x="1064" y="428"/>
                    </a:lnTo>
                    <a:lnTo>
                      <a:pt x="1059" y="431"/>
                    </a:lnTo>
                    <a:lnTo>
                      <a:pt x="1055" y="431"/>
                    </a:lnTo>
                    <a:lnTo>
                      <a:pt x="1055" y="431"/>
                    </a:lnTo>
                    <a:lnTo>
                      <a:pt x="1057" y="431"/>
                    </a:lnTo>
                    <a:lnTo>
                      <a:pt x="1057" y="431"/>
                    </a:lnTo>
                    <a:lnTo>
                      <a:pt x="1062" y="428"/>
                    </a:lnTo>
                    <a:lnTo>
                      <a:pt x="1064" y="428"/>
                    </a:lnTo>
                    <a:lnTo>
                      <a:pt x="1066" y="426"/>
                    </a:lnTo>
                    <a:lnTo>
                      <a:pt x="1069" y="426"/>
                    </a:lnTo>
                    <a:lnTo>
                      <a:pt x="1071" y="421"/>
                    </a:lnTo>
                    <a:lnTo>
                      <a:pt x="1071" y="421"/>
                    </a:lnTo>
                    <a:lnTo>
                      <a:pt x="1073" y="419"/>
                    </a:lnTo>
                    <a:lnTo>
                      <a:pt x="1073" y="419"/>
                    </a:lnTo>
                    <a:lnTo>
                      <a:pt x="1071" y="419"/>
                    </a:lnTo>
                    <a:lnTo>
                      <a:pt x="1073" y="414"/>
                    </a:lnTo>
                    <a:lnTo>
                      <a:pt x="1073" y="414"/>
                    </a:lnTo>
                    <a:lnTo>
                      <a:pt x="1071" y="414"/>
                    </a:lnTo>
                    <a:lnTo>
                      <a:pt x="1071" y="412"/>
                    </a:lnTo>
                    <a:lnTo>
                      <a:pt x="1071" y="412"/>
                    </a:lnTo>
                    <a:lnTo>
                      <a:pt x="1069" y="412"/>
                    </a:lnTo>
                    <a:lnTo>
                      <a:pt x="1066" y="412"/>
                    </a:lnTo>
                    <a:lnTo>
                      <a:pt x="1064" y="412"/>
                    </a:lnTo>
                    <a:lnTo>
                      <a:pt x="1062" y="412"/>
                    </a:lnTo>
                    <a:lnTo>
                      <a:pt x="1062" y="412"/>
                    </a:lnTo>
                    <a:lnTo>
                      <a:pt x="1059" y="414"/>
                    </a:lnTo>
                    <a:lnTo>
                      <a:pt x="1055" y="416"/>
                    </a:lnTo>
                    <a:lnTo>
                      <a:pt x="1050" y="416"/>
                    </a:lnTo>
                    <a:lnTo>
                      <a:pt x="1050" y="416"/>
                    </a:lnTo>
                    <a:lnTo>
                      <a:pt x="1047" y="414"/>
                    </a:lnTo>
                    <a:lnTo>
                      <a:pt x="1045" y="414"/>
                    </a:lnTo>
                    <a:lnTo>
                      <a:pt x="1047" y="414"/>
                    </a:lnTo>
                    <a:lnTo>
                      <a:pt x="1050" y="414"/>
                    </a:lnTo>
                    <a:lnTo>
                      <a:pt x="1052" y="412"/>
                    </a:lnTo>
                    <a:lnTo>
                      <a:pt x="1052" y="412"/>
                    </a:lnTo>
                    <a:lnTo>
                      <a:pt x="1052" y="412"/>
                    </a:lnTo>
                    <a:lnTo>
                      <a:pt x="1052" y="412"/>
                    </a:lnTo>
                    <a:lnTo>
                      <a:pt x="1055" y="412"/>
                    </a:lnTo>
                    <a:lnTo>
                      <a:pt x="1055" y="412"/>
                    </a:lnTo>
                    <a:lnTo>
                      <a:pt x="1055" y="412"/>
                    </a:lnTo>
                    <a:lnTo>
                      <a:pt x="1055" y="414"/>
                    </a:lnTo>
                    <a:lnTo>
                      <a:pt x="1055" y="414"/>
                    </a:lnTo>
                    <a:lnTo>
                      <a:pt x="1055" y="414"/>
                    </a:lnTo>
                    <a:lnTo>
                      <a:pt x="1057" y="412"/>
                    </a:lnTo>
                    <a:lnTo>
                      <a:pt x="1057" y="412"/>
                    </a:lnTo>
                    <a:lnTo>
                      <a:pt x="1059" y="409"/>
                    </a:lnTo>
                    <a:lnTo>
                      <a:pt x="1059" y="409"/>
                    </a:lnTo>
                    <a:lnTo>
                      <a:pt x="1062" y="409"/>
                    </a:lnTo>
                    <a:lnTo>
                      <a:pt x="1062" y="409"/>
                    </a:lnTo>
                    <a:lnTo>
                      <a:pt x="1062" y="407"/>
                    </a:lnTo>
                    <a:lnTo>
                      <a:pt x="1062" y="407"/>
                    </a:lnTo>
                    <a:lnTo>
                      <a:pt x="1064" y="405"/>
                    </a:lnTo>
                    <a:lnTo>
                      <a:pt x="1064" y="405"/>
                    </a:lnTo>
                    <a:lnTo>
                      <a:pt x="1064" y="405"/>
                    </a:lnTo>
                    <a:lnTo>
                      <a:pt x="1059" y="402"/>
                    </a:lnTo>
                    <a:lnTo>
                      <a:pt x="1059" y="402"/>
                    </a:lnTo>
                    <a:lnTo>
                      <a:pt x="1062" y="400"/>
                    </a:lnTo>
                    <a:lnTo>
                      <a:pt x="1062" y="400"/>
                    </a:lnTo>
                    <a:lnTo>
                      <a:pt x="1064" y="398"/>
                    </a:lnTo>
                    <a:lnTo>
                      <a:pt x="1066" y="398"/>
                    </a:lnTo>
                    <a:lnTo>
                      <a:pt x="1066" y="395"/>
                    </a:lnTo>
                    <a:lnTo>
                      <a:pt x="1066" y="395"/>
                    </a:lnTo>
                    <a:lnTo>
                      <a:pt x="1066" y="393"/>
                    </a:lnTo>
                    <a:lnTo>
                      <a:pt x="1066" y="393"/>
                    </a:lnTo>
                    <a:lnTo>
                      <a:pt x="1064" y="393"/>
                    </a:lnTo>
                    <a:lnTo>
                      <a:pt x="1057" y="390"/>
                    </a:lnTo>
                    <a:lnTo>
                      <a:pt x="1055" y="390"/>
                    </a:lnTo>
                    <a:lnTo>
                      <a:pt x="1052" y="390"/>
                    </a:lnTo>
                    <a:lnTo>
                      <a:pt x="1052" y="390"/>
                    </a:lnTo>
                    <a:lnTo>
                      <a:pt x="1055" y="390"/>
                    </a:lnTo>
                    <a:lnTo>
                      <a:pt x="1064" y="390"/>
                    </a:lnTo>
                    <a:lnTo>
                      <a:pt x="1066" y="390"/>
                    </a:lnTo>
                    <a:lnTo>
                      <a:pt x="1069" y="388"/>
                    </a:lnTo>
                    <a:lnTo>
                      <a:pt x="1069" y="388"/>
                    </a:lnTo>
                    <a:lnTo>
                      <a:pt x="1069" y="388"/>
                    </a:lnTo>
                    <a:lnTo>
                      <a:pt x="1071" y="386"/>
                    </a:lnTo>
                    <a:lnTo>
                      <a:pt x="1071" y="386"/>
                    </a:lnTo>
                    <a:lnTo>
                      <a:pt x="1071" y="386"/>
                    </a:lnTo>
                    <a:lnTo>
                      <a:pt x="1071" y="383"/>
                    </a:lnTo>
                    <a:lnTo>
                      <a:pt x="1071" y="383"/>
                    </a:lnTo>
                    <a:lnTo>
                      <a:pt x="1071" y="383"/>
                    </a:lnTo>
                    <a:lnTo>
                      <a:pt x="1071" y="381"/>
                    </a:lnTo>
                    <a:lnTo>
                      <a:pt x="1073" y="379"/>
                    </a:lnTo>
                    <a:lnTo>
                      <a:pt x="1076" y="376"/>
                    </a:lnTo>
                    <a:lnTo>
                      <a:pt x="1078" y="376"/>
                    </a:lnTo>
                    <a:lnTo>
                      <a:pt x="1078" y="376"/>
                    </a:lnTo>
                    <a:lnTo>
                      <a:pt x="1081" y="374"/>
                    </a:lnTo>
                    <a:lnTo>
                      <a:pt x="1081" y="374"/>
                    </a:lnTo>
                    <a:lnTo>
                      <a:pt x="1081" y="374"/>
                    </a:lnTo>
                    <a:lnTo>
                      <a:pt x="1083" y="374"/>
                    </a:lnTo>
                    <a:lnTo>
                      <a:pt x="1083" y="372"/>
                    </a:lnTo>
                    <a:lnTo>
                      <a:pt x="1083" y="372"/>
                    </a:lnTo>
                    <a:lnTo>
                      <a:pt x="1081" y="369"/>
                    </a:lnTo>
                    <a:lnTo>
                      <a:pt x="1081" y="372"/>
                    </a:lnTo>
                    <a:lnTo>
                      <a:pt x="1081" y="372"/>
                    </a:lnTo>
                    <a:lnTo>
                      <a:pt x="1078" y="372"/>
                    </a:lnTo>
                    <a:lnTo>
                      <a:pt x="1078" y="374"/>
                    </a:lnTo>
                    <a:lnTo>
                      <a:pt x="1076" y="374"/>
                    </a:lnTo>
                    <a:lnTo>
                      <a:pt x="1073" y="374"/>
                    </a:lnTo>
                    <a:lnTo>
                      <a:pt x="1073" y="374"/>
                    </a:lnTo>
                    <a:lnTo>
                      <a:pt x="1071" y="374"/>
                    </a:lnTo>
                    <a:lnTo>
                      <a:pt x="1071" y="374"/>
                    </a:lnTo>
                    <a:lnTo>
                      <a:pt x="1071" y="372"/>
                    </a:lnTo>
                    <a:lnTo>
                      <a:pt x="1071" y="372"/>
                    </a:lnTo>
                    <a:lnTo>
                      <a:pt x="1071" y="372"/>
                    </a:lnTo>
                    <a:lnTo>
                      <a:pt x="1071" y="369"/>
                    </a:lnTo>
                    <a:lnTo>
                      <a:pt x="1069" y="369"/>
                    </a:lnTo>
                    <a:lnTo>
                      <a:pt x="1066" y="372"/>
                    </a:lnTo>
                    <a:lnTo>
                      <a:pt x="1064" y="372"/>
                    </a:lnTo>
                    <a:lnTo>
                      <a:pt x="1059" y="369"/>
                    </a:lnTo>
                    <a:lnTo>
                      <a:pt x="1059" y="369"/>
                    </a:lnTo>
                    <a:lnTo>
                      <a:pt x="1057" y="369"/>
                    </a:lnTo>
                    <a:lnTo>
                      <a:pt x="1055" y="369"/>
                    </a:lnTo>
                    <a:lnTo>
                      <a:pt x="1055" y="367"/>
                    </a:lnTo>
                    <a:lnTo>
                      <a:pt x="1052" y="364"/>
                    </a:lnTo>
                    <a:lnTo>
                      <a:pt x="1052" y="364"/>
                    </a:lnTo>
                    <a:lnTo>
                      <a:pt x="1055" y="364"/>
                    </a:lnTo>
                    <a:lnTo>
                      <a:pt x="1055" y="364"/>
                    </a:lnTo>
                    <a:lnTo>
                      <a:pt x="1052" y="364"/>
                    </a:lnTo>
                    <a:lnTo>
                      <a:pt x="1052" y="362"/>
                    </a:lnTo>
                    <a:lnTo>
                      <a:pt x="1052" y="362"/>
                    </a:lnTo>
                    <a:lnTo>
                      <a:pt x="1055" y="362"/>
                    </a:lnTo>
                    <a:lnTo>
                      <a:pt x="1057" y="360"/>
                    </a:lnTo>
                    <a:lnTo>
                      <a:pt x="1057" y="360"/>
                    </a:lnTo>
                    <a:lnTo>
                      <a:pt x="1057" y="360"/>
                    </a:lnTo>
                    <a:lnTo>
                      <a:pt x="1057" y="360"/>
                    </a:lnTo>
                    <a:lnTo>
                      <a:pt x="1055" y="357"/>
                    </a:lnTo>
                    <a:lnTo>
                      <a:pt x="1055" y="357"/>
                    </a:lnTo>
                    <a:lnTo>
                      <a:pt x="1052" y="360"/>
                    </a:lnTo>
                    <a:lnTo>
                      <a:pt x="1052" y="360"/>
                    </a:lnTo>
                    <a:lnTo>
                      <a:pt x="1047" y="360"/>
                    </a:lnTo>
                    <a:lnTo>
                      <a:pt x="1047" y="360"/>
                    </a:lnTo>
                    <a:lnTo>
                      <a:pt x="1052" y="360"/>
                    </a:lnTo>
                    <a:lnTo>
                      <a:pt x="1052" y="360"/>
                    </a:lnTo>
                    <a:lnTo>
                      <a:pt x="1052" y="357"/>
                    </a:lnTo>
                    <a:lnTo>
                      <a:pt x="1052" y="357"/>
                    </a:lnTo>
                    <a:lnTo>
                      <a:pt x="1052" y="357"/>
                    </a:lnTo>
                    <a:lnTo>
                      <a:pt x="1052" y="355"/>
                    </a:lnTo>
                    <a:lnTo>
                      <a:pt x="1052" y="355"/>
                    </a:lnTo>
                    <a:lnTo>
                      <a:pt x="1050" y="355"/>
                    </a:lnTo>
                    <a:lnTo>
                      <a:pt x="1047" y="353"/>
                    </a:lnTo>
                    <a:lnTo>
                      <a:pt x="1047" y="355"/>
                    </a:lnTo>
                    <a:lnTo>
                      <a:pt x="1045" y="355"/>
                    </a:lnTo>
                    <a:lnTo>
                      <a:pt x="1045" y="355"/>
                    </a:lnTo>
                    <a:lnTo>
                      <a:pt x="1043" y="355"/>
                    </a:lnTo>
                    <a:lnTo>
                      <a:pt x="1045" y="353"/>
                    </a:lnTo>
                    <a:lnTo>
                      <a:pt x="1047" y="353"/>
                    </a:lnTo>
                    <a:lnTo>
                      <a:pt x="1047" y="350"/>
                    </a:lnTo>
                    <a:lnTo>
                      <a:pt x="1047" y="350"/>
                    </a:lnTo>
                    <a:lnTo>
                      <a:pt x="1047" y="350"/>
                    </a:lnTo>
                    <a:lnTo>
                      <a:pt x="1047" y="350"/>
                    </a:lnTo>
                    <a:lnTo>
                      <a:pt x="1047" y="350"/>
                    </a:lnTo>
                    <a:lnTo>
                      <a:pt x="1045" y="350"/>
                    </a:lnTo>
                    <a:lnTo>
                      <a:pt x="1045" y="348"/>
                    </a:lnTo>
                    <a:lnTo>
                      <a:pt x="1043" y="348"/>
                    </a:lnTo>
                    <a:lnTo>
                      <a:pt x="1043" y="348"/>
                    </a:lnTo>
                    <a:lnTo>
                      <a:pt x="1040" y="345"/>
                    </a:lnTo>
                    <a:lnTo>
                      <a:pt x="1040" y="345"/>
                    </a:lnTo>
                    <a:lnTo>
                      <a:pt x="1038" y="343"/>
                    </a:lnTo>
                    <a:lnTo>
                      <a:pt x="1038" y="343"/>
                    </a:lnTo>
                    <a:lnTo>
                      <a:pt x="1036" y="343"/>
                    </a:lnTo>
                    <a:lnTo>
                      <a:pt x="1033" y="343"/>
                    </a:lnTo>
                    <a:lnTo>
                      <a:pt x="1031" y="345"/>
                    </a:lnTo>
                    <a:lnTo>
                      <a:pt x="1029" y="345"/>
                    </a:lnTo>
                    <a:lnTo>
                      <a:pt x="1024" y="348"/>
                    </a:lnTo>
                    <a:lnTo>
                      <a:pt x="1021" y="348"/>
                    </a:lnTo>
                    <a:lnTo>
                      <a:pt x="1019" y="348"/>
                    </a:lnTo>
                    <a:lnTo>
                      <a:pt x="1019" y="350"/>
                    </a:lnTo>
                    <a:lnTo>
                      <a:pt x="1019" y="350"/>
                    </a:lnTo>
                    <a:lnTo>
                      <a:pt x="1017" y="348"/>
                    </a:lnTo>
                    <a:lnTo>
                      <a:pt x="1017" y="348"/>
                    </a:lnTo>
                    <a:lnTo>
                      <a:pt x="1014" y="348"/>
                    </a:lnTo>
                    <a:lnTo>
                      <a:pt x="1012" y="345"/>
                    </a:lnTo>
                    <a:lnTo>
                      <a:pt x="1010" y="345"/>
                    </a:lnTo>
                    <a:lnTo>
                      <a:pt x="1010" y="348"/>
                    </a:lnTo>
                    <a:lnTo>
                      <a:pt x="1002" y="348"/>
                    </a:lnTo>
                    <a:lnTo>
                      <a:pt x="1002" y="348"/>
                    </a:lnTo>
                    <a:lnTo>
                      <a:pt x="1005" y="348"/>
                    </a:lnTo>
                    <a:lnTo>
                      <a:pt x="1005" y="345"/>
                    </a:lnTo>
                    <a:lnTo>
                      <a:pt x="995" y="343"/>
                    </a:lnTo>
                    <a:lnTo>
                      <a:pt x="993" y="343"/>
                    </a:lnTo>
                    <a:lnTo>
                      <a:pt x="988" y="341"/>
                    </a:lnTo>
                    <a:lnTo>
                      <a:pt x="986" y="341"/>
                    </a:lnTo>
                    <a:lnTo>
                      <a:pt x="981" y="343"/>
                    </a:lnTo>
                    <a:lnTo>
                      <a:pt x="976" y="343"/>
                    </a:lnTo>
                    <a:lnTo>
                      <a:pt x="972" y="345"/>
                    </a:lnTo>
                    <a:lnTo>
                      <a:pt x="972" y="345"/>
                    </a:lnTo>
                    <a:lnTo>
                      <a:pt x="969" y="348"/>
                    </a:lnTo>
                    <a:lnTo>
                      <a:pt x="969" y="348"/>
                    </a:lnTo>
                    <a:lnTo>
                      <a:pt x="967" y="350"/>
                    </a:lnTo>
                    <a:lnTo>
                      <a:pt x="967" y="353"/>
                    </a:lnTo>
                    <a:lnTo>
                      <a:pt x="967" y="355"/>
                    </a:lnTo>
                    <a:lnTo>
                      <a:pt x="967" y="357"/>
                    </a:lnTo>
                    <a:lnTo>
                      <a:pt x="967" y="357"/>
                    </a:lnTo>
                    <a:lnTo>
                      <a:pt x="967" y="357"/>
                    </a:lnTo>
                    <a:lnTo>
                      <a:pt x="969" y="360"/>
                    </a:lnTo>
                    <a:lnTo>
                      <a:pt x="969" y="360"/>
                    </a:lnTo>
                    <a:lnTo>
                      <a:pt x="967" y="362"/>
                    </a:lnTo>
                    <a:lnTo>
                      <a:pt x="965" y="362"/>
                    </a:lnTo>
                    <a:lnTo>
                      <a:pt x="965" y="364"/>
                    </a:lnTo>
                    <a:lnTo>
                      <a:pt x="962" y="367"/>
                    </a:lnTo>
                    <a:lnTo>
                      <a:pt x="962" y="367"/>
                    </a:lnTo>
                    <a:lnTo>
                      <a:pt x="962" y="369"/>
                    </a:lnTo>
                    <a:lnTo>
                      <a:pt x="960" y="369"/>
                    </a:lnTo>
                    <a:lnTo>
                      <a:pt x="958" y="372"/>
                    </a:lnTo>
                    <a:lnTo>
                      <a:pt x="953" y="374"/>
                    </a:lnTo>
                    <a:lnTo>
                      <a:pt x="950" y="374"/>
                    </a:lnTo>
                    <a:lnTo>
                      <a:pt x="953" y="374"/>
                    </a:lnTo>
                    <a:lnTo>
                      <a:pt x="953" y="374"/>
                    </a:lnTo>
                    <a:lnTo>
                      <a:pt x="955" y="376"/>
                    </a:lnTo>
                    <a:lnTo>
                      <a:pt x="960" y="374"/>
                    </a:lnTo>
                    <a:lnTo>
                      <a:pt x="960" y="376"/>
                    </a:lnTo>
                    <a:lnTo>
                      <a:pt x="958" y="376"/>
                    </a:lnTo>
                    <a:lnTo>
                      <a:pt x="955" y="376"/>
                    </a:lnTo>
                    <a:lnTo>
                      <a:pt x="955" y="379"/>
                    </a:lnTo>
                    <a:lnTo>
                      <a:pt x="955" y="379"/>
                    </a:lnTo>
                    <a:lnTo>
                      <a:pt x="955" y="379"/>
                    </a:lnTo>
                    <a:lnTo>
                      <a:pt x="955" y="379"/>
                    </a:lnTo>
                    <a:lnTo>
                      <a:pt x="958" y="381"/>
                    </a:lnTo>
                    <a:lnTo>
                      <a:pt x="958" y="381"/>
                    </a:lnTo>
                    <a:lnTo>
                      <a:pt x="955" y="381"/>
                    </a:lnTo>
                    <a:lnTo>
                      <a:pt x="953" y="383"/>
                    </a:lnTo>
                    <a:lnTo>
                      <a:pt x="953" y="383"/>
                    </a:lnTo>
                    <a:lnTo>
                      <a:pt x="953" y="388"/>
                    </a:lnTo>
                    <a:lnTo>
                      <a:pt x="953" y="388"/>
                    </a:lnTo>
                    <a:lnTo>
                      <a:pt x="950" y="388"/>
                    </a:lnTo>
                    <a:lnTo>
                      <a:pt x="950" y="388"/>
                    </a:lnTo>
                    <a:lnTo>
                      <a:pt x="950" y="390"/>
                    </a:lnTo>
                    <a:lnTo>
                      <a:pt x="955" y="390"/>
                    </a:lnTo>
                    <a:lnTo>
                      <a:pt x="955" y="390"/>
                    </a:lnTo>
                    <a:lnTo>
                      <a:pt x="953" y="393"/>
                    </a:lnTo>
                    <a:lnTo>
                      <a:pt x="950" y="393"/>
                    </a:lnTo>
                    <a:lnTo>
                      <a:pt x="950" y="393"/>
                    </a:lnTo>
                    <a:lnTo>
                      <a:pt x="950" y="395"/>
                    </a:lnTo>
                    <a:lnTo>
                      <a:pt x="948" y="395"/>
                    </a:lnTo>
                    <a:lnTo>
                      <a:pt x="948" y="398"/>
                    </a:lnTo>
                    <a:lnTo>
                      <a:pt x="948" y="398"/>
                    </a:lnTo>
                    <a:lnTo>
                      <a:pt x="948" y="400"/>
                    </a:lnTo>
                    <a:lnTo>
                      <a:pt x="948" y="400"/>
                    </a:lnTo>
                    <a:lnTo>
                      <a:pt x="946" y="398"/>
                    </a:lnTo>
                    <a:lnTo>
                      <a:pt x="943" y="398"/>
                    </a:lnTo>
                    <a:lnTo>
                      <a:pt x="943" y="398"/>
                    </a:lnTo>
                    <a:lnTo>
                      <a:pt x="941" y="400"/>
                    </a:lnTo>
                    <a:lnTo>
                      <a:pt x="941" y="400"/>
                    </a:lnTo>
                    <a:lnTo>
                      <a:pt x="939" y="400"/>
                    </a:lnTo>
                    <a:lnTo>
                      <a:pt x="939" y="402"/>
                    </a:lnTo>
                    <a:lnTo>
                      <a:pt x="939" y="402"/>
                    </a:lnTo>
                    <a:lnTo>
                      <a:pt x="939" y="402"/>
                    </a:lnTo>
                    <a:lnTo>
                      <a:pt x="936" y="405"/>
                    </a:lnTo>
                    <a:lnTo>
                      <a:pt x="934" y="405"/>
                    </a:lnTo>
                    <a:lnTo>
                      <a:pt x="932" y="407"/>
                    </a:lnTo>
                    <a:lnTo>
                      <a:pt x="932" y="407"/>
                    </a:lnTo>
                    <a:lnTo>
                      <a:pt x="927" y="409"/>
                    </a:lnTo>
                    <a:lnTo>
                      <a:pt x="922" y="412"/>
                    </a:lnTo>
                    <a:lnTo>
                      <a:pt x="922" y="412"/>
                    </a:lnTo>
                    <a:lnTo>
                      <a:pt x="922" y="414"/>
                    </a:lnTo>
                    <a:lnTo>
                      <a:pt x="920" y="414"/>
                    </a:lnTo>
                    <a:lnTo>
                      <a:pt x="920" y="416"/>
                    </a:lnTo>
                    <a:lnTo>
                      <a:pt x="920" y="416"/>
                    </a:lnTo>
                    <a:lnTo>
                      <a:pt x="920" y="419"/>
                    </a:lnTo>
                    <a:lnTo>
                      <a:pt x="920" y="419"/>
                    </a:lnTo>
                    <a:lnTo>
                      <a:pt x="924" y="421"/>
                    </a:lnTo>
                    <a:lnTo>
                      <a:pt x="924" y="424"/>
                    </a:lnTo>
                    <a:lnTo>
                      <a:pt x="927" y="424"/>
                    </a:lnTo>
                    <a:lnTo>
                      <a:pt x="929" y="426"/>
                    </a:lnTo>
                    <a:lnTo>
                      <a:pt x="929" y="426"/>
                    </a:lnTo>
                    <a:lnTo>
                      <a:pt x="932" y="428"/>
                    </a:lnTo>
                    <a:lnTo>
                      <a:pt x="932" y="435"/>
                    </a:lnTo>
                    <a:lnTo>
                      <a:pt x="932" y="435"/>
                    </a:lnTo>
                    <a:lnTo>
                      <a:pt x="932" y="438"/>
                    </a:lnTo>
                    <a:lnTo>
                      <a:pt x="932" y="443"/>
                    </a:lnTo>
                    <a:lnTo>
                      <a:pt x="932" y="445"/>
                    </a:lnTo>
                    <a:lnTo>
                      <a:pt x="932" y="445"/>
                    </a:lnTo>
                    <a:lnTo>
                      <a:pt x="927" y="452"/>
                    </a:lnTo>
                    <a:lnTo>
                      <a:pt x="927" y="454"/>
                    </a:lnTo>
                    <a:lnTo>
                      <a:pt x="922" y="459"/>
                    </a:lnTo>
                    <a:lnTo>
                      <a:pt x="922" y="461"/>
                    </a:lnTo>
                    <a:lnTo>
                      <a:pt x="917" y="466"/>
                    </a:lnTo>
                    <a:lnTo>
                      <a:pt x="917" y="466"/>
                    </a:lnTo>
                    <a:lnTo>
                      <a:pt x="913" y="469"/>
                    </a:lnTo>
                    <a:lnTo>
                      <a:pt x="910" y="471"/>
                    </a:lnTo>
                    <a:lnTo>
                      <a:pt x="906" y="473"/>
                    </a:lnTo>
                    <a:lnTo>
                      <a:pt x="903" y="476"/>
                    </a:lnTo>
                    <a:lnTo>
                      <a:pt x="901" y="478"/>
                    </a:lnTo>
                    <a:lnTo>
                      <a:pt x="891" y="483"/>
                    </a:lnTo>
                    <a:lnTo>
                      <a:pt x="889" y="483"/>
                    </a:lnTo>
                    <a:lnTo>
                      <a:pt x="887" y="485"/>
                    </a:lnTo>
                    <a:lnTo>
                      <a:pt x="882" y="485"/>
                    </a:lnTo>
                    <a:lnTo>
                      <a:pt x="879" y="488"/>
                    </a:lnTo>
                    <a:lnTo>
                      <a:pt x="875" y="490"/>
                    </a:lnTo>
                    <a:lnTo>
                      <a:pt x="868" y="490"/>
                    </a:lnTo>
                    <a:lnTo>
                      <a:pt x="868" y="492"/>
                    </a:lnTo>
                    <a:lnTo>
                      <a:pt x="853" y="495"/>
                    </a:lnTo>
                    <a:lnTo>
                      <a:pt x="853" y="495"/>
                    </a:lnTo>
                    <a:lnTo>
                      <a:pt x="851" y="497"/>
                    </a:lnTo>
                    <a:lnTo>
                      <a:pt x="853" y="497"/>
                    </a:lnTo>
                    <a:lnTo>
                      <a:pt x="853" y="497"/>
                    </a:lnTo>
                    <a:lnTo>
                      <a:pt x="853" y="497"/>
                    </a:lnTo>
                    <a:lnTo>
                      <a:pt x="853" y="499"/>
                    </a:lnTo>
                    <a:lnTo>
                      <a:pt x="853" y="502"/>
                    </a:lnTo>
                    <a:lnTo>
                      <a:pt x="853" y="502"/>
                    </a:lnTo>
                    <a:lnTo>
                      <a:pt x="853" y="504"/>
                    </a:lnTo>
                    <a:lnTo>
                      <a:pt x="853" y="504"/>
                    </a:lnTo>
                    <a:lnTo>
                      <a:pt x="853" y="506"/>
                    </a:lnTo>
                    <a:lnTo>
                      <a:pt x="856" y="506"/>
                    </a:lnTo>
                    <a:lnTo>
                      <a:pt x="856" y="506"/>
                    </a:lnTo>
                    <a:lnTo>
                      <a:pt x="853" y="506"/>
                    </a:lnTo>
                    <a:lnTo>
                      <a:pt x="853" y="506"/>
                    </a:lnTo>
                    <a:lnTo>
                      <a:pt x="856" y="509"/>
                    </a:lnTo>
                    <a:lnTo>
                      <a:pt x="856" y="509"/>
                    </a:lnTo>
                    <a:lnTo>
                      <a:pt x="856" y="509"/>
                    </a:lnTo>
                    <a:lnTo>
                      <a:pt x="853" y="511"/>
                    </a:lnTo>
                    <a:lnTo>
                      <a:pt x="853" y="511"/>
                    </a:lnTo>
                    <a:lnTo>
                      <a:pt x="853" y="511"/>
                    </a:lnTo>
                    <a:lnTo>
                      <a:pt x="856" y="511"/>
                    </a:lnTo>
                    <a:lnTo>
                      <a:pt x="853" y="514"/>
                    </a:lnTo>
                    <a:lnTo>
                      <a:pt x="853" y="511"/>
                    </a:lnTo>
                    <a:lnTo>
                      <a:pt x="853" y="514"/>
                    </a:lnTo>
                    <a:lnTo>
                      <a:pt x="851" y="514"/>
                    </a:lnTo>
                    <a:lnTo>
                      <a:pt x="851" y="514"/>
                    </a:lnTo>
                    <a:lnTo>
                      <a:pt x="851" y="516"/>
                    </a:lnTo>
                    <a:lnTo>
                      <a:pt x="851" y="518"/>
                    </a:lnTo>
                    <a:lnTo>
                      <a:pt x="849" y="521"/>
                    </a:lnTo>
                    <a:lnTo>
                      <a:pt x="846" y="525"/>
                    </a:lnTo>
                    <a:lnTo>
                      <a:pt x="846" y="528"/>
                    </a:lnTo>
                    <a:lnTo>
                      <a:pt x="846" y="530"/>
                    </a:lnTo>
                    <a:lnTo>
                      <a:pt x="846" y="530"/>
                    </a:lnTo>
                    <a:lnTo>
                      <a:pt x="846" y="533"/>
                    </a:lnTo>
                    <a:lnTo>
                      <a:pt x="846" y="533"/>
                    </a:lnTo>
                    <a:lnTo>
                      <a:pt x="846" y="535"/>
                    </a:lnTo>
                    <a:lnTo>
                      <a:pt x="844" y="537"/>
                    </a:lnTo>
                    <a:lnTo>
                      <a:pt x="844" y="537"/>
                    </a:lnTo>
                    <a:lnTo>
                      <a:pt x="846" y="540"/>
                    </a:lnTo>
                    <a:lnTo>
                      <a:pt x="846" y="540"/>
                    </a:lnTo>
                    <a:lnTo>
                      <a:pt x="844" y="542"/>
                    </a:lnTo>
                    <a:lnTo>
                      <a:pt x="844" y="542"/>
                    </a:lnTo>
                    <a:lnTo>
                      <a:pt x="844" y="544"/>
                    </a:lnTo>
                    <a:lnTo>
                      <a:pt x="844" y="544"/>
                    </a:lnTo>
                    <a:lnTo>
                      <a:pt x="844" y="544"/>
                    </a:lnTo>
                    <a:lnTo>
                      <a:pt x="844" y="544"/>
                    </a:lnTo>
                    <a:lnTo>
                      <a:pt x="842" y="547"/>
                    </a:lnTo>
                    <a:lnTo>
                      <a:pt x="839" y="549"/>
                    </a:lnTo>
                    <a:lnTo>
                      <a:pt x="835" y="549"/>
                    </a:lnTo>
                    <a:lnTo>
                      <a:pt x="835" y="551"/>
                    </a:lnTo>
                    <a:lnTo>
                      <a:pt x="832" y="551"/>
                    </a:lnTo>
                    <a:lnTo>
                      <a:pt x="832" y="554"/>
                    </a:lnTo>
                    <a:lnTo>
                      <a:pt x="832" y="554"/>
                    </a:lnTo>
                    <a:lnTo>
                      <a:pt x="830" y="554"/>
                    </a:lnTo>
                    <a:lnTo>
                      <a:pt x="832" y="559"/>
                    </a:lnTo>
                    <a:lnTo>
                      <a:pt x="832" y="559"/>
                    </a:lnTo>
                    <a:lnTo>
                      <a:pt x="832" y="559"/>
                    </a:lnTo>
                    <a:lnTo>
                      <a:pt x="830" y="561"/>
                    </a:lnTo>
                    <a:lnTo>
                      <a:pt x="830" y="561"/>
                    </a:lnTo>
                    <a:lnTo>
                      <a:pt x="827" y="563"/>
                    </a:lnTo>
                    <a:lnTo>
                      <a:pt x="825" y="566"/>
                    </a:lnTo>
                    <a:lnTo>
                      <a:pt x="827" y="563"/>
                    </a:lnTo>
                    <a:lnTo>
                      <a:pt x="827" y="561"/>
                    </a:lnTo>
                    <a:lnTo>
                      <a:pt x="827" y="561"/>
                    </a:lnTo>
                    <a:lnTo>
                      <a:pt x="827" y="561"/>
                    </a:lnTo>
                    <a:lnTo>
                      <a:pt x="827" y="559"/>
                    </a:lnTo>
                    <a:lnTo>
                      <a:pt x="825" y="559"/>
                    </a:lnTo>
                    <a:lnTo>
                      <a:pt x="825" y="559"/>
                    </a:lnTo>
                    <a:lnTo>
                      <a:pt x="825" y="559"/>
                    </a:lnTo>
                    <a:lnTo>
                      <a:pt x="825" y="556"/>
                    </a:lnTo>
                    <a:lnTo>
                      <a:pt x="823" y="556"/>
                    </a:lnTo>
                    <a:lnTo>
                      <a:pt x="820" y="559"/>
                    </a:lnTo>
                    <a:lnTo>
                      <a:pt x="820" y="559"/>
                    </a:lnTo>
                    <a:lnTo>
                      <a:pt x="818" y="559"/>
                    </a:lnTo>
                    <a:lnTo>
                      <a:pt x="818" y="561"/>
                    </a:lnTo>
                    <a:lnTo>
                      <a:pt x="816" y="561"/>
                    </a:lnTo>
                    <a:lnTo>
                      <a:pt x="816" y="563"/>
                    </a:lnTo>
                    <a:lnTo>
                      <a:pt x="813" y="566"/>
                    </a:lnTo>
                    <a:lnTo>
                      <a:pt x="813" y="566"/>
                    </a:lnTo>
                    <a:lnTo>
                      <a:pt x="813" y="566"/>
                    </a:lnTo>
                    <a:lnTo>
                      <a:pt x="813" y="568"/>
                    </a:lnTo>
                    <a:lnTo>
                      <a:pt x="813" y="568"/>
                    </a:lnTo>
                    <a:lnTo>
                      <a:pt x="813" y="570"/>
                    </a:lnTo>
                    <a:lnTo>
                      <a:pt x="816" y="573"/>
                    </a:lnTo>
                    <a:lnTo>
                      <a:pt x="813" y="575"/>
                    </a:lnTo>
                    <a:lnTo>
                      <a:pt x="813" y="573"/>
                    </a:lnTo>
                    <a:lnTo>
                      <a:pt x="813" y="570"/>
                    </a:lnTo>
                    <a:lnTo>
                      <a:pt x="811" y="566"/>
                    </a:lnTo>
                    <a:lnTo>
                      <a:pt x="809" y="566"/>
                    </a:lnTo>
                    <a:lnTo>
                      <a:pt x="809" y="563"/>
                    </a:lnTo>
                    <a:lnTo>
                      <a:pt x="806" y="563"/>
                    </a:lnTo>
                    <a:lnTo>
                      <a:pt x="804" y="563"/>
                    </a:lnTo>
                    <a:lnTo>
                      <a:pt x="801" y="563"/>
                    </a:lnTo>
                    <a:lnTo>
                      <a:pt x="797" y="566"/>
                    </a:lnTo>
                    <a:lnTo>
                      <a:pt x="794" y="568"/>
                    </a:lnTo>
                    <a:lnTo>
                      <a:pt x="794" y="568"/>
                    </a:lnTo>
                    <a:lnTo>
                      <a:pt x="799" y="563"/>
                    </a:lnTo>
                    <a:lnTo>
                      <a:pt x="801" y="563"/>
                    </a:lnTo>
                    <a:lnTo>
                      <a:pt x="804" y="561"/>
                    </a:lnTo>
                    <a:lnTo>
                      <a:pt x="804" y="561"/>
                    </a:lnTo>
                    <a:lnTo>
                      <a:pt x="804" y="559"/>
                    </a:lnTo>
                    <a:lnTo>
                      <a:pt x="804" y="556"/>
                    </a:lnTo>
                    <a:lnTo>
                      <a:pt x="804" y="554"/>
                    </a:lnTo>
                    <a:lnTo>
                      <a:pt x="804" y="554"/>
                    </a:lnTo>
                    <a:lnTo>
                      <a:pt x="801" y="549"/>
                    </a:lnTo>
                    <a:lnTo>
                      <a:pt x="799" y="549"/>
                    </a:lnTo>
                    <a:lnTo>
                      <a:pt x="797" y="547"/>
                    </a:lnTo>
                    <a:lnTo>
                      <a:pt x="797" y="547"/>
                    </a:lnTo>
                    <a:lnTo>
                      <a:pt x="797" y="544"/>
                    </a:lnTo>
                    <a:lnTo>
                      <a:pt x="794" y="544"/>
                    </a:lnTo>
                    <a:lnTo>
                      <a:pt x="794" y="544"/>
                    </a:lnTo>
                    <a:lnTo>
                      <a:pt x="792" y="544"/>
                    </a:lnTo>
                    <a:lnTo>
                      <a:pt x="790" y="544"/>
                    </a:lnTo>
                    <a:lnTo>
                      <a:pt x="792" y="544"/>
                    </a:lnTo>
                    <a:lnTo>
                      <a:pt x="794" y="544"/>
                    </a:lnTo>
                    <a:lnTo>
                      <a:pt x="794" y="542"/>
                    </a:lnTo>
                    <a:lnTo>
                      <a:pt x="797" y="542"/>
                    </a:lnTo>
                    <a:lnTo>
                      <a:pt x="797" y="540"/>
                    </a:lnTo>
                    <a:lnTo>
                      <a:pt x="797" y="537"/>
                    </a:lnTo>
                    <a:lnTo>
                      <a:pt x="794" y="537"/>
                    </a:lnTo>
                    <a:lnTo>
                      <a:pt x="794" y="533"/>
                    </a:lnTo>
                    <a:lnTo>
                      <a:pt x="794" y="533"/>
                    </a:lnTo>
                    <a:lnTo>
                      <a:pt x="792" y="530"/>
                    </a:lnTo>
                    <a:lnTo>
                      <a:pt x="792" y="530"/>
                    </a:lnTo>
                    <a:lnTo>
                      <a:pt x="792" y="528"/>
                    </a:lnTo>
                    <a:lnTo>
                      <a:pt x="792" y="528"/>
                    </a:lnTo>
                    <a:lnTo>
                      <a:pt x="794" y="525"/>
                    </a:lnTo>
                    <a:lnTo>
                      <a:pt x="797" y="525"/>
                    </a:lnTo>
                    <a:lnTo>
                      <a:pt x="797" y="523"/>
                    </a:lnTo>
                    <a:lnTo>
                      <a:pt x="799" y="521"/>
                    </a:lnTo>
                    <a:lnTo>
                      <a:pt x="799" y="518"/>
                    </a:lnTo>
                    <a:lnTo>
                      <a:pt x="801" y="516"/>
                    </a:lnTo>
                    <a:lnTo>
                      <a:pt x="804" y="514"/>
                    </a:lnTo>
                    <a:lnTo>
                      <a:pt x="804" y="514"/>
                    </a:lnTo>
                    <a:lnTo>
                      <a:pt x="804" y="511"/>
                    </a:lnTo>
                    <a:lnTo>
                      <a:pt x="806" y="509"/>
                    </a:lnTo>
                    <a:lnTo>
                      <a:pt x="806" y="506"/>
                    </a:lnTo>
                    <a:lnTo>
                      <a:pt x="804" y="506"/>
                    </a:lnTo>
                    <a:lnTo>
                      <a:pt x="804" y="504"/>
                    </a:lnTo>
                    <a:lnTo>
                      <a:pt x="806" y="502"/>
                    </a:lnTo>
                    <a:lnTo>
                      <a:pt x="809" y="499"/>
                    </a:lnTo>
                    <a:lnTo>
                      <a:pt x="816" y="492"/>
                    </a:lnTo>
                    <a:lnTo>
                      <a:pt x="816" y="492"/>
                    </a:lnTo>
                    <a:lnTo>
                      <a:pt x="816" y="490"/>
                    </a:lnTo>
                    <a:lnTo>
                      <a:pt x="816" y="488"/>
                    </a:lnTo>
                    <a:lnTo>
                      <a:pt x="813" y="485"/>
                    </a:lnTo>
                    <a:lnTo>
                      <a:pt x="811" y="485"/>
                    </a:lnTo>
                    <a:lnTo>
                      <a:pt x="811" y="485"/>
                    </a:lnTo>
                    <a:lnTo>
                      <a:pt x="809" y="485"/>
                    </a:lnTo>
                    <a:lnTo>
                      <a:pt x="809" y="485"/>
                    </a:lnTo>
                    <a:lnTo>
                      <a:pt x="809" y="485"/>
                    </a:lnTo>
                    <a:lnTo>
                      <a:pt x="804" y="485"/>
                    </a:lnTo>
                    <a:lnTo>
                      <a:pt x="799" y="483"/>
                    </a:lnTo>
                    <a:lnTo>
                      <a:pt x="797" y="483"/>
                    </a:lnTo>
                    <a:lnTo>
                      <a:pt x="794" y="483"/>
                    </a:lnTo>
                    <a:lnTo>
                      <a:pt x="794" y="483"/>
                    </a:lnTo>
                    <a:lnTo>
                      <a:pt x="792" y="483"/>
                    </a:lnTo>
                    <a:lnTo>
                      <a:pt x="792" y="483"/>
                    </a:lnTo>
                    <a:lnTo>
                      <a:pt x="790" y="483"/>
                    </a:lnTo>
                    <a:lnTo>
                      <a:pt x="787" y="483"/>
                    </a:lnTo>
                    <a:lnTo>
                      <a:pt x="785" y="483"/>
                    </a:lnTo>
                    <a:lnTo>
                      <a:pt x="783" y="483"/>
                    </a:lnTo>
                    <a:lnTo>
                      <a:pt x="778" y="483"/>
                    </a:lnTo>
                    <a:lnTo>
                      <a:pt x="775" y="483"/>
                    </a:lnTo>
                    <a:lnTo>
                      <a:pt x="775" y="483"/>
                    </a:lnTo>
                    <a:lnTo>
                      <a:pt x="773" y="485"/>
                    </a:lnTo>
                    <a:lnTo>
                      <a:pt x="768" y="488"/>
                    </a:lnTo>
                    <a:lnTo>
                      <a:pt x="768" y="488"/>
                    </a:lnTo>
                    <a:lnTo>
                      <a:pt x="775" y="483"/>
                    </a:lnTo>
                    <a:lnTo>
                      <a:pt x="775" y="483"/>
                    </a:lnTo>
                    <a:lnTo>
                      <a:pt x="775" y="480"/>
                    </a:lnTo>
                    <a:lnTo>
                      <a:pt x="773" y="480"/>
                    </a:lnTo>
                    <a:lnTo>
                      <a:pt x="773" y="480"/>
                    </a:lnTo>
                    <a:lnTo>
                      <a:pt x="773" y="478"/>
                    </a:lnTo>
                    <a:lnTo>
                      <a:pt x="771" y="478"/>
                    </a:lnTo>
                    <a:lnTo>
                      <a:pt x="768" y="476"/>
                    </a:lnTo>
                    <a:lnTo>
                      <a:pt x="768" y="476"/>
                    </a:lnTo>
                    <a:lnTo>
                      <a:pt x="766" y="476"/>
                    </a:lnTo>
                    <a:lnTo>
                      <a:pt x="761" y="473"/>
                    </a:lnTo>
                    <a:lnTo>
                      <a:pt x="756" y="471"/>
                    </a:lnTo>
                    <a:lnTo>
                      <a:pt x="752" y="469"/>
                    </a:lnTo>
                    <a:lnTo>
                      <a:pt x="749" y="469"/>
                    </a:lnTo>
                    <a:lnTo>
                      <a:pt x="747" y="469"/>
                    </a:lnTo>
                    <a:lnTo>
                      <a:pt x="747" y="461"/>
                    </a:lnTo>
                    <a:lnTo>
                      <a:pt x="745" y="459"/>
                    </a:lnTo>
                    <a:lnTo>
                      <a:pt x="742" y="459"/>
                    </a:lnTo>
                    <a:lnTo>
                      <a:pt x="742" y="457"/>
                    </a:lnTo>
                    <a:lnTo>
                      <a:pt x="740" y="454"/>
                    </a:lnTo>
                    <a:lnTo>
                      <a:pt x="738" y="452"/>
                    </a:lnTo>
                    <a:lnTo>
                      <a:pt x="738" y="452"/>
                    </a:lnTo>
                    <a:lnTo>
                      <a:pt x="733" y="452"/>
                    </a:lnTo>
                    <a:lnTo>
                      <a:pt x="733" y="452"/>
                    </a:lnTo>
                    <a:lnTo>
                      <a:pt x="726" y="450"/>
                    </a:lnTo>
                    <a:lnTo>
                      <a:pt x="723" y="447"/>
                    </a:lnTo>
                    <a:lnTo>
                      <a:pt x="719" y="447"/>
                    </a:lnTo>
                    <a:lnTo>
                      <a:pt x="716" y="445"/>
                    </a:lnTo>
                    <a:lnTo>
                      <a:pt x="712" y="445"/>
                    </a:lnTo>
                    <a:lnTo>
                      <a:pt x="709" y="445"/>
                    </a:lnTo>
                    <a:lnTo>
                      <a:pt x="693" y="447"/>
                    </a:lnTo>
                    <a:lnTo>
                      <a:pt x="688" y="450"/>
                    </a:lnTo>
                    <a:lnTo>
                      <a:pt x="686" y="450"/>
                    </a:lnTo>
                    <a:lnTo>
                      <a:pt x="686" y="450"/>
                    </a:lnTo>
                    <a:lnTo>
                      <a:pt x="688" y="450"/>
                    </a:lnTo>
                    <a:lnTo>
                      <a:pt x="688" y="447"/>
                    </a:lnTo>
                    <a:lnTo>
                      <a:pt x="686" y="450"/>
                    </a:lnTo>
                    <a:lnTo>
                      <a:pt x="686" y="450"/>
                    </a:lnTo>
                    <a:lnTo>
                      <a:pt x="681" y="450"/>
                    </a:lnTo>
                    <a:lnTo>
                      <a:pt x="681" y="450"/>
                    </a:lnTo>
                    <a:lnTo>
                      <a:pt x="678" y="452"/>
                    </a:lnTo>
                    <a:lnTo>
                      <a:pt x="678" y="450"/>
                    </a:lnTo>
                    <a:lnTo>
                      <a:pt x="681" y="450"/>
                    </a:lnTo>
                    <a:lnTo>
                      <a:pt x="681" y="450"/>
                    </a:lnTo>
                    <a:lnTo>
                      <a:pt x="683" y="450"/>
                    </a:lnTo>
                    <a:lnTo>
                      <a:pt x="686" y="447"/>
                    </a:lnTo>
                    <a:lnTo>
                      <a:pt x="688" y="445"/>
                    </a:lnTo>
                    <a:lnTo>
                      <a:pt x="690" y="445"/>
                    </a:lnTo>
                    <a:lnTo>
                      <a:pt x="690" y="443"/>
                    </a:lnTo>
                    <a:lnTo>
                      <a:pt x="690" y="443"/>
                    </a:lnTo>
                    <a:lnTo>
                      <a:pt x="690" y="440"/>
                    </a:lnTo>
                    <a:lnTo>
                      <a:pt x="693" y="433"/>
                    </a:lnTo>
                    <a:lnTo>
                      <a:pt x="693" y="433"/>
                    </a:lnTo>
                    <a:lnTo>
                      <a:pt x="695" y="428"/>
                    </a:lnTo>
                    <a:lnTo>
                      <a:pt x="695" y="426"/>
                    </a:lnTo>
                    <a:lnTo>
                      <a:pt x="697" y="421"/>
                    </a:lnTo>
                    <a:lnTo>
                      <a:pt x="697" y="419"/>
                    </a:lnTo>
                    <a:lnTo>
                      <a:pt x="700" y="416"/>
                    </a:lnTo>
                    <a:lnTo>
                      <a:pt x="700" y="416"/>
                    </a:lnTo>
                    <a:lnTo>
                      <a:pt x="697" y="414"/>
                    </a:lnTo>
                    <a:lnTo>
                      <a:pt x="695" y="414"/>
                    </a:lnTo>
                    <a:lnTo>
                      <a:pt x="695" y="414"/>
                    </a:lnTo>
                    <a:lnTo>
                      <a:pt x="690" y="414"/>
                    </a:lnTo>
                    <a:lnTo>
                      <a:pt x="686" y="414"/>
                    </a:lnTo>
                    <a:lnTo>
                      <a:pt x="686" y="414"/>
                    </a:lnTo>
                    <a:lnTo>
                      <a:pt x="681" y="416"/>
                    </a:lnTo>
                    <a:lnTo>
                      <a:pt x="676" y="421"/>
                    </a:lnTo>
                    <a:lnTo>
                      <a:pt x="676" y="424"/>
                    </a:lnTo>
                    <a:lnTo>
                      <a:pt x="676" y="424"/>
                    </a:lnTo>
                    <a:lnTo>
                      <a:pt x="681" y="416"/>
                    </a:lnTo>
                    <a:lnTo>
                      <a:pt x="681" y="416"/>
                    </a:lnTo>
                    <a:lnTo>
                      <a:pt x="681" y="414"/>
                    </a:lnTo>
                    <a:lnTo>
                      <a:pt x="681" y="414"/>
                    </a:lnTo>
                    <a:lnTo>
                      <a:pt x="678" y="412"/>
                    </a:lnTo>
                    <a:lnTo>
                      <a:pt x="678" y="412"/>
                    </a:lnTo>
                    <a:lnTo>
                      <a:pt x="678" y="412"/>
                    </a:lnTo>
                    <a:lnTo>
                      <a:pt x="678" y="412"/>
                    </a:lnTo>
                    <a:lnTo>
                      <a:pt x="678" y="412"/>
                    </a:lnTo>
                    <a:lnTo>
                      <a:pt x="678" y="409"/>
                    </a:lnTo>
                    <a:lnTo>
                      <a:pt x="678" y="409"/>
                    </a:lnTo>
                    <a:lnTo>
                      <a:pt x="676" y="409"/>
                    </a:lnTo>
                    <a:lnTo>
                      <a:pt x="678" y="409"/>
                    </a:lnTo>
                    <a:lnTo>
                      <a:pt x="681" y="407"/>
                    </a:lnTo>
                    <a:lnTo>
                      <a:pt x="683" y="405"/>
                    </a:lnTo>
                    <a:lnTo>
                      <a:pt x="686" y="400"/>
                    </a:lnTo>
                    <a:lnTo>
                      <a:pt x="693" y="390"/>
                    </a:lnTo>
                    <a:lnTo>
                      <a:pt x="695" y="388"/>
                    </a:lnTo>
                    <a:lnTo>
                      <a:pt x="700" y="386"/>
                    </a:lnTo>
                    <a:lnTo>
                      <a:pt x="702" y="383"/>
                    </a:lnTo>
                    <a:lnTo>
                      <a:pt x="702" y="381"/>
                    </a:lnTo>
                    <a:lnTo>
                      <a:pt x="702" y="381"/>
                    </a:lnTo>
                    <a:lnTo>
                      <a:pt x="702" y="381"/>
                    </a:lnTo>
                    <a:lnTo>
                      <a:pt x="702" y="381"/>
                    </a:lnTo>
                    <a:lnTo>
                      <a:pt x="704" y="381"/>
                    </a:lnTo>
                    <a:lnTo>
                      <a:pt x="707" y="379"/>
                    </a:lnTo>
                    <a:lnTo>
                      <a:pt x="709" y="376"/>
                    </a:lnTo>
                    <a:lnTo>
                      <a:pt x="714" y="374"/>
                    </a:lnTo>
                    <a:lnTo>
                      <a:pt x="719" y="372"/>
                    </a:lnTo>
                    <a:lnTo>
                      <a:pt x="721" y="369"/>
                    </a:lnTo>
                    <a:lnTo>
                      <a:pt x="723" y="367"/>
                    </a:lnTo>
                    <a:lnTo>
                      <a:pt x="723" y="367"/>
                    </a:lnTo>
                    <a:lnTo>
                      <a:pt x="723" y="364"/>
                    </a:lnTo>
                    <a:lnTo>
                      <a:pt x="723" y="364"/>
                    </a:lnTo>
                    <a:lnTo>
                      <a:pt x="726" y="364"/>
                    </a:lnTo>
                    <a:lnTo>
                      <a:pt x="726" y="364"/>
                    </a:lnTo>
                    <a:lnTo>
                      <a:pt x="728" y="364"/>
                    </a:lnTo>
                    <a:lnTo>
                      <a:pt x="728" y="362"/>
                    </a:lnTo>
                    <a:lnTo>
                      <a:pt x="728" y="362"/>
                    </a:lnTo>
                    <a:lnTo>
                      <a:pt x="733" y="360"/>
                    </a:lnTo>
                    <a:lnTo>
                      <a:pt x="740" y="357"/>
                    </a:lnTo>
                    <a:lnTo>
                      <a:pt x="740" y="357"/>
                    </a:lnTo>
                    <a:lnTo>
                      <a:pt x="742" y="357"/>
                    </a:lnTo>
                    <a:lnTo>
                      <a:pt x="742" y="357"/>
                    </a:lnTo>
                    <a:lnTo>
                      <a:pt x="740" y="355"/>
                    </a:lnTo>
                    <a:lnTo>
                      <a:pt x="740" y="355"/>
                    </a:lnTo>
                    <a:lnTo>
                      <a:pt x="740" y="355"/>
                    </a:lnTo>
                    <a:lnTo>
                      <a:pt x="740" y="353"/>
                    </a:lnTo>
                    <a:lnTo>
                      <a:pt x="742" y="353"/>
                    </a:lnTo>
                    <a:lnTo>
                      <a:pt x="745" y="353"/>
                    </a:lnTo>
                    <a:lnTo>
                      <a:pt x="745" y="353"/>
                    </a:lnTo>
                    <a:lnTo>
                      <a:pt x="745" y="353"/>
                    </a:lnTo>
                    <a:lnTo>
                      <a:pt x="745" y="353"/>
                    </a:lnTo>
                    <a:lnTo>
                      <a:pt x="745" y="353"/>
                    </a:lnTo>
                    <a:lnTo>
                      <a:pt x="747" y="353"/>
                    </a:lnTo>
                    <a:lnTo>
                      <a:pt x="749" y="350"/>
                    </a:lnTo>
                    <a:lnTo>
                      <a:pt x="752" y="350"/>
                    </a:lnTo>
                    <a:lnTo>
                      <a:pt x="752" y="350"/>
                    </a:lnTo>
                    <a:lnTo>
                      <a:pt x="749" y="350"/>
                    </a:lnTo>
                    <a:lnTo>
                      <a:pt x="752" y="350"/>
                    </a:lnTo>
                    <a:lnTo>
                      <a:pt x="754" y="348"/>
                    </a:lnTo>
                    <a:lnTo>
                      <a:pt x="754" y="348"/>
                    </a:lnTo>
                    <a:lnTo>
                      <a:pt x="754" y="348"/>
                    </a:lnTo>
                    <a:lnTo>
                      <a:pt x="752" y="345"/>
                    </a:lnTo>
                    <a:lnTo>
                      <a:pt x="752" y="345"/>
                    </a:lnTo>
                    <a:lnTo>
                      <a:pt x="752" y="345"/>
                    </a:lnTo>
                    <a:lnTo>
                      <a:pt x="756" y="345"/>
                    </a:lnTo>
                    <a:lnTo>
                      <a:pt x="756" y="348"/>
                    </a:lnTo>
                    <a:lnTo>
                      <a:pt x="759" y="348"/>
                    </a:lnTo>
                    <a:lnTo>
                      <a:pt x="759" y="348"/>
                    </a:lnTo>
                    <a:lnTo>
                      <a:pt x="759" y="350"/>
                    </a:lnTo>
                    <a:lnTo>
                      <a:pt x="759" y="348"/>
                    </a:lnTo>
                    <a:lnTo>
                      <a:pt x="759" y="348"/>
                    </a:lnTo>
                    <a:lnTo>
                      <a:pt x="759" y="345"/>
                    </a:lnTo>
                    <a:lnTo>
                      <a:pt x="759" y="345"/>
                    </a:lnTo>
                    <a:lnTo>
                      <a:pt x="759" y="345"/>
                    </a:lnTo>
                    <a:lnTo>
                      <a:pt x="761" y="345"/>
                    </a:lnTo>
                    <a:lnTo>
                      <a:pt x="764" y="343"/>
                    </a:lnTo>
                    <a:lnTo>
                      <a:pt x="764" y="343"/>
                    </a:lnTo>
                    <a:lnTo>
                      <a:pt x="764" y="341"/>
                    </a:lnTo>
                    <a:lnTo>
                      <a:pt x="766" y="341"/>
                    </a:lnTo>
                    <a:lnTo>
                      <a:pt x="766" y="341"/>
                    </a:lnTo>
                    <a:lnTo>
                      <a:pt x="768" y="341"/>
                    </a:lnTo>
                    <a:lnTo>
                      <a:pt x="768" y="341"/>
                    </a:lnTo>
                    <a:lnTo>
                      <a:pt x="771" y="341"/>
                    </a:lnTo>
                    <a:lnTo>
                      <a:pt x="771" y="341"/>
                    </a:lnTo>
                    <a:lnTo>
                      <a:pt x="773" y="343"/>
                    </a:lnTo>
                    <a:lnTo>
                      <a:pt x="773" y="341"/>
                    </a:lnTo>
                    <a:lnTo>
                      <a:pt x="773" y="341"/>
                    </a:lnTo>
                    <a:lnTo>
                      <a:pt x="775" y="341"/>
                    </a:lnTo>
                    <a:lnTo>
                      <a:pt x="773" y="341"/>
                    </a:lnTo>
                    <a:lnTo>
                      <a:pt x="771" y="338"/>
                    </a:lnTo>
                    <a:lnTo>
                      <a:pt x="771" y="338"/>
                    </a:lnTo>
                    <a:lnTo>
                      <a:pt x="771" y="338"/>
                    </a:lnTo>
                    <a:lnTo>
                      <a:pt x="771" y="338"/>
                    </a:lnTo>
                    <a:lnTo>
                      <a:pt x="771" y="336"/>
                    </a:lnTo>
                    <a:lnTo>
                      <a:pt x="771" y="336"/>
                    </a:lnTo>
                    <a:lnTo>
                      <a:pt x="773" y="336"/>
                    </a:lnTo>
                    <a:lnTo>
                      <a:pt x="775" y="336"/>
                    </a:lnTo>
                    <a:lnTo>
                      <a:pt x="775" y="336"/>
                    </a:lnTo>
                    <a:lnTo>
                      <a:pt x="775" y="336"/>
                    </a:lnTo>
                    <a:lnTo>
                      <a:pt x="778" y="336"/>
                    </a:lnTo>
                    <a:lnTo>
                      <a:pt x="785" y="336"/>
                    </a:lnTo>
                    <a:lnTo>
                      <a:pt x="785" y="336"/>
                    </a:lnTo>
                    <a:lnTo>
                      <a:pt x="790" y="334"/>
                    </a:lnTo>
                    <a:lnTo>
                      <a:pt x="792" y="334"/>
                    </a:lnTo>
                    <a:lnTo>
                      <a:pt x="794" y="334"/>
                    </a:lnTo>
                    <a:lnTo>
                      <a:pt x="797" y="334"/>
                    </a:lnTo>
                    <a:lnTo>
                      <a:pt x="797" y="334"/>
                    </a:lnTo>
                    <a:lnTo>
                      <a:pt x="799" y="331"/>
                    </a:lnTo>
                    <a:lnTo>
                      <a:pt x="799" y="331"/>
                    </a:lnTo>
                    <a:lnTo>
                      <a:pt x="801" y="327"/>
                    </a:lnTo>
                    <a:lnTo>
                      <a:pt x="801" y="327"/>
                    </a:lnTo>
                    <a:lnTo>
                      <a:pt x="801" y="324"/>
                    </a:lnTo>
                    <a:lnTo>
                      <a:pt x="799" y="324"/>
                    </a:lnTo>
                    <a:lnTo>
                      <a:pt x="797" y="324"/>
                    </a:lnTo>
                    <a:lnTo>
                      <a:pt x="794" y="322"/>
                    </a:lnTo>
                    <a:lnTo>
                      <a:pt x="794" y="322"/>
                    </a:lnTo>
                    <a:lnTo>
                      <a:pt x="792" y="319"/>
                    </a:lnTo>
                    <a:lnTo>
                      <a:pt x="790" y="319"/>
                    </a:lnTo>
                    <a:lnTo>
                      <a:pt x="787" y="322"/>
                    </a:lnTo>
                    <a:lnTo>
                      <a:pt x="783" y="322"/>
                    </a:lnTo>
                    <a:lnTo>
                      <a:pt x="780" y="322"/>
                    </a:lnTo>
                    <a:lnTo>
                      <a:pt x="780" y="322"/>
                    </a:lnTo>
                    <a:lnTo>
                      <a:pt x="787" y="322"/>
                    </a:lnTo>
                    <a:lnTo>
                      <a:pt x="787" y="319"/>
                    </a:lnTo>
                    <a:lnTo>
                      <a:pt x="787" y="319"/>
                    </a:lnTo>
                    <a:lnTo>
                      <a:pt x="785" y="319"/>
                    </a:lnTo>
                    <a:lnTo>
                      <a:pt x="783" y="319"/>
                    </a:lnTo>
                    <a:lnTo>
                      <a:pt x="775" y="317"/>
                    </a:lnTo>
                    <a:lnTo>
                      <a:pt x="775" y="315"/>
                    </a:lnTo>
                    <a:lnTo>
                      <a:pt x="773" y="315"/>
                    </a:lnTo>
                    <a:lnTo>
                      <a:pt x="773" y="315"/>
                    </a:lnTo>
                    <a:lnTo>
                      <a:pt x="773" y="317"/>
                    </a:lnTo>
                    <a:lnTo>
                      <a:pt x="773" y="317"/>
                    </a:lnTo>
                    <a:lnTo>
                      <a:pt x="773" y="317"/>
                    </a:lnTo>
                    <a:lnTo>
                      <a:pt x="773" y="317"/>
                    </a:lnTo>
                    <a:lnTo>
                      <a:pt x="771" y="317"/>
                    </a:lnTo>
                    <a:lnTo>
                      <a:pt x="771" y="317"/>
                    </a:lnTo>
                    <a:lnTo>
                      <a:pt x="768" y="315"/>
                    </a:lnTo>
                    <a:lnTo>
                      <a:pt x="771" y="315"/>
                    </a:lnTo>
                    <a:lnTo>
                      <a:pt x="771" y="315"/>
                    </a:lnTo>
                    <a:lnTo>
                      <a:pt x="773" y="315"/>
                    </a:lnTo>
                    <a:lnTo>
                      <a:pt x="773" y="312"/>
                    </a:lnTo>
                    <a:lnTo>
                      <a:pt x="773" y="315"/>
                    </a:lnTo>
                    <a:lnTo>
                      <a:pt x="780" y="315"/>
                    </a:lnTo>
                    <a:lnTo>
                      <a:pt x="785" y="317"/>
                    </a:lnTo>
                    <a:lnTo>
                      <a:pt x="787" y="319"/>
                    </a:lnTo>
                    <a:lnTo>
                      <a:pt x="787" y="319"/>
                    </a:lnTo>
                    <a:lnTo>
                      <a:pt x="790" y="319"/>
                    </a:lnTo>
                    <a:lnTo>
                      <a:pt x="792" y="317"/>
                    </a:lnTo>
                    <a:lnTo>
                      <a:pt x="792" y="317"/>
                    </a:lnTo>
                    <a:lnTo>
                      <a:pt x="792" y="317"/>
                    </a:lnTo>
                    <a:lnTo>
                      <a:pt x="792" y="317"/>
                    </a:lnTo>
                    <a:lnTo>
                      <a:pt x="792" y="319"/>
                    </a:lnTo>
                    <a:lnTo>
                      <a:pt x="792" y="319"/>
                    </a:lnTo>
                    <a:lnTo>
                      <a:pt x="792" y="319"/>
                    </a:lnTo>
                    <a:lnTo>
                      <a:pt x="794" y="319"/>
                    </a:lnTo>
                    <a:lnTo>
                      <a:pt x="797" y="319"/>
                    </a:lnTo>
                    <a:lnTo>
                      <a:pt x="801" y="322"/>
                    </a:lnTo>
                    <a:lnTo>
                      <a:pt x="804" y="322"/>
                    </a:lnTo>
                    <a:lnTo>
                      <a:pt x="804" y="322"/>
                    </a:lnTo>
                    <a:lnTo>
                      <a:pt x="806" y="322"/>
                    </a:lnTo>
                    <a:lnTo>
                      <a:pt x="809" y="322"/>
                    </a:lnTo>
                    <a:lnTo>
                      <a:pt x="809" y="322"/>
                    </a:lnTo>
                    <a:lnTo>
                      <a:pt x="811" y="322"/>
                    </a:lnTo>
                    <a:lnTo>
                      <a:pt x="811" y="322"/>
                    </a:lnTo>
                    <a:lnTo>
                      <a:pt x="811" y="322"/>
                    </a:lnTo>
                    <a:lnTo>
                      <a:pt x="813" y="322"/>
                    </a:lnTo>
                    <a:lnTo>
                      <a:pt x="816" y="319"/>
                    </a:lnTo>
                    <a:lnTo>
                      <a:pt x="820" y="317"/>
                    </a:lnTo>
                    <a:lnTo>
                      <a:pt x="820" y="317"/>
                    </a:lnTo>
                    <a:lnTo>
                      <a:pt x="820" y="317"/>
                    </a:lnTo>
                    <a:lnTo>
                      <a:pt x="820" y="315"/>
                    </a:lnTo>
                    <a:lnTo>
                      <a:pt x="820" y="315"/>
                    </a:lnTo>
                    <a:lnTo>
                      <a:pt x="823" y="315"/>
                    </a:lnTo>
                    <a:lnTo>
                      <a:pt x="825" y="315"/>
                    </a:lnTo>
                    <a:lnTo>
                      <a:pt x="825" y="315"/>
                    </a:lnTo>
                    <a:lnTo>
                      <a:pt x="825" y="312"/>
                    </a:lnTo>
                    <a:lnTo>
                      <a:pt x="825" y="312"/>
                    </a:lnTo>
                    <a:lnTo>
                      <a:pt x="823" y="312"/>
                    </a:lnTo>
                    <a:lnTo>
                      <a:pt x="825" y="312"/>
                    </a:lnTo>
                    <a:lnTo>
                      <a:pt x="827" y="310"/>
                    </a:lnTo>
                    <a:lnTo>
                      <a:pt x="827" y="312"/>
                    </a:lnTo>
                    <a:lnTo>
                      <a:pt x="827" y="312"/>
                    </a:lnTo>
                    <a:lnTo>
                      <a:pt x="827" y="312"/>
                    </a:lnTo>
                    <a:lnTo>
                      <a:pt x="830" y="315"/>
                    </a:lnTo>
                    <a:lnTo>
                      <a:pt x="830" y="315"/>
                    </a:lnTo>
                    <a:lnTo>
                      <a:pt x="830" y="315"/>
                    </a:lnTo>
                    <a:lnTo>
                      <a:pt x="830" y="315"/>
                    </a:lnTo>
                    <a:lnTo>
                      <a:pt x="832" y="315"/>
                    </a:lnTo>
                    <a:lnTo>
                      <a:pt x="835" y="315"/>
                    </a:lnTo>
                    <a:lnTo>
                      <a:pt x="835" y="315"/>
                    </a:lnTo>
                    <a:lnTo>
                      <a:pt x="835" y="315"/>
                    </a:lnTo>
                    <a:lnTo>
                      <a:pt x="837" y="312"/>
                    </a:lnTo>
                    <a:lnTo>
                      <a:pt x="837" y="312"/>
                    </a:lnTo>
                    <a:lnTo>
                      <a:pt x="837" y="315"/>
                    </a:lnTo>
                    <a:lnTo>
                      <a:pt x="837" y="315"/>
                    </a:lnTo>
                    <a:lnTo>
                      <a:pt x="839" y="315"/>
                    </a:lnTo>
                    <a:lnTo>
                      <a:pt x="842" y="315"/>
                    </a:lnTo>
                    <a:lnTo>
                      <a:pt x="846" y="312"/>
                    </a:lnTo>
                    <a:lnTo>
                      <a:pt x="853" y="310"/>
                    </a:lnTo>
                    <a:lnTo>
                      <a:pt x="856" y="310"/>
                    </a:lnTo>
                    <a:lnTo>
                      <a:pt x="856" y="308"/>
                    </a:lnTo>
                    <a:lnTo>
                      <a:pt x="858" y="308"/>
                    </a:lnTo>
                    <a:lnTo>
                      <a:pt x="875" y="298"/>
                    </a:lnTo>
                    <a:lnTo>
                      <a:pt x="877" y="298"/>
                    </a:lnTo>
                    <a:lnTo>
                      <a:pt x="882" y="293"/>
                    </a:lnTo>
                    <a:lnTo>
                      <a:pt x="882" y="293"/>
                    </a:lnTo>
                    <a:lnTo>
                      <a:pt x="882" y="291"/>
                    </a:lnTo>
                    <a:lnTo>
                      <a:pt x="882" y="291"/>
                    </a:lnTo>
                    <a:lnTo>
                      <a:pt x="879" y="291"/>
                    </a:lnTo>
                    <a:lnTo>
                      <a:pt x="872" y="291"/>
                    </a:lnTo>
                    <a:lnTo>
                      <a:pt x="868" y="291"/>
                    </a:lnTo>
                    <a:lnTo>
                      <a:pt x="858" y="289"/>
                    </a:lnTo>
                    <a:lnTo>
                      <a:pt x="856" y="289"/>
                    </a:lnTo>
                    <a:lnTo>
                      <a:pt x="856" y="286"/>
                    </a:lnTo>
                    <a:lnTo>
                      <a:pt x="853" y="284"/>
                    </a:lnTo>
                    <a:lnTo>
                      <a:pt x="851" y="282"/>
                    </a:lnTo>
                    <a:lnTo>
                      <a:pt x="851" y="282"/>
                    </a:lnTo>
                    <a:lnTo>
                      <a:pt x="849" y="282"/>
                    </a:lnTo>
                    <a:lnTo>
                      <a:pt x="849" y="282"/>
                    </a:lnTo>
                    <a:lnTo>
                      <a:pt x="844" y="279"/>
                    </a:lnTo>
                    <a:lnTo>
                      <a:pt x="837" y="279"/>
                    </a:lnTo>
                    <a:lnTo>
                      <a:pt x="837" y="279"/>
                    </a:lnTo>
                    <a:lnTo>
                      <a:pt x="837" y="279"/>
                    </a:lnTo>
                    <a:lnTo>
                      <a:pt x="837" y="279"/>
                    </a:lnTo>
                    <a:lnTo>
                      <a:pt x="832" y="279"/>
                    </a:lnTo>
                    <a:lnTo>
                      <a:pt x="832" y="279"/>
                    </a:lnTo>
                    <a:lnTo>
                      <a:pt x="832" y="277"/>
                    </a:lnTo>
                    <a:lnTo>
                      <a:pt x="835" y="277"/>
                    </a:lnTo>
                    <a:lnTo>
                      <a:pt x="839" y="277"/>
                    </a:lnTo>
                    <a:lnTo>
                      <a:pt x="842" y="279"/>
                    </a:lnTo>
                    <a:lnTo>
                      <a:pt x="842" y="279"/>
                    </a:lnTo>
                    <a:lnTo>
                      <a:pt x="844" y="279"/>
                    </a:lnTo>
                    <a:lnTo>
                      <a:pt x="846" y="279"/>
                    </a:lnTo>
                    <a:lnTo>
                      <a:pt x="849" y="279"/>
                    </a:lnTo>
                    <a:lnTo>
                      <a:pt x="851" y="279"/>
                    </a:lnTo>
                    <a:lnTo>
                      <a:pt x="853" y="279"/>
                    </a:lnTo>
                    <a:lnTo>
                      <a:pt x="853" y="279"/>
                    </a:lnTo>
                    <a:lnTo>
                      <a:pt x="853" y="279"/>
                    </a:lnTo>
                    <a:lnTo>
                      <a:pt x="853" y="279"/>
                    </a:lnTo>
                    <a:lnTo>
                      <a:pt x="856" y="279"/>
                    </a:lnTo>
                    <a:lnTo>
                      <a:pt x="858" y="279"/>
                    </a:lnTo>
                    <a:lnTo>
                      <a:pt x="858" y="279"/>
                    </a:lnTo>
                    <a:lnTo>
                      <a:pt x="863" y="282"/>
                    </a:lnTo>
                    <a:lnTo>
                      <a:pt x="863" y="282"/>
                    </a:lnTo>
                    <a:lnTo>
                      <a:pt x="865" y="284"/>
                    </a:lnTo>
                    <a:lnTo>
                      <a:pt x="865" y="284"/>
                    </a:lnTo>
                    <a:lnTo>
                      <a:pt x="865" y="284"/>
                    </a:lnTo>
                    <a:lnTo>
                      <a:pt x="868" y="284"/>
                    </a:lnTo>
                    <a:lnTo>
                      <a:pt x="868" y="286"/>
                    </a:lnTo>
                    <a:lnTo>
                      <a:pt x="870" y="289"/>
                    </a:lnTo>
                    <a:lnTo>
                      <a:pt x="872" y="289"/>
                    </a:lnTo>
                    <a:lnTo>
                      <a:pt x="875" y="289"/>
                    </a:lnTo>
                    <a:lnTo>
                      <a:pt x="879" y="289"/>
                    </a:lnTo>
                    <a:lnTo>
                      <a:pt x="882" y="289"/>
                    </a:lnTo>
                    <a:lnTo>
                      <a:pt x="884" y="289"/>
                    </a:lnTo>
                    <a:lnTo>
                      <a:pt x="887" y="289"/>
                    </a:lnTo>
                    <a:lnTo>
                      <a:pt x="889" y="286"/>
                    </a:lnTo>
                    <a:lnTo>
                      <a:pt x="894" y="284"/>
                    </a:lnTo>
                    <a:lnTo>
                      <a:pt x="908" y="277"/>
                    </a:lnTo>
                    <a:lnTo>
                      <a:pt x="910" y="277"/>
                    </a:lnTo>
                    <a:lnTo>
                      <a:pt x="910" y="274"/>
                    </a:lnTo>
                    <a:lnTo>
                      <a:pt x="913" y="274"/>
                    </a:lnTo>
                    <a:lnTo>
                      <a:pt x="913" y="274"/>
                    </a:lnTo>
                    <a:lnTo>
                      <a:pt x="910" y="272"/>
                    </a:lnTo>
                    <a:lnTo>
                      <a:pt x="908" y="272"/>
                    </a:lnTo>
                    <a:lnTo>
                      <a:pt x="906" y="272"/>
                    </a:lnTo>
                    <a:lnTo>
                      <a:pt x="906" y="270"/>
                    </a:lnTo>
                    <a:lnTo>
                      <a:pt x="906" y="270"/>
                    </a:lnTo>
                    <a:lnTo>
                      <a:pt x="906" y="270"/>
                    </a:lnTo>
                    <a:lnTo>
                      <a:pt x="906" y="270"/>
                    </a:lnTo>
                    <a:lnTo>
                      <a:pt x="906" y="270"/>
                    </a:lnTo>
                    <a:lnTo>
                      <a:pt x="906" y="267"/>
                    </a:lnTo>
                    <a:lnTo>
                      <a:pt x="908" y="267"/>
                    </a:lnTo>
                    <a:lnTo>
                      <a:pt x="908" y="267"/>
                    </a:lnTo>
                    <a:lnTo>
                      <a:pt x="915" y="267"/>
                    </a:lnTo>
                    <a:lnTo>
                      <a:pt x="920" y="267"/>
                    </a:lnTo>
                    <a:lnTo>
                      <a:pt x="922" y="267"/>
                    </a:lnTo>
                    <a:lnTo>
                      <a:pt x="924" y="267"/>
                    </a:lnTo>
                    <a:lnTo>
                      <a:pt x="924" y="270"/>
                    </a:lnTo>
                    <a:lnTo>
                      <a:pt x="927" y="270"/>
                    </a:lnTo>
                    <a:lnTo>
                      <a:pt x="927" y="272"/>
                    </a:lnTo>
                    <a:lnTo>
                      <a:pt x="929" y="272"/>
                    </a:lnTo>
                    <a:lnTo>
                      <a:pt x="932" y="274"/>
                    </a:lnTo>
                    <a:lnTo>
                      <a:pt x="934" y="274"/>
                    </a:lnTo>
                    <a:lnTo>
                      <a:pt x="934" y="274"/>
                    </a:lnTo>
                    <a:lnTo>
                      <a:pt x="936" y="272"/>
                    </a:lnTo>
                    <a:lnTo>
                      <a:pt x="936" y="272"/>
                    </a:lnTo>
                    <a:lnTo>
                      <a:pt x="936" y="272"/>
                    </a:lnTo>
                    <a:lnTo>
                      <a:pt x="941" y="272"/>
                    </a:lnTo>
                    <a:lnTo>
                      <a:pt x="941" y="274"/>
                    </a:lnTo>
                    <a:lnTo>
                      <a:pt x="941" y="274"/>
                    </a:lnTo>
                    <a:lnTo>
                      <a:pt x="943" y="272"/>
                    </a:lnTo>
                    <a:lnTo>
                      <a:pt x="943" y="272"/>
                    </a:lnTo>
                    <a:lnTo>
                      <a:pt x="943" y="270"/>
                    </a:lnTo>
                    <a:lnTo>
                      <a:pt x="943" y="267"/>
                    </a:lnTo>
                    <a:lnTo>
                      <a:pt x="943" y="267"/>
                    </a:lnTo>
                    <a:lnTo>
                      <a:pt x="943" y="265"/>
                    </a:lnTo>
                    <a:lnTo>
                      <a:pt x="943" y="265"/>
                    </a:lnTo>
                    <a:lnTo>
                      <a:pt x="943" y="265"/>
                    </a:lnTo>
                    <a:lnTo>
                      <a:pt x="941" y="263"/>
                    </a:lnTo>
                    <a:lnTo>
                      <a:pt x="941" y="260"/>
                    </a:lnTo>
                    <a:lnTo>
                      <a:pt x="941" y="260"/>
                    </a:lnTo>
                    <a:lnTo>
                      <a:pt x="941" y="260"/>
                    </a:lnTo>
                    <a:lnTo>
                      <a:pt x="939" y="260"/>
                    </a:lnTo>
                    <a:lnTo>
                      <a:pt x="939" y="260"/>
                    </a:lnTo>
                    <a:lnTo>
                      <a:pt x="936" y="260"/>
                    </a:lnTo>
                    <a:lnTo>
                      <a:pt x="936" y="260"/>
                    </a:lnTo>
                    <a:lnTo>
                      <a:pt x="934" y="260"/>
                    </a:lnTo>
                    <a:lnTo>
                      <a:pt x="934" y="260"/>
                    </a:lnTo>
                    <a:lnTo>
                      <a:pt x="936" y="260"/>
                    </a:lnTo>
                    <a:lnTo>
                      <a:pt x="941" y="258"/>
                    </a:lnTo>
                    <a:lnTo>
                      <a:pt x="941" y="258"/>
                    </a:lnTo>
                    <a:lnTo>
                      <a:pt x="943" y="260"/>
                    </a:lnTo>
                    <a:lnTo>
                      <a:pt x="943" y="260"/>
                    </a:lnTo>
                    <a:lnTo>
                      <a:pt x="943" y="260"/>
                    </a:lnTo>
                    <a:lnTo>
                      <a:pt x="946" y="260"/>
                    </a:lnTo>
                    <a:lnTo>
                      <a:pt x="946" y="263"/>
                    </a:lnTo>
                    <a:lnTo>
                      <a:pt x="943" y="263"/>
                    </a:lnTo>
                    <a:lnTo>
                      <a:pt x="943" y="263"/>
                    </a:lnTo>
                    <a:lnTo>
                      <a:pt x="943" y="263"/>
                    </a:lnTo>
                    <a:lnTo>
                      <a:pt x="946" y="263"/>
                    </a:lnTo>
                    <a:lnTo>
                      <a:pt x="946" y="263"/>
                    </a:lnTo>
                    <a:lnTo>
                      <a:pt x="948" y="263"/>
                    </a:lnTo>
                    <a:lnTo>
                      <a:pt x="948" y="265"/>
                    </a:lnTo>
                    <a:lnTo>
                      <a:pt x="948" y="265"/>
                    </a:lnTo>
                    <a:lnTo>
                      <a:pt x="948" y="267"/>
                    </a:lnTo>
                    <a:lnTo>
                      <a:pt x="948" y="267"/>
                    </a:lnTo>
                    <a:lnTo>
                      <a:pt x="948" y="270"/>
                    </a:lnTo>
                    <a:lnTo>
                      <a:pt x="948" y="270"/>
                    </a:lnTo>
                    <a:lnTo>
                      <a:pt x="948" y="270"/>
                    </a:lnTo>
                    <a:lnTo>
                      <a:pt x="950" y="270"/>
                    </a:lnTo>
                    <a:lnTo>
                      <a:pt x="953" y="270"/>
                    </a:lnTo>
                    <a:lnTo>
                      <a:pt x="955" y="270"/>
                    </a:lnTo>
                    <a:lnTo>
                      <a:pt x="960" y="267"/>
                    </a:lnTo>
                    <a:lnTo>
                      <a:pt x="965" y="267"/>
                    </a:lnTo>
                    <a:lnTo>
                      <a:pt x="967" y="265"/>
                    </a:lnTo>
                    <a:lnTo>
                      <a:pt x="969" y="265"/>
                    </a:lnTo>
                    <a:lnTo>
                      <a:pt x="972" y="263"/>
                    </a:lnTo>
                    <a:lnTo>
                      <a:pt x="974" y="263"/>
                    </a:lnTo>
                    <a:lnTo>
                      <a:pt x="974" y="263"/>
                    </a:lnTo>
                    <a:lnTo>
                      <a:pt x="979" y="260"/>
                    </a:lnTo>
                    <a:lnTo>
                      <a:pt x="979" y="260"/>
                    </a:lnTo>
                    <a:lnTo>
                      <a:pt x="981" y="260"/>
                    </a:lnTo>
                    <a:lnTo>
                      <a:pt x="984" y="260"/>
                    </a:lnTo>
                    <a:lnTo>
                      <a:pt x="984" y="258"/>
                    </a:lnTo>
                    <a:lnTo>
                      <a:pt x="988" y="258"/>
                    </a:lnTo>
                    <a:lnTo>
                      <a:pt x="988" y="258"/>
                    </a:lnTo>
                    <a:lnTo>
                      <a:pt x="991" y="255"/>
                    </a:lnTo>
                    <a:lnTo>
                      <a:pt x="993" y="253"/>
                    </a:lnTo>
                    <a:lnTo>
                      <a:pt x="995" y="251"/>
                    </a:lnTo>
                    <a:lnTo>
                      <a:pt x="995" y="251"/>
                    </a:lnTo>
                    <a:lnTo>
                      <a:pt x="995" y="248"/>
                    </a:lnTo>
                    <a:lnTo>
                      <a:pt x="995" y="248"/>
                    </a:lnTo>
                    <a:lnTo>
                      <a:pt x="993" y="246"/>
                    </a:lnTo>
                    <a:lnTo>
                      <a:pt x="993" y="244"/>
                    </a:lnTo>
                    <a:lnTo>
                      <a:pt x="993" y="244"/>
                    </a:lnTo>
                    <a:lnTo>
                      <a:pt x="991" y="241"/>
                    </a:lnTo>
                    <a:lnTo>
                      <a:pt x="993" y="241"/>
                    </a:lnTo>
                    <a:lnTo>
                      <a:pt x="993" y="241"/>
                    </a:lnTo>
                    <a:lnTo>
                      <a:pt x="993" y="239"/>
                    </a:lnTo>
                    <a:lnTo>
                      <a:pt x="995" y="237"/>
                    </a:lnTo>
                    <a:lnTo>
                      <a:pt x="995" y="237"/>
                    </a:lnTo>
                    <a:lnTo>
                      <a:pt x="995" y="237"/>
                    </a:lnTo>
                    <a:lnTo>
                      <a:pt x="995" y="237"/>
                    </a:lnTo>
                    <a:lnTo>
                      <a:pt x="993" y="239"/>
                    </a:lnTo>
                    <a:lnTo>
                      <a:pt x="993" y="239"/>
                    </a:lnTo>
                    <a:lnTo>
                      <a:pt x="993" y="239"/>
                    </a:lnTo>
                    <a:lnTo>
                      <a:pt x="993" y="237"/>
                    </a:lnTo>
                    <a:lnTo>
                      <a:pt x="993" y="237"/>
                    </a:lnTo>
                    <a:lnTo>
                      <a:pt x="993" y="234"/>
                    </a:lnTo>
                    <a:lnTo>
                      <a:pt x="993" y="234"/>
                    </a:lnTo>
                    <a:lnTo>
                      <a:pt x="993" y="234"/>
                    </a:lnTo>
                    <a:lnTo>
                      <a:pt x="993" y="234"/>
                    </a:lnTo>
                    <a:lnTo>
                      <a:pt x="993" y="232"/>
                    </a:lnTo>
                    <a:lnTo>
                      <a:pt x="993" y="232"/>
                    </a:lnTo>
                    <a:lnTo>
                      <a:pt x="993" y="232"/>
                    </a:lnTo>
                    <a:lnTo>
                      <a:pt x="995" y="232"/>
                    </a:lnTo>
                    <a:lnTo>
                      <a:pt x="998" y="232"/>
                    </a:lnTo>
                    <a:lnTo>
                      <a:pt x="1000" y="232"/>
                    </a:lnTo>
                    <a:lnTo>
                      <a:pt x="1000" y="232"/>
                    </a:lnTo>
                    <a:lnTo>
                      <a:pt x="1000" y="232"/>
                    </a:lnTo>
                    <a:lnTo>
                      <a:pt x="1002" y="232"/>
                    </a:lnTo>
                    <a:lnTo>
                      <a:pt x="1005" y="232"/>
                    </a:lnTo>
                    <a:lnTo>
                      <a:pt x="1007" y="232"/>
                    </a:lnTo>
                    <a:lnTo>
                      <a:pt x="1012" y="229"/>
                    </a:lnTo>
                    <a:lnTo>
                      <a:pt x="1014" y="229"/>
                    </a:lnTo>
                    <a:lnTo>
                      <a:pt x="1014" y="227"/>
                    </a:lnTo>
                    <a:lnTo>
                      <a:pt x="1014" y="227"/>
                    </a:lnTo>
                    <a:lnTo>
                      <a:pt x="1014" y="225"/>
                    </a:lnTo>
                    <a:lnTo>
                      <a:pt x="1014" y="225"/>
                    </a:lnTo>
                    <a:lnTo>
                      <a:pt x="1012" y="225"/>
                    </a:lnTo>
                    <a:lnTo>
                      <a:pt x="1010" y="225"/>
                    </a:lnTo>
                    <a:lnTo>
                      <a:pt x="1007" y="225"/>
                    </a:lnTo>
                    <a:lnTo>
                      <a:pt x="1007" y="225"/>
                    </a:lnTo>
                    <a:lnTo>
                      <a:pt x="1010" y="225"/>
                    </a:lnTo>
                    <a:lnTo>
                      <a:pt x="1014" y="222"/>
                    </a:lnTo>
                    <a:lnTo>
                      <a:pt x="1019" y="220"/>
                    </a:lnTo>
                    <a:lnTo>
                      <a:pt x="1019" y="220"/>
                    </a:lnTo>
                    <a:lnTo>
                      <a:pt x="1019" y="220"/>
                    </a:lnTo>
                    <a:lnTo>
                      <a:pt x="1019" y="220"/>
                    </a:lnTo>
                    <a:lnTo>
                      <a:pt x="1014" y="218"/>
                    </a:lnTo>
                    <a:lnTo>
                      <a:pt x="1012" y="218"/>
                    </a:lnTo>
                    <a:lnTo>
                      <a:pt x="1010" y="218"/>
                    </a:lnTo>
                    <a:lnTo>
                      <a:pt x="1010" y="218"/>
                    </a:lnTo>
                    <a:lnTo>
                      <a:pt x="1010" y="218"/>
                    </a:lnTo>
                    <a:lnTo>
                      <a:pt x="1010" y="218"/>
                    </a:lnTo>
                    <a:lnTo>
                      <a:pt x="1010" y="218"/>
                    </a:lnTo>
                    <a:lnTo>
                      <a:pt x="1010" y="215"/>
                    </a:lnTo>
                    <a:lnTo>
                      <a:pt x="1005" y="215"/>
                    </a:lnTo>
                    <a:lnTo>
                      <a:pt x="1005" y="213"/>
                    </a:lnTo>
                    <a:lnTo>
                      <a:pt x="1007" y="213"/>
                    </a:lnTo>
                    <a:lnTo>
                      <a:pt x="1010" y="213"/>
                    </a:lnTo>
                    <a:lnTo>
                      <a:pt x="1012" y="213"/>
                    </a:lnTo>
                    <a:lnTo>
                      <a:pt x="1012" y="210"/>
                    </a:lnTo>
                    <a:lnTo>
                      <a:pt x="1010" y="210"/>
                    </a:lnTo>
                    <a:lnTo>
                      <a:pt x="1007" y="210"/>
                    </a:lnTo>
                    <a:lnTo>
                      <a:pt x="1005" y="210"/>
                    </a:lnTo>
                    <a:lnTo>
                      <a:pt x="998" y="210"/>
                    </a:lnTo>
                    <a:lnTo>
                      <a:pt x="995" y="210"/>
                    </a:lnTo>
                    <a:lnTo>
                      <a:pt x="993" y="210"/>
                    </a:lnTo>
                    <a:lnTo>
                      <a:pt x="991" y="208"/>
                    </a:lnTo>
                    <a:lnTo>
                      <a:pt x="988" y="208"/>
                    </a:lnTo>
                    <a:lnTo>
                      <a:pt x="986" y="208"/>
                    </a:lnTo>
                    <a:lnTo>
                      <a:pt x="981" y="208"/>
                    </a:lnTo>
                    <a:lnTo>
                      <a:pt x="979" y="208"/>
                    </a:lnTo>
                    <a:lnTo>
                      <a:pt x="976" y="208"/>
                    </a:lnTo>
                    <a:lnTo>
                      <a:pt x="976" y="208"/>
                    </a:lnTo>
                    <a:lnTo>
                      <a:pt x="974" y="208"/>
                    </a:lnTo>
                    <a:lnTo>
                      <a:pt x="974" y="208"/>
                    </a:lnTo>
                    <a:lnTo>
                      <a:pt x="972" y="208"/>
                    </a:lnTo>
                    <a:lnTo>
                      <a:pt x="974" y="208"/>
                    </a:lnTo>
                    <a:lnTo>
                      <a:pt x="974" y="208"/>
                    </a:lnTo>
                    <a:lnTo>
                      <a:pt x="972" y="210"/>
                    </a:lnTo>
                    <a:lnTo>
                      <a:pt x="969" y="210"/>
                    </a:lnTo>
                    <a:lnTo>
                      <a:pt x="969" y="213"/>
                    </a:lnTo>
                    <a:lnTo>
                      <a:pt x="969" y="213"/>
                    </a:lnTo>
                    <a:lnTo>
                      <a:pt x="969" y="213"/>
                    </a:lnTo>
                    <a:lnTo>
                      <a:pt x="969" y="213"/>
                    </a:lnTo>
                    <a:lnTo>
                      <a:pt x="969" y="215"/>
                    </a:lnTo>
                    <a:lnTo>
                      <a:pt x="969" y="215"/>
                    </a:lnTo>
                    <a:lnTo>
                      <a:pt x="969" y="215"/>
                    </a:lnTo>
                    <a:lnTo>
                      <a:pt x="967" y="215"/>
                    </a:lnTo>
                    <a:lnTo>
                      <a:pt x="967" y="218"/>
                    </a:lnTo>
                    <a:lnTo>
                      <a:pt x="967" y="218"/>
                    </a:lnTo>
                    <a:lnTo>
                      <a:pt x="965" y="218"/>
                    </a:lnTo>
                    <a:lnTo>
                      <a:pt x="967" y="220"/>
                    </a:lnTo>
                    <a:lnTo>
                      <a:pt x="967" y="220"/>
                    </a:lnTo>
                    <a:lnTo>
                      <a:pt x="969" y="220"/>
                    </a:lnTo>
                    <a:lnTo>
                      <a:pt x="969" y="220"/>
                    </a:lnTo>
                    <a:lnTo>
                      <a:pt x="969" y="222"/>
                    </a:lnTo>
                    <a:lnTo>
                      <a:pt x="969" y="222"/>
                    </a:lnTo>
                    <a:lnTo>
                      <a:pt x="969" y="222"/>
                    </a:lnTo>
                    <a:lnTo>
                      <a:pt x="967" y="222"/>
                    </a:lnTo>
                    <a:lnTo>
                      <a:pt x="967" y="225"/>
                    </a:lnTo>
                    <a:lnTo>
                      <a:pt x="965" y="225"/>
                    </a:lnTo>
                    <a:lnTo>
                      <a:pt x="965" y="225"/>
                    </a:lnTo>
                    <a:lnTo>
                      <a:pt x="962" y="225"/>
                    </a:lnTo>
                    <a:lnTo>
                      <a:pt x="967" y="227"/>
                    </a:lnTo>
                    <a:lnTo>
                      <a:pt x="965" y="227"/>
                    </a:lnTo>
                    <a:lnTo>
                      <a:pt x="960" y="227"/>
                    </a:lnTo>
                    <a:lnTo>
                      <a:pt x="960" y="227"/>
                    </a:lnTo>
                    <a:lnTo>
                      <a:pt x="958" y="227"/>
                    </a:lnTo>
                    <a:lnTo>
                      <a:pt x="958" y="227"/>
                    </a:lnTo>
                    <a:lnTo>
                      <a:pt x="958" y="227"/>
                    </a:lnTo>
                    <a:lnTo>
                      <a:pt x="955" y="227"/>
                    </a:lnTo>
                    <a:lnTo>
                      <a:pt x="953" y="227"/>
                    </a:lnTo>
                    <a:lnTo>
                      <a:pt x="953" y="229"/>
                    </a:lnTo>
                    <a:lnTo>
                      <a:pt x="953" y="229"/>
                    </a:lnTo>
                    <a:lnTo>
                      <a:pt x="950" y="229"/>
                    </a:lnTo>
                    <a:lnTo>
                      <a:pt x="950" y="232"/>
                    </a:lnTo>
                    <a:lnTo>
                      <a:pt x="948" y="232"/>
                    </a:lnTo>
                    <a:lnTo>
                      <a:pt x="946" y="234"/>
                    </a:lnTo>
                    <a:lnTo>
                      <a:pt x="941" y="239"/>
                    </a:lnTo>
                    <a:lnTo>
                      <a:pt x="939" y="239"/>
                    </a:lnTo>
                    <a:lnTo>
                      <a:pt x="932" y="244"/>
                    </a:lnTo>
                    <a:lnTo>
                      <a:pt x="929" y="244"/>
                    </a:lnTo>
                    <a:lnTo>
                      <a:pt x="927" y="246"/>
                    </a:lnTo>
                    <a:lnTo>
                      <a:pt x="927" y="246"/>
                    </a:lnTo>
                    <a:lnTo>
                      <a:pt x="924" y="248"/>
                    </a:lnTo>
                    <a:lnTo>
                      <a:pt x="922" y="251"/>
                    </a:lnTo>
                    <a:lnTo>
                      <a:pt x="922" y="251"/>
                    </a:lnTo>
                    <a:lnTo>
                      <a:pt x="920" y="251"/>
                    </a:lnTo>
                    <a:lnTo>
                      <a:pt x="920" y="251"/>
                    </a:lnTo>
                    <a:lnTo>
                      <a:pt x="917" y="251"/>
                    </a:lnTo>
                    <a:lnTo>
                      <a:pt x="917" y="253"/>
                    </a:lnTo>
                    <a:lnTo>
                      <a:pt x="913" y="253"/>
                    </a:lnTo>
                    <a:lnTo>
                      <a:pt x="908" y="255"/>
                    </a:lnTo>
                    <a:lnTo>
                      <a:pt x="908" y="255"/>
                    </a:lnTo>
                    <a:lnTo>
                      <a:pt x="908" y="255"/>
                    </a:lnTo>
                    <a:lnTo>
                      <a:pt x="908" y="255"/>
                    </a:lnTo>
                    <a:lnTo>
                      <a:pt x="908" y="255"/>
                    </a:lnTo>
                    <a:lnTo>
                      <a:pt x="908" y="253"/>
                    </a:lnTo>
                    <a:lnTo>
                      <a:pt x="908" y="253"/>
                    </a:lnTo>
                    <a:lnTo>
                      <a:pt x="906" y="248"/>
                    </a:lnTo>
                    <a:lnTo>
                      <a:pt x="906" y="246"/>
                    </a:lnTo>
                    <a:lnTo>
                      <a:pt x="906" y="241"/>
                    </a:lnTo>
                    <a:lnTo>
                      <a:pt x="906" y="241"/>
                    </a:lnTo>
                    <a:lnTo>
                      <a:pt x="910" y="237"/>
                    </a:lnTo>
                    <a:lnTo>
                      <a:pt x="910" y="237"/>
                    </a:lnTo>
                    <a:lnTo>
                      <a:pt x="910" y="237"/>
                    </a:lnTo>
                    <a:lnTo>
                      <a:pt x="913" y="234"/>
                    </a:lnTo>
                    <a:lnTo>
                      <a:pt x="913" y="234"/>
                    </a:lnTo>
                    <a:lnTo>
                      <a:pt x="913" y="237"/>
                    </a:lnTo>
                    <a:lnTo>
                      <a:pt x="913" y="237"/>
                    </a:lnTo>
                    <a:lnTo>
                      <a:pt x="915" y="237"/>
                    </a:lnTo>
                    <a:lnTo>
                      <a:pt x="917" y="237"/>
                    </a:lnTo>
                    <a:lnTo>
                      <a:pt x="917" y="237"/>
                    </a:lnTo>
                    <a:lnTo>
                      <a:pt x="917" y="234"/>
                    </a:lnTo>
                    <a:lnTo>
                      <a:pt x="920" y="234"/>
                    </a:lnTo>
                    <a:lnTo>
                      <a:pt x="920" y="234"/>
                    </a:lnTo>
                    <a:lnTo>
                      <a:pt x="920" y="232"/>
                    </a:lnTo>
                    <a:lnTo>
                      <a:pt x="920" y="232"/>
                    </a:lnTo>
                    <a:lnTo>
                      <a:pt x="922" y="229"/>
                    </a:lnTo>
                    <a:lnTo>
                      <a:pt x="922" y="227"/>
                    </a:lnTo>
                    <a:lnTo>
                      <a:pt x="922" y="227"/>
                    </a:lnTo>
                    <a:lnTo>
                      <a:pt x="922" y="225"/>
                    </a:lnTo>
                    <a:lnTo>
                      <a:pt x="922" y="225"/>
                    </a:lnTo>
                    <a:lnTo>
                      <a:pt x="920" y="222"/>
                    </a:lnTo>
                    <a:lnTo>
                      <a:pt x="917" y="220"/>
                    </a:lnTo>
                    <a:lnTo>
                      <a:pt x="917" y="220"/>
                    </a:lnTo>
                    <a:lnTo>
                      <a:pt x="917" y="218"/>
                    </a:lnTo>
                    <a:lnTo>
                      <a:pt x="915" y="218"/>
                    </a:lnTo>
                    <a:lnTo>
                      <a:pt x="913" y="218"/>
                    </a:lnTo>
                    <a:lnTo>
                      <a:pt x="913" y="218"/>
                    </a:lnTo>
                    <a:lnTo>
                      <a:pt x="908" y="222"/>
                    </a:lnTo>
                    <a:lnTo>
                      <a:pt x="903" y="222"/>
                    </a:lnTo>
                    <a:lnTo>
                      <a:pt x="903" y="225"/>
                    </a:lnTo>
                    <a:lnTo>
                      <a:pt x="901" y="227"/>
                    </a:lnTo>
                    <a:lnTo>
                      <a:pt x="898" y="227"/>
                    </a:lnTo>
                    <a:lnTo>
                      <a:pt x="896" y="229"/>
                    </a:lnTo>
                    <a:lnTo>
                      <a:pt x="894" y="229"/>
                    </a:lnTo>
                    <a:lnTo>
                      <a:pt x="894" y="232"/>
                    </a:lnTo>
                    <a:lnTo>
                      <a:pt x="894" y="232"/>
                    </a:lnTo>
                    <a:lnTo>
                      <a:pt x="889" y="234"/>
                    </a:lnTo>
                    <a:lnTo>
                      <a:pt x="887" y="234"/>
                    </a:lnTo>
                    <a:lnTo>
                      <a:pt x="887" y="234"/>
                    </a:lnTo>
                    <a:lnTo>
                      <a:pt x="887" y="237"/>
                    </a:lnTo>
                    <a:lnTo>
                      <a:pt x="884" y="237"/>
                    </a:lnTo>
                    <a:lnTo>
                      <a:pt x="884" y="237"/>
                    </a:lnTo>
                    <a:lnTo>
                      <a:pt x="884" y="237"/>
                    </a:lnTo>
                    <a:lnTo>
                      <a:pt x="884" y="234"/>
                    </a:lnTo>
                    <a:lnTo>
                      <a:pt x="884" y="234"/>
                    </a:lnTo>
                    <a:lnTo>
                      <a:pt x="884" y="234"/>
                    </a:lnTo>
                    <a:lnTo>
                      <a:pt x="884" y="232"/>
                    </a:lnTo>
                    <a:lnTo>
                      <a:pt x="884" y="232"/>
                    </a:lnTo>
                    <a:lnTo>
                      <a:pt x="887" y="229"/>
                    </a:lnTo>
                    <a:lnTo>
                      <a:pt x="887" y="229"/>
                    </a:lnTo>
                    <a:lnTo>
                      <a:pt x="889" y="227"/>
                    </a:lnTo>
                    <a:lnTo>
                      <a:pt x="889" y="227"/>
                    </a:lnTo>
                    <a:lnTo>
                      <a:pt x="891" y="225"/>
                    </a:lnTo>
                    <a:lnTo>
                      <a:pt x="891" y="225"/>
                    </a:lnTo>
                    <a:lnTo>
                      <a:pt x="891" y="225"/>
                    </a:lnTo>
                    <a:lnTo>
                      <a:pt x="891" y="220"/>
                    </a:lnTo>
                    <a:lnTo>
                      <a:pt x="887" y="218"/>
                    </a:lnTo>
                    <a:lnTo>
                      <a:pt x="887" y="218"/>
                    </a:lnTo>
                    <a:lnTo>
                      <a:pt x="889" y="218"/>
                    </a:lnTo>
                    <a:lnTo>
                      <a:pt x="891" y="218"/>
                    </a:lnTo>
                    <a:lnTo>
                      <a:pt x="891" y="218"/>
                    </a:lnTo>
                    <a:lnTo>
                      <a:pt x="889" y="218"/>
                    </a:lnTo>
                    <a:lnTo>
                      <a:pt x="891" y="218"/>
                    </a:lnTo>
                    <a:lnTo>
                      <a:pt x="891" y="218"/>
                    </a:lnTo>
                    <a:lnTo>
                      <a:pt x="894" y="218"/>
                    </a:lnTo>
                    <a:lnTo>
                      <a:pt x="894" y="218"/>
                    </a:lnTo>
                    <a:lnTo>
                      <a:pt x="896" y="215"/>
                    </a:lnTo>
                    <a:lnTo>
                      <a:pt x="896" y="215"/>
                    </a:lnTo>
                    <a:lnTo>
                      <a:pt x="898" y="215"/>
                    </a:lnTo>
                    <a:lnTo>
                      <a:pt x="898" y="215"/>
                    </a:lnTo>
                    <a:lnTo>
                      <a:pt x="901" y="215"/>
                    </a:lnTo>
                    <a:lnTo>
                      <a:pt x="901" y="215"/>
                    </a:lnTo>
                    <a:lnTo>
                      <a:pt x="901" y="213"/>
                    </a:lnTo>
                    <a:lnTo>
                      <a:pt x="898" y="213"/>
                    </a:lnTo>
                    <a:lnTo>
                      <a:pt x="896" y="213"/>
                    </a:lnTo>
                    <a:lnTo>
                      <a:pt x="894" y="213"/>
                    </a:lnTo>
                    <a:lnTo>
                      <a:pt x="891" y="213"/>
                    </a:lnTo>
                    <a:lnTo>
                      <a:pt x="889" y="213"/>
                    </a:lnTo>
                    <a:lnTo>
                      <a:pt x="889" y="213"/>
                    </a:lnTo>
                    <a:lnTo>
                      <a:pt x="891" y="213"/>
                    </a:lnTo>
                    <a:lnTo>
                      <a:pt x="894" y="213"/>
                    </a:lnTo>
                    <a:lnTo>
                      <a:pt x="894" y="210"/>
                    </a:lnTo>
                    <a:lnTo>
                      <a:pt x="894" y="210"/>
                    </a:lnTo>
                    <a:lnTo>
                      <a:pt x="891" y="210"/>
                    </a:lnTo>
                    <a:lnTo>
                      <a:pt x="889" y="213"/>
                    </a:lnTo>
                    <a:lnTo>
                      <a:pt x="884" y="213"/>
                    </a:lnTo>
                    <a:lnTo>
                      <a:pt x="882" y="213"/>
                    </a:lnTo>
                    <a:lnTo>
                      <a:pt x="879" y="213"/>
                    </a:lnTo>
                    <a:lnTo>
                      <a:pt x="879" y="210"/>
                    </a:lnTo>
                    <a:lnTo>
                      <a:pt x="879" y="210"/>
                    </a:lnTo>
                    <a:lnTo>
                      <a:pt x="879" y="210"/>
                    </a:lnTo>
                    <a:lnTo>
                      <a:pt x="877" y="210"/>
                    </a:lnTo>
                    <a:lnTo>
                      <a:pt x="875" y="210"/>
                    </a:lnTo>
                    <a:lnTo>
                      <a:pt x="872" y="210"/>
                    </a:lnTo>
                    <a:lnTo>
                      <a:pt x="872" y="210"/>
                    </a:lnTo>
                    <a:lnTo>
                      <a:pt x="870" y="210"/>
                    </a:lnTo>
                    <a:lnTo>
                      <a:pt x="875" y="210"/>
                    </a:lnTo>
                    <a:lnTo>
                      <a:pt x="882" y="206"/>
                    </a:lnTo>
                    <a:lnTo>
                      <a:pt x="887" y="206"/>
                    </a:lnTo>
                    <a:lnTo>
                      <a:pt x="889" y="203"/>
                    </a:lnTo>
                    <a:lnTo>
                      <a:pt x="889" y="203"/>
                    </a:lnTo>
                    <a:lnTo>
                      <a:pt x="889" y="203"/>
                    </a:lnTo>
                    <a:lnTo>
                      <a:pt x="884" y="203"/>
                    </a:lnTo>
                    <a:lnTo>
                      <a:pt x="884" y="203"/>
                    </a:lnTo>
                    <a:lnTo>
                      <a:pt x="884" y="203"/>
                    </a:lnTo>
                    <a:lnTo>
                      <a:pt x="887" y="201"/>
                    </a:lnTo>
                    <a:lnTo>
                      <a:pt x="889" y="201"/>
                    </a:lnTo>
                    <a:lnTo>
                      <a:pt x="889" y="201"/>
                    </a:lnTo>
                    <a:lnTo>
                      <a:pt x="889" y="201"/>
                    </a:lnTo>
                    <a:lnTo>
                      <a:pt x="889" y="201"/>
                    </a:lnTo>
                    <a:lnTo>
                      <a:pt x="891" y="203"/>
                    </a:lnTo>
                    <a:lnTo>
                      <a:pt x="894" y="203"/>
                    </a:lnTo>
                    <a:lnTo>
                      <a:pt x="896" y="203"/>
                    </a:lnTo>
                    <a:lnTo>
                      <a:pt x="896" y="201"/>
                    </a:lnTo>
                    <a:lnTo>
                      <a:pt x="898" y="201"/>
                    </a:lnTo>
                    <a:lnTo>
                      <a:pt x="896" y="201"/>
                    </a:lnTo>
                    <a:lnTo>
                      <a:pt x="896" y="199"/>
                    </a:lnTo>
                    <a:lnTo>
                      <a:pt x="896" y="199"/>
                    </a:lnTo>
                    <a:lnTo>
                      <a:pt x="896" y="199"/>
                    </a:lnTo>
                    <a:lnTo>
                      <a:pt x="896" y="199"/>
                    </a:lnTo>
                    <a:lnTo>
                      <a:pt x="894" y="199"/>
                    </a:lnTo>
                    <a:lnTo>
                      <a:pt x="894" y="201"/>
                    </a:lnTo>
                    <a:lnTo>
                      <a:pt x="894" y="199"/>
                    </a:lnTo>
                    <a:lnTo>
                      <a:pt x="894" y="199"/>
                    </a:lnTo>
                    <a:lnTo>
                      <a:pt x="894" y="199"/>
                    </a:lnTo>
                    <a:lnTo>
                      <a:pt x="894" y="199"/>
                    </a:lnTo>
                    <a:lnTo>
                      <a:pt x="894" y="196"/>
                    </a:lnTo>
                    <a:lnTo>
                      <a:pt x="894" y="194"/>
                    </a:lnTo>
                    <a:lnTo>
                      <a:pt x="894" y="194"/>
                    </a:lnTo>
                    <a:lnTo>
                      <a:pt x="894" y="194"/>
                    </a:lnTo>
                    <a:lnTo>
                      <a:pt x="891" y="194"/>
                    </a:lnTo>
                    <a:lnTo>
                      <a:pt x="891" y="192"/>
                    </a:lnTo>
                    <a:lnTo>
                      <a:pt x="891" y="192"/>
                    </a:lnTo>
                    <a:lnTo>
                      <a:pt x="889" y="189"/>
                    </a:lnTo>
                    <a:lnTo>
                      <a:pt x="889" y="189"/>
                    </a:lnTo>
                    <a:lnTo>
                      <a:pt x="891" y="189"/>
                    </a:lnTo>
                    <a:lnTo>
                      <a:pt x="891" y="189"/>
                    </a:lnTo>
                    <a:lnTo>
                      <a:pt x="894" y="187"/>
                    </a:lnTo>
                    <a:lnTo>
                      <a:pt x="896" y="184"/>
                    </a:lnTo>
                    <a:lnTo>
                      <a:pt x="896" y="182"/>
                    </a:lnTo>
                    <a:lnTo>
                      <a:pt x="896" y="182"/>
                    </a:lnTo>
                    <a:lnTo>
                      <a:pt x="896" y="182"/>
                    </a:lnTo>
                    <a:lnTo>
                      <a:pt x="896" y="180"/>
                    </a:lnTo>
                    <a:lnTo>
                      <a:pt x="896" y="177"/>
                    </a:lnTo>
                    <a:lnTo>
                      <a:pt x="894" y="177"/>
                    </a:lnTo>
                    <a:lnTo>
                      <a:pt x="894" y="177"/>
                    </a:lnTo>
                    <a:lnTo>
                      <a:pt x="894" y="175"/>
                    </a:lnTo>
                    <a:lnTo>
                      <a:pt x="894" y="175"/>
                    </a:lnTo>
                    <a:lnTo>
                      <a:pt x="894" y="175"/>
                    </a:lnTo>
                    <a:lnTo>
                      <a:pt x="894" y="175"/>
                    </a:lnTo>
                    <a:lnTo>
                      <a:pt x="891" y="175"/>
                    </a:lnTo>
                    <a:lnTo>
                      <a:pt x="889" y="175"/>
                    </a:lnTo>
                    <a:lnTo>
                      <a:pt x="887" y="175"/>
                    </a:lnTo>
                    <a:lnTo>
                      <a:pt x="887" y="173"/>
                    </a:lnTo>
                    <a:lnTo>
                      <a:pt x="889" y="173"/>
                    </a:lnTo>
                    <a:lnTo>
                      <a:pt x="889" y="170"/>
                    </a:lnTo>
                    <a:lnTo>
                      <a:pt x="887" y="170"/>
                    </a:lnTo>
                    <a:lnTo>
                      <a:pt x="887" y="170"/>
                    </a:lnTo>
                    <a:lnTo>
                      <a:pt x="884" y="170"/>
                    </a:lnTo>
                    <a:lnTo>
                      <a:pt x="879" y="173"/>
                    </a:lnTo>
                    <a:lnTo>
                      <a:pt x="872" y="175"/>
                    </a:lnTo>
                    <a:lnTo>
                      <a:pt x="870" y="175"/>
                    </a:lnTo>
                    <a:lnTo>
                      <a:pt x="865" y="177"/>
                    </a:lnTo>
                    <a:lnTo>
                      <a:pt x="863" y="177"/>
                    </a:lnTo>
                    <a:lnTo>
                      <a:pt x="863" y="177"/>
                    </a:lnTo>
                    <a:lnTo>
                      <a:pt x="863" y="180"/>
                    </a:lnTo>
                    <a:lnTo>
                      <a:pt x="865" y="180"/>
                    </a:lnTo>
                    <a:lnTo>
                      <a:pt x="868" y="180"/>
                    </a:lnTo>
                    <a:lnTo>
                      <a:pt x="868" y="180"/>
                    </a:lnTo>
                    <a:lnTo>
                      <a:pt x="868" y="180"/>
                    </a:lnTo>
                    <a:lnTo>
                      <a:pt x="863" y="182"/>
                    </a:lnTo>
                    <a:lnTo>
                      <a:pt x="863" y="182"/>
                    </a:lnTo>
                    <a:lnTo>
                      <a:pt x="861" y="182"/>
                    </a:lnTo>
                    <a:lnTo>
                      <a:pt x="861" y="182"/>
                    </a:lnTo>
                    <a:lnTo>
                      <a:pt x="861" y="180"/>
                    </a:lnTo>
                    <a:lnTo>
                      <a:pt x="858" y="180"/>
                    </a:lnTo>
                    <a:lnTo>
                      <a:pt x="858" y="180"/>
                    </a:lnTo>
                    <a:lnTo>
                      <a:pt x="858" y="180"/>
                    </a:lnTo>
                    <a:lnTo>
                      <a:pt x="853" y="182"/>
                    </a:lnTo>
                    <a:lnTo>
                      <a:pt x="851" y="182"/>
                    </a:lnTo>
                    <a:lnTo>
                      <a:pt x="851" y="184"/>
                    </a:lnTo>
                    <a:lnTo>
                      <a:pt x="849" y="184"/>
                    </a:lnTo>
                    <a:lnTo>
                      <a:pt x="849" y="184"/>
                    </a:lnTo>
                    <a:lnTo>
                      <a:pt x="849" y="184"/>
                    </a:lnTo>
                    <a:lnTo>
                      <a:pt x="846" y="184"/>
                    </a:lnTo>
                    <a:lnTo>
                      <a:pt x="846" y="187"/>
                    </a:lnTo>
                    <a:lnTo>
                      <a:pt x="846" y="187"/>
                    </a:lnTo>
                    <a:lnTo>
                      <a:pt x="842" y="189"/>
                    </a:lnTo>
                    <a:lnTo>
                      <a:pt x="842" y="192"/>
                    </a:lnTo>
                    <a:lnTo>
                      <a:pt x="842" y="194"/>
                    </a:lnTo>
                    <a:lnTo>
                      <a:pt x="842" y="194"/>
                    </a:lnTo>
                    <a:lnTo>
                      <a:pt x="844" y="194"/>
                    </a:lnTo>
                    <a:lnTo>
                      <a:pt x="849" y="194"/>
                    </a:lnTo>
                    <a:lnTo>
                      <a:pt x="849" y="194"/>
                    </a:lnTo>
                    <a:lnTo>
                      <a:pt x="846" y="194"/>
                    </a:lnTo>
                    <a:lnTo>
                      <a:pt x="846" y="194"/>
                    </a:lnTo>
                    <a:lnTo>
                      <a:pt x="846" y="196"/>
                    </a:lnTo>
                    <a:lnTo>
                      <a:pt x="844" y="194"/>
                    </a:lnTo>
                    <a:lnTo>
                      <a:pt x="842" y="196"/>
                    </a:lnTo>
                    <a:lnTo>
                      <a:pt x="842" y="196"/>
                    </a:lnTo>
                    <a:lnTo>
                      <a:pt x="839" y="196"/>
                    </a:lnTo>
                    <a:lnTo>
                      <a:pt x="839" y="196"/>
                    </a:lnTo>
                    <a:lnTo>
                      <a:pt x="832" y="199"/>
                    </a:lnTo>
                    <a:lnTo>
                      <a:pt x="832" y="201"/>
                    </a:lnTo>
                    <a:lnTo>
                      <a:pt x="832" y="201"/>
                    </a:lnTo>
                    <a:lnTo>
                      <a:pt x="830" y="203"/>
                    </a:lnTo>
                    <a:lnTo>
                      <a:pt x="832" y="206"/>
                    </a:lnTo>
                    <a:lnTo>
                      <a:pt x="832" y="206"/>
                    </a:lnTo>
                    <a:lnTo>
                      <a:pt x="832" y="208"/>
                    </a:lnTo>
                    <a:lnTo>
                      <a:pt x="832" y="208"/>
                    </a:lnTo>
                    <a:lnTo>
                      <a:pt x="832" y="208"/>
                    </a:lnTo>
                    <a:lnTo>
                      <a:pt x="832" y="208"/>
                    </a:lnTo>
                    <a:lnTo>
                      <a:pt x="835" y="208"/>
                    </a:lnTo>
                    <a:lnTo>
                      <a:pt x="837" y="210"/>
                    </a:lnTo>
                    <a:lnTo>
                      <a:pt x="837" y="210"/>
                    </a:lnTo>
                    <a:lnTo>
                      <a:pt x="839" y="210"/>
                    </a:lnTo>
                    <a:lnTo>
                      <a:pt x="844" y="213"/>
                    </a:lnTo>
                    <a:lnTo>
                      <a:pt x="844" y="213"/>
                    </a:lnTo>
                    <a:lnTo>
                      <a:pt x="846" y="210"/>
                    </a:lnTo>
                    <a:lnTo>
                      <a:pt x="846" y="210"/>
                    </a:lnTo>
                    <a:lnTo>
                      <a:pt x="846" y="210"/>
                    </a:lnTo>
                    <a:lnTo>
                      <a:pt x="849" y="213"/>
                    </a:lnTo>
                    <a:lnTo>
                      <a:pt x="849" y="213"/>
                    </a:lnTo>
                    <a:lnTo>
                      <a:pt x="849" y="215"/>
                    </a:lnTo>
                    <a:lnTo>
                      <a:pt x="849" y="215"/>
                    </a:lnTo>
                    <a:lnTo>
                      <a:pt x="851" y="215"/>
                    </a:lnTo>
                    <a:lnTo>
                      <a:pt x="853" y="215"/>
                    </a:lnTo>
                    <a:lnTo>
                      <a:pt x="853" y="215"/>
                    </a:lnTo>
                    <a:lnTo>
                      <a:pt x="856" y="213"/>
                    </a:lnTo>
                    <a:lnTo>
                      <a:pt x="858" y="213"/>
                    </a:lnTo>
                    <a:lnTo>
                      <a:pt x="858" y="215"/>
                    </a:lnTo>
                    <a:lnTo>
                      <a:pt x="858" y="215"/>
                    </a:lnTo>
                    <a:lnTo>
                      <a:pt x="858" y="215"/>
                    </a:lnTo>
                    <a:lnTo>
                      <a:pt x="858" y="215"/>
                    </a:lnTo>
                    <a:lnTo>
                      <a:pt x="858" y="215"/>
                    </a:lnTo>
                    <a:lnTo>
                      <a:pt x="858" y="218"/>
                    </a:lnTo>
                    <a:lnTo>
                      <a:pt x="856" y="218"/>
                    </a:lnTo>
                    <a:lnTo>
                      <a:pt x="851" y="218"/>
                    </a:lnTo>
                    <a:lnTo>
                      <a:pt x="851" y="218"/>
                    </a:lnTo>
                    <a:lnTo>
                      <a:pt x="853" y="218"/>
                    </a:lnTo>
                    <a:lnTo>
                      <a:pt x="856" y="215"/>
                    </a:lnTo>
                    <a:lnTo>
                      <a:pt x="858" y="215"/>
                    </a:lnTo>
                    <a:lnTo>
                      <a:pt x="853" y="215"/>
                    </a:lnTo>
                    <a:lnTo>
                      <a:pt x="849" y="218"/>
                    </a:lnTo>
                    <a:lnTo>
                      <a:pt x="846" y="218"/>
                    </a:lnTo>
                    <a:lnTo>
                      <a:pt x="846" y="218"/>
                    </a:lnTo>
                    <a:lnTo>
                      <a:pt x="846" y="218"/>
                    </a:lnTo>
                    <a:lnTo>
                      <a:pt x="844" y="220"/>
                    </a:lnTo>
                    <a:lnTo>
                      <a:pt x="844" y="220"/>
                    </a:lnTo>
                    <a:lnTo>
                      <a:pt x="846" y="220"/>
                    </a:lnTo>
                    <a:lnTo>
                      <a:pt x="846" y="220"/>
                    </a:lnTo>
                    <a:lnTo>
                      <a:pt x="842" y="222"/>
                    </a:lnTo>
                    <a:lnTo>
                      <a:pt x="837" y="222"/>
                    </a:lnTo>
                    <a:lnTo>
                      <a:pt x="837" y="225"/>
                    </a:lnTo>
                    <a:lnTo>
                      <a:pt x="835" y="227"/>
                    </a:lnTo>
                    <a:lnTo>
                      <a:pt x="835" y="227"/>
                    </a:lnTo>
                    <a:lnTo>
                      <a:pt x="835" y="227"/>
                    </a:lnTo>
                    <a:lnTo>
                      <a:pt x="839" y="227"/>
                    </a:lnTo>
                    <a:lnTo>
                      <a:pt x="842" y="227"/>
                    </a:lnTo>
                    <a:lnTo>
                      <a:pt x="842" y="227"/>
                    </a:lnTo>
                    <a:lnTo>
                      <a:pt x="844" y="225"/>
                    </a:lnTo>
                    <a:lnTo>
                      <a:pt x="846" y="222"/>
                    </a:lnTo>
                    <a:lnTo>
                      <a:pt x="846" y="222"/>
                    </a:lnTo>
                    <a:lnTo>
                      <a:pt x="846" y="222"/>
                    </a:lnTo>
                    <a:lnTo>
                      <a:pt x="849" y="222"/>
                    </a:lnTo>
                    <a:lnTo>
                      <a:pt x="849" y="222"/>
                    </a:lnTo>
                    <a:lnTo>
                      <a:pt x="849" y="225"/>
                    </a:lnTo>
                    <a:lnTo>
                      <a:pt x="849" y="225"/>
                    </a:lnTo>
                    <a:lnTo>
                      <a:pt x="846" y="225"/>
                    </a:lnTo>
                    <a:lnTo>
                      <a:pt x="846" y="227"/>
                    </a:lnTo>
                    <a:lnTo>
                      <a:pt x="844" y="229"/>
                    </a:lnTo>
                    <a:lnTo>
                      <a:pt x="844" y="229"/>
                    </a:lnTo>
                    <a:lnTo>
                      <a:pt x="844" y="229"/>
                    </a:lnTo>
                    <a:lnTo>
                      <a:pt x="846" y="229"/>
                    </a:lnTo>
                    <a:lnTo>
                      <a:pt x="846" y="229"/>
                    </a:lnTo>
                    <a:lnTo>
                      <a:pt x="842" y="232"/>
                    </a:lnTo>
                    <a:lnTo>
                      <a:pt x="837" y="232"/>
                    </a:lnTo>
                    <a:lnTo>
                      <a:pt x="835" y="234"/>
                    </a:lnTo>
                    <a:lnTo>
                      <a:pt x="830" y="237"/>
                    </a:lnTo>
                    <a:lnTo>
                      <a:pt x="827" y="237"/>
                    </a:lnTo>
                    <a:lnTo>
                      <a:pt x="825" y="237"/>
                    </a:lnTo>
                    <a:lnTo>
                      <a:pt x="820" y="239"/>
                    </a:lnTo>
                    <a:lnTo>
                      <a:pt x="818" y="239"/>
                    </a:lnTo>
                    <a:lnTo>
                      <a:pt x="816" y="239"/>
                    </a:lnTo>
                    <a:lnTo>
                      <a:pt x="816" y="239"/>
                    </a:lnTo>
                    <a:lnTo>
                      <a:pt x="813" y="239"/>
                    </a:lnTo>
                    <a:lnTo>
                      <a:pt x="811" y="239"/>
                    </a:lnTo>
                    <a:lnTo>
                      <a:pt x="811" y="239"/>
                    </a:lnTo>
                    <a:lnTo>
                      <a:pt x="809" y="241"/>
                    </a:lnTo>
                    <a:lnTo>
                      <a:pt x="801" y="246"/>
                    </a:lnTo>
                    <a:lnTo>
                      <a:pt x="801" y="246"/>
                    </a:lnTo>
                    <a:lnTo>
                      <a:pt x="801" y="248"/>
                    </a:lnTo>
                    <a:lnTo>
                      <a:pt x="801" y="248"/>
                    </a:lnTo>
                    <a:lnTo>
                      <a:pt x="801" y="253"/>
                    </a:lnTo>
                    <a:lnTo>
                      <a:pt x="799" y="253"/>
                    </a:lnTo>
                    <a:lnTo>
                      <a:pt x="797" y="255"/>
                    </a:lnTo>
                    <a:lnTo>
                      <a:pt x="794" y="260"/>
                    </a:lnTo>
                    <a:lnTo>
                      <a:pt x="792" y="260"/>
                    </a:lnTo>
                    <a:lnTo>
                      <a:pt x="792" y="260"/>
                    </a:lnTo>
                    <a:lnTo>
                      <a:pt x="790" y="260"/>
                    </a:lnTo>
                    <a:lnTo>
                      <a:pt x="785" y="260"/>
                    </a:lnTo>
                    <a:lnTo>
                      <a:pt x="783" y="260"/>
                    </a:lnTo>
                    <a:lnTo>
                      <a:pt x="783" y="260"/>
                    </a:lnTo>
                    <a:lnTo>
                      <a:pt x="783" y="260"/>
                    </a:lnTo>
                    <a:lnTo>
                      <a:pt x="785" y="265"/>
                    </a:lnTo>
                    <a:lnTo>
                      <a:pt x="783" y="265"/>
                    </a:lnTo>
                    <a:lnTo>
                      <a:pt x="783" y="265"/>
                    </a:lnTo>
                    <a:lnTo>
                      <a:pt x="783" y="265"/>
                    </a:lnTo>
                    <a:lnTo>
                      <a:pt x="783" y="265"/>
                    </a:lnTo>
                    <a:lnTo>
                      <a:pt x="783" y="263"/>
                    </a:lnTo>
                    <a:lnTo>
                      <a:pt x="780" y="260"/>
                    </a:lnTo>
                    <a:lnTo>
                      <a:pt x="780" y="258"/>
                    </a:lnTo>
                    <a:lnTo>
                      <a:pt x="780" y="258"/>
                    </a:lnTo>
                    <a:lnTo>
                      <a:pt x="780" y="258"/>
                    </a:lnTo>
                    <a:lnTo>
                      <a:pt x="780" y="258"/>
                    </a:lnTo>
                    <a:lnTo>
                      <a:pt x="783" y="258"/>
                    </a:lnTo>
                    <a:lnTo>
                      <a:pt x="783" y="258"/>
                    </a:lnTo>
                    <a:lnTo>
                      <a:pt x="785" y="258"/>
                    </a:lnTo>
                    <a:lnTo>
                      <a:pt x="785" y="258"/>
                    </a:lnTo>
                    <a:lnTo>
                      <a:pt x="787" y="260"/>
                    </a:lnTo>
                    <a:lnTo>
                      <a:pt x="787" y="260"/>
                    </a:lnTo>
                    <a:lnTo>
                      <a:pt x="790" y="260"/>
                    </a:lnTo>
                    <a:lnTo>
                      <a:pt x="790" y="260"/>
                    </a:lnTo>
                    <a:lnTo>
                      <a:pt x="792" y="260"/>
                    </a:lnTo>
                    <a:lnTo>
                      <a:pt x="792" y="260"/>
                    </a:lnTo>
                    <a:lnTo>
                      <a:pt x="794" y="258"/>
                    </a:lnTo>
                    <a:lnTo>
                      <a:pt x="794" y="258"/>
                    </a:lnTo>
                    <a:lnTo>
                      <a:pt x="794" y="258"/>
                    </a:lnTo>
                    <a:lnTo>
                      <a:pt x="797" y="255"/>
                    </a:lnTo>
                    <a:lnTo>
                      <a:pt x="794" y="255"/>
                    </a:lnTo>
                    <a:lnTo>
                      <a:pt x="794" y="255"/>
                    </a:lnTo>
                    <a:lnTo>
                      <a:pt x="794" y="255"/>
                    </a:lnTo>
                    <a:lnTo>
                      <a:pt x="792" y="255"/>
                    </a:lnTo>
                    <a:lnTo>
                      <a:pt x="792" y="255"/>
                    </a:lnTo>
                    <a:lnTo>
                      <a:pt x="794" y="253"/>
                    </a:lnTo>
                    <a:lnTo>
                      <a:pt x="794" y="253"/>
                    </a:lnTo>
                    <a:lnTo>
                      <a:pt x="792" y="253"/>
                    </a:lnTo>
                    <a:lnTo>
                      <a:pt x="790" y="253"/>
                    </a:lnTo>
                    <a:lnTo>
                      <a:pt x="787" y="253"/>
                    </a:lnTo>
                    <a:lnTo>
                      <a:pt x="787" y="253"/>
                    </a:lnTo>
                    <a:lnTo>
                      <a:pt x="790" y="253"/>
                    </a:lnTo>
                    <a:lnTo>
                      <a:pt x="790" y="251"/>
                    </a:lnTo>
                    <a:lnTo>
                      <a:pt x="787" y="251"/>
                    </a:lnTo>
                    <a:lnTo>
                      <a:pt x="790" y="248"/>
                    </a:lnTo>
                    <a:lnTo>
                      <a:pt x="792" y="246"/>
                    </a:lnTo>
                    <a:lnTo>
                      <a:pt x="794" y="246"/>
                    </a:lnTo>
                    <a:lnTo>
                      <a:pt x="797" y="244"/>
                    </a:lnTo>
                    <a:lnTo>
                      <a:pt x="804" y="239"/>
                    </a:lnTo>
                    <a:lnTo>
                      <a:pt x="806" y="237"/>
                    </a:lnTo>
                    <a:lnTo>
                      <a:pt x="804" y="237"/>
                    </a:lnTo>
                    <a:lnTo>
                      <a:pt x="797" y="239"/>
                    </a:lnTo>
                    <a:lnTo>
                      <a:pt x="797" y="239"/>
                    </a:lnTo>
                    <a:lnTo>
                      <a:pt x="797" y="239"/>
                    </a:lnTo>
                    <a:lnTo>
                      <a:pt x="794" y="239"/>
                    </a:lnTo>
                    <a:lnTo>
                      <a:pt x="794" y="239"/>
                    </a:lnTo>
                    <a:lnTo>
                      <a:pt x="792" y="239"/>
                    </a:lnTo>
                    <a:lnTo>
                      <a:pt x="792" y="239"/>
                    </a:lnTo>
                    <a:lnTo>
                      <a:pt x="799" y="237"/>
                    </a:lnTo>
                    <a:lnTo>
                      <a:pt x="799" y="237"/>
                    </a:lnTo>
                    <a:lnTo>
                      <a:pt x="801" y="234"/>
                    </a:lnTo>
                    <a:lnTo>
                      <a:pt x="797" y="237"/>
                    </a:lnTo>
                    <a:lnTo>
                      <a:pt x="792" y="237"/>
                    </a:lnTo>
                    <a:lnTo>
                      <a:pt x="792" y="237"/>
                    </a:lnTo>
                    <a:lnTo>
                      <a:pt x="792" y="234"/>
                    </a:lnTo>
                    <a:lnTo>
                      <a:pt x="792" y="234"/>
                    </a:lnTo>
                    <a:lnTo>
                      <a:pt x="792" y="232"/>
                    </a:lnTo>
                    <a:lnTo>
                      <a:pt x="792" y="232"/>
                    </a:lnTo>
                    <a:lnTo>
                      <a:pt x="790" y="232"/>
                    </a:lnTo>
                    <a:lnTo>
                      <a:pt x="790" y="232"/>
                    </a:lnTo>
                    <a:lnTo>
                      <a:pt x="787" y="232"/>
                    </a:lnTo>
                    <a:lnTo>
                      <a:pt x="787" y="232"/>
                    </a:lnTo>
                    <a:lnTo>
                      <a:pt x="785" y="232"/>
                    </a:lnTo>
                    <a:lnTo>
                      <a:pt x="785" y="232"/>
                    </a:lnTo>
                    <a:lnTo>
                      <a:pt x="783" y="232"/>
                    </a:lnTo>
                    <a:lnTo>
                      <a:pt x="783" y="232"/>
                    </a:lnTo>
                    <a:lnTo>
                      <a:pt x="783" y="234"/>
                    </a:lnTo>
                    <a:lnTo>
                      <a:pt x="778" y="234"/>
                    </a:lnTo>
                    <a:lnTo>
                      <a:pt x="775" y="234"/>
                    </a:lnTo>
                    <a:lnTo>
                      <a:pt x="773" y="234"/>
                    </a:lnTo>
                    <a:lnTo>
                      <a:pt x="773" y="234"/>
                    </a:lnTo>
                    <a:lnTo>
                      <a:pt x="773" y="234"/>
                    </a:lnTo>
                    <a:lnTo>
                      <a:pt x="771" y="234"/>
                    </a:lnTo>
                    <a:lnTo>
                      <a:pt x="771" y="234"/>
                    </a:lnTo>
                    <a:lnTo>
                      <a:pt x="771" y="237"/>
                    </a:lnTo>
                    <a:lnTo>
                      <a:pt x="771" y="237"/>
                    </a:lnTo>
                    <a:lnTo>
                      <a:pt x="771" y="239"/>
                    </a:lnTo>
                    <a:lnTo>
                      <a:pt x="771" y="239"/>
                    </a:lnTo>
                    <a:lnTo>
                      <a:pt x="768" y="239"/>
                    </a:lnTo>
                    <a:lnTo>
                      <a:pt x="768" y="239"/>
                    </a:lnTo>
                    <a:lnTo>
                      <a:pt x="768" y="239"/>
                    </a:lnTo>
                    <a:lnTo>
                      <a:pt x="771" y="241"/>
                    </a:lnTo>
                    <a:lnTo>
                      <a:pt x="771" y="244"/>
                    </a:lnTo>
                    <a:lnTo>
                      <a:pt x="775" y="241"/>
                    </a:lnTo>
                    <a:lnTo>
                      <a:pt x="778" y="241"/>
                    </a:lnTo>
                    <a:lnTo>
                      <a:pt x="780" y="241"/>
                    </a:lnTo>
                    <a:lnTo>
                      <a:pt x="783" y="244"/>
                    </a:lnTo>
                    <a:lnTo>
                      <a:pt x="783" y="244"/>
                    </a:lnTo>
                    <a:lnTo>
                      <a:pt x="783" y="244"/>
                    </a:lnTo>
                    <a:lnTo>
                      <a:pt x="783" y="244"/>
                    </a:lnTo>
                    <a:lnTo>
                      <a:pt x="783" y="246"/>
                    </a:lnTo>
                    <a:lnTo>
                      <a:pt x="780" y="246"/>
                    </a:lnTo>
                    <a:lnTo>
                      <a:pt x="780" y="246"/>
                    </a:lnTo>
                    <a:lnTo>
                      <a:pt x="778" y="246"/>
                    </a:lnTo>
                    <a:lnTo>
                      <a:pt x="775" y="248"/>
                    </a:lnTo>
                    <a:lnTo>
                      <a:pt x="773" y="248"/>
                    </a:lnTo>
                    <a:lnTo>
                      <a:pt x="771" y="246"/>
                    </a:lnTo>
                    <a:lnTo>
                      <a:pt x="771" y="246"/>
                    </a:lnTo>
                    <a:lnTo>
                      <a:pt x="768" y="246"/>
                    </a:lnTo>
                    <a:lnTo>
                      <a:pt x="768" y="241"/>
                    </a:lnTo>
                    <a:lnTo>
                      <a:pt x="768" y="239"/>
                    </a:lnTo>
                    <a:lnTo>
                      <a:pt x="766" y="239"/>
                    </a:lnTo>
                    <a:lnTo>
                      <a:pt x="766" y="239"/>
                    </a:lnTo>
                    <a:lnTo>
                      <a:pt x="766" y="239"/>
                    </a:lnTo>
                    <a:lnTo>
                      <a:pt x="764" y="241"/>
                    </a:lnTo>
                    <a:lnTo>
                      <a:pt x="764" y="241"/>
                    </a:lnTo>
                    <a:lnTo>
                      <a:pt x="764" y="241"/>
                    </a:lnTo>
                    <a:lnTo>
                      <a:pt x="766" y="244"/>
                    </a:lnTo>
                    <a:lnTo>
                      <a:pt x="766" y="244"/>
                    </a:lnTo>
                    <a:lnTo>
                      <a:pt x="766" y="244"/>
                    </a:lnTo>
                    <a:lnTo>
                      <a:pt x="764" y="244"/>
                    </a:lnTo>
                    <a:lnTo>
                      <a:pt x="761" y="244"/>
                    </a:lnTo>
                    <a:lnTo>
                      <a:pt x="759" y="246"/>
                    </a:lnTo>
                    <a:lnTo>
                      <a:pt x="756" y="246"/>
                    </a:lnTo>
                    <a:lnTo>
                      <a:pt x="754" y="246"/>
                    </a:lnTo>
                    <a:lnTo>
                      <a:pt x="754" y="246"/>
                    </a:lnTo>
                    <a:lnTo>
                      <a:pt x="752" y="246"/>
                    </a:lnTo>
                    <a:lnTo>
                      <a:pt x="749" y="244"/>
                    </a:lnTo>
                    <a:lnTo>
                      <a:pt x="747" y="244"/>
                    </a:lnTo>
                    <a:lnTo>
                      <a:pt x="740" y="244"/>
                    </a:lnTo>
                    <a:lnTo>
                      <a:pt x="738" y="244"/>
                    </a:lnTo>
                    <a:lnTo>
                      <a:pt x="735" y="244"/>
                    </a:lnTo>
                    <a:lnTo>
                      <a:pt x="735" y="244"/>
                    </a:lnTo>
                    <a:lnTo>
                      <a:pt x="733" y="244"/>
                    </a:lnTo>
                    <a:lnTo>
                      <a:pt x="730" y="244"/>
                    </a:lnTo>
                    <a:lnTo>
                      <a:pt x="728" y="246"/>
                    </a:lnTo>
                    <a:lnTo>
                      <a:pt x="728" y="246"/>
                    </a:lnTo>
                    <a:lnTo>
                      <a:pt x="721" y="246"/>
                    </a:lnTo>
                    <a:lnTo>
                      <a:pt x="719" y="246"/>
                    </a:lnTo>
                    <a:lnTo>
                      <a:pt x="716" y="246"/>
                    </a:lnTo>
                    <a:lnTo>
                      <a:pt x="714" y="246"/>
                    </a:lnTo>
                    <a:lnTo>
                      <a:pt x="712" y="246"/>
                    </a:lnTo>
                    <a:lnTo>
                      <a:pt x="709" y="246"/>
                    </a:lnTo>
                    <a:lnTo>
                      <a:pt x="709" y="246"/>
                    </a:lnTo>
                    <a:lnTo>
                      <a:pt x="707" y="244"/>
                    </a:lnTo>
                    <a:lnTo>
                      <a:pt x="704" y="244"/>
                    </a:lnTo>
                    <a:lnTo>
                      <a:pt x="704" y="241"/>
                    </a:lnTo>
                    <a:lnTo>
                      <a:pt x="702" y="239"/>
                    </a:lnTo>
                    <a:lnTo>
                      <a:pt x="700" y="239"/>
                    </a:lnTo>
                    <a:lnTo>
                      <a:pt x="697" y="239"/>
                    </a:lnTo>
                    <a:lnTo>
                      <a:pt x="693" y="239"/>
                    </a:lnTo>
                    <a:lnTo>
                      <a:pt x="690" y="241"/>
                    </a:lnTo>
                    <a:lnTo>
                      <a:pt x="688" y="239"/>
                    </a:lnTo>
                    <a:lnTo>
                      <a:pt x="686" y="239"/>
                    </a:lnTo>
                    <a:lnTo>
                      <a:pt x="686" y="239"/>
                    </a:lnTo>
                    <a:lnTo>
                      <a:pt x="686" y="239"/>
                    </a:lnTo>
                    <a:lnTo>
                      <a:pt x="686" y="237"/>
                    </a:lnTo>
                    <a:lnTo>
                      <a:pt x="688" y="237"/>
                    </a:lnTo>
                    <a:lnTo>
                      <a:pt x="686" y="237"/>
                    </a:lnTo>
                    <a:lnTo>
                      <a:pt x="683" y="237"/>
                    </a:lnTo>
                    <a:lnTo>
                      <a:pt x="683" y="237"/>
                    </a:lnTo>
                    <a:lnTo>
                      <a:pt x="683" y="234"/>
                    </a:lnTo>
                    <a:lnTo>
                      <a:pt x="683" y="234"/>
                    </a:lnTo>
                    <a:lnTo>
                      <a:pt x="683" y="234"/>
                    </a:lnTo>
                    <a:lnTo>
                      <a:pt x="683" y="237"/>
                    </a:lnTo>
                    <a:lnTo>
                      <a:pt x="681" y="234"/>
                    </a:lnTo>
                    <a:lnTo>
                      <a:pt x="681" y="234"/>
                    </a:lnTo>
                    <a:lnTo>
                      <a:pt x="681" y="234"/>
                    </a:lnTo>
                    <a:lnTo>
                      <a:pt x="681" y="232"/>
                    </a:lnTo>
                    <a:lnTo>
                      <a:pt x="683" y="229"/>
                    </a:lnTo>
                    <a:lnTo>
                      <a:pt x="683" y="227"/>
                    </a:lnTo>
                    <a:lnTo>
                      <a:pt x="683" y="227"/>
                    </a:lnTo>
                    <a:lnTo>
                      <a:pt x="683" y="225"/>
                    </a:lnTo>
                    <a:lnTo>
                      <a:pt x="683" y="225"/>
                    </a:lnTo>
                    <a:lnTo>
                      <a:pt x="681" y="225"/>
                    </a:lnTo>
                    <a:lnTo>
                      <a:pt x="678" y="225"/>
                    </a:lnTo>
                    <a:lnTo>
                      <a:pt x="676" y="225"/>
                    </a:lnTo>
                    <a:lnTo>
                      <a:pt x="669" y="227"/>
                    </a:lnTo>
                    <a:lnTo>
                      <a:pt x="667" y="227"/>
                    </a:lnTo>
                    <a:lnTo>
                      <a:pt x="657" y="229"/>
                    </a:lnTo>
                    <a:lnTo>
                      <a:pt x="652" y="229"/>
                    </a:lnTo>
                    <a:lnTo>
                      <a:pt x="643" y="229"/>
                    </a:lnTo>
                    <a:lnTo>
                      <a:pt x="643" y="229"/>
                    </a:lnTo>
                    <a:lnTo>
                      <a:pt x="636" y="234"/>
                    </a:lnTo>
                    <a:lnTo>
                      <a:pt x="633" y="234"/>
                    </a:lnTo>
                    <a:lnTo>
                      <a:pt x="633" y="237"/>
                    </a:lnTo>
                    <a:lnTo>
                      <a:pt x="636" y="237"/>
                    </a:lnTo>
                    <a:lnTo>
                      <a:pt x="636" y="239"/>
                    </a:lnTo>
                    <a:lnTo>
                      <a:pt x="636" y="239"/>
                    </a:lnTo>
                    <a:lnTo>
                      <a:pt x="638" y="237"/>
                    </a:lnTo>
                    <a:lnTo>
                      <a:pt x="638" y="239"/>
                    </a:lnTo>
                    <a:lnTo>
                      <a:pt x="643" y="237"/>
                    </a:lnTo>
                    <a:lnTo>
                      <a:pt x="645" y="237"/>
                    </a:lnTo>
                    <a:lnTo>
                      <a:pt x="645" y="237"/>
                    </a:lnTo>
                    <a:lnTo>
                      <a:pt x="645" y="237"/>
                    </a:lnTo>
                    <a:lnTo>
                      <a:pt x="648" y="234"/>
                    </a:lnTo>
                    <a:lnTo>
                      <a:pt x="650" y="234"/>
                    </a:lnTo>
                    <a:lnTo>
                      <a:pt x="652" y="237"/>
                    </a:lnTo>
                    <a:lnTo>
                      <a:pt x="655" y="234"/>
                    </a:lnTo>
                    <a:lnTo>
                      <a:pt x="657" y="234"/>
                    </a:lnTo>
                    <a:lnTo>
                      <a:pt x="657" y="234"/>
                    </a:lnTo>
                    <a:lnTo>
                      <a:pt x="659" y="234"/>
                    </a:lnTo>
                    <a:lnTo>
                      <a:pt x="659" y="234"/>
                    </a:lnTo>
                    <a:lnTo>
                      <a:pt x="662" y="234"/>
                    </a:lnTo>
                    <a:lnTo>
                      <a:pt x="664" y="234"/>
                    </a:lnTo>
                    <a:lnTo>
                      <a:pt x="664" y="232"/>
                    </a:lnTo>
                    <a:lnTo>
                      <a:pt x="667" y="232"/>
                    </a:lnTo>
                    <a:lnTo>
                      <a:pt x="671" y="229"/>
                    </a:lnTo>
                    <a:lnTo>
                      <a:pt x="676" y="229"/>
                    </a:lnTo>
                    <a:lnTo>
                      <a:pt x="676" y="229"/>
                    </a:lnTo>
                    <a:lnTo>
                      <a:pt x="678" y="229"/>
                    </a:lnTo>
                    <a:lnTo>
                      <a:pt x="678" y="229"/>
                    </a:lnTo>
                    <a:lnTo>
                      <a:pt x="676" y="232"/>
                    </a:lnTo>
                    <a:lnTo>
                      <a:pt x="674" y="232"/>
                    </a:lnTo>
                    <a:lnTo>
                      <a:pt x="674" y="232"/>
                    </a:lnTo>
                    <a:lnTo>
                      <a:pt x="671" y="234"/>
                    </a:lnTo>
                    <a:lnTo>
                      <a:pt x="669" y="234"/>
                    </a:lnTo>
                    <a:lnTo>
                      <a:pt x="667" y="234"/>
                    </a:lnTo>
                    <a:lnTo>
                      <a:pt x="664" y="234"/>
                    </a:lnTo>
                    <a:lnTo>
                      <a:pt x="664" y="237"/>
                    </a:lnTo>
                    <a:lnTo>
                      <a:pt x="662" y="237"/>
                    </a:lnTo>
                    <a:lnTo>
                      <a:pt x="662" y="237"/>
                    </a:lnTo>
                    <a:lnTo>
                      <a:pt x="659" y="237"/>
                    </a:lnTo>
                    <a:lnTo>
                      <a:pt x="659" y="237"/>
                    </a:lnTo>
                    <a:lnTo>
                      <a:pt x="657" y="237"/>
                    </a:lnTo>
                    <a:lnTo>
                      <a:pt x="655" y="239"/>
                    </a:lnTo>
                    <a:lnTo>
                      <a:pt x="655" y="239"/>
                    </a:lnTo>
                    <a:lnTo>
                      <a:pt x="652" y="239"/>
                    </a:lnTo>
                    <a:lnTo>
                      <a:pt x="652" y="239"/>
                    </a:lnTo>
                    <a:lnTo>
                      <a:pt x="650" y="239"/>
                    </a:lnTo>
                    <a:lnTo>
                      <a:pt x="650" y="239"/>
                    </a:lnTo>
                    <a:lnTo>
                      <a:pt x="648" y="239"/>
                    </a:lnTo>
                    <a:lnTo>
                      <a:pt x="645" y="239"/>
                    </a:lnTo>
                    <a:lnTo>
                      <a:pt x="645" y="239"/>
                    </a:lnTo>
                    <a:lnTo>
                      <a:pt x="641" y="241"/>
                    </a:lnTo>
                    <a:lnTo>
                      <a:pt x="641" y="239"/>
                    </a:lnTo>
                    <a:lnTo>
                      <a:pt x="641" y="241"/>
                    </a:lnTo>
                    <a:lnTo>
                      <a:pt x="641" y="241"/>
                    </a:lnTo>
                    <a:lnTo>
                      <a:pt x="638" y="241"/>
                    </a:lnTo>
                    <a:lnTo>
                      <a:pt x="636" y="244"/>
                    </a:lnTo>
                    <a:lnTo>
                      <a:pt x="633" y="244"/>
                    </a:lnTo>
                    <a:lnTo>
                      <a:pt x="631" y="246"/>
                    </a:lnTo>
                    <a:lnTo>
                      <a:pt x="631" y="246"/>
                    </a:lnTo>
                    <a:lnTo>
                      <a:pt x="631" y="248"/>
                    </a:lnTo>
                    <a:lnTo>
                      <a:pt x="633" y="248"/>
                    </a:lnTo>
                    <a:lnTo>
                      <a:pt x="633" y="248"/>
                    </a:lnTo>
                    <a:lnTo>
                      <a:pt x="631" y="251"/>
                    </a:lnTo>
                    <a:lnTo>
                      <a:pt x="631" y="251"/>
                    </a:lnTo>
                    <a:lnTo>
                      <a:pt x="631" y="251"/>
                    </a:lnTo>
                    <a:lnTo>
                      <a:pt x="629" y="253"/>
                    </a:lnTo>
                    <a:lnTo>
                      <a:pt x="629" y="255"/>
                    </a:lnTo>
                    <a:lnTo>
                      <a:pt x="631" y="255"/>
                    </a:lnTo>
                    <a:lnTo>
                      <a:pt x="631" y="258"/>
                    </a:lnTo>
                    <a:lnTo>
                      <a:pt x="629" y="258"/>
                    </a:lnTo>
                    <a:lnTo>
                      <a:pt x="629" y="258"/>
                    </a:lnTo>
                    <a:lnTo>
                      <a:pt x="629" y="260"/>
                    </a:lnTo>
                    <a:lnTo>
                      <a:pt x="629" y="260"/>
                    </a:lnTo>
                    <a:lnTo>
                      <a:pt x="626" y="260"/>
                    </a:lnTo>
                    <a:lnTo>
                      <a:pt x="626" y="260"/>
                    </a:lnTo>
                    <a:lnTo>
                      <a:pt x="626" y="260"/>
                    </a:lnTo>
                    <a:lnTo>
                      <a:pt x="626" y="260"/>
                    </a:lnTo>
                    <a:lnTo>
                      <a:pt x="624" y="260"/>
                    </a:lnTo>
                    <a:lnTo>
                      <a:pt x="624" y="260"/>
                    </a:lnTo>
                    <a:lnTo>
                      <a:pt x="624" y="258"/>
                    </a:lnTo>
                    <a:lnTo>
                      <a:pt x="622" y="260"/>
                    </a:lnTo>
                    <a:lnTo>
                      <a:pt x="622" y="260"/>
                    </a:lnTo>
                    <a:lnTo>
                      <a:pt x="619" y="263"/>
                    </a:lnTo>
                    <a:lnTo>
                      <a:pt x="617" y="263"/>
                    </a:lnTo>
                    <a:lnTo>
                      <a:pt x="617" y="263"/>
                    </a:lnTo>
                    <a:lnTo>
                      <a:pt x="617" y="265"/>
                    </a:lnTo>
                    <a:lnTo>
                      <a:pt x="619" y="270"/>
                    </a:lnTo>
                    <a:lnTo>
                      <a:pt x="617" y="270"/>
                    </a:lnTo>
                    <a:lnTo>
                      <a:pt x="617" y="270"/>
                    </a:lnTo>
                    <a:lnTo>
                      <a:pt x="617" y="270"/>
                    </a:lnTo>
                    <a:lnTo>
                      <a:pt x="617" y="267"/>
                    </a:lnTo>
                    <a:lnTo>
                      <a:pt x="617" y="265"/>
                    </a:lnTo>
                    <a:lnTo>
                      <a:pt x="617" y="265"/>
                    </a:lnTo>
                    <a:lnTo>
                      <a:pt x="615" y="263"/>
                    </a:lnTo>
                    <a:lnTo>
                      <a:pt x="615" y="263"/>
                    </a:lnTo>
                    <a:lnTo>
                      <a:pt x="615" y="263"/>
                    </a:lnTo>
                    <a:lnTo>
                      <a:pt x="615" y="263"/>
                    </a:lnTo>
                    <a:lnTo>
                      <a:pt x="615" y="260"/>
                    </a:lnTo>
                    <a:lnTo>
                      <a:pt x="615" y="260"/>
                    </a:lnTo>
                    <a:lnTo>
                      <a:pt x="612" y="258"/>
                    </a:lnTo>
                    <a:lnTo>
                      <a:pt x="612" y="258"/>
                    </a:lnTo>
                    <a:lnTo>
                      <a:pt x="615" y="258"/>
                    </a:lnTo>
                    <a:lnTo>
                      <a:pt x="615" y="258"/>
                    </a:lnTo>
                    <a:lnTo>
                      <a:pt x="617" y="258"/>
                    </a:lnTo>
                    <a:lnTo>
                      <a:pt x="619" y="258"/>
                    </a:lnTo>
                    <a:lnTo>
                      <a:pt x="619" y="258"/>
                    </a:lnTo>
                    <a:lnTo>
                      <a:pt x="622" y="255"/>
                    </a:lnTo>
                    <a:lnTo>
                      <a:pt x="622" y="255"/>
                    </a:lnTo>
                    <a:lnTo>
                      <a:pt x="624" y="255"/>
                    </a:lnTo>
                    <a:lnTo>
                      <a:pt x="624" y="253"/>
                    </a:lnTo>
                    <a:lnTo>
                      <a:pt x="622" y="251"/>
                    </a:lnTo>
                    <a:lnTo>
                      <a:pt x="622" y="251"/>
                    </a:lnTo>
                    <a:lnTo>
                      <a:pt x="622" y="248"/>
                    </a:lnTo>
                    <a:lnTo>
                      <a:pt x="622" y="248"/>
                    </a:lnTo>
                    <a:lnTo>
                      <a:pt x="619" y="248"/>
                    </a:lnTo>
                    <a:lnTo>
                      <a:pt x="619" y="248"/>
                    </a:lnTo>
                    <a:lnTo>
                      <a:pt x="615" y="251"/>
                    </a:lnTo>
                    <a:lnTo>
                      <a:pt x="615" y="251"/>
                    </a:lnTo>
                    <a:lnTo>
                      <a:pt x="615" y="251"/>
                    </a:lnTo>
                    <a:lnTo>
                      <a:pt x="615" y="251"/>
                    </a:lnTo>
                    <a:lnTo>
                      <a:pt x="615" y="248"/>
                    </a:lnTo>
                    <a:lnTo>
                      <a:pt x="617" y="248"/>
                    </a:lnTo>
                    <a:lnTo>
                      <a:pt x="617" y="246"/>
                    </a:lnTo>
                    <a:lnTo>
                      <a:pt x="617" y="246"/>
                    </a:lnTo>
                    <a:lnTo>
                      <a:pt x="615" y="246"/>
                    </a:lnTo>
                    <a:lnTo>
                      <a:pt x="610" y="246"/>
                    </a:lnTo>
                    <a:lnTo>
                      <a:pt x="610" y="246"/>
                    </a:lnTo>
                    <a:lnTo>
                      <a:pt x="610" y="244"/>
                    </a:lnTo>
                    <a:lnTo>
                      <a:pt x="610" y="244"/>
                    </a:lnTo>
                    <a:lnTo>
                      <a:pt x="607" y="244"/>
                    </a:lnTo>
                    <a:lnTo>
                      <a:pt x="607" y="244"/>
                    </a:lnTo>
                    <a:lnTo>
                      <a:pt x="607" y="241"/>
                    </a:lnTo>
                    <a:lnTo>
                      <a:pt x="607" y="241"/>
                    </a:lnTo>
                    <a:lnTo>
                      <a:pt x="607" y="241"/>
                    </a:lnTo>
                    <a:lnTo>
                      <a:pt x="605" y="241"/>
                    </a:lnTo>
                    <a:lnTo>
                      <a:pt x="603" y="241"/>
                    </a:lnTo>
                    <a:lnTo>
                      <a:pt x="596" y="244"/>
                    </a:lnTo>
                    <a:lnTo>
                      <a:pt x="591" y="244"/>
                    </a:lnTo>
                    <a:lnTo>
                      <a:pt x="591" y="244"/>
                    </a:lnTo>
                    <a:lnTo>
                      <a:pt x="589" y="244"/>
                    </a:lnTo>
                    <a:lnTo>
                      <a:pt x="589" y="244"/>
                    </a:lnTo>
                    <a:lnTo>
                      <a:pt x="589" y="244"/>
                    </a:lnTo>
                    <a:lnTo>
                      <a:pt x="586" y="244"/>
                    </a:lnTo>
                    <a:lnTo>
                      <a:pt x="584" y="246"/>
                    </a:lnTo>
                    <a:lnTo>
                      <a:pt x="581" y="246"/>
                    </a:lnTo>
                    <a:lnTo>
                      <a:pt x="574" y="246"/>
                    </a:lnTo>
                    <a:lnTo>
                      <a:pt x="574" y="246"/>
                    </a:lnTo>
                    <a:lnTo>
                      <a:pt x="572" y="246"/>
                    </a:lnTo>
                    <a:lnTo>
                      <a:pt x="570" y="246"/>
                    </a:lnTo>
                    <a:lnTo>
                      <a:pt x="570" y="246"/>
                    </a:lnTo>
                    <a:lnTo>
                      <a:pt x="563" y="246"/>
                    </a:lnTo>
                    <a:lnTo>
                      <a:pt x="560" y="246"/>
                    </a:lnTo>
                    <a:lnTo>
                      <a:pt x="560" y="246"/>
                    </a:lnTo>
                    <a:lnTo>
                      <a:pt x="553" y="246"/>
                    </a:lnTo>
                    <a:lnTo>
                      <a:pt x="551" y="246"/>
                    </a:lnTo>
                    <a:lnTo>
                      <a:pt x="548" y="246"/>
                    </a:lnTo>
                    <a:lnTo>
                      <a:pt x="546" y="246"/>
                    </a:lnTo>
                    <a:lnTo>
                      <a:pt x="546" y="246"/>
                    </a:lnTo>
                    <a:lnTo>
                      <a:pt x="544" y="246"/>
                    </a:lnTo>
                    <a:lnTo>
                      <a:pt x="541" y="244"/>
                    </a:lnTo>
                    <a:lnTo>
                      <a:pt x="539" y="244"/>
                    </a:lnTo>
                    <a:lnTo>
                      <a:pt x="536" y="244"/>
                    </a:lnTo>
                    <a:lnTo>
                      <a:pt x="536" y="244"/>
                    </a:lnTo>
                    <a:lnTo>
                      <a:pt x="534" y="244"/>
                    </a:lnTo>
                    <a:lnTo>
                      <a:pt x="532" y="244"/>
                    </a:lnTo>
                    <a:lnTo>
                      <a:pt x="534" y="241"/>
                    </a:lnTo>
                    <a:lnTo>
                      <a:pt x="539" y="241"/>
                    </a:lnTo>
                    <a:lnTo>
                      <a:pt x="539" y="241"/>
                    </a:lnTo>
                    <a:lnTo>
                      <a:pt x="539" y="239"/>
                    </a:lnTo>
                    <a:lnTo>
                      <a:pt x="541" y="239"/>
                    </a:lnTo>
                    <a:lnTo>
                      <a:pt x="541" y="239"/>
                    </a:lnTo>
                    <a:lnTo>
                      <a:pt x="546" y="237"/>
                    </a:lnTo>
                    <a:lnTo>
                      <a:pt x="548" y="237"/>
                    </a:lnTo>
                    <a:lnTo>
                      <a:pt x="555" y="237"/>
                    </a:lnTo>
                    <a:lnTo>
                      <a:pt x="558" y="237"/>
                    </a:lnTo>
                    <a:lnTo>
                      <a:pt x="560" y="237"/>
                    </a:lnTo>
                    <a:lnTo>
                      <a:pt x="560" y="234"/>
                    </a:lnTo>
                    <a:lnTo>
                      <a:pt x="563" y="234"/>
                    </a:lnTo>
                    <a:lnTo>
                      <a:pt x="563" y="234"/>
                    </a:lnTo>
                    <a:lnTo>
                      <a:pt x="563" y="234"/>
                    </a:lnTo>
                    <a:lnTo>
                      <a:pt x="563" y="232"/>
                    </a:lnTo>
                    <a:lnTo>
                      <a:pt x="563" y="232"/>
                    </a:lnTo>
                    <a:lnTo>
                      <a:pt x="563" y="232"/>
                    </a:lnTo>
                    <a:lnTo>
                      <a:pt x="563" y="229"/>
                    </a:lnTo>
                    <a:lnTo>
                      <a:pt x="560" y="227"/>
                    </a:lnTo>
                    <a:lnTo>
                      <a:pt x="558" y="225"/>
                    </a:lnTo>
                    <a:lnTo>
                      <a:pt x="555" y="225"/>
                    </a:lnTo>
                    <a:lnTo>
                      <a:pt x="553" y="225"/>
                    </a:lnTo>
                    <a:lnTo>
                      <a:pt x="551" y="222"/>
                    </a:lnTo>
                    <a:lnTo>
                      <a:pt x="548" y="222"/>
                    </a:lnTo>
                    <a:lnTo>
                      <a:pt x="548" y="222"/>
                    </a:lnTo>
                    <a:lnTo>
                      <a:pt x="546" y="222"/>
                    </a:lnTo>
                    <a:lnTo>
                      <a:pt x="544" y="222"/>
                    </a:lnTo>
                    <a:lnTo>
                      <a:pt x="544" y="222"/>
                    </a:lnTo>
                    <a:lnTo>
                      <a:pt x="541" y="222"/>
                    </a:lnTo>
                    <a:lnTo>
                      <a:pt x="544" y="225"/>
                    </a:lnTo>
                    <a:lnTo>
                      <a:pt x="544" y="225"/>
                    </a:lnTo>
                    <a:lnTo>
                      <a:pt x="541" y="225"/>
                    </a:lnTo>
                    <a:lnTo>
                      <a:pt x="539" y="225"/>
                    </a:lnTo>
                    <a:lnTo>
                      <a:pt x="539" y="225"/>
                    </a:lnTo>
                    <a:lnTo>
                      <a:pt x="536" y="225"/>
                    </a:lnTo>
                    <a:lnTo>
                      <a:pt x="532" y="225"/>
                    </a:lnTo>
                    <a:lnTo>
                      <a:pt x="529" y="225"/>
                    </a:lnTo>
                    <a:lnTo>
                      <a:pt x="529" y="225"/>
                    </a:lnTo>
                    <a:lnTo>
                      <a:pt x="527" y="225"/>
                    </a:lnTo>
                    <a:lnTo>
                      <a:pt x="522" y="222"/>
                    </a:lnTo>
                    <a:lnTo>
                      <a:pt x="520" y="222"/>
                    </a:lnTo>
                    <a:lnTo>
                      <a:pt x="518" y="220"/>
                    </a:lnTo>
                    <a:lnTo>
                      <a:pt x="515" y="220"/>
                    </a:lnTo>
                    <a:lnTo>
                      <a:pt x="515" y="218"/>
                    </a:lnTo>
                    <a:lnTo>
                      <a:pt x="513" y="218"/>
                    </a:lnTo>
                    <a:lnTo>
                      <a:pt x="501" y="218"/>
                    </a:lnTo>
                    <a:lnTo>
                      <a:pt x="499" y="215"/>
                    </a:lnTo>
                    <a:lnTo>
                      <a:pt x="496" y="215"/>
                    </a:lnTo>
                    <a:lnTo>
                      <a:pt x="494" y="213"/>
                    </a:lnTo>
                    <a:lnTo>
                      <a:pt x="494" y="210"/>
                    </a:lnTo>
                    <a:lnTo>
                      <a:pt x="489" y="210"/>
                    </a:lnTo>
                    <a:lnTo>
                      <a:pt x="487" y="208"/>
                    </a:lnTo>
                    <a:lnTo>
                      <a:pt x="484" y="208"/>
                    </a:lnTo>
                    <a:lnTo>
                      <a:pt x="482" y="208"/>
                    </a:lnTo>
                    <a:lnTo>
                      <a:pt x="477" y="208"/>
                    </a:lnTo>
                    <a:lnTo>
                      <a:pt x="473" y="208"/>
                    </a:lnTo>
                    <a:lnTo>
                      <a:pt x="473" y="208"/>
                    </a:lnTo>
                    <a:lnTo>
                      <a:pt x="470" y="208"/>
                    </a:lnTo>
                    <a:lnTo>
                      <a:pt x="468" y="208"/>
                    </a:lnTo>
                    <a:lnTo>
                      <a:pt x="468" y="208"/>
                    </a:lnTo>
                    <a:lnTo>
                      <a:pt x="466" y="210"/>
                    </a:lnTo>
                    <a:lnTo>
                      <a:pt x="463" y="210"/>
                    </a:lnTo>
                    <a:lnTo>
                      <a:pt x="461" y="213"/>
                    </a:lnTo>
                    <a:lnTo>
                      <a:pt x="458" y="213"/>
                    </a:lnTo>
                    <a:lnTo>
                      <a:pt x="456" y="213"/>
                    </a:lnTo>
                    <a:lnTo>
                      <a:pt x="454" y="215"/>
                    </a:lnTo>
                    <a:lnTo>
                      <a:pt x="454" y="215"/>
                    </a:lnTo>
                    <a:lnTo>
                      <a:pt x="451" y="215"/>
                    </a:lnTo>
                    <a:lnTo>
                      <a:pt x="444" y="215"/>
                    </a:lnTo>
                    <a:lnTo>
                      <a:pt x="444" y="215"/>
                    </a:lnTo>
                    <a:lnTo>
                      <a:pt x="442" y="215"/>
                    </a:lnTo>
                    <a:lnTo>
                      <a:pt x="439" y="215"/>
                    </a:lnTo>
                    <a:lnTo>
                      <a:pt x="439" y="215"/>
                    </a:lnTo>
                    <a:lnTo>
                      <a:pt x="439" y="215"/>
                    </a:lnTo>
                    <a:lnTo>
                      <a:pt x="442" y="215"/>
                    </a:lnTo>
                    <a:lnTo>
                      <a:pt x="444" y="213"/>
                    </a:lnTo>
                    <a:lnTo>
                      <a:pt x="449" y="210"/>
                    </a:lnTo>
                    <a:lnTo>
                      <a:pt x="451" y="210"/>
                    </a:lnTo>
                    <a:lnTo>
                      <a:pt x="449" y="210"/>
                    </a:lnTo>
                    <a:lnTo>
                      <a:pt x="449" y="208"/>
                    </a:lnTo>
                    <a:lnTo>
                      <a:pt x="451" y="206"/>
                    </a:lnTo>
                    <a:lnTo>
                      <a:pt x="454" y="206"/>
                    </a:lnTo>
                    <a:lnTo>
                      <a:pt x="454" y="203"/>
                    </a:lnTo>
                    <a:lnTo>
                      <a:pt x="456" y="203"/>
                    </a:lnTo>
                    <a:lnTo>
                      <a:pt x="456" y="203"/>
                    </a:lnTo>
                    <a:lnTo>
                      <a:pt x="456" y="203"/>
                    </a:lnTo>
                    <a:lnTo>
                      <a:pt x="454" y="203"/>
                    </a:lnTo>
                    <a:lnTo>
                      <a:pt x="451" y="203"/>
                    </a:lnTo>
                    <a:lnTo>
                      <a:pt x="451" y="203"/>
                    </a:lnTo>
                    <a:lnTo>
                      <a:pt x="447" y="203"/>
                    </a:lnTo>
                    <a:lnTo>
                      <a:pt x="447" y="203"/>
                    </a:lnTo>
                    <a:lnTo>
                      <a:pt x="447" y="206"/>
                    </a:lnTo>
                    <a:lnTo>
                      <a:pt x="447" y="206"/>
                    </a:lnTo>
                    <a:lnTo>
                      <a:pt x="449" y="206"/>
                    </a:lnTo>
                    <a:lnTo>
                      <a:pt x="449" y="206"/>
                    </a:lnTo>
                    <a:lnTo>
                      <a:pt x="449" y="206"/>
                    </a:lnTo>
                    <a:lnTo>
                      <a:pt x="447" y="206"/>
                    </a:lnTo>
                    <a:lnTo>
                      <a:pt x="444" y="206"/>
                    </a:lnTo>
                    <a:lnTo>
                      <a:pt x="442" y="208"/>
                    </a:lnTo>
                    <a:lnTo>
                      <a:pt x="442" y="208"/>
                    </a:lnTo>
                    <a:lnTo>
                      <a:pt x="439" y="208"/>
                    </a:lnTo>
                    <a:lnTo>
                      <a:pt x="439" y="208"/>
                    </a:lnTo>
                    <a:lnTo>
                      <a:pt x="437" y="210"/>
                    </a:lnTo>
                    <a:lnTo>
                      <a:pt x="437" y="210"/>
                    </a:lnTo>
                    <a:lnTo>
                      <a:pt x="435" y="210"/>
                    </a:lnTo>
                    <a:lnTo>
                      <a:pt x="432" y="210"/>
                    </a:lnTo>
                    <a:lnTo>
                      <a:pt x="432" y="213"/>
                    </a:lnTo>
                    <a:lnTo>
                      <a:pt x="432" y="215"/>
                    </a:lnTo>
                    <a:lnTo>
                      <a:pt x="432" y="215"/>
                    </a:lnTo>
                    <a:lnTo>
                      <a:pt x="428" y="218"/>
                    </a:lnTo>
                    <a:lnTo>
                      <a:pt x="425" y="218"/>
                    </a:lnTo>
                    <a:lnTo>
                      <a:pt x="423" y="215"/>
                    </a:lnTo>
                    <a:lnTo>
                      <a:pt x="421" y="215"/>
                    </a:lnTo>
                    <a:lnTo>
                      <a:pt x="421" y="215"/>
                    </a:lnTo>
                    <a:lnTo>
                      <a:pt x="418" y="213"/>
                    </a:lnTo>
                    <a:lnTo>
                      <a:pt x="418" y="210"/>
                    </a:lnTo>
                    <a:lnTo>
                      <a:pt x="418" y="208"/>
                    </a:lnTo>
                    <a:lnTo>
                      <a:pt x="418" y="208"/>
                    </a:lnTo>
                    <a:lnTo>
                      <a:pt x="421" y="206"/>
                    </a:lnTo>
                    <a:lnTo>
                      <a:pt x="421" y="203"/>
                    </a:lnTo>
                    <a:lnTo>
                      <a:pt x="423" y="201"/>
                    </a:lnTo>
                    <a:lnTo>
                      <a:pt x="423" y="199"/>
                    </a:lnTo>
                    <a:lnTo>
                      <a:pt x="423" y="199"/>
                    </a:lnTo>
                    <a:lnTo>
                      <a:pt x="421" y="196"/>
                    </a:lnTo>
                    <a:lnTo>
                      <a:pt x="421" y="196"/>
                    </a:lnTo>
                    <a:lnTo>
                      <a:pt x="418" y="194"/>
                    </a:lnTo>
                    <a:lnTo>
                      <a:pt x="418" y="194"/>
                    </a:lnTo>
                    <a:lnTo>
                      <a:pt x="416" y="196"/>
                    </a:lnTo>
                    <a:lnTo>
                      <a:pt x="413" y="196"/>
                    </a:lnTo>
                    <a:lnTo>
                      <a:pt x="413" y="199"/>
                    </a:lnTo>
                    <a:lnTo>
                      <a:pt x="413" y="199"/>
                    </a:lnTo>
                    <a:lnTo>
                      <a:pt x="413" y="199"/>
                    </a:lnTo>
                    <a:lnTo>
                      <a:pt x="413" y="199"/>
                    </a:lnTo>
                    <a:lnTo>
                      <a:pt x="411" y="199"/>
                    </a:lnTo>
                    <a:lnTo>
                      <a:pt x="413" y="201"/>
                    </a:lnTo>
                    <a:lnTo>
                      <a:pt x="416" y="201"/>
                    </a:lnTo>
                    <a:lnTo>
                      <a:pt x="413" y="201"/>
                    </a:lnTo>
                    <a:lnTo>
                      <a:pt x="409" y="201"/>
                    </a:lnTo>
                    <a:lnTo>
                      <a:pt x="404" y="203"/>
                    </a:lnTo>
                    <a:lnTo>
                      <a:pt x="402" y="206"/>
                    </a:lnTo>
                    <a:lnTo>
                      <a:pt x="399" y="206"/>
                    </a:lnTo>
                    <a:lnTo>
                      <a:pt x="392" y="208"/>
                    </a:lnTo>
                    <a:lnTo>
                      <a:pt x="390" y="210"/>
                    </a:lnTo>
                    <a:lnTo>
                      <a:pt x="387" y="210"/>
                    </a:lnTo>
                    <a:lnTo>
                      <a:pt x="385" y="210"/>
                    </a:lnTo>
                    <a:lnTo>
                      <a:pt x="385" y="210"/>
                    </a:lnTo>
                    <a:lnTo>
                      <a:pt x="385" y="210"/>
                    </a:lnTo>
                    <a:lnTo>
                      <a:pt x="385" y="208"/>
                    </a:lnTo>
                    <a:lnTo>
                      <a:pt x="387" y="208"/>
                    </a:lnTo>
                    <a:lnTo>
                      <a:pt x="390" y="208"/>
                    </a:lnTo>
                    <a:lnTo>
                      <a:pt x="392" y="206"/>
                    </a:lnTo>
                    <a:lnTo>
                      <a:pt x="392" y="206"/>
                    </a:lnTo>
                    <a:lnTo>
                      <a:pt x="392" y="206"/>
                    </a:lnTo>
                    <a:lnTo>
                      <a:pt x="392" y="206"/>
                    </a:lnTo>
                    <a:lnTo>
                      <a:pt x="390" y="206"/>
                    </a:lnTo>
                    <a:lnTo>
                      <a:pt x="387" y="208"/>
                    </a:lnTo>
                    <a:lnTo>
                      <a:pt x="385" y="208"/>
                    </a:lnTo>
                    <a:lnTo>
                      <a:pt x="380" y="208"/>
                    </a:lnTo>
                    <a:lnTo>
                      <a:pt x="371" y="210"/>
                    </a:lnTo>
                    <a:lnTo>
                      <a:pt x="366" y="210"/>
                    </a:lnTo>
                    <a:lnTo>
                      <a:pt x="361" y="213"/>
                    </a:lnTo>
                    <a:lnTo>
                      <a:pt x="359" y="215"/>
                    </a:lnTo>
                    <a:lnTo>
                      <a:pt x="352" y="218"/>
                    </a:lnTo>
                    <a:lnTo>
                      <a:pt x="350" y="218"/>
                    </a:lnTo>
                    <a:lnTo>
                      <a:pt x="347" y="220"/>
                    </a:lnTo>
                    <a:lnTo>
                      <a:pt x="350" y="218"/>
                    </a:lnTo>
                    <a:lnTo>
                      <a:pt x="352" y="215"/>
                    </a:lnTo>
                    <a:lnTo>
                      <a:pt x="352" y="215"/>
                    </a:lnTo>
                    <a:lnTo>
                      <a:pt x="352" y="215"/>
                    </a:lnTo>
                    <a:lnTo>
                      <a:pt x="352" y="215"/>
                    </a:lnTo>
                    <a:lnTo>
                      <a:pt x="352" y="215"/>
                    </a:lnTo>
                    <a:lnTo>
                      <a:pt x="350" y="215"/>
                    </a:lnTo>
                    <a:lnTo>
                      <a:pt x="347" y="215"/>
                    </a:lnTo>
                    <a:lnTo>
                      <a:pt x="347" y="215"/>
                    </a:lnTo>
                    <a:lnTo>
                      <a:pt x="347" y="215"/>
                    </a:lnTo>
                    <a:lnTo>
                      <a:pt x="347" y="215"/>
                    </a:lnTo>
                    <a:lnTo>
                      <a:pt x="345" y="215"/>
                    </a:lnTo>
                    <a:lnTo>
                      <a:pt x="345" y="215"/>
                    </a:lnTo>
                    <a:lnTo>
                      <a:pt x="343" y="215"/>
                    </a:lnTo>
                    <a:lnTo>
                      <a:pt x="340" y="215"/>
                    </a:lnTo>
                    <a:lnTo>
                      <a:pt x="340" y="215"/>
                    </a:lnTo>
                    <a:lnTo>
                      <a:pt x="340" y="215"/>
                    </a:lnTo>
                    <a:lnTo>
                      <a:pt x="340" y="218"/>
                    </a:lnTo>
                    <a:lnTo>
                      <a:pt x="338" y="218"/>
                    </a:lnTo>
                    <a:lnTo>
                      <a:pt x="333" y="218"/>
                    </a:lnTo>
                    <a:lnTo>
                      <a:pt x="331" y="220"/>
                    </a:lnTo>
                    <a:lnTo>
                      <a:pt x="328" y="220"/>
                    </a:lnTo>
                    <a:lnTo>
                      <a:pt x="326" y="220"/>
                    </a:lnTo>
                    <a:lnTo>
                      <a:pt x="321" y="222"/>
                    </a:lnTo>
                    <a:lnTo>
                      <a:pt x="321" y="222"/>
                    </a:lnTo>
                    <a:lnTo>
                      <a:pt x="319" y="222"/>
                    </a:lnTo>
                    <a:lnTo>
                      <a:pt x="319" y="222"/>
                    </a:lnTo>
                    <a:lnTo>
                      <a:pt x="319" y="225"/>
                    </a:lnTo>
                    <a:lnTo>
                      <a:pt x="316" y="225"/>
                    </a:lnTo>
                    <a:lnTo>
                      <a:pt x="319" y="225"/>
                    </a:lnTo>
                    <a:lnTo>
                      <a:pt x="319" y="225"/>
                    </a:lnTo>
                    <a:lnTo>
                      <a:pt x="319" y="225"/>
                    </a:lnTo>
                    <a:lnTo>
                      <a:pt x="316" y="227"/>
                    </a:lnTo>
                    <a:lnTo>
                      <a:pt x="309" y="225"/>
                    </a:lnTo>
                    <a:lnTo>
                      <a:pt x="307" y="225"/>
                    </a:lnTo>
                    <a:lnTo>
                      <a:pt x="307" y="227"/>
                    </a:lnTo>
                    <a:lnTo>
                      <a:pt x="309" y="227"/>
                    </a:lnTo>
                    <a:lnTo>
                      <a:pt x="309" y="227"/>
                    </a:lnTo>
                    <a:lnTo>
                      <a:pt x="307" y="227"/>
                    </a:lnTo>
                    <a:lnTo>
                      <a:pt x="307" y="227"/>
                    </a:lnTo>
                    <a:lnTo>
                      <a:pt x="307" y="227"/>
                    </a:lnTo>
                    <a:lnTo>
                      <a:pt x="307" y="225"/>
                    </a:lnTo>
                    <a:lnTo>
                      <a:pt x="309" y="225"/>
                    </a:lnTo>
                    <a:lnTo>
                      <a:pt x="312" y="222"/>
                    </a:lnTo>
                    <a:lnTo>
                      <a:pt x="316" y="222"/>
                    </a:lnTo>
                    <a:lnTo>
                      <a:pt x="319" y="220"/>
                    </a:lnTo>
                    <a:lnTo>
                      <a:pt x="324" y="220"/>
                    </a:lnTo>
                    <a:lnTo>
                      <a:pt x="326" y="218"/>
                    </a:lnTo>
                    <a:lnTo>
                      <a:pt x="328" y="218"/>
                    </a:lnTo>
                    <a:lnTo>
                      <a:pt x="333" y="218"/>
                    </a:lnTo>
                    <a:lnTo>
                      <a:pt x="335" y="215"/>
                    </a:lnTo>
                    <a:lnTo>
                      <a:pt x="338" y="215"/>
                    </a:lnTo>
                    <a:lnTo>
                      <a:pt x="343" y="213"/>
                    </a:lnTo>
                    <a:lnTo>
                      <a:pt x="343" y="213"/>
                    </a:lnTo>
                    <a:lnTo>
                      <a:pt x="345" y="213"/>
                    </a:lnTo>
                    <a:lnTo>
                      <a:pt x="350" y="213"/>
                    </a:lnTo>
                    <a:lnTo>
                      <a:pt x="352" y="213"/>
                    </a:lnTo>
                    <a:lnTo>
                      <a:pt x="354" y="213"/>
                    </a:lnTo>
                    <a:lnTo>
                      <a:pt x="357" y="210"/>
                    </a:lnTo>
                    <a:lnTo>
                      <a:pt x="359" y="210"/>
                    </a:lnTo>
                    <a:lnTo>
                      <a:pt x="361" y="210"/>
                    </a:lnTo>
                    <a:lnTo>
                      <a:pt x="369" y="208"/>
                    </a:lnTo>
                    <a:lnTo>
                      <a:pt x="383" y="206"/>
                    </a:lnTo>
                    <a:lnTo>
                      <a:pt x="387" y="203"/>
                    </a:lnTo>
                    <a:lnTo>
                      <a:pt x="387" y="203"/>
                    </a:lnTo>
                    <a:lnTo>
                      <a:pt x="387" y="201"/>
                    </a:lnTo>
                    <a:lnTo>
                      <a:pt x="387" y="201"/>
                    </a:lnTo>
                    <a:lnTo>
                      <a:pt x="387" y="201"/>
                    </a:lnTo>
                    <a:lnTo>
                      <a:pt x="383" y="203"/>
                    </a:lnTo>
                    <a:lnTo>
                      <a:pt x="383" y="203"/>
                    </a:lnTo>
                    <a:lnTo>
                      <a:pt x="380" y="203"/>
                    </a:lnTo>
                    <a:lnTo>
                      <a:pt x="378" y="203"/>
                    </a:lnTo>
                    <a:lnTo>
                      <a:pt x="378" y="203"/>
                    </a:lnTo>
                    <a:lnTo>
                      <a:pt x="376" y="203"/>
                    </a:lnTo>
                    <a:lnTo>
                      <a:pt x="376" y="203"/>
                    </a:lnTo>
                    <a:lnTo>
                      <a:pt x="373" y="203"/>
                    </a:lnTo>
                    <a:lnTo>
                      <a:pt x="369" y="203"/>
                    </a:lnTo>
                    <a:lnTo>
                      <a:pt x="366" y="206"/>
                    </a:lnTo>
                    <a:lnTo>
                      <a:pt x="364" y="206"/>
                    </a:lnTo>
                    <a:lnTo>
                      <a:pt x="361" y="206"/>
                    </a:lnTo>
                    <a:lnTo>
                      <a:pt x="361" y="206"/>
                    </a:lnTo>
                    <a:lnTo>
                      <a:pt x="359" y="206"/>
                    </a:lnTo>
                    <a:lnTo>
                      <a:pt x="357" y="206"/>
                    </a:lnTo>
                    <a:lnTo>
                      <a:pt x="354" y="208"/>
                    </a:lnTo>
                    <a:lnTo>
                      <a:pt x="347" y="210"/>
                    </a:lnTo>
                    <a:lnTo>
                      <a:pt x="343" y="210"/>
                    </a:lnTo>
                    <a:lnTo>
                      <a:pt x="343" y="210"/>
                    </a:lnTo>
                    <a:lnTo>
                      <a:pt x="343" y="210"/>
                    </a:lnTo>
                    <a:lnTo>
                      <a:pt x="340" y="210"/>
                    </a:lnTo>
                    <a:lnTo>
                      <a:pt x="338" y="210"/>
                    </a:lnTo>
                    <a:lnTo>
                      <a:pt x="338" y="210"/>
                    </a:lnTo>
                    <a:lnTo>
                      <a:pt x="338" y="210"/>
                    </a:lnTo>
                    <a:lnTo>
                      <a:pt x="338" y="210"/>
                    </a:lnTo>
                    <a:lnTo>
                      <a:pt x="340" y="210"/>
                    </a:lnTo>
                    <a:lnTo>
                      <a:pt x="338" y="210"/>
                    </a:lnTo>
                    <a:lnTo>
                      <a:pt x="338" y="210"/>
                    </a:lnTo>
                    <a:lnTo>
                      <a:pt x="338" y="210"/>
                    </a:lnTo>
                    <a:lnTo>
                      <a:pt x="333" y="210"/>
                    </a:lnTo>
                    <a:lnTo>
                      <a:pt x="331" y="210"/>
                    </a:lnTo>
                    <a:lnTo>
                      <a:pt x="326" y="213"/>
                    </a:lnTo>
                    <a:lnTo>
                      <a:pt x="326" y="215"/>
                    </a:lnTo>
                    <a:lnTo>
                      <a:pt x="324" y="215"/>
                    </a:lnTo>
                    <a:lnTo>
                      <a:pt x="321" y="215"/>
                    </a:lnTo>
                    <a:lnTo>
                      <a:pt x="319" y="215"/>
                    </a:lnTo>
                    <a:lnTo>
                      <a:pt x="314" y="215"/>
                    </a:lnTo>
                    <a:lnTo>
                      <a:pt x="309" y="218"/>
                    </a:lnTo>
                    <a:lnTo>
                      <a:pt x="305" y="218"/>
                    </a:lnTo>
                    <a:lnTo>
                      <a:pt x="307" y="218"/>
                    </a:lnTo>
                    <a:lnTo>
                      <a:pt x="312" y="215"/>
                    </a:lnTo>
                    <a:lnTo>
                      <a:pt x="312" y="215"/>
                    </a:lnTo>
                    <a:lnTo>
                      <a:pt x="316" y="213"/>
                    </a:lnTo>
                    <a:lnTo>
                      <a:pt x="316" y="213"/>
                    </a:lnTo>
                    <a:lnTo>
                      <a:pt x="314" y="213"/>
                    </a:lnTo>
                    <a:lnTo>
                      <a:pt x="314" y="213"/>
                    </a:lnTo>
                    <a:lnTo>
                      <a:pt x="314" y="210"/>
                    </a:lnTo>
                    <a:lnTo>
                      <a:pt x="314" y="210"/>
                    </a:lnTo>
                    <a:lnTo>
                      <a:pt x="312" y="210"/>
                    </a:lnTo>
                    <a:lnTo>
                      <a:pt x="312" y="210"/>
                    </a:lnTo>
                    <a:lnTo>
                      <a:pt x="309" y="210"/>
                    </a:lnTo>
                    <a:lnTo>
                      <a:pt x="309" y="213"/>
                    </a:lnTo>
                    <a:lnTo>
                      <a:pt x="309" y="213"/>
                    </a:lnTo>
                    <a:lnTo>
                      <a:pt x="307" y="215"/>
                    </a:lnTo>
                    <a:lnTo>
                      <a:pt x="307" y="215"/>
                    </a:lnTo>
                    <a:lnTo>
                      <a:pt x="302" y="215"/>
                    </a:lnTo>
                    <a:lnTo>
                      <a:pt x="298" y="215"/>
                    </a:lnTo>
                    <a:lnTo>
                      <a:pt x="298" y="215"/>
                    </a:lnTo>
                    <a:lnTo>
                      <a:pt x="295" y="215"/>
                    </a:lnTo>
                    <a:lnTo>
                      <a:pt x="293" y="218"/>
                    </a:lnTo>
                    <a:lnTo>
                      <a:pt x="293" y="218"/>
                    </a:lnTo>
                    <a:lnTo>
                      <a:pt x="290" y="218"/>
                    </a:lnTo>
                    <a:lnTo>
                      <a:pt x="288" y="218"/>
                    </a:lnTo>
                    <a:lnTo>
                      <a:pt x="286" y="218"/>
                    </a:lnTo>
                    <a:lnTo>
                      <a:pt x="279" y="220"/>
                    </a:lnTo>
                    <a:lnTo>
                      <a:pt x="279" y="222"/>
                    </a:lnTo>
                    <a:lnTo>
                      <a:pt x="281" y="222"/>
                    </a:lnTo>
                    <a:lnTo>
                      <a:pt x="281" y="222"/>
                    </a:lnTo>
                    <a:lnTo>
                      <a:pt x="281" y="222"/>
                    </a:lnTo>
                    <a:lnTo>
                      <a:pt x="281" y="222"/>
                    </a:lnTo>
                    <a:lnTo>
                      <a:pt x="279" y="222"/>
                    </a:lnTo>
                    <a:lnTo>
                      <a:pt x="276" y="222"/>
                    </a:lnTo>
                    <a:lnTo>
                      <a:pt x="276" y="222"/>
                    </a:lnTo>
                    <a:lnTo>
                      <a:pt x="276" y="222"/>
                    </a:lnTo>
                    <a:lnTo>
                      <a:pt x="274" y="225"/>
                    </a:lnTo>
                    <a:lnTo>
                      <a:pt x="274" y="225"/>
                    </a:lnTo>
                    <a:lnTo>
                      <a:pt x="279" y="225"/>
                    </a:lnTo>
                    <a:lnTo>
                      <a:pt x="279" y="225"/>
                    </a:lnTo>
                    <a:lnTo>
                      <a:pt x="279" y="225"/>
                    </a:lnTo>
                    <a:lnTo>
                      <a:pt x="279" y="227"/>
                    </a:lnTo>
                    <a:lnTo>
                      <a:pt x="279" y="229"/>
                    </a:lnTo>
                    <a:lnTo>
                      <a:pt x="276" y="227"/>
                    </a:lnTo>
                    <a:lnTo>
                      <a:pt x="274" y="225"/>
                    </a:lnTo>
                    <a:lnTo>
                      <a:pt x="272" y="225"/>
                    </a:lnTo>
                    <a:lnTo>
                      <a:pt x="267" y="225"/>
                    </a:lnTo>
                    <a:lnTo>
                      <a:pt x="262" y="225"/>
                    </a:lnTo>
                    <a:lnTo>
                      <a:pt x="260" y="225"/>
                    </a:lnTo>
                    <a:lnTo>
                      <a:pt x="257" y="222"/>
                    </a:lnTo>
                    <a:lnTo>
                      <a:pt x="253" y="220"/>
                    </a:lnTo>
                    <a:lnTo>
                      <a:pt x="250" y="220"/>
                    </a:lnTo>
                    <a:lnTo>
                      <a:pt x="250" y="220"/>
                    </a:lnTo>
                    <a:lnTo>
                      <a:pt x="246" y="218"/>
                    </a:lnTo>
                    <a:lnTo>
                      <a:pt x="243" y="213"/>
                    </a:lnTo>
                    <a:lnTo>
                      <a:pt x="236" y="213"/>
                    </a:lnTo>
                    <a:lnTo>
                      <a:pt x="229" y="213"/>
                    </a:lnTo>
                    <a:lnTo>
                      <a:pt x="224" y="210"/>
                    </a:lnTo>
                    <a:lnTo>
                      <a:pt x="222" y="210"/>
                    </a:lnTo>
                    <a:lnTo>
                      <a:pt x="217" y="215"/>
                    </a:lnTo>
                    <a:lnTo>
                      <a:pt x="210" y="222"/>
                    </a:lnTo>
                    <a:lnTo>
                      <a:pt x="203" y="227"/>
                    </a:lnTo>
                    <a:lnTo>
                      <a:pt x="196" y="232"/>
                    </a:lnTo>
                    <a:lnTo>
                      <a:pt x="189" y="237"/>
                    </a:lnTo>
                    <a:lnTo>
                      <a:pt x="182" y="244"/>
                    </a:lnTo>
                    <a:lnTo>
                      <a:pt x="175" y="248"/>
                    </a:lnTo>
                    <a:lnTo>
                      <a:pt x="167" y="253"/>
                    </a:lnTo>
                    <a:lnTo>
                      <a:pt x="160" y="258"/>
                    </a:lnTo>
                    <a:lnTo>
                      <a:pt x="153" y="265"/>
                    </a:lnTo>
                    <a:lnTo>
                      <a:pt x="149" y="270"/>
                    </a:lnTo>
                    <a:lnTo>
                      <a:pt x="141" y="274"/>
                    </a:lnTo>
                    <a:lnTo>
                      <a:pt x="134" y="279"/>
                    </a:lnTo>
                    <a:lnTo>
                      <a:pt x="127" y="286"/>
                    </a:lnTo>
                    <a:lnTo>
                      <a:pt x="120" y="291"/>
                    </a:lnTo>
                    <a:lnTo>
                      <a:pt x="113" y="296"/>
                    </a:lnTo>
                    <a:lnTo>
                      <a:pt x="108" y="300"/>
                    </a:lnTo>
                    <a:lnTo>
                      <a:pt x="101" y="308"/>
                    </a:lnTo>
                    <a:lnTo>
                      <a:pt x="94" y="312"/>
                    </a:lnTo>
                    <a:lnTo>
                      <a:pt x="87" y="317"/>
                    </a:lnTo>
                    <a:lnTo>
                      <a:pt x="82" y="324"/>
                    </a:lnTo>
                    <a:lnTo>
                      <a:pt x="75" y="329"/>
                    </a:lnTo>
                    <a:lnTo>
                      <a:pt x="68" y="334"/>
                    </a:lnTo>
                    <a:lnTo>
                      <a:pt x="61" y="341"/>
                    </a:lnTo>
                    <a:lnTo>
                      <a:pt x="56" y="345"/>
                    </a:lnTo>
                    <a:lnTo>
                      <a:pt x="49" y="350"/>
                    </a:lnTo>
                    <a:lnTo>
                      <a:pt x="42" y="357"/>
                    </a:lnTo>
                    <a:lnTo>
                      <a:pt x="37" y="362"/>
                    </a:lnTo>
                    <a:lnTo>
                      <a:pt x="30" y="369"/>
                    </a:lnTo>
                    <a:lnTo>
                      <a:pt x="23" y="374"/>
                    </a:lnTo>
                    <a:lnTo>
                      <a:pt x="16" y="379"/>
                    </a:lnTo>
                    <a:lnTo>
                      <a:pt x="11" y="386"/>
                    </a:lnTo>
                    <a:lnTo>
                      <a:pt x="14" y="386"/>
                    </a:lnTo>
                    <a:lnTo>
                      <a:pt x="16" y="386"/>
                    </a:lnTo>
                    <a:lnTo>
                      <a:pt x="18" y="386"/>
                    </a:lnTo>
                    <a:lnTo>
                      <a:pt x="21" y="386"/>
                    </a:lnTo>
                    <a:lnTo>
                      <a:pt x="23" y="388"/>
                    </a:lnTo>
                    <a:lnTo>
                      <a:pt x="28" y="386"/>
                    </a:lnTo>
                    <a:lnTo>
                      <a:pt x="30" y="383"/>
                    </a:lnTo>
                    <a:lnTo>
                      <a:pt x="35" y="383"/>
                    </a:lnTo>
                    <a:lnTo>
                      <a:pt x="37" y="383"/>
                    </a:lnTo>
                    <a:lnTo>
                      <a:pt x="40" y="383"/>
                    </a:lnTo>
                    <a:lnTo>
                      <a:pt x="40" y="386"/>
                    </a:lnTo>
                    <a:lnTo>
                      <a:pt x="35" y="388"/>
                    </a:lnTo>
                    <a:lnTo>
                      <a:pt x="33" y="388"/>
                    </a:lnTo>
                    <a:lnTo>
                      <a:pt x="33" y="390"/>
                    </a:lnTo>
                    <a:lnTo>
                      <a:pt x="35" y="393"/>
                    </a:lnTo>
                    <a:lnTo>
                      <a:pt x="37" y="393"/>
                    </a:lnTo>
                    <a:lnTo>
                      <a:pt x="35" y="395"/>
                    </a:lnTo>
                    <a:lnTo>
                      <a:pt x="35" y="398"/>
                    </a:lnTo>
                    <a:lnTo>
                      <a:pt x="37" y="398"/>
                    </a:lnTo>
                    <a:lnTo>
                      <a:pt x="37" y="400"/>
                    </a:lnTo>
                    <a:lnTo>
                      <a:pt x="37" y="402"/>
                    </a:lnTo>
                    <a:lnTo>
                      <a:pt x="37" y="402"/>
                    </a:lnTo>
                    <a:lnTo>
                      <a:pt x="40" y="405"/>
                    </a:lnTo>
                    <a:lnTo>
                      <a:pt x="40" y="405"/>
                    </a:lnTo>
                    <a:lnTo>
                      <a:pt x="37" y="407"/>
                    </a:lnTo>
                    <a:lnTo>
                      <a:pt x="35" y="409"/>
                    </a:lnTo>
                    <a:lnTo>
                      <a:pt x="33" y="412"/>
                    </a:lnTo>
                    <a:lnTo>
                      <a:pt x="35" y="412"/>
                    </a:lnTo>
                    <a:lnTo>
                      <a:pt x="40" y="409"/>
                    </a:lnTo>
                    <a:lnTo>
                      <a:pt x="42" y="409"/>
                    </a:lnTo>
                    <a:lnTo>
                      <a:pt x="47" y="407"/>
                    </a:lnTo>
                    <a:lnTo>
                      <a:pt x="49" y="407"/>
                    </a:lnTo>
                    <a:lnTo>
                      <a:pt x="54" y="407"/>
                    </a:lnTo>
                    <a:lnTo>
                      <a:pt x="56" y="405"/>
                    </a:lnTo>
                    <a:lnTo>
                      <a:pt x="61" y="402"/>
                    </a:lnTo>
                    <a:lnTo>
                      <a:pt x="63" y="402"/>
                    </a:lnTo>
                    <a:lnTo>
                      <a:pt x="63" y="400"/>
                    </a:lnTo>
                    <a:lnTo>
                      <a:pt x="66" y="400"/>
                    </a:lnTo>
                    <a:lnTo>
                      <a:pt x="66" y="398"/>
                    </a:lnTo>
                    <a:lnTo>
                      <a:pt x="70" y="398"/>
                    </a:lnTo>
                    <a:lnTo>
                      <a:pt x="73" y="398"/>
                    </a:lnTo>
                    <a:lnTo>
                      <a:pt x="78" y="395"/>
                    </a:lnTo>
                    <a:lnTo>
                      <a:pt x="82" y="395"/>
                    </a:lnTo>
                    <a:lnTo>
                      <a:pt x="82" y="395"/>
                    </a:lnTo>
                    <a:lnTo>
                      <a:pt x="85" y="398"/>
                    </a:lnTo>
                    <a:lnTo>
                      <a:pt x="85" y="400"/>
                    </a:lnTo>
                    <a:lnTo>
                      <a:pt x="85" y="400"/>
                    </a:lnTo>
                    <a:lnTo>
                      <a:pt x="82" y="400"/>
                    </a:lnTo>
                    <a:lnTo>
                      <a:pt x="82" y="402"/>
                    </a:lnTo>
                    <a:lnTo>
                      <a:pt x="80" y="405"/>
                    </a:lnTo>
                    <a:lnTo>
                      <a:pt x="80" y="405"/>
                    </a:lnTo>
                    <a:lnTo>
                      <a:pt x="82" y="405"/>
                    </a:lnTo>
                    <a:lnTo>
                      <a:pt x="82" y="407"/>
                    </a:lnTo>
                    <a:lnTo>
                      <a:pt x="82" y="407"/>
                    </a:lnTo>
                    <a:lnTo>
                      <a:pt x="85" y="409"/>
                    </a:lnTo>
                    <a:lnTo>
                      <a:pt x="82" y="409"/>
                    </a:lnTo>
                    <a:lnTo>
                      <a:pt x="82" y="409"/>
                    </a:lnTo>
                    <a:lnTo>
                      <a:pt x="82" y="412"/>
                    </a:lnTo>
                    <a:lnTo>
                      <a:pt x="82" y="412"/>
                    </a:lnTo>
                    <a:lnTo>
                      <a:pt x="82" y="412"/>
                    </a:lnTo>
                    <a:lnTo>
                      <a:pt x="82" y="414"/>
                    </a:lnTo>
                    <a:lnTo>
                      <a:pt x="82" y="414"/>
                    </a:lnTo>
                    <a:lnTo>
                      <a:pt x="85" y="414"/>
                    </a:lnTo>
                    <a:lnTo>
                      <a:pt x="85" y="416"/>
                    </a:lnTo>
                    <a:lnTo>
                      <a:pt x="85" y="419"/>
                    </a:lnTo>
                    <a:lnTo>
                      <a:pt x="85" y="419"/>
                    </a:lnTo>
                    <a:lnTo>
                      <a:pt x="85" y="421"/>
                    </a:lnTo>
                    <a:lnTo>
                      <a:pt x="85" y="424"/>
                    </a:lnTo>
                    <a:lnTo>
                      <a:pt x="85" y="426"/>
                    </a:lnTo>
                    <a:lnTo>
                      <a:pt x="82" y="428"/>
                    </a:lnTo>
                    <a:lnTo>
                      <a:pt x="82" y="431"/>
                    </a:lnTo>
                    <a:lnTo>
                      <a:pt x="82" y="433"/>
                    </a:lnTo>
                    <a:lnTo>
                      <a:pt x="82" y="433"/>
                    </a:lnTo>
                    <a:lnTo>
                      <a:pt x="82" y="438"/>
                    </a:lnTo>
                    <a:lnTo>
                      <a:pt x="80" y="440"/>
                    </a:lnTo>
                    <a:lnTo>
                      <a:pt x="80" y="440"/>
                    </a:lnTo>
                    <a:lnTo>
                      <a:pt x="80" y="445"/>
                    </a:lnTo>
                    <a:lnTo>
                      <a:pt x="80" y="445"/>
                    </a:lnTo>
                    <a:lnTo>
                      <a:pt x="78" y="447"/>
                    </a:lnTo>
                    <a:lnTo>
                      <a:pt x="75" y="447"/>
                    </a:lnTo>
                    <a:lnTo>
                      <a:pt x="78" y="447"/>
                    </a:lnTo>
                    <a:lnTo>
                      <a:pt x="80" y="450"/>
                    </a:lnTo>
                    <a:lnTo>
                      <a:pt x="78" y="450"/>
                    </a:lnTo>
                    <a:lnTo>
                      <a:pt x="75" y="452"/>
                    </a:lnTo>
                    <a:lnTo>
                      <a:pt x="78" y="452"/>
                    </a:lnTo>
                    <a:lnTo>
                      <a:pt x="78" y="454"/>
                    </a:lnTo>
                    <a:lnTo>
                      <a:pt x="75" y="454"/>
                    </a:lnTo>
                    <a:lnTo>
                      <a:pt x="75" y="457"/>
                    </a:lnTo>
                    <a:lnTo>
                      <a:pt x="75" y="457"/>
                    </a:lnTo>
                    <a:lnTo>
                      <a:pt x="78" y="457"/>
                    </a:lnTo>
                    <a:lnTo>
                      <a:pt x="78" y="457"/>
                    </a:lnTo>
                    <a:lnTo>
                      <a:pt x="80" y="459"/>
                    </a:lnTo>
                    <a:lnTo>
                      <a:pt x="80" y="459"/>
                    </a:lnTo>
                    <a:lnTo>
                      <a:pt x="82" y="459"/>
                    </a:lnTo>
                    <a:lnTo>
                      <a:pt x="82" y="461"/>
                    </a:lnTo>
                    <a:lnTo>
                      <a:pt x="85" y="461"/>
                    </a:lnTo>
                    <a:lnTo>
                      <a:pt x="87" y="461"/>
                    </a:lnTo>
                    <a:lnTo>
                      <a:pt x="87" y="464"/>
                    </a:lnTo>
                    <a:lnTo>
                      <a:pt x="87" y="464"/>
                    </a:lnTo>
                    <a:lnTo>
                      <a:pt x="87" y="466"/>
                    </a:lnTo>
                    <a:lnTo>
                      <a:pt x="89" y="469"/>
                    </a:lnTo>
                    <a:lnTo>
                      <a:pt x="92" y="466"/>
                    </a:lnTo>
                    <a:lnTo>
                      <a:pt x="92" y="469"/>
                    </a:lnTo>
                    <a:lnTo>
                      <a:pt x="92" y="469"/>
                    </a:lnTo>
                    <a:lnTo>
                      <a:pt x="89" y="471"/>
                    </a:lnTo>
                    <a:lnTo>
                      <a:pt x="89" y="471"/>
                    </a:lnTo>
                    <a:lnTo>
                      <a:pt x="89" y="471"/>
                    </a:lnTo>
                    <a:lnTo>
                      <a:pt x="87" y="473"/>
                    </a:lnTo>
                    <a:lnTo>
                      <a:pt x="85" y="473"/>
                    </a:lnTo>
                    <a:lnTo>
                      <a:pt x="85" y="476"/>
                    </a:lnTo>
                    <a:lnTo>
                      <a:pt x="82" y="476"/>
                    </a:lnTo>
                    <a:lnTo>
                      <a:pt x="82" y="478"/>
                    </a:lnTo>
                    <a:lnTo>
                      <a:pt x="80" y="480"/>
                    </a:lnTo>
                    <a:lnTo>
                      <a:pt x="80" y="483"/>
                    </a:lnTo>
                    <a:lnTo>
                      <a:pt x="78" y="483"/>
                    </a:lnTo>
                    <a:lnTo>
                      <a:pt x="75" y="485"/>
                    </a:lnTo>
                    <a:lnTo>
                      <a:pt x="73" y="488"/>
                    </a:lnTo>
                    <a:lnTo>
                      <a:pt x="73" y="488"/>
                    </a:lnTo>
                    <a:lnTo>
                      <a:pt x="75" y="488"/>
                    </a:lnTo>
                    <a:lnTo>
                      <a:pt x="80" y="485"/>
                    </a:lnTo>
                    <a:lnTo>
                      <a:pt x="80" y="483"/>
                    </a:lnTo>
                    <a:lnTo>
                      <a:pt x="82" y="480"/>
                    </a:lnTo>
                    <a:lnTo>
                      <a:pt x="85" y="478"/>
                    </a:lnTo>
                    <a:lnTo>
                      <a:pt x="87" y="478"/>
                    </a:lnTo>
                    <a:lnTo>
                      <a:pt x="85" y="478"/>
                    </a:lnTo>
                    <a:lnTo>
                      <a:pt x="85" y="480"/>
                    </a:lnTo>
                    <a:lnTo>
                      <a:pt x="85" y="480"/>
                    </a:lnTo>
                    <a:lnTo>
                      <a:pt x="87" y="480"/>
                    </a:lnTo>
                    <a:lnTo>
                      <a:pt x="87" y="480"/>
                    </a:lnTo>
                    <a:lnTo>
                      <a:pt x="87" y="480"/>
                    </a:lnTo>
                    <a:lnTo>
                      <a:pt x="82" y="483"/>
                    </a:lnTo>
                    <a:lnTo>
                      <a:pt x="78" y="485"/>
                    </a:lnTo>
                    <a:lnTo>
                      <a:pt x="75" y="488"/>
                    </a:lnTo>
                    <a:lnTo>
                      <a:pt x="68" y="492"/>
                    </a:lnTo>
                    <a:lnTo>
                      <a:pt x="68" y="492"/>
                    </a:lnTo>
                    <a:lnTo>
                      <a:pt x="63" y="495"/>
                    </a:lnTo>
                    <a:lnTo>
                      <a:pt x="63" y="495"/>
                    </a:lnTo>
                    <a:lnTo>
                      <a:pt x="61" y="497"/>
                    </a:lnTo>
                    <a:lnTo>
                      <a:pt x="61" y="497"/>
                    </a:lnTo>
                    <a:lnTo>
                      <a:pt x="59" y="499"/>
                    </a:lnTo>
                    <a:lnTo>
                      <a:pt x="56" y="499"/>
                    </a:lnTo>
                    <a:lnTo>
                      <a:pt x="56" y="502"/>
                    </a:lnTo>
                    <a:lnTo>
                      <a:pt x="54" y="502"/>
                    </a:lnTo>
                    <a:lnTo>
                      <a:pt x="54" y="504"/>
                    </a:lnTo>
                    <a:lnTo>
                      <a:pt x="56" y="506"/>
                    </a:lnTo>
                    <a:lnTo>
                      <a:pt x="61" y="504"/>
                    </a:lnTo>
                    <a:lnTo>
                      <a:pt x="61" y="504"/>
                    </a:lnTo>
                    <a:lnTo>
                      <a:pt x="63" y="504"/>
                    </a:lnTo>
                    <a:lnTo>
                      <a:pt x="61" y="506"/>
                    </a:lnTo>
                    <a:lnTo>
                      <a:pt x="56" y="506"/>
                    </a:lnTo>
                    <a:lnTo>
                      <a:pt x="56" y="506"/>
                    </a:lnTo>
                    <a:lnTo>
                      <a:pt x="52" y="509"/>
                    </a:lnTo>
                    <a:lnTo>
                      <a:pt x="49" y="511"/>
                    </a:lnTo>
                    <a:lnTo>
                      <a:pt x="44" y="514"/>
                    </a:lnTo>
                    <a:lnTo>
                      <a:pt x="44" y="516"/>
                    </a:lnTo>
                    <a:lnTo>
                      <a:pt x="47" y="518"/>
                    </a:lnTo>
                    <a:lnTo>
                      <a:pt x="47" y="518"/>
                    </a:lnTo>
                    <a:lnTo>
                      <a:pt x="47" y="521"/>
                    </a:lnTo>
                    <a:lnTo>
                      <a:pt x="47" y="523"/>
                    </a:lnTo>
                    <a:lnTo>
                      <a:pt x="47" y="523"/>
                    </a:lnTo>
                    <a:lnTo>
                      <a:pt x="52" y="523"/>
                    </a:lnTo>
                    <a:lnTo>
                      <a:pt x="54" y="521"/>
                    </a:lnTo>
                    <a:lnTo>
                      <a:pt x="56" y="521"/>
                    </a:lnTo>
                    <a:lnTo>
                      <a:pt x="56" y="521"/>
                    </a:lnTo>
                    <a:lnTo>
                      <a:pt x="59" y="518"/>
                    </a:lnTo>
                    <a:lnTo>
                      <a:pt x="61" y="516"/>
                    </a:lnTo>
                    <a:lnTo>
                      <a:pt x="66" y="514"/>
                    </a:lnTo>
                    <a:lnTo>
                      <a:pt x="66" y="514"/>
                    </a:lnTo>
                    <a:lnTo>
                      <a:pt x="68" y="511"/>
                    </a:lnTo>
                    <a:lnTo>
                      <a:pt x="68" y="511"/>
                    </a:lnTo>
                    <a:lnTo>
                      <a:pt x="68" y="514"/>
                    </a:lnTo>
                    <a:lnTo>
                      <a:pt x="68" y="514"/>
                    </a:lnTo>
                    <a:lnTo>
                      <a:pt x="73" y="511"/>
                    </a:lnTo>
                    <a:lnTo>
                      <a:pt x="75" y="511"/>
                    </a:lnTo>
                    <a:lnTo>
                      <a:pt x="75" y="511"/>
                    </a:lnTo>
                    <a:lnTo>
                      <a:pt x="75" y="511"/>
                    </a:lnTo>
                    <a:lnTo>
                      <a:pt x="73" y="514"/>
                    </a:lnTo>
                    <a:lnTo>
                      <a:pt x="70" y="514"/>
                    </a:lnTo>
                    <a:lnTo>
                      <a:pt x="70" y="514"/>
                    </a:lnTo>
                    <a:lnTo>
                      <a:pt x="70" y="514"/>
                    </a:lnTo>
                    <a:lnTo>
                      <a:pt x="68" y="516"/>
                    </a:lnTo>
                    <a:lnTo>
                      <a:pt x="68" y="516"/>
                    </a:lnTo>
                    <a:lnTo>
                      <a:pt x="68" y="518"/>
                    </a:lnTo>
                    <a:lnTo>
                      <a:pt x="68" y="518"/>
                    </a:lnTo>
                    <a:lnTo>
                      <a:pt x="68" y="521"/>
                    </a:lnTo>
                    <a:lnTo>
                      <a:pt x="68" y="521"/>
                    </a:lnTo>
                    <a:lnTo>
                      <a:pt x="70" y="518"/>
                    </a:lnTo>
                    <a:lnTo>
                      <a:pt x="73" y="518"/>
                    </a:lnTo>
                    <a:lnTo>
                      <a:pt x="75" y="521"/>
                    </a:lnTo>
                    <a:lnTo>
                      <a:pt x="75" y="523"/>
                    </a:lnTo>
                    <a:lnTo>
                      <a:pt x="75" y="523"/>
                    </a:lnTo>
                    <a:lnTo>
                      <a:pt x="73" y="521"/>
                    </a:lnTo>
                    <a:lnTo>
                      <a:pt x="73" y="521"/>
                    </a:lnTo>
                    <a:lnTo>
                      <a:pt x="73" y="521"/>
                    </a:lnTo>
                    <a:lnTo>
                      <a:pt x="70" y="521"/>
                    </a:lnTo>
                    <a:lnTo>
                      <a:pt x="68" y="521"/>
                    </a:lnTo>
                    <a:lnTo>
                      <a:pt x="68" y="521"/>
                    </a:lnTo>
                    <a:lnTo>
                      <a:pt x="66" y="518"/>
                    </a:lnTo>
                    <a:lnTo>
                      <a:pt x="63" y="518"/>
                    </a:lnTo>
                    <a:lnTo>
                      <a:pt x="66" y="516"/>
                    </a:lnTo>
                    <a:lnTo>
                      <a:pt x="68" y="516"/>
                    </a:lnTo>
                    <a:lnTo>
                      <a:pt x="66" y="516"/>
                    </a:lnTo>
                    <a:lnTo>
                      <a:pt x="63" y="516"/>
                    </a:lnTo>
                    <a:lnTo>
                      <a:pt x="61" y="516"/>
                    </a:lnTo>
                    <a:lnTo>
                      <a:pt x="59" y="518"/>
                    </a:lnTo>
                    <a:lnTo>
                      <a:pt x="59" y="521"/>
                    </a:lnTo>
                    <a:lnTo>
                      <a:pt x="59" y="521"/>
                    </a:lnTo>
                    <a:lnTo>
                      <a:pt x="61" y="523"/>
                    </a:lnTo>
                    <a:lnTo>
                      <a:pt x="63" y="525"/>
                    </a:lnTo>
                    <a:lnTo>
                      <a:pt x="63" y="525"/>
                    </a:lnTo>
                    <a:lnTo>
                      <a:pt x="59" y="533"/>
                    </a:lnTo>
                    <a:lnTo>
                      <a:pt x="59" y="533"/>
                    </a:lnTo>
                    <a:lnTo>
                      <a:pt x="66" y="530"/>
                    </a:lnTo>
                    <a:lnTo>
                      <a:pt x="66" y="530"/>
                    </a:lnTo>
                    <a:lnTo>
                      <a:pt x="63" y="533"/>
                    </a:lnTo>
                    <a:lnTo>
                      <a:pt x="63" y="533"/>
                    </a:lnTo>
                    <a:lnTo>
                      <a:pt x="59" y="537"/>
                    </a:lnTo>
                    <a:lnTo>
                      <a:pt x="54" y="540"/>
                    </a:lnTo>
                    <a:lnTo>
                      <a:pt x="54" y="542"/>
                    </a:lnTo>
                    <a:lnTo>
                      <a:pt x="54" y="542"/>
                    </a:lnTo>
                    <a:lnTo>
                      <a:pt x="56" y="542"/>
                    </a:lnTo>
                    <a:lnTo>
                      <a:pt x="59" y="540"/>
                    </a:lnTo>
                    <a:lnTo>
                      <a:pt x="61" y="537"/>
                    </a:lnTo>
                    <a:lnTo>
                      <a:pt x="61" y="537"/>
                    </a:lnTo>
                    <a:lnTo>
                      <a:pt x="59" y="540"/>
                    </a:lnTo>
                    <a:lnTo>
                      <a:pt x="59" y="540"/>
                    </a:lnTo>
                    <a:lnTo>
                      <a:pt x="59" y="540"/>
                    </a:lnTo>
                    <a:lnTo>
                      <a:pt x="56" y="542"/>
                    </a:lnTo>
                    <a:lnTo>
                      <a:pt x="56" y="542"/>
                    </a:lnTo>
                    <a:lnTo>
                      <a:pt x="49" y="547"/>
                    </a:lnTo>
                    <a:lnTo>
                      <a:pt x="49" y="549"/>
                    </a:lnTo>
                    <a:lnTo>
                      <a:pt x="47" y="554"/>
                    </a:lnTo>
                    <a:lnTo>
                      <a:pt x="52" y="551"/>
                    </a:lnTo>
                    <a:lnTo>
                      <a:pt x="56" y="547"/>
                    </a:lnTo>
                    <a:lnTo>
                      <a:pt x="59" y="544"/>
                    </a:lnTo>
                    <a:lnTo>
                      <a:pt x="59" y="544"/>
                    </a:lnTo>
                    <a:lnTo>
                      <a:pt x="61" y="542"/>
                    </a:lnTo>
                    <a:lnTo>
                      <a:pt x="63" y="542"/>
                    </a:lnTo>
                    <a:lnTo>
                      <a:pt x="66" y="542"/>
                    </a:lnTo>
                    <a:lnTo>
                      <a:pt x="75" y="537"/>
                    </a:lnTo>
                    <a:lnTo>
                      <a:pt x="78" y="537"/>
                    </a:lnTo>
                    <a:lnTo>
                      <a:pt x="78" y="535"/>
                    </a:lnTo>
                    <a:lnTo>
                      <a:pt x="80" y="535"/>
                    </a:lnTo>
                    <a:lnTo>
                      <a:pt x="80" y="535"/>
                    </a:lnTo>
                    <a:lnTo>
                      <a:pt x="82" y="533"/>
                    </a:lnTo>
                    <a:lnTo>
                      <a:pt x="82" y="533"/>
                    </a:lnTo>
                    <a:lnTo>
                      <a:pt x="80" y="533"/>
                    </a:lnTo>
                    <a:lnTo>
                      <a:pt x="80" y="535"/>
                    </a:lnTo>
                    <a:lnTo>
                      <a:pt x="80" y="535"/>
                    </a:lnTo>
                    <a:lnTo>
                      <a:pt x="78" y="535"/>
                    </a:lnTo>
                    <a:lnTo>
                      <a:pt x="73" y="540"/>
                    </a:lnTo>
                    <a:lnTo>
                      <a:pt x="73" y="540"/>
                    </a:lnTo>
                    <a:lnTo>
                      <a:pt x="73" y="540"/>
                    </a:lnTo>
                    <a:lnTo>
                      <a:pt x="70" y="542"/>
                    </a:lnTo>
                    <a:lnTo>
                      <a:pt x="70" y="542"/>
                    </a:lnTo>
                    <a:lnTo>
                      <a:pt x="73" y="542"/>
                    </a:lnTo>
                    <a:lnTo>
                      <a:pt x="73" y="544"/>
                    </a:lnTo>
                    <a:lnTo>
                      <a:pt x="73" y="544"/>
                    </a:lnTo>
                    <a:lnTo>
                      <a:pt x="73" y="547"/>
                    </a:lnTo>
                    <a:lnTo>
                      <a:pt x="73" y="549"/>
                    </a:lnTo>
                    <a:lnTo>
                      <a:pt x="73" y="549"/>
                    </a:lnTo>
                    <a:lnTo>
                      <a:pt x="73" y="547"/>
                    </a:lnTo>
                    <a:lnTo>
                      <a:pt x="73" y="547"/>
                    </a:lnTo>
                    <a:lnTo>
                      <a:pt x="73" y="544"/>
                    </a:lnTo>
                    <a:lnTo>
                      <a:pt x="73" y="544"/>
                    </a:lnTo>
                    <a:lnTo>
                      <a:pt x="70" y="542"/>
                    </a:lnTo>
                    <a:lnTo>
                      <a:pt x="70" y="542"/>
                    </a:lnTo>
                    <a:lnTo>
                      <a:pt x="66" y="542"/>
                    </a:lnTo>
                    <a:lnTo>
                      <a:pt x="63" y="544"/>
                    </a:lnTo>
                    <a:lnTo>
                      <a:pt x="61" y="544"/>
                    </a:lnTo>
                    <a:lnTo>
                      <a:pt x="59" y="544"/>
                    </a:lnTo>
                    <a:lnTo>
                      <a:pt x="56" y="547"/>
                    </a:lnTo>
                    <a:lnTo>
                      <a:pt x="54" y="549"/>
                    </a:lnTo>
                    <a:lnTo>
                      <a:pt x="56" y="549"/>
                    </a:lnTo>
                    <a:lnTo>
                      <a:pt x="52" y="551"/>
                    </a:lnTo>
                    <a:lnTo>
                      <a:pt x="49" y="554"/>
                    </a:lnTo>
                    <a:lnTo>
                      <a:pt x="49" y="554"/>
                    </a:lnTo>
                    <a:lnTo>
                      <a:pt x="49" y="556"/>
                    </a:lnTo>
                    <a:lnTo>
                      <a:pt x="47" y="559"/>
                    </a:lnTo>
                    <a:lnTo>
                      <a:pt x="47" y="559"/>
                    </a:lnTo>
                    <a:lnTo>
                      <a:pt x="47" y="559"/>
                    </a:lnTo>
                    <a:lnTo>
                      <a:pt x="47" y="559"/>
                    </a:lnTo>
                    <a:lnTo>
                      <a:pt x="47" y="561"/>
                    </a:lnTo>
                    <a:lnTo>
                      <a:pt x="49" y="561"/>
                    </a:lnTo>
                    <a:lnTo>
                      <a:pt x="49" y="559"/>
                    </a:lnTo>
                    <a:lnTo>
                      <a:pt x="52" y="559"/>
                    </a:lnTo>
                    <a:lnTo>
                      <a:pt x="54" y="556"/>
                    </a:lnTo>
                    <a:lnTo>
                      <a:pt x="56" y="556"/>
                    </a:lnTo>
                    <a:lnTo>
                      <a:pt x="61" y="556"/>
                    </a:lnTo>
                    <a:lnTo>
                      <a:pt x="68" y="556"/>
                    </a:lnTo>
                    <a:lnTo>
                      <a:pt x="66" y="556"/>
                    </a:lnTo>
                    <a:lnTo>
                      <a:pt x="61" y="556"/>
                    </a:lnTo>
                    <a:lnTo>
                      <a:pt x="56" y="556"/>
                    </a:lnTo>
                    <a:lnTo>
                      <a:pt x="56" y="556"/>
                    </a:lnTo>
                    <a:lnTo>
                      <a:pt x="54" y="556"/>
                    </a:lnTo>
                    <a:lnTo>
                      <a:pt x="47" y="561"/>
                    </a:lnTo>
                    <a:lnTo>
                      <a:pt x="44" y="563"/>
                    </a:lnTo>
                    <a:lnTo>
                      <a:pt x="44" y="563"/>
                    </a:lnTo>
                    <a:lnTo>
                      <a:pt x="42" y="566"/>
                    </a:lnTo>
                    <a:lnTo>
                      <a:pt x="42" y="568"/>
                    </a:lnTo>
                    <a:lnTo>
                      <a:pt x="44" y="570"/>
                    </a:lnTo>
                    <a:lnTo>
                      <a:pt x="44" y="570"/>
                    </a:lnTo>
                    <a:lnTo>
                      <a:pt x="44" y="570"/>
                    </a:lnTo>
                    <a:lnTo>
                      <a:pt x="47" y="573"/>
                    </a:lnTo>
                    <a:lnTo>
                      <a:pt x="49" y="573"/>
                    </a:lnTo>
                    <a:lnTo>
                      <a:pt x="49" y="573"/>
                    </a:lnTo>
                    <a:lnTo>
                      <a:pt x="56" y="570"/>
                    </a:lnTo>
                    <a:lnTo>
                      <a:pt x="56" y="570"/>
                    </a:lnTo>
                    <a:lnTo>
                      <a:pt x="59" y="568"/>
                    </a:lnTo>
                    <a:lnTo>
                      <a:pt x="59" y="570"/>
                    </a:lnTo>
                    <a:lnTo>
                      <a:pt x="56" y="573"/>
                    </a:lnTo>
                    <a:lnTo>
                      <a:pt x="56" y="573"/>
                    </a:lnTo>
                    <a:lnTo>
                      <a:pt x="59" y="573"/>
                    </a:lnTo>
                    <a:lnTo>
                      <a:pt x="59" y="573"/>
                    </a:lnTo>
                    <a:lnTo>
                      <a:pt x="56" y="573"/>
                    </a:lnTo>
                    <a:lnTo>
                      <a:pt x="56" y="575"/>
                    </a:lnTo>
                    <a:lnTo>
                      <a:pt x="54" y="575"/>
                    </a:lnTo>
                    <a:lnTo>
                      <a:pt x="54" y="575"/>
                    </a:lnTo>
                    <a:lnTo>
                      <a:pt x="54" y="578"/>
                    </a:lnTo>
                    <a:lnTo>
                      <a:pt x="56" y="578"/>
                    </a:lnTo>
                    <a:lnTo>
                      <a:pt x="63" y="575"/>
                    </a:lnTo>
                    <a:lnTo>
                      <a:pt x="63" y="575"/>
                    </a:lnTo>
                    <a:lnTo>
                      <a:pt x="63" y="575"/>
                    </a:lnTo>
                    <a:lnTo>
                      <a:pt x="61" y="578"/>
                    </a:lnTo>
                    <a:lnTo>
                      <a:pt x="56" y="578"/>
                    </a:lnTo>
                    <a:lnTo>
                      <a:pt x="54" y="578"/>
                    </a:lnTo>
                    <a:lnTo>
                      <a:pt x="54" y="578"/>
                    </a:lnTo>
                    <a:lnTo>
                      <a:pt x="52" y="580"/>
                    </a:lnTo>
                    <a:lnTo>
                      <a:pt x="52" y="580"/>
                    </a:lnTo>
                    <a:lnTo>
                      <a:pt x="56" y="580"/>
                    </a:lnTo>
                    <a:lnTo>
                      <a:pt x="56" y="580"/>
                    </a:lnTo>
                    <a:lnTo>
                      <a:pt x="59" y="580"/>
                    </a:lnTo>
                    <a:lnTo>
                      <a:pt x="59" y="580"/>
                    </a:lnTo>
                    <a:lnTo>
                      <a:pt x="61" y="580"/>
                    </a:lnTo>
                    <a:lnTo>
                      <a:pt x="63" y="580"/>
                    </a:lnTo>
                    <a:lnTo>
                      <a:pt x="63" y="580"/>
                    </a:lnTo>
                    <a:lnTo>
                      <a:pt x="63" y="580"/>
                    </a:lnTo>
                    <a:lnTo>
                      <a:pt x="63" y="580"/>
                    </a:lnTo>
                    <a:lnTo>
                      <a:pt x="66" y="580"/>
                    </a:lnTo>
                    <a:lnTo>
                      <a:pt x="66" y="578"/>
                    </a:lnTo>
                    <a:lnTo>
                      <a:pt x="68" y="578"/>
                    </a:lnTo>
                    <a:lnTo>
                      <a:pt x="68" y="578"/>
                    </a:lnTo>
                    <a:lnTo>
                      <a:pt x="66" y="580"/>
                    </a:lnTo>
                    <a:lnTo>
                      <a:pt x="66" y="580"/>
                    </a:lnTo>
                    <a:lnTo>
                      <a:pt x="68" y="580"/>
                    </a:lnTo>
                    <a:lnTo>
                      <a:pt x="70" y="580"/>
                    </a:lnTo>
                    <a:lnTo>
                      <a:pt x="75" y="580"/>
                    </a:lnTo>
                    <a:lnTo>
                      <a:pt x="78" y="578"/>
                    </a:lnTo>
                    <a:lnTo>
                      <a:pt x="78" y="578"/>
                    </a:lnTo>
                    <a:lnTo>
                      <a:pt x="80" y="575"/>
                    </a:lnTo>
                    <a:lnTo>
                      <a:pt x="80" y="575"/>
                    </a:lnTo>
                    <a:lnTo>
                      <a:pt x="80" y="573"/>
                    </a:lnTo>
                    <a:lnTo>
                      <a:pt x="82" y="573"/>
                    </a:lnTo>
                    <a:lnTo>
                      <a:pt x="82" y="573"/>
                    </a:lnTo>
                    <a:lnTo>
                      <a:pt x="80" y="575"/>
                    </a:lnTo>
                    <a:lnTo>
                      <a:pt x="80" y="578"/>
                    </a:lnTo>
                    <a:lnTo>
                      <a:pt x="80" y="578"/>
                    </a:lnTo>
                    <a:lnTo>
                      <a:pt x="78" y="580"/>
                    </a:lnTo>
                    <a:lnTo>
                      <a:pt x="73" y="582"/>
                    </a:lnTo>
                    <a:lnTo>
                      <a:pt x="73" y="582"/>
                    </a:lnTo>
                    <a:lnTo>
                      <a:pt x="73" y="582"/>
                    </a:lnTo>
                    <a:lnTo>
                      <a:pt x="73" y="585"/>
                    </a:lnTo>
                    <a:lnTo>
                      <a:pt x="73" y="585"/>
                    </a:lnTo>
                    <a:lnTo>
                      <a:pt x="73" y="589"/>
                    </a:lnTo>
                    <a:lnTo>
                      <a:pt x="70" y="589"/>
                    </a:lnTo>
                    <a:lnTo>
                      <a:pt x="70" y="592"/>
                    </a:lnTo>
                    <a:lnTo>
                      <a:pt x="73" y="594"/>
                    </a:lnTo>
                    <a:lnTo>
                      <a:pt x="73" y="594"/>
                    </a:lnTo>
                    <a:lnTo>
                      <a:pt x="75" y="594"/>
                    </a:lnTo>
                    <a:lnTo>
                      <a:pt x="78" y="594"/>
                    </a:lnTo>
                    <a:lnTo>
                      <a:pt x="80" y="594"/>
                    </a:lnTo>
                    <a:lnTo>
                      <a:pt x="82" y="592"/>
                    </a:lnTo>
                    <a:lnTo>
                      <a:pt x="82" y="592"/>
                    </a:lnTo>
                    <a:lnTo>
                      <a:pt x="82" y="592"/>
                    </a:lnTo>
                    <a:lnTo>
                      <a:pt x="85" y="589"/>
                    </a:lnTo>
                    <a:lnTo>
                      <a:pt x="87" y="589"/>
                    </a:lnTo>
                    <a:lnTo>
                      <a:pt x="87" y="587"/>
                    </a:lnTo>
                    <a:lnTo>
                      <a:pt x="87" y="587"/>
                    </a:lnTo>
                    <a:lnTo>
                      <a:pt x="87" y="587"/>
                    </a:lnTo>
                    <a:lnTo>
                      <a:pt x="87" y="587"/>
                    </a:lnTo>
                    <a:lnTo>
                      <a:pt x="89" y="587"/>
                    </a:lnTo>
                    <a:lnTo>
                      <a:pt x="89" y="587"/>
                    </a:lnTo>
                    <a:lnTo>
                      <a:pt x="87" y="589"/>
                    </a:lnTo>
                    <a:lnTo>
                      <a:pt x="87" y="589"/>
                    </a:lnTo>
                    <a:lnTo>
                      <a:pt x="85" y="589"/>
                    </a:lnTo>
                    <a:lnTo>
                      <a:pt x="85" y="592"/>
                    </a:lnTo>
                    <a:lnTo>
                      <a:pt x="82" y="594"/>
                    </a:lnTo>
                    <a:lnTo>
                      <a:pt x="82" y="596"/>
                    </a:lnTo>
                    <a:lnTo>
                      <a:pt x="82" y="596"/>
                    </a:lnTo>
                    <a:lnTo>
                      <a:pt x="82" y="596"/>
                    </a:lnTo>
                    <a:lnTo>
                      <a:pt x="82" y="596"/>
                    </a:lnTo>
                    <a:lnTo>
                      <a:pt x="85" y="596"/>
                    </a:lnTo>
                    <a:lnTo>
                      <a:pt x="85" y="596"/>
                    </a:lnTo>
                    <a:lnTo>
                      <a:pt x="82" y="599"/>
                    </a:lnTo>
                    <a:lnTo>
                      <a:pt x="80" y="599"/>
                    </a:lnTo>
                    <a:lnTo>
                      <a:pt x="80" y="596"/>
                    </a:lnTo>
                    <a:lnTo>
                      <a:pt x="80" y="596"/>
                    </a:lnTo>
                    <a:lnTo>
                      <a:pt x="80" y="596"/>
                    </a:lnTo>
                    <a:lnTo>
                      <a:pt x="80" y="596"/>
                    </a:lnTo>
                    <a:lnTo>
                      <a:pt x="78" y="596"/>
                    </a:lnTo>
                    <a:lnTo>
                      <a:pt x="78" y="596"/>
                    </a:lnTo>
                    <a:lnTo>
                      <a:pt x="78" y="599"/>
                    </a:lnTo>
                    <a:lnTo>
                      <a:pt x="78" y="599"/>
                    </a:lnTo>
                    <a:lnTo>
                      <a:pt x="78" y="601"/>
                    </a:lnTo>
                    <a:lnTo>
                      <a:pt x="78" y="601"/>
                    </a:lnTo>
                    <a:lnTo>
                      <a:pt x="82" y="604"/>
                    </a:lnTo>
                    <a:lnTo>
                      <a:pt x="82" y="604"/>
                    </a:lnTo>
                    <a:lnTo>
                      <a:pt x="85" y="601"/>
                    </a:lnTo>
                    <a:lnTo>
                      <a:pt x="85" y="601"/>
                    </a:lnTo>
                    <a:lnTo>
                      <a:pt x="85" y="601"/>
                    </a:lnTo>
                    <a:lnTo>
                      <a:pt x="87" y="601"/>
                    </a:lnTo>
                    <a:lnTo>
                      <a:pt x="87" y="599"/>
                    </a:lnTo>
                    <a:lnTo>
                      <a:pt x="87" y="599"/>
                    </a:lnTo>
                    <a:lnTo>
                      <a:pt x="92" y="596"/>
                    </a:lnTo>
                    <a:lnTo>
                      <a:pt x="92" y="596"/>
                    </a:lnTo>
                    <a:lnTo>
                      <a:pt x="92" y="596"/>
                    </a:lnTo>
                    <a:lnTo>
                      <a:pt x="89" y="599"/>
                    </a:lnTo>
                    <a:lnTo>
                      <a:pt x="87" y="601"/>
                    </a:lnTo>
                    <a:lnTo>
                      <a:pt x="87" y="604"/>
                    </a:lnTo>
                    <a:lnTo>
                      <a:pt x="85" y="604"/>
                    </a:lnTo>
                    <a:lnTo>
                      <a:pt x="85" y="604"/>
                    </a:lnTo>
                    <a:lnTo>
                      <a:pt x="85" y="604"/>
                    </a:lnTo>
                    <a:lnTo>
                      <a:pt x="87" y="604"/>
                    </a:lnTo>
                    <a:lnTo>
                      <a:pt x="89" y="604"/>
                    </a:lnTo>
                    <a:lnTo>
                      <a:pt x="89" y="604"/>
                    </a:lnTo>
                    <a:lnTo>
                      <a:pt x="92" y="604"/>
                    </a:lnTo>
                    <a:lnTo>
                      <a:pt x="92" y="604"/>
                    </a:lnTo>
                    <a:lnTo>
                      <a:pt x="89" y="604"/>
                    </a:lnTo>
                    <a:lnTo>
                      <a:pt x="87" y="604"/>
                    </a:lnTo>
                    <a:lnTo>
                      <a:pt x="85" y="606"/>
                    </a:lnTo>
                    <a:lnTo>
                      <a:pt x="85" y="606"/>
                    </a:lnTo>
                    <a:lnTo>
                      <a:pt x="85" y="606"/>
                    </a:lnTo>
                    <a:lnTo>
                      <a:pt x="82" y="608"/>
                    </a:lnTo>
                    <a:lnTo>
                      <a:pt x="82" y="608"/>
                    </a:lnTo>
                    <a:lnTo>
                      <a:pt x="85" y="608"/>
                    </a:lnTo>
                    <a:lnTo>
                      <a:pt x="85" y="608"/>
                    </a:lnTo>
                    <a:lnTo>
                      <a:pt x="85" y="608"/>
                    </a:lnTo>
                    <a:lnTo>
                      <a:pt x="85" y="608"/>
                    </a:lnTo>
                    <a:lnTo>
                      <a:pt x="82" y="611"/>
                    </a:lnTo>
                    <a:lnTo>
                      <a:pt x="82" y="611"/>
                    </a:lnTo>
                    <a:lnTo>
                      <a:pt x="82" y="611"/>
                    </a:lnTo>
                    <a:lnTo>
                      <a:pt x="82" y="611"/>
                    </a:lnTo>
                    <a:lnTo>
                      <a:pt x="85" y="611"/>
                    </a:lnTo>
                    <a:lnTo>
                      <a:pt x="85" y="611"/>
                    </a:lnTo>
                    <a:lnTo>
                      <a:pt x="85" y="611"/>
                    </a:lnTo>
                    <a:lnTo>
                      <a:pt x="87" y="608"/>
                    </a:lnTo>
                    <a:lnTo>
                      <a:pt x="87" y="608"/>
                    </a:lnTo>
                    <a:lnTo>
                      <a:pt x="87" y="611"/>
                    </a:lnTo>
                    <a:lnTo>
                      <a:pt x="87" y="611"/>
                    </a:lnTo>
                    <a:lnTo>
                      <a:pt x="139" y="611"/>
                    </a:lnTo>
                    <a:lnTo>
                      <a:pt x="146" y="611"/>
                    </a:lnTo>
                    <a:lnTo>
                      <a:pt x="305" y="611"/>
                    </a:lnTo>
                    <a:lnTo>
                      <a:pt x="312" y="611"/>
                    </a:lnTo>
                    <a:lnTo>
                      <a:pt x="473" y="611"/>
                    </a:lnTo>
                    <a:lnTo>
                      <a:pt x="480" y="611"/>
                    </a:lnTo>
                    <a:lnTo>
                      <a:pt x="534" y="611"/>
                    </a:lnTo>
                    <a:lnTo>
                      <a:pt x="539" y="611"/>
                    </a:lnTo>
                    <a:lnTo>
                      <a:pt x="541" y="606"/>
                    </a:lnTo>
                    <a:lnTo>
                      <a:pt x="544" y="604"/>
                    </a:lnTo>
                    <a:lnTo>
                      <a:pt x="546" y="604"/>
                    </a:lnTo>
                    <a:lnTo>
                      <a:pt x="546" y="604"/>
                    </a:lnTo>
                    <a:lnTo>
                      <a:pt x="546" y="604"/>
                    </a:lnTo>
                    <a:lnTo>
                      <a:pt x="546" y="606"/>
                    </a:lnTo>
                    <a:lnTo>
                      <a:pt x="546" y="608"/>
                    </a:lnTo>
                    <a:lnTo>
                      <a:pt x="544" y="611"/>
                    </a:lnTo>
                    <a:lnTo>
                      <a:pt x="544" y="613"/>
                    </a:lnTo>
                    <a:lnTo>
                      <a:pt x="544" y="613"/>
                    </a:lnTo>
                    <a:lnTo>
                      <a:pt x="544" y="615"/>
                    </a:lnTo>
                    <a:lnTo>
                      <a:pt x="544" y="615"/>
                    </a:lnTo>
                    <a:lnTo>
                      <a:pt x="544" y="615"/>
                    </a:lnTo>
                    <a:lnTo>
                      <a:pt x="548" y="618"/>
                    </a:lnTo>
                    <a:lnTo>
                      <a:pt x="553" y="618"/>
                    </a:lnTo>
                    <a:lnTo>
                      <a:pt x="555" y="618"/>
                    </a:lnTo>
                    <a:lnTo>
                      <a:pt x="555" y="620"/>
                    </a:lnTo>
                    <a:lnTo>
                      <a:pt x="558" y="620"/>
                    </a:lnTo>
                    <a:lnTo>
                      <a:pt x="560" y="620"/>
                    </a:lnTo>
                    <a:lnTo>
                      <a:pt x="560" y="620"/>
                    </a:lnTo>
                    <a:lnTo>
                      <a:pt x="563" y="618"/>
                    </a:lnTo>
                    <a:lnTo>
                      <a:pt x="565" y="618"/>
                    </a:lnTo>
                    <a:lnTo>
                      <a:pt x="567" y="618"/>
                    </a:lnTo>
                    <a:lnTo>
                      <a:pt x="570" y="618"/>
                    </a:lnTo>
                    <a:lnTo>
                      <a:pt x="570" y="618"/>
                    </a:lnTo>
                    <a:lnTo>
                      <a:pt x="572" y="620"/>
                    </a:lnTo>
                    <a:lnTo>
                      <a:pt x="572" y="620"/>
                    </a:lnTo>
                    <a:lnTo>
                      <a:pt x="574" y="622"/>
                    </a:lnTo>
                    <a:lnTo>
                      <a:pt x="574" y="622"/>
                    </a:lnTo>
                    <a:lnTo>
                      <a:pt x="574" y="625"/>
                    </a:lnTo>
                    <a:lnTo>
                      <a:pt x="574" y="625"/>
                    </a:lnTo>
                    <a:lnTo>
                      <a:pt x="577" y="625"/>
                    </a:lnTo>
                    <a:lnTo>
                      <a:pt x="577" y="625"/>
                    </a:lnTo>
                    <a:lnTo>
                      <a:pt x="579" y="625"/>
                    </a:lnTo>
                    <a:lnTo>
                      <a:pt x="581" y="625"/>
                    </a:lnTo>
                    <a:lnTo>
                      <a:pt x="584" y="627"/>
                    </a:lnTo>
                    <a:lnTo>
                      <a:pt x="586" y="630"/>
                    </a:lnTo>
                    <a:lnTo>
                      <a:pt x="589" y="630"/>
                    </a:lnTo>
                    <a:lnTo>
                      <a:pt x="589" y="630"/>
                    </a:lnTo>
                    <a:lnTo>
                      <a:pt x="593" y="630"/>
                    </a:lnTo>
                    <a:lnTo>
                      <a:pt x="596" y="627"/>
                    </a:lnTo>
                    <a:lnTo>
                      <a:pt x="598" y="627"/>
                    </a:lnTo>
                    <a:lnTo>
                      <a:pt x="600" y="627"/>
                    </a:lnTo>
                    <a:lnTo>
                      <a:pt x="600" y="630"/>
                    </a:lnTo>
                    <a:lnTo>
                      <a:pt x="600" y="630"/>
                    </a:lnTo>
                    <a:lnTo>
                      <a:pt x="603" y="630"/>
                    </a:lnTo>
                    <a:lnTo>
                      <a:pt x="607" y="630"/>
                    </a:lnTo>
                    <a:lnTo>
                      <a:pt x="612" y="630"/>
                    </a:lnTo>
                    <a:lnTo>
                      <a:pt x="612" y="630"/>
                    </a:lnTo>
                    <a:lnTo>
                      <a:pt x="612" y="632"/>
                    </a:lnTo>
                    <a:lnTo>
                      <a:pt x="612" y="632"/>
                    </a:lnTo>
                    <a:lnTo>
                      <a:pt x="615" y="632"/>
                    </a:lnTo>
                    <a:lnTo>
                      <a:pt x="619" y="632"/>
                    </a:lnTo>
                    <a:lnTo>
                      <a:pt x="619" y="632"/>
                    </a:lnTo>
                    <a:lnTo>
                      <a:pt x="622" y="630"/>
                    </a:lnTo>
                    <a:lnTo>
                      <a:pt x="622" y="630"/>
                    </a:lnTo>
                    <a:lnTo>
                      <a:pt x="624" y="630"/>
                    </a:lnTo>
                    <a:lnTo>
                      <a:pt x="624" y="627"/>
                    </a:lnTo>
                    <a:lnTo>
                      <a:pt x="626" y="627"/>
                    </a:lnTo>
                    <a:lnTo>
                      <a:pt x="626" y="625"/>
                    </a:lnTo>
                    <a:lnTo>
                      <a:pt x="629" y="625"/>
                    </a:lnTo>
                    <a:lnTo>
                      <a:pt x="629" y="625"/>
                    </a:lnTo>
                    <a:lnTo>
                      <a:pt x="629" y="622"/>
                    </a:lnTo>
                    <a:lnTo>
                      <a:pt x="629" y="622"/>
                    </a:lnTo>
                    <a:lnTo>
                      <a:pt x="629" y="622"/>
                    </a:lnTo>
                    <a:lnTo>
                      <a:pt x="631" y="620"/>
                    </a:lnTo>
                    <a:lnTo>
                      <a:pt x="638" y="620"/>
                    </a:lnTo>
                    <a:lnTo>
                      <a:pt x="638" y="620"/>
                    </a:lnTo>
                    <a:lnTo>
                      <a:pt x="636" y="620"/>
                    </a:lnTo>
                    <a:lnTo>
                      <a:pt x="633" y="622"/>
                    </a:lnTo>
                    <a:lnTo>
                      <a:pt x="633" y="622"/>
                    </a:lnTo>
                    <a:lnTo>
                      <a:pt x="633" y="625"/>
                    </a:lnTo>
                    <a:lnTo>
                      <a:pt x="633" y="625"/>
                    </a:lnTo>
                    <a:lnTo>
                      <a:pt x="633" y="625"/>
                    </a:lnTo>
                    <a:lnTo>
                      <a:pt x="636" y="625"/>
                    </a:lnTo>
                    <a:lnTo>
                      <a:pt x="636" y="622"/>
                    </a:lnTo>
                    <a:lnTo>
                      <a:pt x="638" y="622"/>
                    </a:lnTo>
                    <a:lnTo>
                      <a:pt x="638" y="622"/>
                    </a:lnTo>
                    <a:lnTo>
                      <a:pt x="638" y="620"/>
                    </a:lnTo>
                    <a:lnTo>
                      <a:pt x="638" y="620"/>
                    </a:lnTo>
                    <a:lnTo>
                      <a:pt x="641" y="620"/>
                    </a:lnTo>
                    <a:lnTo>
                      <a:pt x="641" y="620"/>
                    </a:lnTo>
                    <a:lnTo>
                      <a:pt x="641" y="618"/>
                    </a:lnTo>
                    <a:lnTo>
                      <a:pt x="643" y="618"/>
                    </a:lnTo>
                    <a:lnTo>
                      <a:pt x="643" y="618"/>
                    </a:lnTo>
                    <a:lnTo>
                      <a:pt x="643" y="618"/>
                    </a:lnTo>
                    <a:lnTo>
                      <a:pt x="643" y="615"/>
                    </a:lnTo>
                    <a:lnTo>
                      <a:pt x="645" y="615"/>
                    </a:lnTo>
                    <a:lnTo>
                      <a:pt x="645" y="613"/>
                    </a:lnTo>
                    <a:lnTo>
                      <a:pt x="645" y="613"/>
                    </a:lnTo>
                    <a:lnTo>
                      <a:pt x="648" y="613"/>
                    </a:lnTo>
                    <a:lnTo>
                      <a:pt x="648" y="615"/>
                    </a:lnTo>
                    <a:lnTo>
                      <a:pt x="648" y="615"/>
                    </a:lnTo>
                    <a:lnTo>
                      <a:pt x="648" y="615"/>
                    </a:lnTo>
                    <a:lnTo>
                      <a:pt x="648" y="618"/>
                    </a:lnTo>
                    <a:lnTo>
                      <a:pt x="645" y="618"/>
                    </a:lnTo>
                    <a:lnTo>
                      <a:pt x="641" y="620"/>
                    </a:lnTo>
                    <a:lnTo>
                      <a:pt x="641" y="620"/>
                    </a:lnTo>
                    <a:lnTo>
                      <a:pt x="641" y="622"/>
                    </a:lnTo>
                    <a:lnTo>
                      <a:pt x="641" y="622"/>
                    </a:lnTo>
                    <a:lnTo>
                      <a:pt x="641" y="622"/>
                    </a:lnTo>
                    <a:lnTo>
                      <a:pt x="641" y="622"/>
                    </a:lnTo>
                    <a:lnTo>
                      <a:pt x="643" y="620"/>
                    </a:lnTo>
                    <a:lnTo>
                      <a:pt x="643" y="620"/>
                    </a:lnTo>
                    <a:lnTo>
                      <a:pt x="643" y="620"/>
                    </a:lnTo>
                    <a:lnTo>
                      <a:pt x="643" y="620"/>
                    </a:lnTo>
                    <a:lnTo>
                      <a:pt x="643" y="620"/>
                    </a:lnTo>
                    <a:lnTo>
                      <a:pt x="643" y="620"/>
                    </a:lnTo>
                    <a:lnTo>
                      <a:pt x="645" y="620"/>
                    </a:lnTo>
                    <a:lnTo>
                      <a:pt x="645" y="620"/>
                    </a:lnTo>
                    <a:lnTo>
                      <a:pt x="648" y="620"/>
                    </a:lnTo>
                    <a:lnTo>
                      <a:pt x="648" y="620"/>
                    </a:lnTo>
                    <a:lnTo>
                      <a:pt x="650" y="618"/>
                    </a:lnTo>
                    <a:lnTo>
                      <a:pt x="650" y="615"/>
                    </a:lnTo>
                    <a:lnTo>
                      <a:pt x="650" y="615"/>
                    </a:lnTo>
                    <a:lnTo>
                      <a:pt x="650" y="615"/>
                    </a:lnTo>
                    <a:lnTo>
                      <a:pt x="650" y="613"/>
                    </a:lnTo>
                    <a:lnTo>
                      <a:pt x="650" y="613"/>
                    </a:lnTo>
                    <a:lnTo>
                      <a:pt x="650" y="613"/>
                    </a:lnTo>
                    <a:lnTo>
                      <a:pt x="650" y="611"/>
                    </a:lnTo>
                    <a:lnTo>
                      <a:pt x="650" y="611"/>
                    </a:lnTo>
                    <a:lnTo>
                      <a:pt x="652" y="611"/>
                    </a:lnTo>
                    <a:lnTo>
                      <a:pt x="652" y="611"/>
                    </a:lnTo>
                    <a:lnTo>
                      <a:pt x="652" y="611"/>
                    </a:lnTo>
                    <a:lnTo>
                      <a:pt x="655" y="611"/>
                    </a:lnTo>
                    <a:lnTo>
                      <a:pt x="655" y="611"/>
                    </a:lnTo>
                    <a:lnTo>
                      <a:pt x="655" y="611"/>
                    </a:lnTo>
                    <a:lnTo>
                      <a:pt x="657" y="613"/>
                    </a:lnTo>
                    <a:lnTo>
                      <a:pt x="659" y="613"/>
                    </a:lnTo>
                    <a:lnTo>
                      <a:pt x="659" y="613"/>
                    </a:lnTo>
                    <a:lnTo>
                      <a:pt x="662" y="613"/>
                    </a:lnTo>
                    <a:lnTo>
                      <a:pt x="662" y="613"/>
                    </a:lnTo>
                    <a:lnTo>
                      <a:pt x="662" y="613"/>
                    </a:lnTo>
                    <a:lnTo>
                      <a:pt x="662" y="613"/>
                    </a:lnTo>
                    <a:lnTo>
                      <a:pt x="664" y="613"/>
                    </a:lnTo>
                    <a:lnTo>
                      <a:pt x="664" y="615"/>
                    </a:lnTo>
                    <a:lnTo>
                      <a:pt x="667" y="615"/>
                    </a:lnTo>
                    <a:lnTo>
                      <a:pt x="669" y="615"/>
                    </a:lnTo>
                    <a:lnTo>
                      <a:pt x="669" y="615"/>
                    </a:lnTo>
                    <a:lnTo>
                      <a:pt x="671" y="615"/>
                    </a:lnTo>
                    <a:lnTo>
                      <a:pt x="671" y="615"/>
                    </a:lnTo>
                    <a:lnTo>
                      <a:pt x="674" y="615"/>
                    </a:lnTo>
                    <a:lnTo>
                      <a:pt x="674" y="615"/>
                    </a:lnTo>
                    <a:lnTo>
                      <a:pt x="676" y="615"/>
                    </a:lnTo>
                    <a:lnTo>
                      <a:pt x="676" y="615"/>
                    </a:lnTo>
                    <a:lnTo>
                      <a:pt x="676" y="615"/>
                    </a:lnTo>
                    <a:lnTo>
                      <a:pt x="678" y="615"/>
                    </a:lnTo>
                    <a:lnTo>
                      <a:pt x="678" y="615"/>
                    </a:lnTo>
                    <a:lnTo>
                      <a:pt x="678" y="615"/>
                    </a:lnTo>
                    <a:lnTo>
                      <a:pt x="678" y="618"/>
                    </a:lnTo>
                    <a:lnTo>
                      <a:pt x="678" y="618"/>
                    </a:lnTo>
                    <a:lnTo>
                      <a:pt x="678" y="618"/>
                    </a:lnTo>
                    <a:lnTo>
                      <a:pt x="678" y="618"/>
                    </a:lnTo>
                    <a:lnTo>
                      <a:pt x="678" y="620"/>
                    </a:lnTo>
                    <a:lnTo>
                      <a:pt x="678" y="620"/>
                    </a:lnTo>
                    <a:lnTo>
                      <a:pt x="678" y="622"/>
                    </a:lnTo>
                    <a:lnTo>
                      <a:pt x="678" y="622"/>
                    </a:lnTo>
                    <a:lnTo>
                      <a:pt x="678" y="622"/>
                    </a:lnTo>
                    <a:lnTo>
                      <a:pt x="678" y="622"/>
                    </a:lnTo>
                    <a:lnTo>
                      <a:pt x="678" y="625"/>
                    </a:lnTo>
                    <a:lnTo>
                      <a:pt x="678" y="627"/>
                    </a:lnTo>
                    <a:lnTo>
                      <a:pt x="678" y="630"/>
                    </a:lnTo>
                    <a:lnTo>
                      <a:pt x="678" y="630"/>
                    </a:lnTo>
                    <a:lnTo>
                      <a:pt x="681" y="632"/>
                    </a:lnTo>
                    <a:lnTo>
                      <a:pt x="683" y="632"/>
                    </a:lnTo>
                    <a:lnTo>
                      <a:pt x="686" y="632"/>
                    </a:lnTo>
                    <a:lnTo>
                      <a:pt x="688" y="632"/>
                    </a:lnTo>
                    <a:lnTo>
                      <a:pt x="690" y="632"/>
                    </a:lnTo>
                    <a:lnTo>
                      <a:pt x="695" y="632"/>
                    </a:lnTo>
                    <a:lnTo>
                      <a:pt x="695" y="632"/>
                    </a:lnTo>
                    <a:lnTo>
                      <a:pt x="695" y="632"/>
                    </a:lnTo>
                    <a:lnTo>
                      <a:pt x="695" y="634"/>
                    </a:lnTo>
                    <a:lnTo>
                      <a:pt x="693" y="634"/>
                    </a:lnTo>
                    <a:lnTo>
                      <a:pt x="693" y="634"/>
                    </a:lnTo>
                    <a:lnTo>
                      <a:pt x="693" y="637"/>
                    </a:lnTo>
                    <a:lnTo>
                      <a:pt x="693" y="637"/>
                    </a:lnTo>
                    <a:lnTo>
                      <a:pt x="690" y="637"/>
                    </a:lnTo>
                    <a:lnTo>
                      <a:pt x="690" y="637"/>
                    </a:lnTo>
                    <a:lnTo>
                      <a:pt x="690" y="639"/>
                    </a:lnTo>
                    <a:lnTo>
                      <a:pt x="690" y="639"/>
                    </a:lnTo>
                    <a:lnTo>
                      <a:pt x="690" y="639"/>
                    </a:lnTo>
                    <a:lnTo>
                      <a:pt x="690" y="641"/>
                    </a:lnTo>
                    <a:lnTo>
                      <a:pt x="690" y="641"/>
                    </a:lnTo>
                    <a:lnTo>
                      <a:pt x="693" y="641"/>
                    </a:lnTo>
                    <a:lnTo>
                      <a:pt x="693" y="644"/>
                    </a:lnTo>
                    <a:lnTo>
                      <a:pt x="693" y="644"/>
                    </a:lnTo>
                    <a:lnTo>
                      <a:pt x="693" y="644"/>
                    </a:lnTo>
                    <a:lnTo>
                      <a:pt x="693" y="644"/>
                    </a:lnTo>
                    <a:lnTo>
                      <a:pt x="693" y="644"/>
                    </a:lnTo>
                    <a:lnTo>
                      <a:pt x="693" y="646"/>
                    </a:lnTo>
                    <a:lnTo>
                      <a:pt x="693" y="646"/>
                    </a:lnTo>
                    <a:lnTo>
                      <a:pt x="690" y="649"/>
                    </a:lnTo>
                    <a:lnTo>
                      <a:pt x="690" y="649"/>
                    </a:lnTo>
                    <a:lnTo>
                      <a:pt x="690" y="649"/>
                    </a:lnTo>
                    <a:lnTo>
                      <a:pt x="688" y="651"/>
                    </a:lnTo>
                    <a:lnTo>
                      <a:pt x="688" y="651"/>
                    </a:lnTo>
                    <a:lnTo>
                      <a:pt x="688" y="653"/>
                    </a:lnTo>
                    <a:lnTo>
                      <a:pt x="688" y="653"/>
                    </a:lnTo>
                    <a:lnTo>
                      <a:pt x="690" y="653"/>
                    </a:lnTo>
                    <a:lnTo>
                      <a:pt x="690" y="653"/>
                    </a:lnTo>
                    <a:lnTo>
                      <a:pt x="690" y="653"/>
                    </a:lnTo>
                    <a:lnTo>
                      <a:pt x="690" y="653"/>
                    </a:lnTo>
                    <a:lnTo>
                      <a:pt x="693" y="653"/>
                    </a:lnTo>
                    <a:lnTo>
                      <a:pt x="693" y="653"/>
                    </a:lnTo>
                    <a:lnTo>
                      <a:pt x="693" y="653"/>
                    </a:lnTo>
                    <a:lnTo>
                      <a:pt x="693" y="656"/>
                    </a:lnTo>
                    <a:lnTo>
                      <a:pt x="693" y="656"/>
                    </a:lnTo>
                    <a:lnTo>
                      <a:pt x="693" y="656"/>
                    </a:lnTo>
                    <a:lnTo>
                      <a:pt x="690" y="656"/>
                    </a:lnTo>
                    <a:lnTo>
                      <a:pt x="690" y="656"/>
                    </a:lnTo>
                    <a:lnTo>
                      <a:pt x="690" y="656"/>
                    </a:lnTo>
                    <a:lnTo>
                      <a:pt x="688" y="658"/>
                    </a:lnTo>
                    <a:lnTo>
                      <a:pt x="688" y="658"/>
                    </a:lnTo>
                    <a:lnTo>
                      <a:pt x="688" y="658"/>
                    </a:lnTo>
                    <a:lnTo>
                      <a:pt x="688" y="658"/>
                    </a:lnTo>
                    <a:lnTo>
                      <a:pt x="690" y="658"/>
                    </a:lnTo>
                    <a:lnTo>
                      <a:pt x="690" y="658"/>
                    </a:lnTo>
                    <a:lnTo>
                      <a:pt x="690" y="658"/>
                    </a:lnTo>
                    <a:lnTo>
                      <a:pt x="690" y="658"/>
                    </a:lnTo>
                    <a:lnTo>
                      <a:pt x="688" y="660"/>
                    </a:lnTo>
                    <a:lnTo>
                      <a:pt x="686" y="660"/>
                    </a:lnTo>
                    <a:lnTo>
                      <a:pt x="686" y="660"/>
                    </a:lnTo>
                    <a:lnTo>
                      <a:pt x="688" y="663"/>
                    </a:lnTo>
                    <a:lnTo>
                      <a:pt x="688" y="663"/>
                    </a:lnTo>
                    <a:lnTo>
                      <a:pt x="688" y="663"/>
                    </a:lnTo>
                    <a:lnTo>
                      <a:pt x="688" y="663"/>
                    </a:lnTo>
                    <a:lnTo>
                      <a:pt x="690" y="663"/>
                    </a:lnTo>
                    <a:lnTo>
                      <a:pt x="693" y="660"/>
                    </a:lnTo>
                    <a:lnTo>
                      <a:pt x="693" y="660"/>
                    </a:lnTo>
                    <a:lnTo>
                      <a:pt x="693" y="663"/>
                    </a:lnTo>
                    <a:lnTo>
                      <a:pt x="695" y="663"/>
                    </a:lnTo>
                    <a:lnTo>
                      <a:pt x="693" y="663"/>
                    </a:lnTo>
                    <a:lnTo>
                      <a:pt x="693" y="663"/>
                    </a:lnTo>
                    <a:lnTo>
                      <a:pt x="693" y="665"/>
                    </a:lnTo>
                    <a:lnTo>
                      <a:pt x="693" y="665"/>
                    </a:lnTo>
                    <a:lnTo>
                      <a:pt x="693" y="665"/>
                    </a:lnTo>
                    <a:lnTo>
                      <a:pt x="695" y="665"/>
                    </a:lnTo>
                    <a:lnTo>
                      <a:pt x="695" y="665"/>
                    </a:lnTo>
                    <a:lnTo>
                      <a:pt x="695" y="667"/>
                    </a:lnTo>
                    <a:lnTo>
                      <a:pt x="695" y="667"/>
                    </a:lnTo>
                    <a:lnTo>
                      <a:pt x="700" y="667"/>
                    </a:lnTo>
                    <a:lnTo>
                      <a:pt x="700" y="667"/>
                    </a:lnTo>
                    <a:lnTo>
                      <a:pt x="700" y="667"/>
                    </a:lnTo>
                    <a:lnTo>
                      <a:pt x="702" y="667"/>
                    </a:lnTo>
                    <a:lnTo>
                      <a:pt x="709" y="670"/>
                    </a:lnTo>
                    <a:lnTo>
                      <a:pt x="712" y="670"/>
                    </a:lnTo>
                    <a:lnTo>
                      <a:pt x="714" y="667"/>
                    </a:lnTo>
                    <a:lnTo>
                      <a:pt x="714" y="670"/>
                    </a:lnTo>
                    <a:lnTo>
                      <a:pt x="714" y="670"/>
                    </a:lnTo>
                    <a:lnTo>
                      <a:pt x="716" y="670"/>
                    </a:lnTo>
                    <a:lnTo>
                      <a:pt x="719" y="670"/>
                    </a:lnTo>
                    <a:lnTo>
                      <a:pt x="721" y="670"/>
                    </a:lnTo>
                    <a:lnTo>
                      <a:pt x="721" y="670"/>
                    </a:lnTo>
                    <a:lnTo>
                      <a:pt x="723" y="670"/>
                    </a:lnTo>
                    <a:lnTo>
                      <a:pt x="726" y="670"/>
                    </a:lnTo>
                    <a:lnTo>
                      <a:pt x="728" y="670"/>
                    </a:lnTo>
                    <a:lnTo>
                      <a:pt x="728" y="670"/>
                    </a:lnTo>
                    <a:lnTo>
                      <a:pt x="728" y="672"/>
                    </a:lnTo>
                    <a:lnTo>
                      <a:pt x="728" y="672"/>
                    </a:lnTo>
                    <a:lnTo>
                      <a:pt x="728" y="672"/>
                    </a:lnTo>
                    <a:lnTo>
                      <a:pt x="728" y="672"/>
                    </a:lnTo>
                    <a:lnTo>
                      <a:pt x="730" y="672"/>
                    </a:lnTo>
                    <a:lnTo>
                      <a:pt x="730" y="670"/>
                    </a:lnTo>
                    <a:lnTo>
                      <a:pt x="730" y="670"/>
                    </a:lnTo>
                    <a:lnTo>
                      <a:pt x="730" y="670"/>
                    </a:lnTo>
                    <a:lnTo>
                      <a:pt x="733" y="670"/>
                    </a:lnTo>
                    <a:lnTo>
                      <a:pt x="733" y="672"/>
                    </a:lnTo>
                    <a:lnTo>
                      <a:pt x="730" y="672"/>
                    </a:lnTo>
                    <a:lnTo>
                      <a:pt x="730" y="672"/>
                    </a:lnTo>
                    <a:lnTo>
                      <a:pt x="730" y="672"/>
                    </a:lnTo>
                    <a:lnTo>
                      <a:pt x="730" y="672"/>
                    </a:lnTo>
                    <a:lnTo>
                      <a:pt x="730" y="672"/>
                    </a:lnTo>
                    <a:lnTo>
                      <a:pt x="730" y="672"/>
                    </a:lnTo>
                    <a:lnTo>
                      <a:pt x="730" y="675"/>
                    </a:lnTo>
                    <a:lnTo>
                      <a:pt x="733" y="672"/>
                    </a:lnTo>
                    <a:lnTo>
                      <a:pt x="733" y="672"/>
                    </a:lnTo>
                    <a:lnTo>
                      <a:pt x="735" y="672"/>
                    </a:lnTo>
                    <a:lnTo>
                      <a:pt x="735" y="672"/>
                    </a:lnTo>
                    <a:lnTo>
                      <a:pt x="738" y="672"/>
                    </a:lnTo>
                    <a:lnTo>
                      <a:pt x="738" y="672"/>
                    </a:lnTo>
                    <a:lnTo>
                      <a:pt x="738" y="672"/>
                    </a:lnTo>
                    <a:lnTo>
                      <a:pt x="738" y="672"/>
                    </a:lnTo>
                    <a:lnTo>
                      <a:pt x="738" y="672"/>
                    </a:lnTo>
                    <a:lnTo>
                      <a:pt x="738" y="675"/>
                    </a:lnTo>
                    <a:lnTo>
                      <a:pt x="738" y="675"/>
                    </a:lnTo>
                    <a:lnTo>
                      <a:pt x="740" y="675"/>
                    </a:lnTo>
                    <a:lnTo>
                      <a:pt x="742" y="675"/>
                    </a:lnTo>
                    <a:lnTo>
                      <a:pt x="742" y="675"/>
                    </a:lnTo>
                    <a:lnTo>
                      <a:pt x="742" y="675"/>
                    </a:lnTo>
                    <a:lnTo>
                      <a:pt x="742" y="675"/>
                    </a:lnTo>
                    <a:lnTo>
                      <a:pt x="745" y="675"/>
                    </a:lnTo>
                    <a:lnTo>
                      <a:pt x="745" y="675"/>
                    </a:lnTo>
                    <a:lnTo>
                      <a:pt x="745" y="677"/>
                    </a:lnTo>
                    <a:lnTo>
                      <a:pt x="745" y="677"/>
                    </a:lnTo>
                    <a:lnTo>
                      <a:pt x="745" y="677"/>
                    </a:lnTo>
                    <a:lnTo>
                      <a:pt x="745" y="677"/>
                    </a:lnTo>
                    <a:lnTo>
                      <a:pt x="745" y="679"/>
                    </a:lnTo>
                    <a:lnTo>
                      <a:pt x="745" y="679"/>
                    </a:lnTo>
                    <a:lnTo>
                      <a:pt x="745" y="679"/>
                    </a:lnTo>
                    <a:lnTo>
                      <a:pt x="745" y="679"/>
                    </a:lnTo>
                    <a:lnTo>
                      <a:pt x="745" y="682"/>
                    </a:lnTo>
                    <a:lnTo>
                      <a:pt x="745" y="682"/>
                    </a:lnTo>
                    <a:lnTo>
                      <a:pt x="745" y="682"/>
                    </a:lnTo>
                    <a:lnTo>
                      <a:pt x="747" y="682"/>
                    </a:lnTo>
                    <a:lnTo>
                      <a:pt x="747" y="679"/>
                    </a:lnTo>
                    <a:lnTo>
                      <a:pt x="747" y="682"/>
                    </a:lnTo>
                    <a:lnTo>
                      <a:pt x="747" y="682"/>
                    </a:lnTo>
                    <a:lnTo>
                      <a:pt x="747" y="684"/>
                    </a:lnTo>
                    <a:lnTo>
                      <a:pt x="745" y="684"/>
                    </a:lnTo>
                    <a:lnTo>
                      <a:pt x="745" y="684"/>
                    </a:lnTo>
                    <a:lnTo>
                      <a:pt x="747" y="686"/>
                    </a:lnTo>
                    <a:lnTo>
                      <a:pt x="747" y="686"/>
                    </a:lnTo>
                    <a:lnTo>
                      <a:pt x="747" y="686"/>
                    </a:lnTo>
                    <a:lnTo>
                      <a:pt x="749" y="686"/>
                    </a:lnTo>
                    <a:lnTo>
                      <a:pt x="749" y="686"/>
                    </a:lnTo>
                    <a:lnTo>
                      <a:pt x="749" y="684"/>
                    </a:lnTo>
                    <a:lnTo>
                      <a:pt x="749" y="684"/>
                    </a:lnTo>
                    <a:lnTo>
                      <a:pt x="749" y="684"/>
                    </a:lnTo>
                    <a:lnTo>
                      <a:pt x="749" y="686"/>
                    </a:lnTo>
                    <a:lnTo>
                      <a:pt x="749" y="686"/>
                    </a:lnTo>
                    <a:lnTo>
                      <a:pt x="749" y="686"/>
                    </a:lnTo>
                    <a:lnTo>
                      <a:pt x="749" y="689"/>
                    </a:lnTo>
                    <a:lnTo>
                      <a:pt x="747" y="689"/>
                    </a:lnTo>
                    <a:lnTo>
                      <a:pt x="747" y="689"/>
                    </a:lnTo>
                    <a:lnTo>
                      <a:pt x="747" y="689"/>
                    </a:lnTo>
                    <a:lnTo>
                      <a:pt x="749" y="689"/>
                    </a:lnTo>
                    <a:lnTo>
                      <a:pt x="749" y="689"/>
                    </a:lnTo>
                    <a:lnTo>
                      <a:pt x="749" y="689"/>
                    </a:lnTo>
                    <a:lnTo>
                      <a:pt x="749" y="691"/>
                    </a:lnTo>
                    <a:lnTo>
                      <a:pt x="749" y="691"/>
                    </a:lnTo>
                    <a:lnTo>
                      <a:pt x="747" y="691"/>
                    </a:lnTo>
                    <a:lnTo>
                      <a:pt x="747" y="691"/>
                    </a:lnTo>
                    <a:lnTo>
                      <a:pt x="747" y="691"/>
                    </a:lnTo>
                    <a:lnTo>
                      <a:pt x="749" y="694"/>
                    </a:lnTo>
                    <a:lnTo>
                      <a:pt x="749" y="694"/>
                    </a:lnTo>
                    <a:lnTo>
                      <a:pt x="749" y="694"/>
                    </a:lnTo>
                    <a:lnTo>
                      <a:pt x="749" y="696"/>
                    </a:lnTo>
                    <a:lnTo>
                      <a:pt x="749" y="696"/>
                    </a:lnTo>
                    <a:lnTo>
                      <a:pt x="749" y="696"/>
                    </a:lnTo>
                    <a:lnTo>
                      <a:pt x="749" y="698"/>
                    </a:lnTo>
                    <a:lnTo>
                      <a:pt x="749" y="698"/>
                    </a:lnTo>
                    <a:lnTo>
                      <a:pt x="749" y="698"/>
                    </a:lnTo>
                    <a:lnTo>
                      <a:pt x="749" y="698"/>
                    </a:lnTo>
                    <a:lnTo>
                      <a:pt x="752" y="698"/>
                    </a:lnTo>
                    <a:lnTo>
                      <a:pt x="752" y="698"/>
                    </a:lnTo>
                    <a:lnTo>
                      <a:pt x="752" y="698"/>
                    </a:lnTo>
                    <a:lnTo>
                      <a:pt x="752" y="698"/>
                    </a:lnTo>
                    <a:lnTo>
                      <a:pt x="752" y="698"/>
                    </a:lnTo>
                    <a:lnTo>
                      <a:pt x="752" y="698"/>
                    </a:lnTo>
                    <a:lnTo>
                      <a:pt x="752" y="701"/>
                    </a:lnTo>
                    <a:lnTo>
                      <a:pt x="749" y="701"/>
                    </a:lnTo>
                    <a:lnTo>
                      <a:pt x="749" y="701"/>
                    </a:lnTo>
                    <a:lnTo>
                      <a:pt x="747" y="698"/>
                    </a:lnTo>
                    <a:lnTo>
                      <a:pt x="747" y="698"/>
                    </a:lnTo>
                    <a:lnTo>
                      <a:pt x="747" y="698"/>
                    </a:lnTo>
                    <a:lnTo>
                      <a:pt x="747" y="698"/>
                    </a:lnTo>
                    <a:lnTo>
                      <a:pt x="747" y="698"/>
                    </a:lnTo>
                    <a:lnTo>
                      <a:pt x="747" y="698"/>
                    </a:lnTo>
                    <a:lnTo>
                      <a:pt x="747" y="698"/>
                    </a:lnTo>
                    <a:lnTo>
                      <a:pt x="745" y="698"/>
                    </a:lnTo>
                    <a:lnTo>
                      <a:pt x="745" y="698"/>
                    </a:lnTo>
                    <a:lnTo>
                      <a:pt x="745" y="701"/>
                    </a:lnTo>
                    <a:lnTo>
                      <a:pt x="745" y="701"/>
                    </a:lnTo>
                    <a:lnTo>
                      <a:pt x="745" y="701"/>
                    </a:lnTo>
                    <a:lnTo>
                      <a:pt x="745" y="703"/>
                    </a:lnTo>
                    <a:lnTo>
                      <a:pt x="745" y="703"/>
                    </a:lnTo>
                    <a:lnTo>
                      <a:pt x="742" y="705"/>
                    </a:lnTo>
                    <a:lnTo>
                      <a:pt x="742" y="705"/>
                    </a:lnTo>
                    <a:lnTo>
                      <a:pt x="740" y="705"/>
                    </a:lnTo>
                    <a:lnTo>
                      <a:pt x="735" y="703"/>
                    </a:lnTo>
                    <a:lnTo>
                      <a:pt x="735" y="703"/>
                    </a:lnTo>
                    <a:lnTo>
                      <a:pt x="735" y="701"/>
                    </a:lnTo>
                    <a:lnTo>
                      <a:pt x="735" y="701"/>
                    </a:lnTo>
                    <a:lnTo>
                      <a:pt x="733" y="701"/>
                    </a:lnTo>
                    <a:lnTo>
                      <a:pt x="730" y="703"/>
                    </a:lnTo>
                    <a:lnTo>
                      <a:pt x="728" y="703"/>
                    </a:lnTo>
                    <a:lnTo>
                      <a:pt x="728" y="703"/>
                    </a:lnTo>
                    <a:lnTo>
                      <a:pt x="730" y="701"/>
                    </a:lnTo>
                    <a:lnTo>
                      <a:pt x="730" y="701"/>
                    </a:lnTo>
                    <a:lnTo>
                      <a:pt x="730" y="701"/>
                    </a:lnTo>
                    <a:lnTo>
                      <a:pt x="730" y="698"/>
                    </a:lnTo>
                    <a:lnTo>
                      <a:pt x="730" y="698"/>
                    </a:lnTo>
                    <a:lnTo>
                      <a:pt x="728" y="698"/>
                    </a:lnTo>
                    <a:lnTo>
                      <a:pt x="728" y="701"/>
                    </a:lnTo>
                    <a:lnTo>
                      <a:pt x="726" y="701"/>
                    </a:lnTo>
                    <a:lnTo>
                      <a:pt x="728" y="701"/>
                    </a:lnTo>
                    <a:lnTo>
                      <a:pt x="728" y="698"/>
                    </a:lnTo>
                    <a:lnTo>
                      <a:pt x="730" y="698"/>
                    </a:lnTo>
                    <a:lnTo>
                      <a:pt x="730" y="696"/>
                    </a:lnTo>
                    <a:lnTo>
                      <a:pt x="730" y="696"/>
                    </a:lnTo>
                    <a:lnTo>
                      <a:pt x="730" y="696"/>
                    </a:lnTo>
                    <a:lnTo>
                      <a:pt x="730" y="696"/>
                    </a:lnTo>
                    <a:lnTo>
                      <a:pt x="730" y="696"/>
                    </a:lnTo>
                    <a:lnTo>
                      <a:pt x="730" y="696"/>
                    </a:lnTo>
                    <a:lnTo>
                      <a:pt x="728" y="696"/>
                    </a:lnTo>
                    <a:lnTo>
                      <a:pt x="728" y="696"/>
                    </a:lnTo>
                    <a:lnTo>
                      <a:pt x="728" y="696"/>
                    </a:lnTo>
                    <a:lnTo>
                      <a:pt x="728" y="696"/>
                    </a:lnTo>
                    <a:lnTo>
                      <a:pt x="728" y="696"/>
                    </a:lnTo>
                    <a:lnTo>
                      <a:pt x="728" y="696"/>
                    </a:lnTo>
                    <a:lnTo>
                      <a:pt x="728" y="694"/>
                    </a:lnTo>
                    <a:lnTo>
                      <a:pt x="728" y="694"/>
                    </a:lnTo>
                    <a:lnTo>
                      <a:pt x="728" y="694"/>
                    </a:lnTo>
                    <a:lnTo>
                      <a:pt x="728" y="691"/>
                    </a:lnTo>
                    <a:lnTo>
                      <a:pt x="728" y="691"/>
                    </a:lnTo>
                    <a:lnTo>
                      <a:pt x="728" y="691"/>
                    </a:lnTo>
                    <a:lnTo>
                      <a:pt x="728" y="689"/>
                    </a:lnTo>
                    <a:lnTo>
                      <a:pt x="728" y="689"/>
                    </a:lnTo>
                    <a:lnTo>
                      <a:pt x="728" y="689"/>
                    </a:lnTo>
                    <a:lnTo>
                      <a:pt x="726" y="689"/>
                    </a:lnTo>
                    <a:lnTo>
                      <a:pt x="723" y="689"/>
                    </a:lnTo>
                    <a:lnTo>
                      <a:pt x="721" y="689"/>
                    </a:lnTo>
                    <a:lnTo>
                      <a:pt x="721" y="689"/>
                    </a:lnTo>
                    <a:lnTo>
                      <a:pt x="721" y="689"/>
                    </a:lnTo>
                    <a:lnTo>
                      <a:pt x="723" y="689"/>
                    </a:lnTo>
                    <a:lnTo>
                      <a:pt x="723" y="689"/>
                    </a:lnTo>
                    <a:lnTo>
                      <a:pt x="723" y="691"/>
                    </a:lnTo>
                    <a:lnTo>
                      <a:pt x="723" y="691"/>
                    </a:lnTo>
                    <a:lnTo>
                      <a:pt x="723" y="691"/>
                    </a:lnTo>
                    <a:lnTo>
                      <a:pt x="723" y="694"/>
                    </a:lnTo>
                    <a:lnTo>
                      <a:pt x="723" y="696"/>
                    </a:lnTo>
                    <a:lnTo>
                      <a:pt x="726" y="696"/>
                    </a:lnTo>
                    <a:lnTo>
                      <a:pt x="726" y="696"/>
                    </a:lnTo>
                    <a:lnTo>
                      <a:pt x="723" y="696"/>
                    </a:lnTo>
                    <a:lnTo>
                      <a:pt x="723" y="698"/>
                    </a:lnTo>
                    <a:lnTo>
                      <a:pt x="723" y="698"/>
                    </a:lnTo>
                    <a:lnTo>
                      <a:pt x="723" y="698"/>
                    </a:lnTo>
                    <a:lnTo>
                      <a:pt x="723" y="701"/>
                    </a:lnTo>
                    <a:lnTo>
                      <a:pt x="723" y="703"/>
                    </a:lnTo>
                    <a:lnTo>
                      <a:pt x="723" y="703"/>
                    </a:lnTo>
                    <a:lnTo>
                      <a:pt x="721" y="705"/>
                    </a:lnTo>
                    <a:lnTo>
                      <a:pt x="721" y="705"/>
                    </a:lnTo>
                    <a:lnTo>
                      <a:pt x="719" y="705"/>
                    </a:lnTo>
                    <a:lnTo>
                      <a:pt x="719" y="705"/>
                    </a:lnTo>
                    <a:lnTo>
                      <a:pt x="719" y="708"/>
                    </a:lnTo>
                    <a:lnTo>
                      <a:pt x="716" y="708"/>
                    </a:lnTo>
                    <a:lnTo>
                      <a:pt x="716" y="708"/>
                    </a:lnTo>
                    <a:lnTo>
                      <a:pt x="714" y="710"/>
                    </a:lnTo>
                    <a:lnTo>
                      <a:pt x="714" y="710"/>
                    </a:lnTo>
                    <a:lnTo>
                      <a:pt x="714" y="712"/>
                    </a:lnTo>
                    <a:lnTo>
                      <a:pt x="712" y="712"/>
                    </a:lnTo>
                    <a:lnTo>
                      <a:pt x="709" y="715"/>
                    </a:lnTo>
                    <a:lnTo>
                      <a:pt x="709" y="715"/>
                    </a:lnTo>
                    <a:lnTo>
                      <a:pt x="707" y="722"/>
                    </a:lnTo>
                    <a:lnTo>
                      <a:pt x="707" y="724"/>
                    </a:lnTo>
                    <a:lnTo>
                      <a:pt x="704" y="727"/>
                    </a:lnTo>
                    <a:lnTo>
                      <a:pt x="704" y="729"/>
                    </a:lnTo>
                    <a:lnTo>
                      <a:pt x="702" y="729"/>
                    </a:lnTo>
                    <a:lnTo>
                      <a:pt x="702" y="729"/>
                    </a:lnTo>
                    <a:lnTo>
                      <a:pt x="700" y="731"/>
                    </a:lnTo>
                    <a:lnTo>
                      <a:pt x="697" y="731"/>
                    </a:lnTo>
                    <a:lnTo>
                      <a:pt x="697" y="731"/>
                    </a:lnTo>
                    <a:lnTo>
                      <a:pt x="695" y="734"/>
                    </a:lnTo>
                    <a:lnTo>
                      <a:pt x="693" y="734"/>
                    </a:lnTo>
                    <a:lnTo>
                      <a:pt x="690" y="736"/>
                    </a:lnTo>
                    <a:lnTo>
                      <a:pt x="690" y="736"/>
                    </a:lnTo>
                    <a:lnTo>
                      <a:pt x="686" y="741"/>
                    </a:lnTo>
                    <a:lnTo>
                      <a:pt x="683" y="743"/>
                    </a:lnTo>
                    <a:lnTo>
                      <a:pt x="681" y="746"/>
                    </a:lnTo>
                    <a:lnTo>
                      <a:pt x="681" y="746"/>
                    </a:lnTo>
                    <a:lnTo>
                      <a:pt x="681" y="746"/>
                    </a:lnTo>
                    <a:lnTo>
                      <a:pt x="683" y="746"/>
                    </a:lnTo>
                    <a:lnTo>
                      <a:pt x="683" y="746"/>
                    </a:lnTo>
                    <a:lnTo>
                      <a:pt x="683" y="746"/>
                    </a:lnTo>
                    <a:lnTo>
                      <a:pt x="683" y="746"/>
                    </a:lnTo>
                    <a:lnTo>
                      <a:pt x="683" y="748"/>
                    </a:lnTo>
                    <a:lnTo>
                      <a:pt x="683" y="748"/>
                    </a:lnTo>
                    <a:lnTo>
                      <a:pt x="683" y="750"/>
                    </a:lnTo>
                    <a:lnTo>
                      <a:pt x="681" y="750"/>
                    </a:lnTo>
                    <a:lnTo>
                      <a:pt x="681" y="750"/>
                    </a:lnTo>
                    <a:lnTo>
                      <a:pt x="676" y="750"/>
                    </a:lnTo>
                    <a:lnTo>
                      <a:pt x="674" y="750"/>
                    </a:lnTo>
                    <a:lnTo>
                      <a:pt x="674" y="750"/>
                    </a:lnTo>
                    <a:lnTo>
                      <a:pt x="671" y="750"/>
                    </a:lnTo>
                    <a:lnTo>
                      <a:pt x="671" y="750"/>
                    </a:lnTo>
                    <a:lnTo>
                      <a:pt x="671" y="753"/>
                    </a:lnTo>
                    <a:lnTo>
                      <a:pt x="669" y="753"/>
                    </a:lnTo>
                    <a:lnTo>
                      <a:pt x="669" y="755"/>
                    </a:lnTo>
                    <a:lnTo>
                      <a:pt x="669" y="755"/>
                    </a:lnTo>
                    <a:lnTo>
                      <a:pt x="671" y="755"/>
                    </a:lnTo>
                    <a:lnTo>
                      <a:pt x="674" y="757"/>
                    </a:lnTo>
                    <a:lnTo>
                      <a:pt x="676" y="755"/>
                    </a:lnTo>
                    <a:lnTo>
                      <a:pt x="676" y="755"/>
                    </a:lnTo>
                    <a:lnTo>
                      <a:pt x="676" y="755"/>
                    </a:lnTo>
                    <a:lnTo>
                      <a:pt x="678" y="757"/>
                    </a:lnTo>
                    <a:lnTo>
                      <a:pt x="678" y="757"/>
                    </a:lnTo>
                    <a:lnTo>
                      <a:pt x="678" y="757"/>
                    </a:lnTo>
                    <a:lnTo>
                      <a:pt x="678" y="755"/>
                    </a:lnTo>
                    <a:lnTo>
                      <a:pt x="681" y="755"/>
                    </a:lnTo>
                    <a:lnTo>
                      <a:pt x="681" y="755"/>
                    </a:lnTo>
                    <a:lnTo>
                      <a:pt x="683" y="753"/>
                    </a:lnTo>
                    <a:lnTo>
                      <a:pt x="686" y="753"/>
                    </a:lnTo>
                    <a:lnTo>
                      <a:pt x="688" y="750"/>
                    </a:lnTo>
                    <a:lnTo>
                      <a:pt x="690" y="750"/>
                    </a:lnTo>
                    <a:lnTo>
                      <a:pt x="690" y="750"/>
                    </a:lnTo>
                    <a:lnTo>
                      <a:pt x="693" y="750"/>
                    </a:lnTo>
                    <a:lnTo>
                      <a:pt x="693" y="750"/>
                    </a:lnTo>
                    <a:lnTo>
                      <a:pt x="693" y="750"/>
                    </a:lnTo>
                    <a:lnTo>
                      <a:pt x="690" y="750"/>
                    </a:lnTo>
                    <a:lnTo>
                      <a:pt x="693" y="750"/>
                    </a:lnTo>
                    <a:lnTo>
                      <a:pt x="693" y="750"/>
                    </a:lnTo>
                    <a:lnTo>
                      <a:pt x="693" y="748"/>
                    </a:lnTo>
                    <a:lnTo>
                      <a:pt x="695" y="748"/>
                    </a:lnTo>
                    <a:lnTo>
                      <a:pt x="702" y="743"/>
                    </a:lnTo>
                    <a:lnTo>
                      <a:pt x="702" y="743"/>
                    </a:lnTo>
                    <a:lnTo>
                      <a:pt x="707" y="743"/>
                    </a:lnTo>
                    <a:lnTo>
                      <a:pt x="709" y="743"/>
                    </a:lnTo>
                    <a:lnTo>
                      <a:pt x="714" y="743"/>
                    </a:lnTo>
                    <a:lnTo>
                      <a:pt x="716" y="743"/>
                    </a:lnTo>
                    <a:lnTo>
                      <a:pt x="719" y="746"/>
                    </a:lnTo>
                    <a:lnTo>
                      <a:pt x="719" y="746"/>
                    </a:lnTo>
                    <a:lnTo>
                      <a:pt x="723" y="746"/>
                    </a:lnTo>
                    <a:lnTo>
                      <a:pt x="726" y="746"/>
                    </a:lnTo>
                    <a:lnTo>
                      <a:pt x="723" y="746"/>
                    </a:lnTo>
                    <a:lnTo>
                      <a:pt x="721" y="743"/>
                    </a:lnTo>
                    <a:lnTo>
                      <a:pt x="721" y="743"/>
                    </a:lnTo>
                    <a:lnTo>
                      <a:pt x="719" y="743"/>
                    </a:lnTo>
                    <a:lnTo>
                      <a:pt x="719" y="743"/>
                    </a:lnTo>
                    <a:lnTo>
                      <a:pt x="721" y="743"/>
                    </a:lnTo>
                    <a:lnTo>
                      <a:pt x="721" y="743"/>
                    </a:lnTo>
                    <a:lnTo>
                      <a:pt x="721" y="741"/>
                    </a:lnTo>
                    <a:lnTo>
                      <a:pt x="723" y="741"/>
                    </a:lnTo>
                    <a:lnTo>
                      <a:pt x="723" y="741"/>
                    </a:lnTo>
                    <a:lnTo>
                      <a:pt x="726" y="741"/>
                    </a:lnTo>
                    <a:lnTo>
                      <a:pt x="730" y="739"/>
                    </a:lnTo>
                    <a:lnTo>
                      <a:pt x="733" y="739"/>
                    </a:lnTo>
                    <a:lnTo>
                      <a:pt x="733" y="739"/>
                    </a:lnTo>
                    <a:lnTo>
                      <a:pt x="735" y="739"/>
                    </a:lnTo>
                    <a:lnTo>
                      <a:pt x="735" y="739"/>
                    </a:lnTo>
                    <a:lnTo>
                      <a:pt x="740" y="739"/>
                    </a:lnTo>
                    <a:lnTo>
                      <a:pt x="742" y="739"/>
                    </a:lnTo>
                    <a:lnTo>
                      <a:pt x="742" y="739"/>
                    </a:lnTo>
                    <a:lnTo>
                      <a:pt x="745" y="739"/>
                    </a:lnTo>
                    <a:lnTo>
                      <a:pt x="745" y="739"/>
                    </a:lnTo>
                    <a:lnTo>
                      <a:pt x="747" y="739"/>
                    </a:lnTo>
                    <a:lnTo>
                      <a:pt x="747" y="739"/>
                    </a:lnTo>
                    <a:lnTo>
                      <a:pt x="747" y="736"/>
                    </a:lnTo>
                    <a:lnTo>
                      <a:pt x="747" y="736"/>
                    </a:lnTo>
                    <a:lnTo>
                      <a:pt x="747" y="736"/>
                    </a:lnTo>
                    <a:lnTo>
                      <a:pt x="747" y="736"/>
                    </a:lnTo>
                    <a:lnTo>
                      <a:pt x="747" y="734"/>
                    </a:lnTo>
                    <a:lnTo>
                      <a:pt x="747" y="734"/>
                    </a:lnTo>
                    <a:lnTo>
                      <a:pt x="747" y="734"/>
                    </a:lnTo>
                    <a:lnTo>
                      <a:pt x="749" y="729"/>
                    </a:lnTo>
                    <a:lnTo>
                      <a:pt x="749" y="729"/>
                    </a:lnTo>
                    <a:lnTo>
                      <a:pt x="745" y="731"/>
                    </a:lnTo>
                    <a:lnTo>
                      <a:pt x="745" y="731"/>
                    </a:lnTo>
                    <a:lnTo>
                      <a:pt x="742" y="731"/>
                    </a:lnTo>
                    <a:lnTo>
                      <a:pt x="742" y="731"/>
                    </a:lnTo>
                    <a:lnTo>
                      <a:pt x="740" y="731"/>
                    </a:lnTo>
                    <a:lnTo>
                      <a:pt x="738" y="731"/>
                    </a:lnTo>
                    <a:lnTo>
                      <a:pt x="738" y="731"/>
                    </a:lnTo>
                    <a:lnTo>
                      <a:pt x="738" y="729"/>
                    </a:lnTo>
                    <a:lnTo>
                      <a:pt x="738" y="729"/>
                    </a:lnTo>
                    <a:lnTo>
                      <a:pt x="740" y="727"/>
                    </a:lnTo>
                    <a:lnTo>
                      <a:pt x="740" y="724"/>
                    </a:lnTo>
                    <a:lnTo>
                      <a:pt x="742" y="724"/>
                    </a:lnTo>
                    <a:lnTo>
                      <a:pt x="742" y="724"/>
                    </a:lnTo>
                    <a:lnTo>
                      <a:pt x="745" y="724"/>
                    </a:lnTo>
                    <a:lnTo>
                      <a:pt x="745" y="722"/>
                    </a:lnTo>
                    <a:lnTo>
                      <a:pt x="745" y="722"/>
                    </a:lnTo>
                    <a:lnTo>
                      <a:pt x="745" y="722"/>
                    </a:lnTo>
                    <a:lnTo>
                      <a:pt x="747" y="722"/>
                    </a:lnTo>
                    <a:lnTo>
                      <a:pt x="752" y="720"/>
                    </a:lnTo>
                    <a:lnTo>
                      <a:pt x="754" y="720"/>
                    </a:lnTo>
                    <a:lnTo>
                      <a:pt x="754" y="720"/>
                    </a:lnTo>
                    <a:lnTo>
                      <a:pt x="759" y="717"/>
                    </a:lnTo>
                    <a:lnTo>
                      <a:pt x="761" y="717"/>
                    </a:lnTo>
                    <a:lnTo>
                      <a:pt x="761" y="717"/>
                    </a:lnTo>
                    <a:lnTo>
                      <a:pt x="764" y="717"/>
                    </a:lnTo>
                    <a:lnTo>
                      <a:pt x="764" y="717"/>
                    </a:lnTo>
                    <a:lnTo>
                      <a:pt x="766" y="717"/>
                    </a:lnTo>
                    <a:lnTo>
                      <a:pt x="768" y="717"/>
                    </a:lnTo>
                    <a:lnTo>
                      <a:pt x="773" y="715"/>
                    </a:lnTo>
                    <a:lnTo>
                      <a:pt x="775" y="715"/>
                    </a:lnTo>
                    <a:lnTo>
                      <a:pt x="775" y="715"/>
                    </a:lnTo>
                    <a:lnTo>
                      <a:pt x="778" y="715"/>
                    </a:lnTo>
                    <a:lnTo>
                      <a:pt x="778" y="715"/>
                    </a:lnTo>
                    <a:lnTo>
                      <a:pt x="778" y="715"/>
                    </a:lnTo>
                    <a:lnTo>
                      <a:pt x="780" y="715"/>
                    </a:lnTo>
                    <a:lnTo>
                      <a:pt x="780" y="715"/>
                    </a:lnTo>
                    <a:lnTo>
                      <a:pt x="780" y="715"/>
                    </a:lnTo>
                    <a:lnTo>
                      <a:pt x="780" y="715"/>
                    </a:lnTo>
                    <a:lnTo>
                      <a:pt x="780" y="715"/>
                    </a:lnTo>
                    <a:lnTo>
                      <a:pt x="780" y="717"/>
                    </a:lnTo>
                    <a:lnTo>
                      <a:pt x="783" y="717"/>
                    </a:lnTo>
                    <a:lnTo>
                      <a:pt x="783" y="717"/>
                    </a:lnTo>
                    <a:lnTo>
                      <a:pt x="785" y="717"/>
                    </a:lnTo>
                    <a:lnTo>
                      <a:pt x="785" y="717"/>
                    </a:lnTo>
                    <a:lnTo>
                      <a:pt x="783" y="717"/>
                    </a:lnTo>
                    <a:lnTo>
                      <a:pt x="783" y="717"/>
                    </a:lnTo>
                    <a:lnTo>
                      <a:pt x="785" y="717"/>
                    </a:lnTo>
                    <a:lnTo>
                      <a:pt x="785" y="717"/>
                    </a:lnTo>
                    <a:lnTo>
                      <a:pt x="785" y="717"/>
                    </a:lnTo>
                    <a:lnTo>
                      <a:pt x="785" y="717"/>
                    </a:lnTo>
                    <a:lnTo>
                      <a:pt x="785" y="717"/>
                    </a:lnTo>
                    <a:lnTo>
                      <a:pt x="785" y="717"/>
                    </a:lnTo>
                    <a:lnTo>
                      <a:pt x="785" y="717"/>
                    </a:lnTo>
                    <a:lnTo>
                      <a:pt x="787" y="717"/>
                    </a:lnTo>
                    <a:lnTo>
                      <a:pt x="790" y="717"/>
                    </a:lnTo>
                    <a:lnTo>
                      <a:pt x="792" y="717"/>
                    </a:lnTo>
                    <a:lnTo>
                      <a:pt x="792" y="717"/>
                    </a:lnTo>
                    <a:lnTo>
                      <a:pt x="790" y="717"/>
                    </a:lnTo>
                    <a:lnTo>
                      <a:pt x="790" y="717"/>
                    </a:lnTo>
                    <a:lnTo>
                      <a:pt x="787" y="717"/>
                    </a:lnTo>
                    <a:lnTo>
                      <a:pt x="787" y="717"/>
                    </a:lnTo>
                    <a:lnTo>
                      <a:pt x="790" y="715"/>
                    </a:lnTo>
                    <a:lnTo>
                      <a:pt x="790" y="715"/>
                    </a:lnTo>
                    <a:lnTo>
                      <a:pt x="792" y="715"/>
                    </a:lnTo>
                    <a:lnTo>
                      <a:pt x="792" y="712"/>
                    </a:lnTo>
                    <a:lnTo>
                      <a:pt x="792" y="712"/>
                    </a:lnTo>
                    <a:lnTo>
                      <a:pt x="790" y="715"/>
                    </a:lnTo>
                    <a:lnTo>
                      <a:pt x="790" y="715"/>
                    </a:lnTo>
                    <a:lnTo>
                      <a:pt x="787" y="715"/>
                    </a:lnTo>
                    <a:lnTo>
                      <a:pt x="787" y="715"/>
                    </a:lnTo>
                    <a:lnTo>
                      <a:pt x="790" y="712"/>
                    </a:lnTo>
                    <a:lnTo>
                      <a:pt x="790" y="712"/>
                    </a:lnTo>
                    <a:lnTo>
                      <a:pt x="785" y="712"/>
                    </a:lnTo>
                    <a:lnTo>
                      <a:pt x="785" y="712"/>
                    </a:lnTo>
                    <a:lnTo>
                      <a:pt x="785" y="712"/>
                    </a:lnTo>
                    <a:lnTo>
                      <a:pt x="785" y="712"/>
                    </a:lnTo>
                    <a:lnTo>
                      <a:pt x="785" y="712"/>
                    </a:lnTo>
                    <a:lnTo>
                      <a:pt x="785" y="712"/>
                    </a:lnTo>
                    <a:lnTo>
                      <a:pt x="785" y="712"/>
                    </a:lnTo>
                    <a:lnTo>
                      <a:pt x="785" y="712"/>
                    </a:lnTo>
                    <a:lnTo>
                      <a:pt x="785" y="712"/>
                    </a:lnTo>
                    <a:lnTo>
                      <a:pt x="785" y="712"/>
                    </a:lnTo>
                    <a:lnTo>
                      <a:pt x="785" y="712"/>
                    </a:lnTo>
                    <a:lnTo>
                      <a:pt x="783" y="712"/>
                    </a:lnTo>
                    <a:lnTo>
                      <a:pt x="780" y="715"/>
                    </a:lnTo>
                    <a:lnTo>
                      <a:pt x="780" y="712"/>
                    </a:lnTo>
                    <a:lnTo>
                      <a:pt x="780" y="712"/>
                    </a:lnTo>
                    <a:lnTo>
                      <a:pt x="785" y="712"/>
                    </a:lnTo>
                    <a:lnTo>
                      <a:pt x="785" y="712"/>
                    </a:lnTo>
                    <a:lnTo>
                      <a:pt x="787" y="712"/>
                    </a:lnTo>
                    <a:lnTo>
                      <a:pt x="787" y="712"/>
                    </a:lnTo>
                    <a:lnTo>
                      <a:pt x="787" y="712"/>
                    </a:lnTo>
                    <a:lnTo>
                      <a:pt x="787" y="712"/>
                    </a:lnTo>
                    <a:lnTo>
                      <a:pt x="787" y="712"/>
                    </a:lnTo>
                    <a:lnTo>
                      <a:pt x="790" y="710"/>
                    </a:lnTo>
                    <a:lnTo>
                      <a:pt x="790" y="712"/>
                    </a:lnTo>
                    <a:lnTo>
                      <a:pt x="790" y="712"/>
                    </a:lnTo>
                    <a:lnTo>
                      <a:pt x="790" y="712"/>
                    </a:lnTo>
                    <a:lnTo>
                      <a:pt x="792" y="712"/>
                    </a:lnTo>
                    <a:lnTo>
                      <a:pt x="792" y="712"/>
                    </a:lnTo>
                    <a:lnTo>
                      <a:pt x="792" y="712"/>
                    </a:lnTo>
                    <a:lnTo>
                      <a:pt x="790" y="712"/>
                    </a:lnTo>
                    <a:lnTo>
                      <a:pt x="790" y="712"/>
                    </a:lnTo>
                    <a:lnTo>
                      <a:pt x="790" y="712"/>
                    </a:lnTo>
                    <a:lnTo>
                      <a:pt x="790" y="715"/>
                    </a:lnTo>
                    <a:lnTo>
                      <a:pt x="790" y="715"/>
                    </a:lnTo>
                    <a:lnTo>
                      <a:pt x="794" y="712"/>
                    </a:lnTo>
                    <a:lnTo>
                      <a:pt x="797" y="710"/>
                    </a:lnTo>
                    <a:lnTo>
                      <a:pt x="799" y="710"/>
                    </a:lnTo>
                    <a:lnTo>
                      <a:pt x="799" y="710"/>
                    </a:lnTo>
                    <a:lnTo>
                      <a:pt x="801" y="710"/>
                    </a:lnTo>
                    <a:lnTo>
                      <a:pt x="804" y="710"/>
                    </a:lnTo>
                    <a:lnTo>
                      <a:pt x="809" y="708"/>
                    </a:lnTo>
                    <a:lnTo>
                      <a:pt x="811" y="708"/>
                    </a:lnTo>
                    <a:lnTo>
                      <a:pt x="813" y="705"/>
                    </a:lnTo>
                    <a:lnTo>
                      <a:pt x="813" y="705"/>
                    </a:lnTo>
                    <a:lnTo>
                      <a:pt x="813" y="705"/>
                    </a:lnTo>
                    <a:lnTo>
                      <a:pt x="813" y="705"/>
                    </a:lnTo>
                    <a:lnTo>
                      <a:pt x="823" y="701"/>
                    </a:lnTo>
                    <a:lnTo>
                      <a:pt x="827" y="696"/>
                    </a:lnTo>
                    <a:lnTo>
                      <a:pt x="832" y="696"/>
                    </a:lnTo>
                    <a:lnTo>
                      <a:pt x="835" y="694"/>
                    </a:lnTo>
                    <a:lnTo>
                      <a:pt x="835" y="696"/>
                    </a:lnTo>
                    <a:lnTo>
                      <a:pt x="837" y="694"/>
                    </a:lnTo>
                    <a:lnTo>
                      <a:pt x="844" y="689"/>
                    </a:lnTo>
                    <a:lnTo>
                      <a:pt x="849" y="686"/>
                    </a:lnTo>
                    <a:lnTo>
                      <a:pt x="851" y="686"/>
                    </a:lnTo>
                    <a:lnTo>
                      <a:pt x="851" y="684"/>
                    </a:lnTo>
                    <a:lnTo>
                      <a:pt x="849" y="684"/>
                    </a:lnTo>
                    <a:lnTo>
                      <a:pt x="846" y="682"/>
                    </a:lnTo>
                    <a:lnTo>
                      <a:pt x="851" y="684"/>
                    </a:lnTo>
                    <a:lnTo>
                      <a:pt x="856" y="682"/>
                    </a:lnTo>
                    <a:lnTo>
                      <a:pt x="858" y="679"/>
                    </a:lnTo>
                    <a:lnTo>
                      <a:pt x="858" y="679"/>
                    </a:lnTo>
                    <a:lnTo>
                      <a:pt x="863" y="677"/>
                    </a:lnTo>
                    <a:lnTo>
                      <a:pt x="868" y="675"/>
                    </a:lnTo>
                    <a:lnTo>
                      <a:pt x="870" y="672"/>
                    </a:lnTo>
                    <a:lnTo>
                      <a:pt x="872" y="672"/>
                    </a:lnTo>
                    <a:lnTo>
                      <a:pt x="875" y="670"/>
                    </a:lnTo>
                    <a:lnTo>
                      <a:pt x="875" y="667"/>
                    </a:lnTo>
                    <a:lnTo>
                      <a:pt x="877" y="667"/>
                    </a:lnTo>
                    <a:lnTo>
                      <a:pt x="882" y="667"/>
                    </a:lnTo>
                    <a:lnTo>
                      <a:pt x="889" y="663"/>
                    </a:lnTo>
                    <a:lnTo>
                      <a:pt x="891" y="660"/>
                    </a:lnTo>
                    <a:lnTo>
                      <a:pt x="894" y="660"/>
                    </a:lnTo>
                    <a:lnTo>
                      <a:pt x="898" y="658"/>
                    </a:lnTo>
                    <a:lnTo>
                      <a:pt x="901" y="658"/>
                    </a:lnTo>
                    <a:lnTo>
                      <a:pt x="903" y="658"/>
                    </a:lnTo>
                    <a:lnTo>
                      <a:pt x="908" y="656"/>
                    </a:lnTo>
                    <a:lnTo>
                      <a:pt x="913" y="653"/>
                    </a:lnTo>
                    <a:lnTo>
                      <a:pt x="915" y="651"/>
                    </a:lnTo>
                    <a:lnTo>
                      <a:pt x="922" y="649"/>
                    </a:lnTo>
                    <a:lnTo>
                      <a:pt x="927" y="644"/>
                    </a:lnTo>
                    <a:lnTo>
                      <a:pt x="932" y="641"/>
                    </a:lnTo>
                    <a:lnTo>
                      <a:pt x="939" y="637"/>
                    </a:lnTo>
                    <a:lnTo>
                      <a:pt x="941" y="634"/>
                    </a:lnTo>
                    <a:lnTo>
                      <a:pt x="943" y="632"/>
                    </a:lnTo>
                    <a:lnTo>
                      <a:pt x="946" y="630"/>
                    </a:lnTo>
                    <a:lnTo>
                      <a:pt x="943" y="627"/>
                    </a:lnTo>
                    <a:lnTo>
                      <a:pt x="943" y="627"/>
                    </a:lnTo>
                    <a:lnTo>
                      <a:pt x="939" y="627"/>
                    </a:lnTo>
                    <a:lnTo>
                      <a:pt x="934" y="625"/>
                    </a:lnTo>
                    <a:lnTo>
                      <a:pt x="932" y="625"/>
                    </a:lnTo>
                    <a:lnTo>
                      <a:pt x="929" y="625"/>
                    </a:lnTo>
                    <a:lnTo>
                      <a:pt x="929" y="622"/>
                    </a:lnTo>
                    <a:lnTo>
                      <a:pt x="927" y="622"/>
                    </a:lnTo>
                    <a:lnTo>
                      <a:pt x="936" y="625"/>
                    </a:lnTo>
                    <a:lnTo>
                      <a:pt x="941" y="625"/>
                    </a:lnTo>
                    <a:lnTo>
                      <a:pt x="943" y="625"/>
                    </a:lnTo>
                    <a:lnTo>
                      <a:pt x="943" y="627"/>
                    </a:lnTo>
                    <a:lnTo>
                      <a:pt x="946" y="627"/>
                    </a:lnTo>
                    <a:lnTo>
                      <a:pt x="948" y="627"/>
                    </a:lnTo>
                    <a:lnTo>
                      <a:pt x="950" y="627"/>
                    </a:lnTo>
                    <a:lnTo>
                      <a:pt x="953" y="622"/>
                    </a:lnTo>
                    <a:lnTo>
                      <a:pt x="958" y="620"/>
                    </a:lnTo>
                    <a:lnTo>
                      <a:pt x="965" y="615"/>
                    </a:lnTo>
                    <a:lnTo>
                      <a:pt x="969" y="613"/>
                    </a:lnTo>
                    <a:lnTo>
                      <a:pt x="972" y="611"/>
                    </a:lnTo>
                    <a:lnTo>
                      <a:pt x="974" y="611"/>
                    </a:lnTo>
                    <a:lnTo>
                      <a:pt x="976" y="608"/>
                    </a:lnTo>
                    <a:lnTo>
                      <a:pt x="976" y="608"/>
                    </a:lnTo>
                    <a:lnTo>
                      <a:pt x="979" y="608"/>
                    </a:lnTo>
                    <a:lnTo>
                      <a:pt x="979" y="606"/>
                    </a:lnTo>
                    <a:lnTo>
                      <a:pt x="984" y="606"/>
                    </a:lnTo>
                    <a:lnTo>
                      <a:pt x="991" y="604"/>
                    </a:lnTo>
                    <a:lnTo>
                      <a:pt x="993" y="604"/>
                    </a:lnTo>
                    <a:lnTo>
                      <a:pt x="995" y="604"/>
                    </a:lnTo>
                    <a:lnTo>
                      <a:pt x="998" y="601"/>
                    </a:lnTo>
                    <a:lnTo>
                      <a:pt x="1000" y="599"/>
                    </a:lnTo>
                    <a:lnTo>
                      <a:pt x="1007" y="589"/>
                    </a:lnTo>
                    <a:lnTo>
                      <a:pt x="1012" y="589"/>
                    </a:lnTo>
                    <a:lnTo>
                      <a:pt x="1014" y="587"/>
                    </a:lnTo>
                    <a:lnTo>
                      <a:pt x="1014" y="587"/>
                    </a:lnTo>
                    <a:lnTo>
                      <a:pt x="1017" y="587"/>
                    </a:lnTo>
                    <a:lnTo>
                      <a:pt x="1019" y="585"/>
                    </a:lnTo>
                    <a:lnTo>
                      <a:pt x="1019" y="587"/>
                    </a:lnTo>
                    <a:lnTo>
                      <a:pt x="1021" y="585"/>
                    </a:lnTo>
                    <a:lnTo>
                      <a:pt x="1021" y="587"/>
                    </a:lnTo>
                    <a:lnTo>
                      <a:pt x="1026" y="585"/>
                    </a:lnTo>
                    <a:lnTo>
                      <a:pt x="1029" y="585"/>
                    </a:lnTo>
                    <a:lnTo>
                      <a:pt x="1038" y="585"/>
                    </a:lnTo>
                    <a:lnTo>
                      <a:pt x="1038" y="585"/>
                    </a:lnTo>
                    <a:lnTo>
                      <a:pt x="1043" y="585"/>
                    </a:lnTo>
                    <a:lnTo>
                      <a:pt x="1050" y="585"/>
                    </a:lnTo>
                    <a:lnTo>
                      <a:pt x="1055" y="585"/>
                    </a:lnTo>
                    <a:lnTo>
                      <a:pt x="1057" y="585"/>
                    </a:lnTo>
                    <a:lnTo>
                      <a:pt x="1059" y="585"/>
                    </a:lnTo>
                    <a:lnTo>
                      <a:pt x="1062" y="585"/>
                    </a:lnTo>
                    <a:lnTo>
                      <a:pt x="1064" y="585"/>
                    </a:lnTo>
                    <a:lnTo>
                      <a:pt x="1069" y="585"/>
                    </a:lnTo>
                    <a:lnTo>
                      <a:pt x="1071" y="585"/>
                    </a:lnTo>
                    <a:lnTo>
                      <a:pt x="1073" y="585"/>
                    </a:lnTo>
                    <a:lnTo>
                      <a:pt x="1076" y="585"/>
                    </a:lnTo>
                    <a:lnTo>
                      <a:pt x="1078" y="585"/>
                    </a:lnTo>
                    <a:lnTo>
                      <a:pt x="1081" y="585"/>
                    </a:lnTo>
                    <a:lnTo>
                      <a:pt x="1083" y="585"/>
                    </a:lnTo>
                    <a:lnTo>
                      <a:pt x="1088" y="585"/>
                    </a:lnTo>
                    <a:lnTo>
                      <a:pt x="1090" y="585"/>
                    </a:lnTo>
                    <a:lnTo>
                      <a:pt x="1092" y="587"/>
                    </a:lnTo>
                    <a:lnTo>
                      <a:pt x="1092" y="587"/>
                    </a:lnTo>
                    <a:lnTo>
                      <a:pt x="1099" y="587"/>
                    </a:lnTo>
                    <a:lnTo>
                      <a:pt x="1102" y="587"/>
                    </a:lnTo>
                    <a:lnTo>
                      <a:pt x="1107" y="587"/>
                    </a:lnTo>
                    <a:lnTo>
                      <a:pt x="1109" y="585"/>
                    </a:lnTo>
                    <a:lnTo>
                      <a:pt x="1111" y="585"/>
                    </a:lnTo>
                    <a:lnTo>
                      <a:pt x="1114" y="585"/>
                    </a:lnTo>
                    <a:lnTo>
                      <a:pt x="1121" y="585"/>
                    </a:lnTo>
                    <a:close/>
                    <a:moveTo>
                      <a:pt x="853" y="684"/>
                    </a:moveTo>
                    <a:lnTo>
                      <a:pt x="853" y="684"/>
                    </a:lnTo>
                    <a:lnTo>
                      <a:pt x="856" y="684"/>
                    </a:lnTo>
                    <a:lnTo>
                      <a:pt x="858" y="684"/>
                    </a:lnTo>
                    <a:lnTo>
                      <a:pt x="861" y="684"/>
                    </a:lnTo>
                    <a:lnTo>
                      <a:pt x="861" y="684"/>
                    </a:lnTo>
                    <a:lnTo>
                      <a:pt x="861" y="682"/>
                    </a:lnTo>
                    <a:lnTo>
                      <a:pt x="863" y="679"/>
                    </a:lnTo>
                    <a:lnTo>
                      <a:pt x="863" y="679"/>
                    </a:lnTo>
                    <a:lnTo>
                      <a:pt x="858" y="682"/>
                    </a:lnTo>
                    <a:lnTo>
                      <a:pt x="856" y="682"/>
                    </a:lnTo>
                    <a:lnTo>
                      <a:pt x="853" y="684"/>
                    </a:lnTo>
                    <a:close/>
                    <a:moveTo>
                      <a:pt x="913" y="653"/>
                    </a:moveTo>
                    <a:lnTo>
                      <a:pt x="913" y="656"/>
                    </a:lnTo>
                    <a:lnTo>
                      <a:pt x="913" y="656"/>
                    </a:lnTo>
                    <a:lnTo>
                      <a:pt x="915" y="653"/>
                    </a:lnTo>
                    <a:lnTo>
                      <a:pt x="917" y="653"/>
                    </a:lnTo>
                    <a:lnTo>
                      <a:pt x="917" y="653"/>
                    </a:lnTo>
                    <a:lnTo>
                      <a:pt x="915" y="653"/>
                    </a:lnTo>
                    <a:lnTo>
                      <a:pt x="913" y="653"/>
                    </a:lnTo>
                    <a:close/>
                    <a:moveTo>
                      <a:pt x="842" y="694"/>
                    </a:moveTo>
                    <a:lnTo>
                      <a:pt x="856" y="694"/>
                    </a:lnTo>
                    <a:lnTo>
                      <a:pt x="863" y="694"/>
                    </a:lnTo>
                    <a:lnTo>
                      <a:pt x="870" y="694"/>
                    </a:lnTo>
                    <a:lnTo>
                      <a:pt x="875" y="694"/>
                    </a:lnTo>
                    <a:lnTo>
                      <a:pt x="882" y="694"/>
                    </a:lnTo>
                    <a:lnTo>
                      <a:pt x="889" y="694"/>
                    </a:lnTo>
                    <a:lnTo>
                      <a:pt x="894" y="689"/>
                    </a:lnTo>
                    <a:lnTo>
                      <a:pt x="896" y="686"/>
                    </a:lnTo>
                    <a:lnTo>
                      <a:pt x="896" y="689"/>
                    </a:lnTo>
                    <a:lnTo>
                      <a:pt x="898" y="689"/>
                    </a:lnTo>
                    <a:lnTo>
                      <a:pt x="901" y="686"/>
                    </a:lnTo>
                    <a:lnTo>
                      <a:pt x="901" y="686"/>
                    </a:lnTo>
                    <a:lnTo>
                      <a:pt x="901" y="686"/>
                    </a:lnTo>
                    <a:lnTo>
                      <a:pt x="903" y="686"/>
                    </a:lnTo>
                    <a:lnTo>
                      <a:pt x="903" y="689"/>
                    </a:lnTo>
                    <a:lnTo>
                      <a:pt x="903" y="689"/>
                    </a:lnTo>
                    <a:lnTo>
                      <a:pt x="903" y="686"/>
                    </a:lnTo>
                    <a:lnTo>
                      <a:pt x="903" y="686"/>
                    </a:lnTo>
                    <a:lnTo>
                      <a:pt x="906" y="684"/>
                    </a:lnTo>
                    <a:lnTo>
                      <a:pt x="906" y="684"/>
                    </a:lnTo>
                    <a:lnTo>
                      <a:pt x="906" y="684"/>
                    </a:lnTo>
                    <a:lnTo>
                      <a:pt x="908" y="684"/>
                    </a:lnTo>
                    <a:lnTo>
                      <a:pt x="908" y="684"/>
                    </a:lnTo>
                    <a:lnTo>
                      <a:pt x="908" y="684"/>
                    </a:lnTo>
                    <a:lnTo>
                      <a:pt x="908" y="682"/>
                    </a:lnTo>
                    <a:lnTo>
                      <a:pt x="910" y="679"/>
                    </a:lnTo>
                    <a:lnTo>
                      <a:pt x="913" y="679"/>
                    </a:lnTo>
                    <a:lnTo>
                      <a:pt x="915" y="677"/>
                    </a:lnTo>
                    <a:lnTo>
                      <a:pt x="915" y="677"/>
                    </a:lnTo>
                    <a:lnTo>
                      <a:pt x="917" y="675"/>
                    </a:lnTo>
                    <a:lnTo>
                      <a:pt x="917" y="675"/>
                    </a:lnTo>
                    <a:lnTo>
                      <a:pt x="917" y="675"/>
                    </a:lnTo>
                    <a:lnTo>
                      <a:pt x="917" y="672"/>
                    </a:lnTo>
                    <a:lnTo>
                      <a:pt x="920" y="672"/>
                    </a:lnTo>
                    <a:lnTo>
                      <a:pt x="920" y="670"/>
                    </a:lnTo>
                    <a:lnTo>
                      <a:pt x="922" y="667"/>
                    </a:lnTo>
                    <a:lnTo>
                      <a:pt x="922" y="665"/>
                    </a:lnTo>
                    <a:lnTo>
                      <a:pt x="927" y="663"/>
                    </a:lnTo>
                    <a:lnTo>
                      <a:pt x="927" y="660"/>
                    </a:lnTo>
                    <a:lnTo>
                      <a:pt x="929" y="658"/>
                    </a:lnTo>
                    <a:lnTo>
                      <a:pt x="932" y="656"/>
                    </a:lnTo>
                    <a:lnTo>
                      <a:pt x="936" y="653"/>
                    </a:lnTo>
                    <a:lnTo>
                      <a:pt x="939" y="651"/>
                    </a:lnTo>
                    <a:lnTo>
                      <a:pt x="943" y="646"/>
                    </a:lnTo>
                    <a:lnTo>
                      <a:pt x="946" y="644"/>
                    </a:lnTo>
                    <a:lnTo>
                      <a:pt x="946" y="644"/>
                    </a:lnTo>
                    <a:lnTo>
                      <a:pt x="948" y="641"/>
                    </a:lnTo>
                    <a:lnTo>
                      <a:pt x="950" y="644"/>
                    </a:lnTo>
                    <a:lnTo>
                      <a:pt x="950" y="644"/>
                    </a:lnTo>
                    <a:lnTo>
                      <a:pt x="950" y="646"/>
                    </a:lnTo>
                    <a:lnTo>
                      <a:pt x="950" y="646"/>
                    </a:lnTo>
                    <a:lnTo>
                      <a:pt x="950" y="646"/>
                    </a:lnTo>
                    <a:lnTo>
                      <a:pt x="950" y="649"/>
                    </a:lnTo>
                    <a:lnTo>
                      <a:pt x="950" y="649"/>
                    </a:lnTo>
                    <a:lnTo>
                      <a:pt x="953" y="649"/>
                    </a:lnTo>
                    <a:lnTo>
                      <a:pt x="955" y="646"/>
                    </a:lnTo>
                    <a:lnTo>
                      <a:pt x="960" y="646"/>
                    </a:lnTo>
                    <a:lnTo>
                      <a:pt x="960" y="646"/>
                    </a:lnTo>
                    <a:lnTo>
                      <a:pt x="962" y="644"/>
                    </a:lnTo>
                    <a:lnTo>
                      <a:pt x="962" y="644"/>
                    </a:lnTo>
                    <a:lnTo>
                      <a:pt x="965" y="644"/>
                    </a:lnTo>
                    <a:lnTo>
                      <a:pt x="965" y="646"/>
                    </a:lnTo>
                    <a:lnTo>
                      <a:pt x="967" y="649"/>
                    </a:lnTo>
                    <a:lnTo>
                      <a:pt x="969" y="651"/>
                    </a:lnTo>
                    <a:lnTo>
                      <a:pt x="967" y="653"/>
                    </a:lnTo>
                    <a:lnTo>
                      <a:pt x="967" y="656"/>
                    </a:lnTo>
                    <a:lnTo>
                      <a:pt x="965" y="660"/>
                    </a:lnTo>
                    <a:lnTo>
                      <a:pt x="965" y="663"/>
                    </a:lnTo>
                    <a:lnTo>
                      <a:pt x="962" y="665"/>
                    </a:lnTo>
                    <a:lnTo>
                      <a:pt x="962" y="667"/>
                    </a:lnTo>
                    <a:lnTo>
                      <a:pt x="960" y="672"/>
                    </a:lnTo>
                    <a:lnTo>
                      <a:pt x="960" y="675"/>
                    </a:lnTo>
                    <a:lnTo>
                      <a:pt x="960" y="675"/>
                    </a:lnTo>
                    <a:lnTo>
                      <a:pt x="960" y="675"/>
                    </a:lnTo>
                    <a:lnTo>
                      <a:pt x="960" y="675"/>
                    </a:lnTo>
                    <a:lnTo>
                      <a:pt x="960" y="675"/>
                    </a:lnTo>
                    <a:lnTo>
                      <a:pt x="960" y="677"/>
                    </a:lnTo>
                    <a:lnTo>
                      <a:pt x="960" y="677"/>
                    </a:lnTo>
                    <a:lnTo>
                      <a:pt x="958" y="677"/>
                    </a:lnTo>
                    <a:lnTo>
                      <a:pt x="958" y="677"/>
                    </a:lnTo>
                    <a:lnTo>
                      <a:pt x="958" y="679"/>
                    </a:lnTo>
                    <a:lnTo>
                      <a:pt x="958" y="679"/>
                    </a:lnTo>
                    <a:lnTo>
                      <a:pt x="958" y="679"/>
                    </a:lnTo>
                    <a:lnTo>
                      <a:pt x="958" y="679"/>
                    </a:lnTo>
                    <a:lnTo>
                      <a:pt x="960" y="679"/>
                    </a:lnTo>
                    <a:lnTo>
                      <a:pt x="960" y="679"/>
                    </a:lnTo>
                    <a:lnTo>
                      <a:pt x="960" y="682"/>
                    </a:lnTo>
                    <a:lnTo>
                      <a:pt x="962" y="682"/>
                    </a:lnTo>
                    <a:lnTo>
                      <a:pt x="962" y="682"/>
                    </a:lnTo>
                    <a:lnTo>
                      <a:pt x="962" y="682"/>
                    </a:lnTo>
                    <a:lnTo>
                      <a:pt x="962" y="682"/>
                    </a:lnTo>
                    <a:lnTo>
                      <a:pt x="962" y="682"/>
                    </a:lnTo>
                    <a:lnTo>
                      <a:pt x="962" y="682"/>
                    </a:lnTo>
                    <a:lnTo>
                      <a:pt x="960" y="684"/>
                    </a:lnTo>
                    <a:lnTo>
                      <a:pt x="960" y="684"/>
                    </a:lnTo>
                    <a:lnTo>
                      <a:pt x="960" y="684"/>
                    </a:lnTo>
                    <a:lnTo>
                      <a:pt x="960" y="684"/>
                    </a:lnTo>
                    <a:lnTo>
                      <a:pt x="960" y="686"/>
                    </a:lnTo>
                    <a:lnTo>
                      <a:pt x="960" y="686"/>
                    </a:lnTo>
                    <a:lnTo>
                      <a:pt x="960" y="686"/>
                    </a:lnTo>
                    <a:lnTo>
                      <a:pt x="960" y="689"/>
                    </a:lnTo>
                    <a:lnTo>
                      <a:pt x="960" y="689"/>
                    </a:lnTo>
                    <a:lnTo>
                      <a:pt x="960" y="689"/>
                    </a:lnTo>
                    <a:lnTo>
                      <a:pt x="960" y="689"/>
                    </a:lnTo>
                    <a:lnTo>
                      <a:pt x="962" y="691"/>
                    </a:lnTo>
                    <a:lnTo>
                      <a:pt x="962" y="689"/>
                    </a:lnTo>
                    <a:lnTo>
                      <a:pt x="962" y="689"/>
                    </a:lnTo>
                    <a:lnTo>
                      <a:pt x="962" y="689"/>
                    </a:lnTo>
                    <a:lnTo>
                      <a:pt x="962" y="689"/>
                    </a:lnTo>
                    <a:lnTo>
                      <a:pt x="965" y="689"/>
                    </a:lnTo>
                    <a:lnTo>
                      <a:pt x="965" y="689"/>
                    </a:lnTo>
                    <a:lnTo>
                      <a:pt x="965" y="691"/>
                    </a:lnTo>
                    <a:lnTo>
                      <a:pt x="967" y="691"/>
                    </a:lnTo>
                    <a:lnTo>
                      <a:pt x="967" y="691"/>
                    </a:lnTo>
                    <a:lnTo>
                      <a:pt x="967" y="691"/>
                    </a:lnTo>
                    <a:lnTo>
                      <a:pt x="967" y="691"/>
                    </a:lnTo>
                    <a:lnTo>
                      <a:pt x="972" y="691"/>
                    </a:lnTo>
                    <a:lnTo>
                      <a:pt x="974" y="691"/>
                    </a:lnTo>
                    <a:lnTo>
                      <a:pt x="976" y="691"/>
                    </a:lnTo>
                    <a:lnTo>
                      <a:pt x="976" y="691"/>
                    </a:lnTo>
                    <a:lnTo>
                      <a:pt x="979" y="689"/>
                    </a:lnTo>
                    <a:lnTo>
                      <a:pt x="981" y="689"/>
                    </a:lnTo>
                    <a:lnTo>
                      <a:pt x="981" y="689"/>
                    </a:lnTo>
                    <a:lnTo>
                      <a:pt x="981" y="686"/>
                    </a:lnTo>
                    <a:lnTo>
                      <a:pt x="984" y="686"/>
                    </a:lnTo>
                    <a:lnTo>
                      <a:pt x="984" y="684"/>
                    </a:lnTo>
                    <a:lnTo>
                      <a:pt x="984" y="684"/>
                    </a:lnTo>
                    <a:lnTo>
                      <a:pt x="984" y="686"/>
                    </a:lnTo>
                    <a:lnTo>
                      <a:pt x="984" y="686"/>
                    </a:lnTo>
                    <a:lnTo>
                      <a:pt x="984" y="689"/>
                    </a:lnTo>
                    <a:lnTo>
                      <a:pt x="986" y="689"/>
                    </a:lnTo>
                    <a:lnTo>
                      <a:pt x="993" y="686"/>
                    </a:lnTo>
                    <a:lnTo>
                      <a:pt x="998" y="684"/>
                    </a:lnTo>
                    <a:lnTo>
                      <a:pt x="1002" y="682"/>
                    </a:lnTo>
                    <a:lnTo>
                      <a:pt x="1005" y="679"/>
                    </a:lnTo>
                    <a:lnTo>
                      <a:pt x="1007" y="679"/>
                    </a:lnTo>
                    <a:lnTo>
                      <a:pt x="1012" y="677"/>
                    </a:lnTo>
                    <a:lnTo>
                      <a:pt x="1012" y="675"/>
                    </a:lnTo>
                    <a:lnTo>
                      <a:pt x="1012" y="675"/>
                    </a:lnTo>
                    <a:lnTo>
                      <a:pt x="1012" y="675"/>
                    </a:lnTo>
                    <a:lnTo>
                      <a:pt x="1014" y="677"/>
                    </a:lnTo>
                    <a:lnTo>
                      <a:pt x="1014" y="677"/>
                    </a:lnTo>
                    <a:lnTo>
                      <a:pt x="1017" y="677"/>
                    </a:lnTo>
                    <a:lnTo>
                      <a:pt x="1014" y="677"/>
                    </a:lnTo>
                    <a:lnTo>
                      <a:pt x="1014" y="677"/>
                    </a:lnTo>
                    <a:lnTo>
                      <a:pt x="1012" y="679"/>
                    </a:lnTo>
                    <a:lnTo>
                      <a:pt x="1005" y="684"/>
                    </a:lnTo>
                    <a:lnTo>
                      <a:pt x="1002" y="686"/>
                    </a:lnTo>
                    <a:lnTo>
                      <a:pt x="1002" y="686"/>
                    </a:lnTo>
                    <a:lnTo>
                      <a:pt x="1005" y="686"/>
                    </a:lnTo>
                    <a:lnTo>
                      <a:pt x="1005" y="686"/>
                    </a:lnTo>
                    <a:lnTo>
                      <a:pt x="1007" y="686"/>
                    </a:lnTo>
                    <a:lnTo>
                      <a:pt x="1010" y="684"/>
                    </a:lnTo>
                    <a:lnTo>
                      <a:pt x="1012" y="686"/>
                    </a:lnTo>
                    <a:lnTo>
                      <a:pt x="1017" y="684"/>
                    </a:lnTo>
                    <a:lnTo>
                      <a:pt x="1019" y="686"/>
                    </a:lnTo>
                    <a:lnTo>
                      <a:pt x="1024" y="684"/>
                    </a:lnTo>
                    <a:lnTo>
                      <a:pt x="1029" y="686"/>
                    </a:lnTo>
                    <a:lnTo>
                      <a:pt x="1026" y="686"/>
                    </a:lnTo>
                    <a:lnTo>
                      <a:pt x="1021" y="686"/>
                    </a:lnTo>
                    <a:lnTo>
                      <a:pt x="1014" y="689"/>
                    </a:lnTo>
                    <a:lnTo>
                      <a:pt x="1014" y="691"/>
                    </a:lnTo>
                    <a:lnTo>
                      <a:pt x="1014" y="694"/>
                    </a:lnTo>
                    <a:lnTo>
                      <a:pt x="1012" y="691"/>
                    </a:lnTo>
                    <a:lnTo>
                      <a:pt x="1010" y="691"/>
                    </a:lnTo>
                    <a:lnTo>
                      <a:pt x="1010" y="689"/>
                    </a:lnTo>
                    <a:lnTo>
                      <a:pt x="1012" y="689"/>
                    </a:lnTo>
                    <a:lnTo>
                      <a:pt x="1012" y="689"/>
                    </a:lnTo>
                    <a:lnTo>
                      <a:pt x="1012" y="686"/>
                    </a:lnTo>
                    <a:lnTo>
                      <a:pt x="1010" y="686"/>
                    </a:lnTo>
                    <a:lnTo>
                      <a:pt x="1012" y="686"/>
                    </a:lnTo>
                    <a:lnTo>
                      <a:pt x="1010" y="689"/>
                    </a:lnTo>
                    <a:lnTo>
                      <a:pt x="1005" y="689"/>
                    </a:lnTo>
                    <a:lnTo>
                      <a:pt x="1000" y="691"/>
                    </a:lnTo>
                    <a:lnTo>
                      <a:pt x="986" y="701"/>
                    </a:lnTo>
                    <a:lnTo>
                      <a:pt x="986" y="701"/>
                    </a:lnTo>
                    <a:lnTo>
                      <a:pt x="984" y="701"/>
                    </a:lnTo>
                    <a:lnTo>
                      <a:pt x="986" y="701"/>
                    </a:lnTo>
                    <a:lnTo>
                      <a:pt x="988" y="701"/>
                    </a:lnTo>
                    <a:lnTo>
                      <a:pt x="988" y="701"/>
                    </a:lnTo>
                    <a:lnTo>
                      <a:pt x="986" y="701"/>
                    </a:lnTo>
                    <a:lnTo>
                      <a:pt x="984" y="703"/>
                    </a:lnTo>
                    <a:lnTo>
                      <a:pt x="984" y="703"/>
                    </a:lnTo>
                    <a:lnTo>
                      <a:pt x="981" y="703"/>
                    </a:lnTo>
                    <a:lnTo>
                      <a:pt x="979" y="703"/>
                    </a:lnTo>
                    <a:lnTo>
                      <a:pt x="976" y="705"/>
                    </a:lnTo>
                    <a:lnTo>
                      <a:pt x="976" y="705"/>
                    </a:lnTo>
                    <a:lnTo>
                      <a:pt x="974" y="708"/>
                    </a:lnTo>
                    <a:lnTo>
                      <a:pt x="979" y="703"/>
                    </a:lnTo>
                    <a:lnTo>
                      <a:pt x="981" y="703"/>
                    </a:lnTo>
                    <a:lnTo>
                      <a:pt x="976" y="708"/>
                    </a:lnTo>
                    <a:lnTo>
                      <a:pt x="972" y="712"/>
                    </a:lnTo>
                    <a:lnTo>
                      <a:pt x="972" y="715"/>
                    </a:lnTo>
                    <a:lnTo>
                      <a:pt x="972" y="720"/>
                    </a:lnTo>
                    <a:lnTo>
                      <a:pt x="972" y="720"/>
                    </a:lnTo>
                    <a:lnTo>
                      <a:pt x="972" y="720"/>
                    </a:lnTo>
                    <a:lnTo>
                      <a:pt x="974" y="720"/>
                    </a:lnTo>
                    <a:lnTo>
                      <a:pt x="974" y="720"/>
                    </a:lnTo>
                    <a:lnTo>
                      <a:pt x="974" y="722"/>
                    </a:lnTo>
                    <a:lnTo>
                      <a:pt x="976" y="724"/>
                    </a:lnTo>
                    <a:lnTo>
                      <a:pt x="976" y="724"/>
                    </a:lnTo>
                    <a:lnTo>
                      <a:pt x="979" y="724"/>
                    </a:lnTo>
                    <a:lnTo>
                      <a:pt x="979" y="724"/>
                    </a:lnTo>
                    <a:lnTo>
                      <a:pt x="979" y="724"/>
                    </a:lnTo>
                    <a:lnTo>
                      <a:pt x="981" y="724"/>
                    </a:lnTo>
                    <a:lnTo>
                      <a:pt x="981" y="724"/>
                    </a:lnTo>
                    <a:lnTo>
                      <a:pt x="981" y="724"/>
                    </a:lnTo>
                    <a:lnTo>
                      <a:pt x="984" y="722"/>
                    </a:lnTo>
                    <a:lnTo>
                      <a:pt x="986" y="722"/>
                    </a:lnTo>
                    <a:lnTo>
                      <a:pt x="986" y="722"/>
                    </a:lnTo>
                    <a:lnTo>
                      <a:pt x="988" y="722"/>
                    </a:lnTo>
                    <a:lnTo>
                      <a:pt x="993" y="717"/>
                    </a:lnTo>
                    <a:lnTo>
                      <a:pt x="993" y="717"/>
                    </a:lnTo>
                    <a:lnTo>
                      <a:pt x="995" y="715"/>
                    </a:lnTo>
                    <a:lnTo>
                      <a:pt x="1000" y="712"/>
                    </a:lnTo>
                    <a:lnTo>
                      <a:pt x="1002" y="712"/>
                    </a:lnTo>
                    <a:lnTo>
                      <a:pt x="1005" y="710"/>
                    </a:lnTo>
                    <a:lnTo>
                      <a:pt x="1005" y="710"/>
                    </a:lnTo>
                    <a:lnTo>
                      <a:pt x="1005" y="708"/>
                    </a:lnTo>
                    <a:lnTo>
                      <a:pt x="1005" y="708"/>
                    </a:lnTo>
                    <a:lnTo>
                      <a:pt x="1005" y="705"/>
                    </a:lnTo>
                    <a:lnTo>
                      <a:pt x="1007" y="705"/>
                    </a:lnTo>
                    <a:lnTo>
                      <a:pt x="1010" y="703"/>
                    </a:lnTo>
                    <a:lnTo>
                      <a:pt x="1010" y="705"/>
                    </a:lnTo>
                    <a:lnTo>
                      <a:pt x="1012" y="705"/>
                    </a:lnTo>
                    <a:lnTo>
                      <a:pt x="1012" y="703"/>
                    </a:lnTo>
                    <a:lnTo>
                      <a:pt x="1012" y="703"/>
                    </a:lnTo>
                    <a:lnTo>
                      <a:pt x="1014" y="703"/>
                    </a:lnTo>
                    <a:lnTo>
                      <a:pt x="1014" y="705"/>
                    </a:lnTo>
                    <a:lnTo>
                      <a:pt x="1014" y="705"/>
                    </a:lnTo>
                    <a:lnTo>
                      <a:pt x="1017" y="705"/>
                    </a:lnTo>
                    <a:lnTo>
                      <a:pt x="1019" y="705"/>
                    </a:lnTo>
                    <a:lnTo>
                      <a:pt x="1019" y="705"/>
                    </a:lnTo>
                    <a:lnTo>
                      <a:pt x="1019" y="705"/>
                    </a:lnTo>
                    <a:lnTo>
                      <a:pt x="1019" y="703"/>
                    </a:lnTo>
                    <a:lnTo>
                      <a:pt x="1019" y="701"/>
                    </a:lnTo>
                    <a:lnTo>
                      <a:pt x="1021" y="703"/>
                    </a:lnTo>
                    <a:lnTo>
                      <a:pt x="1021" y="703"/>
                    </a:lnTo>
                    <a:lnTo>
                      <a:pt x="1024" y="703"/>
                    </a:lnTo>
                    <a:lnTo>
                      <a:pt x="1024" y="703"/>
                    </a:lnTo>
                    <a:lnTo>
                      <a:pt x="1029" y="701"/>
                    </a:lnTo>
                    <a:lnTo>
                      <a:pt x="1029" y="701"/>
                    </a:lnTo>
                    <a:lnTo>
                      <a:pt x="1029" y="701"/>
                    </a:lnTo>
                    <a:lnTo>
                      <a:pt x="1036" y="698"/>
                    </a:lnTo>
                    <a:lnTo>
                      <a:pt x="1038" y="698"/>
                    </a:lnTo>
                    <a:lnTo>
                      <a:pt x="1045" y="696"/>
                    </a:lnTo>
                    <a:lnTo>
                      <a:pt x="1047" y="696"/>
                    </a:lnTo>
                    <a:lnTo>
                      <a:pt x="1052" y="691"/>
                    </a:lnTo>
                    <a:lnTo>
                      <a:pt x="1055" y="691"/>
                    </a:lnTo>
                    <a:lnTo>
                      <a:pt x="1055" y="691"/>
                    </a:lnTo>
                    <a:lnTo>
                      <a:pt x="1057" y="691"/>
                    </a:lnTo>
                    <a:lnTo>
                      <a:pt x="1059" y="691"/>
                    </a:lnTo>
                    <a:lnTo>
                      <a:pt x="1062" y="689"/>
                    </a:lnTo>
                    <a:lnTo>
                      <a:pt x="1062" y="689"/>
                    </a:lnTo>
                    <a:lnTo>
                      <a:pt x="1064" y="689"/>
                    </a:lnTo>
                    <a:lnTo>
                      <a:pt x="1066" y="689"/>
                    </a:lnTo>
                    <a:lnTo>
                      <a:pt x="1066" y="689"/>
                    </a:lnTo>
                    <a:lnTo>
                      <a:pt x="1066" y="686"/>
                    </a:lnTo>
                    <a:lnTo>
                      <a:pt x="1066" y="686"/>
                    </a:lnTo>
                    <a:lnTo>
                      <a:pt x="1066" y="686"/>
                    </a:lnTo>
                    <a:lnTo>
                      <a:pt x="1062" y="686"/>
                    </a:lnTo>
                    <a:lnTo>
                      <a:pt x="1062" y="684"/>
                    </a:lnTo>
                    <a:lnTo>
                      <a:pt x="1064" y="684"/>
                    </a:lnTo>
                    <a:lnTo>
                      <a:pt x="1064" y="684"/>
                    </a:lnTo>
                    <a:lnTo>
                      <a:pt x="1064" y="682"/>
                    </a:lnTo>
                    <a:lnTo>
                      <a:pt x="1064" y="679"/>
                    </a:lnTo>
                    <a:lnTo>
                      <a:pt x="1062" y="679"/>
                    </a:lnTo>
                    <a:lnTo>
                      <a:pt x="1059" y="679"/>
                    </a:lnTo>
                    <a:lnTo>
                      <a:pt x="1057" y="679"/>
                    </a:lnTo>
                    <a:lnTo>
                      <a:pt x="1057" y="679"/>
                    </a:lnTo>
                    <a:lnTo>
                      <a:pt x="1057" y="677"/>
                    </a:lnTo>
                    <a:lnTo>
                      <a:pt x="1057" y="677"/>
                    </a:lnTo>
                    <a:lnTo>
                      <a:pt x="1057" y="675"/>
                    </a:lnTo>
                    <a:lnTo>
                      <a:pt x="1050" y="679"/>
                    </a:lnTo>
                    <a:lnTo>
                      <a:pt x="1047" y="679"/>
                    </a:lnTo>
                    <a:lnTo>
                      <a:pt x="1045" y="679"/>
                    </a:lnTo>
                    <a:lnTo>
                      <a:pt x="1045" y="682"/>
                    </a:lnTo>
                    <a:lnTo>
                      <a:pt x="1045" y="679"/>
                    </a:lnTo>
                    <a:lnTo>
                      <a:pt x="1040" y="679"/>
                    </a:lnTo>
                    <a:lnTo>
                      <a:pt x="1043" y="679"/>
                    </a:lnTo>
                    <a:lnTo>
                      <a:pt x="1043" y="677"/>
                    </a:lnTo>
                    <a:lnTo>
                      <a:pt x="1040" y="677"/>
                    </a:lnTo>
                    <a:lnTo>
                      <a:pt x="1036" y="677"/>
                    </a:lnTo>
                    <a:lnTo>
                      <a:pt x="1033" y="677"/>
                    </a:lnTo>
                    <a:lnTo>
                      <a:pt x="1033" y="677"/>
                    </a:lnTo>
                    <a:lnTo>
                      <a:pt x="1033" y="677"/>
                    </a:lnTo>
                    <a:lnTo>
                      <a:pt x="1033" y="677"/>
                    </a:lnTo>
                    <a:lnTo>
                      <a:pt x="1031" y="675"/>
                    </a:lnTo>
                    <a:lnTo>
                      <a:pt x="1029" y="675"/>
                    </a:lnTo>
                    <a:lnTo>
                      <a:pt x="1026" y="675"/>
                    </a:lnTo>
                    <a:lnTo>
                      <a:pt x="1024" y="675"/>
                    </a:lnTo>
                    <a:lnTo>
                      <a:pt x="1021" y="672"/>
                    </a:lnTo>
                    <a:lnTo>
                      <a:pt x="1026" y="670"/>
                    </a:lnTo>
                    <a:lnTo>
                      <a:pt x="1026" y="670"/>
                    </a:lnTo>
                    <a:lnTo>
                      <a:pt x="1026" y="670"/>
                    </a:lnTo>
                    <a:lnTo>
                      <a:pt x="1021" y="670"/>
                    </a:lnTo>
                    <a:lnTo>
                      <a:pt x="1021" y="667"/>
                    </a:lnTo>
                    <a:lnTo>
                      <a:pt x="1017" y="667"/>
                    </a:lnTo>
                    <a:lnTo>
                      <a:pt x="1017" y="667"/>
                    </a:lnTo>
                    <a:lnTo>
                      <a:pt x="1014" y="665"/>
                    </a:lnTo>
                    <a:lnTo>
                      <a:pt x="1017" y="665"/>
                    </a:lnTo>
                    <a:lnTo>
                      <a:pt x="1014" y="663"/>
                    </a:lnTo>
                    <a:lnTo>
                      <a:pt x="1017" y="658"/>
                    </a:lnTo>
                    <a:lnTo>
                      <a:pt x="1014" y="658"/>
                    </a:lnTo>
                    <a:lnTo>
                      <a:pt x="1014" y="656"/>
                    </a:lnTo>
                    <a:lnTo>
                      <a:pt x="1014" y="653"/>
                    </a:lnTo>
                    <a:lnTo>
                      <a:pt x="1017" y="653"/>
                    </a:lnTo>
                    <a:lnTo>
                      <a:pt x="1017" y="651"/>
                    </a:lnTo>
                    <a:lnTo>
                      <a:pt x="1017" y="651"/>
                    </a:lnTo>
                    <a:lnTo>
                      <a:pt x="1014" y="651"/>
                    </a:lnTo>
                    <a:lnTo>
                      <a:pt x="1012" y="651"/>
                    </a:lnTo>
                    <a:lnTo>
                      <a:pt x="1010" y="651"/>
                    </a:lnTo>
                    <a:lnTo>
                      <a:pt x="1010" y="651"/>
                    </a:lnTo>
                    <a:lnTo>
                      <a:pt x="1014" y="646"/>
                    </a:lnTo>
                    <a:lnTo>
                      <a:pt x="1019" y="644"/>
                    </a:lnTo>
                    <a:lnTo>
                      <a:pt x="1021" y="641"/>
                    </a:lnTo>
                    <a:lnTo>
                      <a:pt x="1024" y="639"/>
                    </a:lnTo>
                    <a:lnTo>
                      <a:pt x="1024" y="637"/>
                    </a:lnTo>
                    <a:lnTo>
                      <a:pt x="1021" y="637"/>
                    </a:lnTo>
                    <a:lnTo>
                      <a:pt x="1019" y="637"/>
                    </a:lnTo>
                    <a:lnTo>
                      <a:pt x="1021" y="634"/>
                    </a:lnTo>
                    <a:lnTo>
                      <a:pt x="1017" y="634"/>
                    </a:lnTo>
                    <a:lnTo>
                      <a:pt x="1014" y="637"/>
                    </a:lnTo>
                    <a:lnTo>
                      <a:pt x="1012" y="637"/>
                    </a:lnTo>
                    <a:lnTo>
                      <a:pt x="1010" y="639"/>
                    </a:lnTo>
                    <a:lnTo>
                      <a:pt x="1010" y="637"/>
                    </a:lnTo>
                    <a:lnTo>
                      <a:pt x="1010" y="634"/>
                    </a:lnTo>
                    <a:lnTo>
                      <a:pt x="1007" y="634"/>
                    </a:lnTo>
                    <a:lnTo>
                      <a:pt x="1002" y="632"/>
                    </a:lnTo>
                    <a:lnTo>
                      <a:pt x="1000" y="630"/>
                    </a:lnTo>
                    <a:lnTo>
                      <a:pt x="1000" y="630"/>
                    </a:lnTo>
                    <a:lnTo>
                      <a:pt x="995" y="632"/>
                    </a:lnTo>
                    <a:lnTo>
                      <a:pt x="995" y="632"/>
                    </a:lnTo>
                    <a:lnTo>
                      <a:pt x="1000" y="630"/>
                    </a:lnTo>
                    <a:lnTo>
                      <a:pt x="1000" y="630"/>
                    </a:lnTo>
                    <a:lnTo>
                      <a:pt x="1002" y="630"/>
                    </a:lnTo>
                    <a:lnTo>
                      <a:pt x="1005" y="630"/>
                    </a:lnTo>
                    <a:lnTo>
                      <a:pt x="1007" y="627"/>
                    </a:lnTo>
                    <a:lnTo>
                      <a:pt x="1010" y="627"/>
                    </a:lnTo>
                    <a:lnTo>
                      <a:pt x="1010" y="630"/>
                    </a:lnTo>
                    <a:lnTo>
                      <a:pt x="1014" y="630"/>
                    </a:lnTo>
                    <a:lnTo>
                      <a:pt x="1017" y="632"/>
                    </a:lnTo>
                    <a:lnTo>
                      <a:pt x="1019" y="632"/>
                    </a:lnTo>
                    <a:lnTo>
                      <a:pt x="1021" y="630"/>
                    </a:lnTo>
                    <a:lnTo>
                      <a:pt x="1024" y="627"/>
                    </a:lnTo>
                    <a:lnTo>
                      <a:pt x="1026" y="627"/>
                    </a:lnTo>
                    <a:lnTo>
                      <a:pt x="1029" y="627"/>
                    </a:lnTo>
                    <a:lnTo>
                      <a:pt x="1029" y="625"/>
                    </a:lnTo>
                    <a:lnTo>
                      <a:pt x="1031" y="625"/>
                    </a:lnTo>
                    <a:lnTo>
                      <a:pt x="1036" y="622"/>
                    </a:lnTo>
                    <a:lnTo>
                      <a:pt x="1038" y="620"/>
                    </a:lnTo>
                    <a:lnTo>
                      <a:pt x="1040" y="618"/>
                    </a:lnTo>
                    <a:lnTo>
                      <a:pt x="1038" y="615"/>
                    </a:lnTo>
                    <a:lnTo>
                      <a:pt x="1038" y="613"/>
                    </a:lnTo>
                    <a:lnTo>
                      <a:pt x="1040" y="613"/>
                    </a:lnTo>
                    <a:lnTo>
                      <a:pt x="1043" y="615"/>
                    </a:lnTo>
                    <a:lnTo>
                      <a:pt x="1043" y="613"/>
                    </a:lnTo>
                    <a:lnTo>
                      <a:pt x="1043" y="613"/>
                    </a:lnTo>
                    <a:lnTo>
                      <a:pt x="1038" y="608"/>
                    </a:lnTo>
                    <a:lnTo>
                      <a:pt x="1036" y="606"/>
                    </a:lnTo>
                    <a:lnTo>
                      <a:pt x="1026" y="606"/>
                    </a:lnTo>
                    <a:lnTo>
                      <a:pt x="1024" y="606"/>
                    </a:lnTo>
                    <a:lnTo>
                      <a:pt x="1017" y="606"/>
                    </a:lnTo>
                    <a:lnTo>
                      <a:pt x="1012" y="606"/>
                    </a:lnTo>
                    <a:lnTo>
                      <a:pt x="1005" y="608"/>
                    </a:lnTo>
                    <a:lnTo>
                      <a:pt x="995" y="611"/>
                    </a:lnTo>
                    <a:lnTo>
                      <a:pt x="988" y="613"/>
                    </a:lnTo>
                    <a:lnTo>
                      <a:pt x="981" y="615"/>
                    </a:lnTo>
                    <a:lnTo>
                      <a:pt x="974" y="618"/>
                    </a:lnTo>
                    <a:lnTo>
                      <a:pt x="969" y="620"/>
                    </a:lnTo>
                    <a:lnTo>
                      <a:pt x="967" y="622"/>
                    </a:lnTo>
                    <a:lnTo>
                      <a:pt x="965" y="622"/>
                    </a:lnTo>
                    <a:lnTo>
                      <a:pt x="962" y="625"/>
                    </a:lnTo>
                    <a:lnTo>
                      <a:pt x="960" y="625"/>
                    </a:lnTo>
                    <a:lnTo>
                      <a:pt x="953" y="630"/>
                    </a:lnTo>
                    <a:lnTo>
                      <a:pt x="948" y="632"/>
                    </a:lnTo>
                    <a:lnTo>
                      <a:pt x="946" y="634"/>
                    </a:lnTo>
                    <a:lnTo>
                      <a:pt x="941" y="639"/>
                    </a:lnTo>
                    <a:lnTo>
                      <a:pt x="936" y="641"/>
                    </a:lnTo>
                    <a:lnTo>
                      <a:pt x="934" y="644"/>
                    </a:lnTo>
                    <a:lnTo>
                      <a:pt x="932" y="646"/>
                    </a:lnTo>
                    <a:lnTo>
                      <a:pt x="927" y="649"/>
                    </a:lnTo>
                    <a:lnTo>
                      <a:pt x="922" y="651"/>
                    </a:lnTo>
                    <a:lnTo>
                      <a:pt x="915" y="656"/>
                    </a:lnTo>
                    <a:lnTo>
                      <a:pt x="910" y="656"/>
                    </a:lnTo>
                    <a:lnTo>
                      <a:pt x="908" y="658"/>
                    </a:lnTo>
                    <a:lnTo>
                      <a:pt x="906" y="658"/>
                    </a:lnTo>
                    <a:lnTo>
                      <a:pt x="901" y="660"/>
                    </a:lnTo>
                    <a:lnTo>
                      <a:pt x="896" y="660"/>
                    </a:lnTo>
                    <a:lnTo>
                      <a:pt x="894" y="660"/>
                    </a:lnTo>
                    <a:lnTo>
                      <a:pt x="891" y="663"/>
                    </a:lnTo>
                    <a:lnTo>
                      <a:pt x="889" y="663"/>
                    </a:lnTo>
                    <a:lnTo>
                      <a:pt x="887" y="665"/>
                    </a:lnTo>
                    <a:lnTo>
                      <a:pt x="884" y="665"/>
                    </a:lnTo>
                    <a:lnTo>
                      <a:pt x="879" y="670"/>
                    </a:lnTo>
                    <a:lnTo>
                      <a:pt x="875" y="670"/>
                    </a:lnTo>
                    <a:lnTo>
                      <a:pt x="870" y="672"/>
                    </a:lnTo>
                    <a:lnTo>
                      <a:pt x="868" y="675"/>
                    </a:lnTo>
                    <a:lnTo>
                      <a:pt x="865" y="677"/>
                    </a:lnTo>
                    <a:lnTo>
                      <a:pt x="863" y="679"/>
                    </a:lnTo>
                    <a:lnTo>
                      <a:pt x="863" y="682"/>
                    </a:lnTo>
                    <a:lnTo>
                      <a:pt x="861" y="684"/>
                    </a:lnTo>
                    <a:lnTo>
                      <a:pt x="858" y="684"/>
                    </a:lnTo>
                    <a:lnTo>
                      <a:pt x="856" y="684"/>
                    </a:lnTo>
                    <a:lnTo>
                      <a:pt x="849" y="689"/>
                    </a:lnTo>
                    <a:lnTo>
                      <a:pt x="846" y="689"/>
                    </a:lnTo>
                    <a:lnTo>
                      <a:pt x="839" y="694"/>
                    </a:lnTo>
                    <a:lnTo>
                      <a:pt x="837" y="694"/>
                    </a:lnTo>
                    <a:lnTo>
                      <a:pt x="837" y="694"/>
                    </a:lnTo>
                    <a:lnTo>
                      <a:pt x="842" y="694"/>
                    </a:lnTo>
                    <a:close/>
                    <a:moveTo>
                      <a:pt x="1069" y="644"/>
                    </a:moveTo>
                    <a:lnTo>
                      <a:pt x="1071" y="644"/>
                    </a:lnTo>
                    <a:lnTo>
                      <a:pt x="1073" y="641"/>
                    </a:lnTo>
                    <a:lnTo>
                      <a:pt x="1076" y="641"/>
                    </a:lnTo>
                    <a:lnTo>
                      <a:pt x="1076" y="641"/>
                    </a:lnTo>
                    <a:lnTo>
                      <a:pt x="1078" y="639"/>
                    </a:lnTo>
                    <a:lnTo>
                      <a:pt x="1078" y="639"/>
                    </a:lnTo>
                    <a:lnTo>
                      <a:pt x="1076" y="639"/>
                    </a:lnTo>
                    <a:lnTo>
                      <a:pt x="1073" y="639"/>
                    </a:lnTo>
                    <a:lnTo>
                      <a:pt x="1071" y="641"/>
                    </a:lnTo>
                    <a:lnTo>
                      <a:pt x="1069" y="644"/>
                    </a:lnTo>
                    <a:lnTo>
                      <a:pt x="1066" y="646"/>
                    </a:lnTo>
                    <a:lnTo>
                      <a:pt x="1066" y="649"/>
                    </a:lnTo>
                    <a:lnTo>
                      <a:pt x="1069" y="649"/>
                    </a:lnTo>
                    <a:lnTo>
                      <a:pt x="1069" y="646"/>
                    </a:lnTo>
                    <a:lnTo>
                      <a:pt x="1069" y="646"/>
                    </a:lnTo>
                    <a:lnTo>
                      <a:pt x="1069" y="646"/>
                    </a:lnTo>
                    <a:lnTo>
                      <a:pt x="1066" y="646"/>
                    </a:lnTo>
                    <a:lnTo>
                      <a:pt x="1069" y="644"/>
                    </a:lnTo>
                    <a:lnTo>
                      <a:pt x="1069" y="644"/>
                    </a:lnTo>
                    <a:close/>
                    <a:moveTo>
                      <a:pt x="68" y="490"/>
                    </a:moveTo>
                    <a:lnTo>
                      <a:pt x="70" y="488"/>
                    </a:lnTo>
                    <a:lnTo>
                      <a:pt x="66" y="490"/>
                    </a:lnTo>
                    <a:lnTo>
                      <a:pt x="61" y="492"/>
                    </a:lnTo>
                    <a:lnTo>
                      <a:pt x="59" y="495"/>
                    </a:lnTo>
                    <a:lnTo>
                      <a:pt x="59" y="495"/>
                    </a:lnTo>
                    <a:lnTo>
                      <a:pt x="63" y="492"/>
                    </a:lnTo>
                    <a:lnTo>
                      <a:pt x="68" y="490"/>
                    </a:lnTo>
                    <a:close/>
                    <a:moveTo>
                      <a:pt x="617" y="260"/>
                    </a:moveTo>
                    <a:lnTo>
                      <a:pt x="619" y="260"/>
                    </a:lnTo>
                    <a:lnTo>
                      <a:pt x="622" y="258"/>
                    </a:lnTo>
                    <a:lnTo>
                      <a:pt x="619" y="258"/>
                    </a:lnTo>
                    <a:lnTo>
                      <a:pt x="617" y="258"/>
                    </a:lnTo>
                    <a:lnTo>
                      <a:pt x="617" y="260"/>
                    </a:lnTo>
                    <a:lnTo>
                      <a:pt x="617" y="260"/>
                    </a:lnTo>
                    <a:lnTo>
                      <a:pt x="617" y="263"/>
                    </a:lnTo>
                    <a:lnTo>
                      <a:pt x="617" y="260"/>
                    </a:lnTo>
                    <a:close/>
                    <a:moveTo>
                      <a:pt x="974" y="708"/>
                    </a:moveTo>
                    <a:lnTo>
                      <a:pt x="974" y="708"/>
                    </a:lnTo>
                    <a:lnTo>
                      <a:pt x="972" y="710"/>
                    </a:lnTo>
                    <a:lnTo>
                      <a:pt x="972" y="710"/>
                    </a:lnTo>
                    <a:lnTo>
                      <a:pt x="972" y="710"/>
                    </a:lnTo>
                    <a:lnTo>
                      <a:pt x="974" y="708"/>
                    </a:lnTo>
                    <a:close/>
                    <a:moveTo>
                      <a:pt x="861" y="679"/>
                    </a:moveTo>
                    <a:lnTo>
                      <a:pt x="858" y="679"/>
                    </a:lnTo>
                    <a:lnTo>
                      <a:pt x="856" y="682"/>
                    </a:lnTo>
                    <a:lnTo>
                      <a:pt x="856" y="682"/>
                    </a:lnTo>
                    <a:lnTo>
                      <a:pt x="858" y="682"/>
                    </a:lnTo>
                    <a:lnTo>
                      <a:pt x="861" y="679"/>
                    </a:lnTo>
                    <a:close/>
                    <a:moveTo>
                      <a:pt x="1092" y="670"/>
                    </a:moveTo>
                    <a:lnTo>
                      <a:pt x="1090" y="667"/>
                    </a:lnTo>
                    <a:lnTo>
                      <a:pt x="1088" y="670"/>
                    </a:lnTo>
                    <a:lnTo>
                      <a:pt x="1088" y="667"/>
                    </a:lnTo>
                    <a:lnTo>
                      <a:pt x="1088" y="667"/>
                    </a:lnTo>
                    <a:lnTo>
                      <a:pt x="1085" y="667"/>
                    </a:lnTo>
                    <a:lnTo>
                      <a:pt x="1085" y="667"/>
                    </a:lnTo>
                    <a:lnTo>
                      <a:pt x="1083" y="667"/>
                    </a:lnTo>
                    <a:lnTo>
                      <a:pt x="1081" y="670"/>
                    </a:lnTo>
                    <a:lnTo>
                      <a:pt x="1081" y="672"/>
                    </a:lnTo>
                    <a:lnTo>
                      <a:pt x="1076" y="675"/>
                    </a:lnTo>
                    <a:lnTo>
                      <a:pt x="1078" y="675"/>
                    </a:lnTo>
                    <a:lnTo>
                      <a:pt x="1081" y="672"/>
                    </a:lnTo>
                    <a:lnTo>
                      <a:pt x="1081" y="675"/>
                    </a:lnTo>
                    <a:lnTo>
                      <a:pt x="1076" y="677"/>
                    </a:lnTo>
                    <a:lnTo>
                      <a:pt x="1076" y="677"/>
                    </a:lnTo>
                    <a:lnTo>
                      <a:pt x="1073" y="677"/>
                    </a:lnTo>
                    <a:lnTo>
                      <a:pt x="1073" y="677"/>
                    </a:lnTo>
                    <a:lnTo>
                      <a:pt x="1071" y="677"/>
                    </a:lnTo>
                    <a:lnTo>
                      <a:pt x="1069" y="679"/>
                    </a:lnTo>
                    <a:lnTo>
                      <a:pt x="1069" y="677"/>
                    </a:lnTo>
                    <a:lnTo>
                      <a:pt x="1071" y="677"/>
                    </a:lnTo>
                    <a:lnTo>
                      <a:pt x="1071" y="677"/>
                    </a:lnTo>
                    <a:lnTo>
                      <a:pt x="1073" y="675"/>
                    </a:lnTo>
                    <a:lnTo>
                      <a:pt x="1071" y="675"/>
                    </a:lnTo>
                    <a:lnTo>
                      <a:pt x="1073" y="675"/>
                    </a:lnTo>
                    <a:lnTo>
                      <a:pt x="1076" y="675"/>
                    </a:lnTo>
                    <a:lnTo>
                      <a:pt x="1076" y="672"/>
                    </a:lnTo>
                    <a:lnTo>
                      <a:pt x="1073" y="672"/>
                    </a:lnTo>
                    <a:lnTo>
                      <a:pt x="1071" y="675"/>
                    </a:lnTo>
                    <a:lnTo>
                      <a:pt x="1071" y="675"/>
                    </a:lnTo>
                    <a:lnTo>
                      <a:pt x="1073" y="672"/>
                    </a:lnTo>
                    <a:lnTo>
                      <a:pt x="1076" y="672"/>
                    </a:lnTo>
                    <a:lnTo>
                      <a:pt x="1078" y="670"/>
                    </a:lnTo>
                    <a:lnTo>
                      <a:pt x="1081" y="670"/>
                    </a:lnTo>
                    <a:lnTo>
                      <a:pt x="1083" y="667"/>
                    </a:lnTo>
                    <a:lnTo>
                      <a:pt x="1083" y="667"/>
                    </a:lnTo>
                    <a:lnTo>
                      <a:pt x="1083" y="667"/>
                    </a:lnTo>
                    <a:lnTo>
                      <a:pt x="1085" y="665"/>
                    </a:lnTo>
                    <a:lnTo>
                      <a:pt x="1088" y="660"/>
                    </a:lnTo>
                    <a:lnTo>
                      <a:pt x="1090" y="658"/>
                    </a:lnTo>
                    <a:lnTo>
                      <a:pt x="1090" y="658"/>
                    </a:lnTo>
                    <a:lnTo>
                      <a:pt x="1090" y="653"/>
                    </a:lnTo>
                    <a:lnTo>
                      <a:pt x="1090" y="653"/>
                    </a:lnTo>
                    <a:lnTo>
                      <a:pt x="1090" y="651"/>
                    </a:lnTo>
                    <a:lnTo>
                      <a:pt x="1088" y="651"/>
                    </a:lnTo>
                    <a:lnTo>
                      <a:pt x="1088" y="653"/>
                    </a:lnTo>
                    <a:lnTo>
                      <a:pt x="1085" y="653"/>
                    </a:lnTo>
                    <a:lnTo>
                      <a:pt x="1083" y="656"/>
                    </a:lnTo>
                    <a:lnTo>
                      <a:pt x="1081" y="656"/>
                    </a:lnTo>
                    <a:lnTo>
                      <a:pt x="1078" y="658"/>
                    </a:lnTo>
                    <a:lnTo>
                      <a:pt x="1078" y="660"/>
                    </a:lnTo>
                    <a:lnTo>
                      <a:pt x="1071" y="667"/>
                    </a:lnTo>
                    <a:lnTo>
                      <a:pt x="1069" y="667"/>
                    </a:lnTo>
                    <a:lnTo>
                      <a:pt x="1066" y="670"/>
                    </a:lnTo>
                    <a:lnTo>
                      <a:pt x="1066" y="672"/>
                    </a:lnTo>
                    <a:lnTo>
                      <a:pt x="1064" y="675"/>
                    </a:lnTo>
                    <a:lnTo>
                      <a:pt x="1064" y="679"/>
                    </a:lnTo>
                    <a:lnTo>
                      <a:pt x="1064" y="679"/>
                    </a:lnTo>
                    <a:lnTo>
                      <a:pt x="1064" y="682"/>
                    </a:lnTo>
                    <a:lnTo>
                      <a:pt x="1064" y="682"/>
                    </a:lnTo>
                    <a:lnTo>
                      <a:pt x="1066" y="682"/>
                    </a:lnTo>
                    <a:lnTo>
                      <a:pt x="1066" y="682"/>
                    </a:lnTo>
                    <a:lnTo>
                      <a:pt x="1069" y="682"/>
                    </a:lnTo>
                    <a:lnTo>
                      <a:pt x="1071" y="682"/>
                    </a:lnTo>
                    <a:lnTo>
                      <a:pt x="1071" y="682"/>
                    </a:lnTo>
                    <a:lnTo>
                      <a:pt x="1073" y="682"/>
                    </a:lnTo>
                    <a:lnTo>
                      <a:pt x="1076" y="682"/>
                    </a:lnTo>
                    <a:lnTo>
                      <a:pt x="1081" y="679"/>
                    </a:lnTo>
                    <a:lnTo>
                      <a:pt x="1085" y="677"/>
                    </a:lnTo>
                    <a:lnTo>
                      <a:pt x="1085" y="677"/>
                    </a:lnTo>
                    <a:lnTo>
                      <a:pt x="1088" y="675"/>
                    </a:lnTo>
                    <a:lnTo>
                      <a:pt x="1092" y="675"/>
                    </a:lnTo>
                    <a:lnTo>
                      <a:pt x="1092" y="675"/>
                    </a:lnTo>
                    <a:lnTo>
                      <a:pt x="1090" y="672"/>
                    </a:lnTo>
                    <a:lnTo>
                      <a:pt x="1092" y="672"/>
                    </a:lnTo>
                    <a:lnTo>
                      <a:pt x="1092" y="670"/>
                    </a:lnTo>
                    <a:lnTo>
                      <a:pt x="1092" y="670"/>
                    </a:lnTo>
                    <a:lnTo>
                      <a:pt x="1092" y="670"/>
                    </a:lnTo>
                    <a:lnTo>
                      <a:pt x="1092" y="670"/>
                    </a:lnTo>
                    <a:close/>
                    <a:moveTo>
                      <a:pt x="1076" y="717"/>
                    </a:moveTo>
                    <a:lnTo>
                      <a:pt x="1073" y="717"/>
                    </a:lnTo>
                    <a:lnTo>
                      <a:pt x="1073" y="717"/>
                    </a:lnTo>
                    <a:lnTo>
                      <a:pt x="1073" y="717"/>
                    </a:lnTo>
                    <a:lnTo>
                      <a:pt x="1076" y="717"/>
                    </a:lnTo>
                    <a:lnTo>
                      <a:pt x="1078" y="717"/>
                    </a:lnTo>
                    <a:lnTo>
                      <a:pt x="1081" y="715"/>
                    </a:lnTo>
                    <a:lnTo>
                      <a:pt x="1078" y="717"/>
                    </a:lnTo>
                    <a:lnTo>
                      <a:pt x="1076" y="717"/>
                    </a:lnTo>
                    <a:close/>
                    <a:moveTo>
                      <a:pt x="75" y="608"/>
                    </a:moveTo>
                    <a:lnTo>
                      <a:pt x="75" y="611"/>
                    </a:lnTo>
                    <a:lnTo>
                      <a:pt x="75" y="613"/>
                    </a:lnTo>
                    <a:lnTo>
                      <a:pt x="75" y="613"/>
                    </a:lnTo>
                    <a:lnTo>
                      <a:pt x="78" y="613"/>
                    </a:lnTo>
                    <a:lnTo>
                      <a:pt x="78" y="613"/>
                    </a:lnTo>
                    <a:lnTo>
                      <a:pt x="75" y="611"/>
                    </a:lnTo>
                    <a:lnTo>
                      <a:pt x="75" y="608"/>
                    </a:lnTo>
                    <a:close/>
                    <a:moveTo>
                      <a:pt x="1069" y="608"/>
                    </a:moveTo>
                    <a:lnTo>
                      <a:pt x="1071" y="608"/>
                    </a:lnTo>
                    <a:lnTo>
                      <a:pt x="1076" y="608"/>
                    </a:lnTo>
                    <a:lnTo>
                      <a:pt x="1083" y="608"/>
                    </a:lnTo>
                    <a:lnTo>
                      <a:pt x="1085" y="608"/>
                    </a:lnTo>
                    <a:lnTo>
                      <a:pt x="1085" y="608"/>
                    </a:lnTo>
                    <a:lnTo>
                      <a:pt x="1085" y="606"/>
                    </a:lnTo>
                    <a:lnTo>
                      <a:pt x="1085" y="606"/>
                    </a:lnTo>
                    <a:lnTo>
                      <a:pt x="1081" y="604"/>
                    </a:lnTo>
                    <a:lnTo>
                      <a:pt x="1081" y="601"/>
                    </a:lnTo>
                    <a:lnTo>
                      <a:pt x="1073" y="599"/>
                    </a:lnTo>
                    <a:lnTo>
                      <a:pt x="1071" y="596"/>
                    </a:lnTo>
                    <a:lnTo>
                      <a:pt x="1069" y="594"/>
                    </a:lnTo>
                    <a:lnTo>
                      <a:pt x="1064" y="594"/>
                    </a:lnTo>
                    <a:lnTo>
                      <a:pt x="1057" y="592"/>
                    </a:lnTo>
                    <a:lnTo>
                      <a:pt x="1052" y="592"/>
                    </a:lnTo>
                    <a:lnTo>
                      <a:pt x="1050" y="592"/>
                    </a:lnTo>
                    <a:lnTo>
                      <a:pt x="1047" y="592"/>
                    </a:lnTo>
                    <a:lnTo>
                      <a:pt x="1045" y="592"/>
                    </a:lnTo>
                    <a:lnTo>
                      <a:pt x="1047" y="594"/>
                    </a:lnTo>
                    <a:lnTo>
                      <a:pt x="1055" y="596"/>
                    </a:lnTo>
                    <a:lnTo>
                      <a:pt x="1055" y="599"/>
                    </a:lnTo>
                    <a:lnTo>
                      <a:pt x="1057" y="599"/>
                    </a:lnTo>
                    <a:lnTo>
                      <a:pt x="1057" y="601"/>
                    </a:lnTo>
                    <a:lnTo>
                      <a:pt x="1057" y="604"/>
                    </a:lnTo>
                    <a:lnTo>
                      <a:pt x="1064" y="606"/>
                    </a:lnTo>
                    <a:lnTo>
                      <a:pt x="1069" y="608"/>
                    </a:lnTo>
                    <a:close/>
                    <a:moveTo>
                      <a:pt x="967" y="701"/>
                    </a:moveTo>
                    <a:lnTo>
                      <a:pt x="965" y="703"/>
                    </a:lnTo>
                    <a:lnTo>
                      <a:pt x="967" y="701"/>
                    </a:lnTo>
                    <a:lnTo>
                      <a:pt x="967" y="701"/>
                    </a:lnTo>
                    <a:lnTo>
                      <a:pt x="967" y="698"/>
                    </a:lnTo>
                    <a:lnTo>
                      <a:pt x="967" y="698"/>
                    </a:lnTo>
                    <a:lnTo>
                      <a:pt x="967" y="701"/>
                    </a:lnTo>
                    <a:close/>
                    <a:moveTo>
                      <a:pt x="1031" y="632"/>
                    </a:moveTo>
                    <a:lnTo>
                      <a:pt x="1031" y="632"/>
                    </a:lnTo>
                    <a:lnTo>
                      <a:pt x="1031" y="632"/>
                    </a:lnTo>
                    <a:lnTo>
                      <a:pt x="1029" y="632"/>
                    </a:lnTo>
                    <a:lnTo>
                      <a:pt x="1029" y="634"/>
                    </a:lnTo>
                    <a:lnTo>
                      <a:pt x="1031" y="632"/>
                    </a:lnTo>
                    <a:lnTo>
                      <a:pt x="1031" y="632"/>
                    </a:lnTo>
                    <a:close/>
                    <a:moveTo>
                      <a:pt x="1047" y="670"/>
                    </a:moveTo>
                    <a:lnTo>
                      <a:pt x="1050" y="667"/>
                    </a:lnTo>
                    <a:lnTo>
                      <a:pt x="1052" y="667"/>
                    </a:lnTo>
                    <a:lnTo>
                      <a:pt x="1057" y="665"/>
                    </a:lnTo>
                    <a:lnTo>
                      <a:pt x="1059" y="665"/>
                    </a:lnTo>
                    <a:lnTo>
                      <a:pt x="1059" y="663"/>
                    </a:lnTo>
                    <a:lnTo>
                      <a:pt x="1059" y="663"/>
                    </a:lnTo>
                    <a:lnTo>
                      <a:pt x="1057" y="663"/>
                    </a:lnTo>
                    <a:lnTo>
                      <a:pt x="1052" y="663"/>
                    </a:lnTo>
                    <a:lnTo>
                      <a:pt x="1047" y="663"/>
                    </a:lnTo>
                    <a:lnTo>
                      <a:pt x="1047" y="663"/>
                    </a:lnTo>
                    <a:lnTo>
                      <a:pt x="1043" y="663"/>
                    </a:lnTo>
                    <a:lnTo>
                      <a:pt x="1040" y="665"/>
                    </a:lnTo>
                    <a:lnTo>
                      <a:pt x="1038" y="663"/>
                    </a:lnTo>
                    <a:lnTo>
                      <a:pt x="1038" y="663"/>
                    </a:lnTo>
                    <a:lnTo>
                      <a:pt x="1036" y="663"/>
                    </a:lnTo>
                    <a:lnTo>
                      <a:pt x="1036" y="663"/>
                    </a:lnTo>
                    <a:lnTo>
                      <a:pt x="1036" y="663"/>
                    </a:lnTo>
                    <a:lnTo>
                      <a:pt x="1033" y="660"/>
                    </a:lnTo>
                    <a:lnTo>
                      <a:pt x="1031" y="663"/>
                    </a:lnTo>
                    <a:lnTo>
                      <a:pt x="1031" y="663"/>
                    </a:lnTo>
                    <a:lnTo>
                      <a:pt x="1029" y="663"/>
                    </a:lnTo>
                    <a:lnTo>
                      <a:pt x="1029" y="663"/>
                    </a:lnTo>
                    <a:lnTo>
                      <a:pt x="1029" y="663"/>
                    </a:lnTo>
                    <a:lnTo>
                      <a:pt x="1029" y="663"/>
                    </a:lnTo>
                    <a:lnTo>
                      <a:pt x="1029" y="660"/>
                    </a:lnTo>
                    <a:lnTo>
                      <a:pt x="1029" y="660"/>
                    </a:lnTo>
                    <a:lnTo>
                      <a:pt x="1029" y="660"/>
                    </a:lnTo>
                    <a:lnTo>
                      <a:pt x="1029" y="656"/>
                    </a:lnTo>
                    <a:lnTo>
                      <a:pt x="1031" y="653"/>
                    </a:lnTo>
                    <a:lnTo>
                      <a:pt x="1031" y="653"/>
                    </a:lnTo>
                    <a:lnTo>
                      <a:pt x="1031" y="651"/>
                    </a:lnTo>
                    <a:lnTo>
                      <a:pt x="1029" y="653"/>
                    </a:lnTo>
                    <a:lnTo>
                      <a:pt x="1026" y="653"/>
                    </a:lnTo>
                    <a:lnTo>
                      <a:pt x="1024" y="656"/>
                    </a:lnTo>
                    <a:lnTo>
                      <a:pt x="1024" y="658"/>
                    </a:lnTo>
                    <a:lnTo>
                      <a:pt x="1021" y="658"/>
                    </a:lnTo>
                    <a:lnTo>
                      <a:pt x="1021" y="660"/>
                    </a:lnTo>
                    <a:lnTo>
                      <a:pt x="1024" y="660"/>
                    </a:lnTo>
                    <a:lnTo>
                      <a:pt x="1026" y="660"/>
                    </a:lnTo>
                    <a:lnTo>
                      <a:pt x="1026" y="660"/>
                    </a:lnTo>
                    <a:lnTo>
                      <a:pt x="1024" y="665"/>
                    </a:lnTo>
                    <a:lnTo>
                      <a:pt x="1026" y="665"/>
                    </a:lnTo>
                    <a:lnTo>
                      <a:pt x="1029" y="665"/>
                    </a:lnTo>
                    <a:lnTo>
                      <a:pt x="1031" y="665"/>
                    </a:lnTo>
                    <a:lnTo>
                      <a:pt x="1031" y="665"/>
                    </a:lnTo>
                    <a:lnTo>
                      <a:pt x="1031" y="665"/>
                    </a:lnTo>
                    <a:lnTo>
                      <a:pt x="1029" y="665"/>
                    </a:lnTo>
                    <a:lnTo>
                      <a:pt x="1029" y="667"/>
                    </a:lnTo>
                    <a:lnTo>
                      <a:pt x="1031" y="667"/>
                    </a:lnTo>
                    <a:lnTo>
                      <a:pt x="1031" y="667"/>
                    </a:lnTo>
                    <a:lnTo>
                      <a:pt x="1036" y="670"/>
                    </a:lnTo>
                    <a:lnTo>
                      <a:pt x="1038" y="670"/>
                    </a:lnTo>
                    <a:lnTo>
                      <a:pt x="1038" y="670"/>
                    </a:lnTo>
                    <a:lnTo>
                      <a:pt x="1036" y="667"/>
                    </a:lnTo>
                    <a:lnTo>
                      <a:pt x="1038" y="667"/>
                    </a:lnTo>
                    <a:lnTo>
                      <a:pt x="1040" y="667"/>
                    </a:lnTo>
                    <a:lnTo>
                      <a:pt x="1040" y="667"/>
                    </a:lnTo>
                    <a:lnTo>
                      <a:pt x="1043" y="665"/>
                    </a:lnTo>
                    <a:lnTo>
                      <a:pt x="1043" y="667"/>
                    </a:lnTo>
                    <a:lnTo>
                      <a:pt x="1040" y="667"/>
                    </a:lnTo>
                    <a:lnTo>
                      <a:pt x="1040" y="667"/>
                    </a:lnTo>
                    <a:lnTo>
                      <a:pt x="1040" y="670"/>
                    </a:lnTo>
                    <a:lnTo>
                      <a:pt x="1043" y="670"/>
                    </a:lnTo>
                    <a:lnTo>
                      <a:pt x="1043" y="670"/>
                    </a:lnTo>
                    <a:lnTo>
                      <a:pt x="1040" y="672"/>
                    </a:lnTo>
                    <a:lnTo>
                      <a:pt x="1040" y="672"/>
                    </a:lnTo>
                    <a:lnTo>
                      <a:pt x="1043" y="672"/>
                    </a:lnTo>
                    <a:lnTo>
                      <a:pt x="1043" y="672"/>
                    </a:lnTo>
                    <a:lnTo>
                      <a:pt x="1043" y="672"/>
                    </a:lnTo>
                    <a:lnTo>
                      <a:pt x="1043" y="675"/>
                    </a:lnTo>
                    <a:lnTo>
                      <a:pt x="1047" y="672"/>
                    </a:lnTo>
                    <a:lnTo>
                      <a:pt x="1047" y="672"/>
                    </a:lnTo>
                    <a:lnTo>
                      <a:pt x="1047" y="672"/>
                    </a:lnTo>
                    <a:lnTo>
                      <a:pt x="1047" y="672"/>
                    </a:lnTo>
                    <a:lnTo>
                      <a:pt x="1047" y="670"/>
                    </a:lnTo>
                    <a:lnTo>
                      <a:pt x="1047" y="670"/>
                    </a:lnTo>
                    <a:close/>
                    <a:moveTo>
                      <a:pt x="1026" y="634"/>
                    </a:moveTo>
                    <a:lnTo>
                      <a:pt x="1026" y="637"/>
                    </a:lnTo>
                    <a:lnTo>
                      <a:pt x="1026" y="637"/>
                    </a:lnTo>
                    <a:lnTo>
                      <a:pt x="1026" y="637"/>
                    </a:lnTo>
                    <a:lnTo>
                      <a:pt x="1026" y="637"/>
                    </a:lnTo>
                    <a:lnTo>
                      <a:pt x="1029" y="634"/>
                    </a:lnTo>
                    <a:lnTo>
                      <a:pt x="1029" y="634"/>
                    </a:lnTo>
                    <a:lnTo>
                      <a:pt x="1029" y="634"/>
                    </a:lnTo>
                    <a:lnTo>
                      <a:pt x="1029" y="634"/>
                    </a:lnTo>
                    <a:lnTo>
                      <a:pt x="1026" y="634"/>
                    </a:lnTo>
                    <a:close/>
                    <a:moveTo>
                      <a:pt x="1000" y="324"/>
                    </a:moveTo>
                    <a:lnTo>
                      <a:pt x="1002" y="327"/>
                    </a:lnTo>
                    <a:lnTo>
                      <a:pt x="1005" y="327"/>
                    </a:lnTo>
                    <a:lnTo>
                      <a:pt x="1005" y="327"/>
                    </a:lnTo>
                    <a:lnTo>
                      <a:pt x="1007" y="324"/>
                    </a:lnTo>
                    <a:lnTo>
                      <a:pt x="1007" y="322"/>
                    </a:lnTo>
                    <a:lnTo>
                      <a:pt x="1002" y="319"/>
                    </a:lnTo>
                    <a:lnTo>
                      <a:pt x="998" y="322"/>
                    </a:lnTo>
                    <a:lnTo>
                      <a:pt x="1000" y="324"/>
                    </a:lnTo>
                    <a:close/>
                    <a:moveTo>
                      <a:pt x="872" y="461"/>
                    </a:moveTo>
                    <a:lnTo>
                      <a:pt x="870" y="461"/>
                    </a:lnTo>
                    <a:lnTo>
                      <a:pt x="870" y="461"/>
                    </a:lnTo>
                    <a:lnTo>
                      <a:pt x="870" y="461"/>
                    </a:lnTo>
                    <a:lnTo>
                      <a:pt x="868" y="464"/>
                    </a:lnTo>
                    <a:lnTo>
                      <a:pt x="865" y="464"/>
                    </a:lnTo>
                    <a:lnTo>
                      <a:pt x="865" y="464"/>
                    </a:lnTo>
                    <a:lnTo>
                      <a:pt x="865" y="466"/>
                    </a:lnTo>
                    <a:lnTo>
                      <a:pt x="868" y="466"/>
                    </a:lnTo>
                    <a:lnTo>
                      <a:pt x="872" y="464"/>
                    </a:lnTo>
                    <a:lnTo>
                      <a:pt x="875" y="461"/>
                    </a:lnTo>
                    <a:lnTo>
                      <a:pt x="875" y="459"/>
                    </a:lnTo>
                    <a:lnTo>
                      <a:pt x="875" y="459"/>
                    </a:lnTo>
                    <a:lnTo>
                      <a:pt x="872" y="461"/>
                    </a:lnTo>
                    <a:lnTo>
                      <a:pt x="872" y="461"/>
                    </a:lnTo>
                    <a:close/>
                    <a:moveTo>
                      <a:pt x="879" y="466"/>
                    </a:moveTo>
                    <a:lnTo>
                      <a:pt x="875" y="471"/>
                    </a:lnTo>
                    <a:lnTo>
                      <a:pt x="875" y="471"/>
                    </a:lnTo>
                    <a:lnTo>
                      <a:pt x="875" y="471"/>
                    </a:lnTo>
                    <a:lnTo>
                      <a:pt x="879" y="469"/>
                    </a:lnTo>
                    <a:lnTo>
                      <a:pt x="882" y="466"/>
                    </a:lnTo>
                    <a:lnTo>
                      <a:pt x="884" y="464"/>
                    </a:lnTo>
                    <a:lnTo>
                      <a:pt x="884" y="464"/>
                    </a:lnTo>
                    <a:lnTo>
                      <a:pt x="884" y="461"/>
                    </a:lnTo>
                    <a:lnTo>
                      <a:pt x="884" y="461"/>
                    </a:lnTo>
                    <a:lnTo>
                      <a:pt x="884" y="461"/>
                    </a:lnTo>
                    <a:lnTo>
                      <a:pt x="884" y="461"/>
                    </a:lnTo>
                    <a:lnTo>
                      <a:pt x="884" y="461"/>
                    </a:lnTo>
                    <a:lnTo>
                      <a:pt x="884" y="459"/>
                    </a:lnTo>
                    <a:lnTo>
                      <a:pt x="884" y="459"/>
                    </a:lnTo>
                    <a:lnTo>
                      <a:pt x="884" y="459"/>
                    </a:lnTo>
                    <a:lnTo>
                      <a:pt x="884" y="459"/>
                    </a:lnTo>
                    <a:lnTo>
                      <a:pt x="882" y="459"/>
                    </a:lnTo>
                    <a:lnTo>
                      <a:pt x="882" y="457"/>
                    </a:lnTo>
                    <a:lnTo>
                      <a:pt x="882" y="457"/>
                    </a:lnTo>
                    <a:lnTo>
                      <a:pt x="882" y="457"/>
                    </a:lnTo>
                    <a:lnTo>
                      <a:pt x="879" y="459"/>
                    </a:lnTo>
                    <a:lnTo>
                      <a:pt x="879" y="461"/>
                    </a:lnTo>
                    <a:lnTo>
                      <a:pt x="877" y="464"/>
                    </a:lnTo>
                    <a:lnTo>
                      <a:pt x="875" y="464"/>
                    </a:lnTo>
                    <a:lnTo>
                      <a:pt x="872" y="466"/>
                    </a:lnTo>
                    <a:lnTo>
                      <a:pt x="872" y="466"/>
                    </a:lnTo>
                    <a:lnTo>
                      <a:pt x="875" y="464"/>
                    </a:lnTo>
                    <a:lnTo>
                      <a:pt x="875" y="464"/>
                    </a:lnTo>
                    <a:lnTo>
                      <a:pt x="877" y="459"/>
                    </a:lnTo>
                    <a:lnTo>
                      <a:pt x="879" y="459"/>
                    </a:lnTo>
                    <a:lnTo>
                      <a:pt x="879" y="459"/>
                    </a:lnTo>
                    <a:lnTo>
                      <a:pt x="879" y="459"/>
                    </a:lnTo>
                    <a:lnTo>
                      <a:pt x="877" y="459"/>
                    </a:lnTo>
                    <a:lnTo>
                      <a:pt x="877" y="459"/>
                    </a:lnTo>
                    <a:lnTo>
                      <a:pt x="877" y="461"/>
                    </a:lnTo>
                    <a:lnTo>
                      <a:pt x="875" y="464"/>
                    </a:lnTo>
                    <a:lnTo>
                      <a:pt x="872" y="464"/>
                    </a:lnTo>
                    <a:lnTo>
                      <a:pt x="868" y="466"/>
                    </a:lnTo>
                    <a:lnTo>
                      <a:pt x="863" y="471"/>
                    </a:lnTo>
                    <a:lnTo>
                      <a:pt x="863" y="471"/>
                    </a:lnTo>
                    <a:lnTo>
                      <a:pt x="863" y="471"/>
                    </a:lnTo>
                    <a:lnTo>
                      <a:pt x="863" y="471"/>
                    </a:lnTo>
                    <a:lnTo>
                      <a:pt x="865" y="471"/>
                    </a:lnTo>
                    <a:lnTo>
                      <a:pt x="872" y="466"/>
                    </a:lnTo>
                    <a:lnTo>
                      <a:pt x="872" y="466"/>
                    </a:lnTo>
                    <a:lnTo>
                      <a:pt x="872" y="466"/>
                    </a:lnTo>
                    <a:lnTo>
                      <a:pt x="872" y="466"/>
                    </a:lnTo>
                    <a:lnTo>
                      <a:pt x="865" y="473"/>
                    </a:lnTo>
                    <a:lnTo>
                      <a:pt x="868" y="471"/>
                    </a:lnTo>
                    <a:lnTo>
                      <a:pt x="870" y="471"/>
                    </a:lnTo>
                    <a:lnTo>
                      <a:pt x="870" y="471"/>
                    </a:lnTo>
                    <a:lnTo>
                      <a:pt x="870" y="471"/>
                    </a:lnTo>
                    <a:lnTo>
                      <a:pt x="872" y="471"/>
                    </a:lnTo>
                    <a:lnTo>
                      <a:pt x="877" y="466"/>
                    </a:lnTo>
                    <a:lnTo>
                      <a:pt x="879" y="464"/>
                    </a:lnTo>
                    <a:lnTo>
                      <a:pt x="879" y="466"/>
                    </a:lnTo>
                    <a:lnTo>
                      <a:pt x="879" y="466"/>
                    </a:lnTo>
                    <a:lnTo>
                      <a:pt x="879" y="466"/>
                    </a:lnTo>
                    <a:close/>
                    <a:moveTo>
                      <a:pt x="877" y="452"/>
                    </a:moveTo>
                    <a:lnTo>
                      <a:pt x="877" y="452"/>
                    </a:lnTo>
                    <a:lnTo>
                      <a:pt x="877" y="452"/>
                    </a:lnTo>
                    <a:lnTo>
                      <a:pt x="875" y="452"/>
                    </a:lnTo>
                    <a:lnTo>
                      <a:pt x="875" y="452"/>
                    </a:lnTo>
                    <a:lnTo>
                      <a:pt x="875" y="454"/>
                    </a:lnTo>
                    <a:lnTo>
                      <a:pt x="875" y="454"/>
                    </a:lnTo>
                    <a:lnTo>
                      <a:pt x="875" y="454"/>
                    </a:lnTo>
                    <a:lnTo>
                      <a:pt x="877" y="452"/>
                    </a:lnTo>
                    <a:close/>
                    <a:moveTo>
                      <a:pt x="910" y="393"/>
                    </a:moveTo>
                    <a:lnTo>
                      <a:pt x="910" y="395"/>
                    </a:lnTo>
                    <a:lnTo>
                      <a:pt x="908" y="395"/>
                    </a:lnTo>
                    <a:lnTo>
                      <a:pt x="910" y="395"/>
                    </a:lnTo>
                    <a:lnTo>
                      <a:pt x="913" y="395"/>
                    </a:lnTo>
                    <a:lnTo>
                      <a:pt x="913" y="393"/>
                    </a:lnTo>
                    <a:lnTo>
                      <a:pt x="913" y="393"/>
                    </a:lnTo>
                    <a:lnTo>
                      <a:pt x="910" y="393"/>
                    </a:lnTo>
                    <a:lnTo>
                      <a:pt x="910" y="393"/>
                    </a:lnTo>
                    <a:close/>
                    <a:moveTo>
                      <a:pt x="896" y="218"/>
                    </a:moveTo>
                    <a:lnTo>
                      <a:pt x="896" y="220"/>
                    </a:lnTo>
                    <a:lnTo>
                      <a:pt x="896" y="220"/>
                    </a:lnTo>
                    <a:lnTo>
                      <a:pt x="896" y="218"/>
                    </a:lnTo>
                    <a:lnTo>
                      <a:pt x="896" y="218"/>
                    </a:lnTo>
                    <a:lnTo>
                      <a:pt x="898" y="218"/>
                    </a:lnTo>
                    <a:lnTo>
                      <a:pt x="896" y="215"/>
                    </a:lnTo>
                    <a:lnTo>
                      <a:pt x="896" y="215"/>
                    </a:lnTo>
                    <a:lnTo>
                      <a:pt x="896" y="215"/>
                    </a:lnTo>
                    <a:lnTo>
                      <a:pt x="894" y="218"/>
                    </a:lnTo>
                    <a:lnTo>
                      <a:pt x="894" y="218"/>
                    </a:lnTo>
                    <a:lnTo>
                      <a:pt x="894" y="218"/>
                    </a:lnTo>
                    <a:lnTo>
                      <a:pt x="894" y="218"/>
                    </a:lnTo>
                    <a:lnTo>
                      <a:pt x="896" y="218"/>
                    </a:lnTo>
                    <a:close/>
                    <a:moveTo>
                      <a:pt x="884" y="466"/>
                    </a:moveTo>
                    <a:lnTo>
                      <a:pt x="884" y="466"/>
                    </a:lnTo>
                    <a:lnTo>
                      <a:pt x="887" y="464"/>
                    </a:lnTo>
                    <a:lnTo>
                      <a:pt x="887" y="464"/>
                    </a:lnTo>
                    <a:lnTo>
                      <a:pt x="889" y="464"/>
                    </a:lnTo>
                    <a:lnTo>
                      <a:pt x="889" y="461"/>
                    </a:lnTo>
                    <a:lnTo>
                      <a:pt x="889" y="461"/>
                    </a:lnTo>
                    <a:lnTo>
                      <a:pt x="889" y="461"/>
                    </a:lnTo>
                    <a:lnTo>
                      <a:pt x="887" y="461"/>
                    </a:lnTo>
                    <a:lnTo>
                      <a:pt x="887" y="461"/>
                    </a:lnTo>
                    <a:lnTo>
                      <a:pt x="884" y="464"/>
                    </a:lnTo>
                    <a:lnTo>
                      <a:pt x="884" y="464"/>
                    </a:lnTo>
                    <a:lnTo>
                      <a:pt x="882" y="466"/>
                    </a:lnTo>
                    <a:lnTo>
                      <a:pt x="882" y="466"/>
                    </a:lnTo>
                    <a:lnTo>
                      <a:pt x="882" y="466"/>
                    </a:lnTo>
                    <a:lnTo>
                      <a:pt x="884" y="466"/>
                    </a:lnTo>
                    <a:close/>
                    <a:moveTo>
                      <a:pt x="887" y="440"/>
                    </a:moveTo>
                    <a:lnTo>
                      <a:pt x="887" y="440"/>
                    </a:lnTo>
                    <a:lnTo>
                      <a:pt x="887" y="440"/>
                    </a:lnTo>
                    <a:lnTo>
                      <a:pt x="887" y="438"/>
                    </a:lnTo>
                    <a:lnTo>
                      <a:pt x="887" y="438"/>
                    </a:lnTo>
                    <a:lnTo>
                      <a:pt x="887" y="438"/>
                    </a:lnTo>
                    <a:lnTo>
                      <a:pt x="887" y="438"/>
                    </a:lnTo>
                    <a:lnTo>
                      <a:pt x="887" y="438"/>
                    </a:lnTo>
                    <a:lnTo>
                      <a:pt x="884" y="438"/>
                    </a:lnTo>
                    <a:lnTo>
                      <a:pt x="884" y="440"/>
                    </a:lnTo>
                    <a:lnTo>
                      <a:pt x="884" y="440"/>
                    </a:lnTo>
                    <a:lnTo>
                      <a:pt x="884" y="440"/>
                    </a:lnTo>
                    <a:lnTo>
                      <a:pt x="884" y="440"/>
                    </a:lnTo>
                    <a:lnTo>
                      <a:pt x="887" y="440"/>
                    </a:lnTo>
                    <a:close/>
                    <a:moveTo>
                      <a:pt x="879" y="457"/>
                    </a:moveTo>
                    <a:lnTo>
                      <a:pt x="879" y="457"/>
                    </a:lnTo>
                    <a:lnTo>
                      <a:pt x="879" y="457"/>
                    </a:lnTo>
                    <a:lnTo>
                      <a:pt x="879" y="454"/>
                    </a:lnTo>
                    <a:lnTo>
                      <a:pt x="879" y="454"/>
                    </a:lnTo>
                    <a:lnTo>
                      <a:pt x="879" y="454"/>
                    </a:lnTo>
                    <a:lnTo>
                      <a:pt x="879" y="454"/>
                    </a:lnTo>
                    <a:lnTo>
                      <a:pt x="879" y="454"/>
                    </a:lnTo>
                    <a:lnTo>
                      <a:pt x="879" y="454"/>
                    </a:lnTo>
                    <a:lnTo>
                      <a:pt x="879" y="454"/>
                    </a:lnTo>
                    <a:lnTo>
                      <a:pt x="879" y="454"/>
                    </a:lnTo>
                    <a:lnTo>
                      <a:pt x="879" y="454"/>
                    </a:lnTo>
                    <a:lnTo>
                      <a:pt x="877" y="457"/>
                    </a:lnTo>
                    <a:lnTo>
                      <a:pt x="879" y="457"/>
                    </a:lnTo>
                    <a:close/>
                    <a:moveTo>
                      <a:pt x="906" y="398"/>
                    </a:moveTo>
                    <a:lnTo>
                      <a:pt x="903" y="398"/>
                    </a:lnTo>
                    <a:lnTo>
                      <a:pt x="903" y="398"/>
                    </a:lnTo>
                    <a:lnTo>
                      <a:pt x="906" y="398"/>
                    </a:lnTo>
                    <a:lnTo>
                      <a:pt x="906" y="398"/>
                    </a:lnTo>
                    <a:lnTo>
                      <a:pt x="908" y="398"/>
                    </a:lnTo>
                    <a:lnTo>
                      <a:pt x="908" y="395"/>
                    </a:lnTo>
                    <a:lnTo>
                      <a:pt x="908" y="395"/>
                    </a:lnTo>
                    <a:lnTo>
                      <a:pt x="906" y="398"/>
                    </a:lnTo>
                    <a:lnTo>
                      <a:pt x="906" y="398"/>
                    </a:lnTo>
                    <a:close/>
                    <a:moveTo>
                      <a:pt x="958" y="319"/>
                    </a:moveTo>
                    <a:lnTo>
                      <a:pt x="960" y="317"/>
                    </a:lnTo>
                    <a:lnTo>
                      <a:pt x="958" y="317"/>
                    </a:lnTo>
                    <a:lnTo>
                      <a:pt x="955" y="317"/>
                    </a:lnTo>
                    <a:lnTo>
                      <a:pt x="958" y="317"/>
                    </a:lnTo>
                    <a:lnTo>
                      <a:pt x="958" y="315"/>
                    </a:lnTo>
                    <a:lnTo>
                      <a:pt x="958" y="315"/>
                    </a:lnTo>
                    <a:lnTo>
                      <a:pt x="958" y="315"/>
                    </a:lnTo>
                    <a:lnTo>
                      <a:pt x="955" y="312"/>
                    </a:lnTo>
                    <a:lnTo>
                      <a:pt x="955" y="312"/>
                    </a:lnTo>
                    <a:lnTo>
                      <a:pt x="953" y="315"/>
                    </a:lnTo>
                    <a:lnTo>
                      <a:pt x="953" y="315"/>
                    </a:lnTo>
                    <a:lnTo>
                      <a:pt x="950" y="315"/>
                    </a:lnTo>
                    <a:lnTo>
                      <a:pt x="948" y="312"/>
                    </a:lnTo>
                    <a:lnTo>
                      <a:pt x="941" y="315"/>
                    </a:lnTo>
                    <a:lnTo>
                      <a:pt x="939" y="315"/>
                    </a:lnTo>
                    <a:lnTo>
                      <a:pt x="939" y="315"/>
                    </a:lnTo>
                    <a:lnTo>
                      <a:pt x="943" y="312"/>
                    </a:lnTo>
                    <a:lnTo>
                      <a:pt x="943" y="312"/>
                    </a:lnTo>
                    <a:lnTo>
                      <a:pt x="946" y="312"/>
                    </a:lnTo>
                    <a:lnTo>
                      <a:pt x="946" y="310"/>
                    </a:lnTo>
                    <a:lnTo>
                      <a:pt x="946" y="308"/>
                    </a:lnTo>
                    <a:lnTo>
                      <a:pt x="946" y="303"/>
                    </a:lnTo>
                    <a:lnTo>
                      <a:pt x="946" y="303"/>
                    </a:lnTo>
                    <a:lnTo>
                      <a:pt x="946" y="300"/>
                    </a:lnTo>
                    <a:lnTo>
                      <a:pt x="943" y="300"/>
                    </a:lnTo>
                    <a:lnTo>
                      <a:pt x="939" y="300"/>
                    </a:lnTo>
                    <a:lnTo>
                      <a:pt x="939" y="300"/>
                    </a:lnTo>
                    <a:lnTo>
                      <a:pt x="936" y="298"/>
                    </a:lnTo>
                    <a:lnTo>
                      <a:pt x="934" y="296"/>
                    </a:lnTo>
                    <a:lnTo>
                      <a:pt x="934" y="296"/>
                    </a:lnTo>
                    <a:lnTo>
                      <a:pt x="934" y="293"/>
                    </a:lnTo>
                    <a:lnTo>
                      <a:pt x="932" y="293"/>
                    </a:lnTo>
                    <a:lnTo>
                      <a:pt x="929" y="293"/>
                    </a:lnTo>
                    <a:lnTo>
                      <a:pt x="927" y="293"/>
                    </a:lnTo>
                    <a:lnTo>
                      <a:pt x="924" y="291"/>
                    </a:lnTo>
                    <a:lnTo>
                      <a:pt x="924" y="291"/>
                    </a:lnTo>
                    <a:lnTo>
                      <a:pt x="924" y="291"/>
                    </a:lnTo>
                    <a:lnTo>
                      <a:pt x="924" y="289"/>
                    </a:lnTo>
                    <a:lnTo>
                      <a:pt x="922" y="286"/>
                    </a:lnTo>
                    <a:lnTo>
                      <a:pt x="922" y="286"/>
                    </a:lnTo>
                    <a:lnTo>
                      <a:pt x="920" y="286"/>
                    </a:lnTo>
                    <a:lnTo>
                      <a:pt x="917" y="291"/>
                    </a:lnTo>
                    <a:lnTo>
                      <a:pt x="915" y="291"/>
                    </a:lnTo>
                    <a:lnTo>
                      <a:pt x="915" y="291"/>
                    </a:lnTo>
                    <a:lnTo>
                      <a:pt x="913" y="291"/>
                    </a:lnTo>
                    <a:lnTo>
                      <a:pt x="915" y="289"/>
                    </a:lnTo>
                    <a:lnTo>
                      <a:pt x="913" y="286"/>
                    </a:lnTo>
                    <a:lnTo>
                      <a:pt x="913" y="286"/>
                    </a:lnTo>
                    <a:lnTo>
                      <a:pt x="913" y="286"/>
                    </a:lnTo>
                    <a:lnTo>
                      <a:pt x="915" y="284"/>
                    </a:lnTo>
                    <a:lnTo>
                      <a:pt x="917" y="284"/>
                    </a:lnTo>
                    <a:lnTo>
                      <a:pt x="917" y="284"/>
                    </a:lnTo>
                    <a:lnTo>
                      <a:pt x="917" y="282"/>
                    </a:lnTo>
                    <a:lnTo>
                      <a:pt x="917" y="282"/>
                    </a:lnTo>
                    <a:lnTo>
                      <a:pt x="915" y="279"/>
                    </a:lnTo>
                    <a:lnTo>
                      <a:pt x="915" y="279"/>
                    </a:lnTo>
                    <a:lnTo>
                      <a:pt x="915" y="279"/>
                    </a:lnTo>
                    <a:lnTo>
                      <a:pt x="915" y="279"/>
                    </a:lnTo>
                    <a:lnTo>
                      <a:pt x="913" y="279"/>
                    </a:lnTo>
                    <a:lnTo>
                      <a:pt x="910" y="279"/>
                    </a:lnTo>
                    <a:lnTo>
                      <a:pt x="906" y="282"/>
                    </a:lnTo>
                    <a:lnTo>
                      <a:pt x="903" y="284"/>
                    </a:lnTo>
                    <a:lnTo>
                      <a:pt x="901" y="286"/>
                    </a:lnTo>
                    <a:lnTo>
                      <a:pt x="898" y="289"/>
                    </a:lnTo>
                    <a:lnTo>
                      <a:pt x="891" y="296"/>
                    </a:lnTo>
                    <a:lnTo>
                      <a:pt x="889" y="298"/>
                    </a:lnTo>
                    <a:lnTo>
                      <a:pt x="884" y="303"/>
                    </a:lnTo>
                    <a:lnTo>
                      <a:pt x="882" y="303"/>
                    </a:lnTo>
                    <a:lnTo>
                      <a:pt x="882" y="305"/>
                    </a:lnTo>
                    <a:lnTo>
                      <a:pt x="879" y="308"/>
                    </a:lnTo>
                    <a:lnTo>
                      <a:pt x="879" y="310"/>
                    </a:lnTo>
                    <a:lnTo>
                      <a:pt x="879" y="310"/>
                    </a:lnTo>
                    <a:lnTo>
                      <a:pt x="879" y="312"/>
                    </a:lnTo>
                    <a:lnTo>
                      <a:pt x="877" y="312"/>
                    </a:lnTo>
                    <a:lnTo>
                      <a:pt x="875" y="312"/>
                    </a:lnTo>
                    <a:lnTo>
                      <a:pt x="865" y="315"/>
                    </a:lnTo>
                    <a:lnTo>
                      <a:pt x="865" y="317"/>
                    </a:lnTo>
                    <a:lnTo>
                      <a:pt x="863" y="317"/>
                    </a:lnTo>
                    <a:lnTo>
                      <a:pt x="861" y="319"/>
                    </a:lnTo>
                    <a:lnTo>
                      <a:pt x="858" y="319"/>
                    </a:lnTo>
                    <a:lnTo>
                      <a:pt x="858" y="322"/>
                    </a:lnTo>
                    <a:lnTo>
                      <a:pt x="858" y="322"/>
                    </a:lnTo>
                    <a:lnTo>
                      <a:pt x="858" y="322"/>
                    </a:lnTo>
                    <a:lnTo>
                      <a:pt x="858" y="322"/>
                    </a:lnTo>
                    <a:lnTo>
                      <a:pt x="861" y="322"/>
                    </a:lnTo>
                    <a:lnTo>
                      <a:pt x="863" y="322"/>
                    </a:lnTo>
                    <a:lnTo>
                      <a:pt x="868" y="322"/>
                    </a:lnTo>
                    <a:lnTo>
                      <a:pt x="870" y="322"/>
                    </a:lnTo>
                    <a:lnTo>
                      <a:pt x="879" y="319"/>
                    </a:lnTo>
                    <a:lnTo>
                      <a:pt x="879" y="319"/>
                    </a:lnTo>
                    <a:lnTo>
                      <a:pt x="879" y="319"/>
                    </a:lnTo>
                    <a:lnTo>
                      <a:pt x="879" y="322"/>
                    </a:lnTo>
                    <a:lnTo>
                      <a:pt x="877" y="329"/>
                    </a:lnTo>
                    <a:lnTo>
                      <a:pt x="875" y="331"/>
                    </a:lnTo>
                    <a:lnTo>
                      <a:pt x="877" y="331"/>
                    </a:lnTo>
                    <a:lnTo>
                      <a:pt x="879" y="331"/>
                    </a:lnTo>
                    <a:lnTo>
                      <a:pt x="884" y="329"/>
                    </a:lnTo>
                    <a:lnTo>
                      <a:pt x="887" y="329"/>
                    </a:lnTo>
                    <a:lnTo>
                      <a:pt x="889" y="327"/>
                    </a:lnTo>
                    <a:lnTo>
                      <a:pt x="891" y="327"/>
                    </a:lnTo>
                    <a:lnTo>
                      <a:pt x="894" y="327"/>
                    </a:lnTo>
                    <a:lnTo>
                      <a:pt x="896" y="324"/>
                    </a:lnTo>
                    <a:lnTo>
                      <a:pt x="898" y="322"/>
                    </a:lnTo>
                    <a:lnTo>
                      <a:pt x="898" y="322"/>
                    </a:lnTo>
                    <a:lnTo>
                      <a:pt x="901" y="322"/>
                    </a:lnTo>
                    <a:lnTo>
                      <a:pt x="903" y="322"/>
                    </a:lnTo>
                    <a:lnTo>
                      <a:pt x="910" y="317"/>
                    </a:lnTo>
                    <a:lnTo>
                      <a:pt x="913" y="317"/>
                    </a:lnTo>
                    <a:lnTo>
                      <a:pt x="913" y="317"/>
                    </a:lnTo>
                    <a:lnTo>
                      <a:pt x="915" y="315"/>
                    </a:lnTo>
                    <a:lnTo>
                      <a:pt x="915" y="312"/>
                    </a:lnTo>
                    <a:lnTo>
                      <a:pt x="917" y="312"/>
                    </a:lnTo>
                    <a:lnTo>
                      <a:pt x="920" y="312"/>
                    </a:lnTo>
                    <a:lnTo>
                      <a:pt x="922" y="312"/>
                    </a:lnTo>
                    <a:lnTo>
                      <a:pt x="924" y="312"/>
                    </a:lnTo>
                    <a:lnTo>
                      <a:pt x="924" y="312"/>
                    </a:lnTo>
                    <a:lnTo>
                      <a:pt x="924" y="312"/>
                    </a:lnTo>
                    <a:lnTo>
                      <a:pt x="922" y="315"/>
                    </a:lnTo>
                    <a:lnTo>
                      <a:pt x="924" y="315"/>
                    </a:lnTo>
                    <a:lnTo>
                      <a:pt x="929" y="315"/>
                    </a:lnTo>
                    <a:lnTo>
                      <a:pt x="929" y="315"/>
                    </a:lnTo>
                    <a:lnTo>
                      <a:pt x="927" y="319"/>
                    </a:lnTo>
                    <a:lnTo>
                      <a:pt x="929" y="319"/>
                    </a:lnTo>
                    <a:lnTo>
                      <a:pt x="932" y="319"/>
                    </a:lnTo>
                    <a:lnTo>
                      <a:pt x="934" y="322"/>
                    </a:lnTo>
                    <a:lnTo>
                      <a:pt x="941" y="324"/>
                    </a:lnTo>
                    <a:lnTo>
                      <a:pt x="943" y="324"/>
                    </a:lnTo>
                    <a:lnTo>
                      <a:pt x="943" y="324"/>
                    </a:lnTo>
                    <a:lnTo>
                      <a:pt x="943" y="324"/>
                    </a:lnTo>
                    <a:lnTo>
                      <a:pt x="946" y="324"/>
                    </a:lnTo>
                    <a:lnTo>
                      <a:pt x="950" y="322"/>
                    </a:lnTo>
                    <a:lnTo>
                      <a:pt x="955" y="319"/>
                    </a:lnTo>
                    <a:lnTo>
                      <a:pt x="958" y="319"/>
                    </a:lnTo>
                    <a:close/>
                    <a:moveTo>
                      <a:pt x="955" y="206"/>
                    </a:moveTo>
                    <a:lnTo>
                      <a:pt x="955" y="206"/>
                    </a:lnTo>
                    <a:lnTo>
                      <a:pt x="958" y="206"/>
                    </a:lnTo>
                    <a:lnTo>
                      <a:pt x="960" y="206"/>
                    </a:lnTo>
                    <a:lnTo>
                      <a:pt x="962" y="206"/>
                    </a:lnTo>
                    <a:lnTo>
                      <a:pt x="962" y="206"/>
                    </a:lnTo>
                    <a:lnTo>
                      <a:pt x="962" y="203"/>
                    </a:lnTo>
                    <a:lnTo>
                      <a:pt x="962" y="203"/>
                    </a:lnTo>
                    <a:lnTo>
                      <a:pt x="962" y="203"/>
                    </a:lnTo>
                    <a:lnTo>
                      <a:pt x="962" y="203"/>
                    </a:lnTo>
                    <a:lnTo>
                      <a:pt x="960" y="203"/>
                    </a:lnTo>
                    <a:lnTo>
                      <a:pt x="958" y="203"/>
                    </a:lnTo>
                    <a:lnTo>
                      <a:pt x="958" y="203"/>
                    </a:lnTo>
                    <a:lnTo>
                      <a:pt x="955" y="203"/>
                    </a:lnTo>
                    <a:lnTo>
                      <a:pt x="953" y="203"/>
                    </a:lnTo>
                    <a:lnTo>
                      <a:pt x="953" y="203"/>
                    </a:lnTo>
                    <a:lnTo>
                      <a:pt x="953" y="203"/>
                    </a:lnTo>
                    <a:lnTo>
                      <a:pt x="953" y="206"/>
                    </a:lnTo>
                    <a:lnTo>
                      <a:pt x="955" y="206"/>
                    </a:lnTo>
                    <a:close/>
                    <a:moveTo>
                      <a:pt x="924" y="277"/>
                    </a:moveTo>
                    <a:lnTo>
                      <a:pt x="924" y="277"/>
                    </a:lnTo>
                    <a:lnTo>
                      <a:pt x="922" y="277"/>
                    </a:lnTo>
                    <a:lnTo>
                      <a:pt x="922" y="277"/>
                    </a:lnTo>
                    <a:lnTo>
                      <a:pt x="920" y="277"/>
                    </a:lnTo>
                    <a:lnTo>
                      <a:pt x="920" y="279"/>
                    </a:lnTo>
                    <a:lnTo>
                      <a:pt x="920" y="279"/>
                    </a:lnTo>
                    <a:lnTo>
                      <a:pt x="920" y="282"/>
                    </a:lnTo>
                    <a:lnTo>
                      <a:pt x="917" y="282"/>
                    </a:lnTo>
                    <a:lnTo>
                      <a:pt x="917" y="282"/>
                    </a:lnTo>
                    <a:lnTo>
                      <a:pt x="920" y="284"/>
                    </a:lnTo>
                    <a:lnTo>
                      <a:pt x="920" y="284"/>
                    </a:lnTo>
                    <a:lnTo>
                      <a:pt x="920" y="284"/>
                    </a:lnTo>
                    <a:lnTo>
                      <a:pt x="920" y="286"/>
                    </a:lnTo>
                    <a:lnTo>
                      <a:pt x="920" y="286"/>
                    </a:lnTo>
                    <a:lnTo>
                      <a:pt x="922" y="284"/>
                    </a:lnTo>
                    <a:lnTo>
                      <a:pt x="922" y="284"/>
                    </a:lnTo>
                    <a:lnTo>
                      <a:pt x="924" y="284"/>
                    </a:lnTo>
                    <a:lnTo>
                      <a:pt x="924" y="284"/>
                    </a:lnTo>
                    <a:lnTo>
                      <a:pt x="924" y="282"/>
                    </a:lnTo>
                    <a:lnTo>
                      <a:pt x="924" y="279"/>
                    </a:lnTo>
                    <a:lnTo>
                      <a:pt x="924" y="279"/>
                    </a:lnTo>
                    <a:lnTo>
                      <a:pt x="924" y="277"/>
                    </a:lnTo>
                    <a:lnTo>
                      <a:pt x="924" y="277"/>
                    </a:lnTo>
                    <a:close/>
                    <a:moveTo>
                      <a:pt x="1000" y="315"/>
                    </a:moveTo>
                    <a:lnTo>
                      <a:pt x="995" y="315"/>
                    </a:lnTo>
                    <a:lnTo>
                      <a:pt x="995" y="315"/>
                    </a:lnTo>
                    <a:lnTo>
                      <a:pt x="995" y="315"/>
                    </a:lnTo>
                    <a:lnTo>
                      <a:pt x="995" y="315"/>
                    </a:lnTo>
                    <a:lnTo>
                      <a:pt x="998" y="315"/>
                    </a:lnTo>
                    <a:lnTo>
                      <a:pt x="1000" y="315"/>
                    </a:lnTo>
                    <a:lnTo>
                      <a:pt x="1002" y="315"/>
                    </a:lnTo>
                    <a:lnTo>
                      <a:pt x="1002" y="315"/>
                    </a:lnTo>
                    <a:lnTo>
                      <a:pt x="1000" y="315"/>
                    </a:lnTo>
                    <a:lnTo>
                      <a:pt x="1000" y="315"/>
                    </a:lnTo>
                    <a:close/>
                    <a:moveTo>
                      <a:pt x="991" y="324"/>
                    </a:moveTo>
                    <a:lnTo>
                      <a:pt x="991" y="324"/>
                    </a:lnTo>
                    <a:lnTo>
                      <a:pt x="988" y="324"/>
                    </a:lnTo>
                    <a:lnTo>
                      <a:pt x="984" y="324"/>
                    </a:lnTo>
                    <a:lnTo>
                      <a:pt x="981" y="324"/>
                    </a:lnTo>
                    <a:lnTo>
                      <a:pt x="981" y="324"/>
                    </a:lnTo>
                    <a:lnTo>
                      <a:pt x="979" y="324"/>
                    </a:lnTo>
                    <a:lnTo>
                      <a:pt x="979" y="327"/>
                    </a:lnTo>
                    <a:lnTo>
                      <a:pt x="981" y="329"/>
                    </a:lnTo>
                    <a:lnTo>
                      <a:pt x="984" y="331"/>
                    </a:lnTo>
                    <a:lnTo>
                      <a:pt x="984" y="331"/>
                    </a:lnTo>
                    <a:lnTo>
                      <a:pt x="986" y="331"/>
                    </a:lnTo>
                    <a:lnTo>
                      <a:pt x="988" y="331"/>
                    </a:lnTo>
                    <a:lnTo>
                      <a:pt x="991" y="329"/>
                    </a:lnTo>
                    <a:lnTo>
                      <a:pt x="991" y="329"/>
                    </a:lnTo>
                    <a:lnTo>
                      <a:pt x="993" y="329"/>
                    </a:lnTo>
                    <a:lnTo>
                      <a:pt x="993" y="329"/>
                    </a:lnTo>
                    <a:lnTo>
                      <a:pt x="993" y="327"/>
                    </a:lnTo>
                    <a:lnTo>
                      <a:pt x="991" y="324"/>
                    </a:lnTo>
                    <a:lnTo>
                      <a:pt x="991" y="324"/>
                    </a:lnTo>
                    <a:close/>
                    <a:moveTo>
                      <a:pt x="943" y="376"/>
                    </a:moveTo>
                    <a:lnTo>
                      <a:pt x="943" y="376"/>
                    </a:lnTo>
                    <a:lnTo>
                      <a:pt x="943" y="376"/>
                    </a:lnTo>
                    <a:lnTo>
                      <a:pt x="946" y="376"/>
                    </a:lnTo>
                    <a:lnTo>
                      <a:pt x="948" y="376"/>
                    </a:lnTo>
                    <a:lnTo>
                      <a:pt x="948" y="376"/>
                    </a:lnTo>
                    <a:lnTo>
                      <a:pt x="950" y="374"/>
                    </a:lnTo>
                    <a:lnTo>
                      <a:pt x="948" y="376"/>
                    </a:lnTo>
                    <a:lnTo>
                      <a:pt x="943" y="376"/>
                    </a:lnTo>
                    <a:close/>
                    <a:moveTo>
                      <a:pt x="953" y="348"/>
                    </a:moveTo>
                    <a:lnTo>
                      <a:pt x="953" y="348"/>
                    </a:lnTo>
                    <a:lnTo>
                      <a:pt x="953" y="348"/>
                    </a:lnTo>
                    <a:lnTo>
                      <a:pt x="953" y="345"/>
                    </a:lnTo>
                    <a:lnTo>
                      <a:pt x="950" y="345"/>
                    </a:lnTo>
                    <a:lnTo>
                      <a:pt x="950" y="345"/>
                    </a:lnTo>
                    <a:lnTo>
                      <a:pt x="950" y="345"/>
                    </a:lnTo>
                    <a:lnTo>
                      <a:pt x="948" y="345"/>
                    </a:lnTo>
                    <a:lnTo>
                      <a:pt x="946" y="345"/>
                    </a:lnTo>
                    <a:lnTo>
                      <a:pt x="946" y="345"/>
                    </a:lnTo>
                    <a:lnTo>
                      <a:pt x="943" y="345"/>
                    </a:lnTo>
                    <a:lnTo>
                      <a:pt x="939" y="348"/>
                    </a:lnTo>
                    <a:lnTo>
                      <a:pt x="939" y="350"/>
                    </a:lnTo>
                    <a:lnTo>
                      <a:pt x="936" y="350"/>
                    </a:lnTo>
                    <a:lnTo>
                      <a:pt x="936" y="350"/>
                    </a:lnTo>
                    <a:lnTo>
                      <a:pt x="936" y="353"/>
                    </a:lnTo>
                    <a:lnTo>
                      <a:pt x="934" y="355"/>
                    </a:lnTo>
                    <a:lnTo>
                      <a:pt x="934" y="355"/>
                    </a:lnTo>
                    <a:lnTo>
                      <a:pt x="934" y="357"/>
                    </a:lnTo>
                    <a:lnTo>
                      <a:pt x="934" y="357"/>
                    </a:lnTo>
                    <a:lnTo>
                      <a:pt x="936" y="357"/>
                    </a:lnTo>
                    <a:lnTo>
                      <a:pt x="936" y="360"/>
                    </a:lnTo>
                    <a:lnTo>
                      <a:pt x="936" y="360"/>
                    </a:lnTo>
                    <a:lnTo>
                      <a:pt x="939" y="360"/>
                    </a:lnTo>
                    <a:lnTo>
                      <a:pt x="939" y="360"/>
                    </a:lnTo>
                    <a:lnTo>
                      <a:pt x="939" y="360"/>
                    </a:lnTo>
                    <a:lnTo>
                      <a:pt x="941" y="357"/>
                    </a:lnTo>
                    <a:lnTo>
                      <a:pt x="943" y="355"/>
                    </a:lnTo>
                    <a:lnTo>
                      <a:pt x="946" y="355"/>
                    </a:lnTo>
                    <a:lnTo>
                      <a:pt x="948" y="353"/>
                    </a:lnTo>
                    <a:lnTo>
                      <a:pt x="950" y="353"/>
                    </a:lnTo>
                    <a:lnTo>
                      <a:pt x="950" y="350"/>
                    </a:lnTo>
                    <a:lnTo>
                      <a:pt x="953" y="348"/>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Freeform 188"/>
              <p:cNvSpPr>
                <a:spLocks/>
              </p:cNvSpPr>
              <p:nvPr/>
            </p:nvSpPr>
            <p:spPr bwMode="auto">
              <a:xfrm>
                <a:off x="2907" y="2523"/>
                <a:ext cx="144" cy="242"/>
              </a:xfrm>
              <a:custGeom>
                <a:avLst/>
                <a:gdLst>
                  <a:gd name="T0" fmla="*/ 142 w 144"/>
                  <a:gd name="T1" fmla="*/ 220 h 242"/>
                  <a:gd name="T2" fmla="*/ 140 w 144"/>
                  <a:gd name="T3" fmla="*/ 213 h 242"/>
                  <a:gd name="T4" fmla="*/ 130 w 144"/>
                  <a:gd name="T5" fmla="*/ 204 h 242"/>
                  <a:gd name="T6" fmla="*/ 123 w 144"/>
                  <a:gd name="T7" fmla="*/ 192 h 242"/>
                  <a:gd name="T8" fmla="*/ 121 w 144"/>
                  <a:gd name="T9" fmla="*/ 185 h 242"/>
                  <a:gd name="T10" fmla="*/ 114 w 144"/>
                  <a:gd name="T11" fmla="*/ 168 h 242"/>
                  <a:gd name="T12" fmla="*/ 114 w 144"/>
                  <a:gd name="T13" fmla="*/ 161 h 242"/>
                  <a:gd name="T14" fmla="*/ 111 w 144"/>
                  <a:gd name="T15" fmla="*/ 152 h 242"/>
                  <a:gd name="T16" fmla="*/ 114 w 144"/>
                  <a:gd name="T17" fmla="*/ 147 h 242"/>
                  <a:gd name="T18" fmla="*/ 121 w 144"/>
                  <a:gd name="T19" fmla="*/ 135 h 242"/>
                  <a:gd name="T20" fmla="*/ 125 w 144"/>
                  <a:gd name="T21" fmla="*/ 123 h 242"/>
                  <a:gd name="T22" fmla="*/ 133 w 144"/>
                  <a:gd name="T23" fmla="*/ 111 h 242"/>
                  <a:gd name="T24" fmla="*/ 121 w 144"/>
                  <a:gd name="T25" fmla="*/ 92 h 242"/>
                  <a:gd name="T26" fmla="*/ 109 w 144"/>
                  <a:gd name="T27" fmla="*/ 83 h 242"/>
                  <a:gd name="T28" fmla="*/ 104 w 144"/>
                  <a:gd name="T29" fmla="*/ 71 h 242"/>
                  <a:gd name="T30" fmla="*/ 123 w 144"/>
                  <a:gd name="T31" fmla="*/ 66 h 242"/>
                  <a:gd name="T32" fmla="*/ 130 w 144"/>
                  <a:gd name="T33" fmla="*/ 64 h 242"/>
                  <a:gd name="T34" fmla="*/ 121 w 144"/>
                  <a:gd name="T35" fmla="*/ 43 h 242"/>
                  <a:gd name="T36" fmla="*/ 123 w 144"/>
                  <a:gd name="T37" fmla="*/ 26 h 242"/>
                  <a:gd name="T38" fmla="*/ 116 w 144"/>
                  <a:gd name="T39" fmla="*/ 9 h 242"/>
                  <a:gd name="T40" fmla="*/ 104 w 144"/>
                  <a:gd name="T41" fmla="*/ 0 h 242"/>
                  <a:gd name="T42" fmla="*/ 107 w 144"/>
                  <a:gd name="T43" fmla="*/ 17 h 242"/>
                  <a:gd name="T44" fmla="*/ 114 w 144"/>
                  <a:gd name="T45" fmla="*/ 21 h 242"/>
                  <a:gd name="T46" fmla="*/ 114 w 144"/>
                  <a:gd name="T47" fmla="*/ 33 h 242"/>
                  <a:gd name="T48" fmla="*/ 102 w 144"/>
                  <a:gd name="T49" fmla="*/ 40 h 242"/>
                  <a:gd name="T50" fmla="*/ 90 w 144"/>
                  <a:gd name="T51" fmla="*/ 64 h 242"/>
                  <a:gd name="T52" fmla="*/ 88 w 144"/>
                  <a:gd name="T53" fmla="*/ 76 h 242"/>
                  <a:gd name="T54" fmla="*/ 81 w 144"/>
                  <a:gd name="T55" fmla="*/ 90 h 242"/>
                  <a:gd name="T56" fmla="*/ 71 w 144"/>
                  <a:gd name="T57" fmla="*/ 99 h 242"/>
                  <a:gd name="T58" fmla="*/ 66 w 144"/>
                  <a:gd name="T59" fmla="*/ 116 h 242"/>
                  <a:gd name="T60" fmla="*/ 62 w 144"/>
                  <a:gd name="T61" fmla="*/ 125 h 242"/>
                  <a:gd name="T62" fmla="*/ 57 w 144"/>
                  <a:gd name="T63" fmla="*/ 137 h 242"/>
                  <a:gd name="T64" fmla="*/ 50 w 144"/>
                  <a:gd name="T65" fmla="*/ 140 h 242"/>
                  <a:gd name="T66" fmla="*/ 43 w 144"/>
                  <a:gd name="T67" fmla="*/ 130 h 242"/>
                  <a:gd name="T68" fmla="*/ 36 w 144"/>
                  <a:gd name="T69" fmla="*/ 133 h 242"/>
                  <a:gd name="T70" fmla="*/ 29 w 144"/>
                  <a:gd name="T71" fmla="*/ 130 h 242"/>
                  <a:gd name="T72" fmla="*/ 19 w 144"/>
                  <a:gd name="T73" fmla="*/ 140 h 242"/>
                  <a:gd name="T74" fmla="*/ 10 w 144"/>
                  <a:gd name="T75" fmla="*/ 152 h 242"/>
                  <a:gd name="T76" fmla="*/ 2 w 144"/>
                  <a:gd name="T77" fmla="*/ 173 h 242"/>
                  <a:gd name="T78" fmla="*/ 2 w 144"/>
                  <a:gd name="T79" fmla="*/ 182 h 242"/>
                  <a:gd name="T80" fmla="*/ 5 w 144"/>
                  <a:gd name="T81" fmla="*/ 180 h 242"/>
                  <a:gd name="T82" fmla="*/ 7 w 144"/>
                  <a:gd name="T83" fmla="*/ 187 h 242"/>
                  <a:gd name="T84" fmla="*/ 14 w 144"/>
                  <a:gd name="T85" fmla="*/ 194 h 242"/>
                  <a:gd name="T86" fmla="*/ 19 w 144"/>
                  <a:gd name="T87" fmla="*/ 192 h 242"/>
                  <a:gd name="T88" fmla="*/ 21 w 144"/>
                  <a:gd name="T89" fmla="*/ 194 h 242"/>
                  <a:gd name="T90" fmla="*/ 21 w 144"/>
                  <a:gd name="T91" fmla="*/ 199 h 242"/>
                  <a:gd name="T92" fmla="*/ 26 w 144"/>
                  <a:gd name="T93" fmla="*/ 213 h 242"/>
                  <a:gd name="T94" fmla="*/ 24 w 144"/>
                  <a:gd name="T95" fmla="*/ 230 h 242"/>
                  <a:gd name="T96" fmla="*/ 43 w 144"/>
                  <a:gd name="T97" fmla="*/ 232 h 242"/>
                  <a:gd name="T98" fmla="*/ 57 w 144"/>
                  <a:gd name="T99" fmla="*/ 227 h 242"/>
                  <a:gd name="T100" fmla="*/ 76 w 144"/>
                  <a:gd name="T101" fmla="*/ 230 h 242"/>
                  <a:gd name="T102" fmla="*/ 90 w 144"/>
                  <a:gd name="T103" fmla="*/ 232 h 242"/>
                  <a:gd name="T104" fmla="*/ 114 w 144"/>
                  <a:gd name="T105" fmla="*/ 230 h 242"/>
                  <a:gd name="T106" fmla="*/ 118 w 144"/>
                  <a:gd name="T107" fmla="*/ 234 h 242"/>
                  <a:gd name="T108" fmla="*/ 125 w 144"/>
                  <a:gd name="T109" fmla="*/ 234 h 242"/>
                  <a:gd name="T110" fmla="*/ 137 w 144"/>
                  <a:gd name="T111" fmla="*/ 239 h 242"/>
                  <a:gd name="T112" fmla="*/ 142 w 144"/>
                  <a:gd name="T113" fmla="*/ 239 h 242"/>
                  <a:gd name="T114" fmla="*/ 144 w 144"/>
                  <a:gd name="T115" fmla="*/ 23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4" h="242">
                    <a:moveTo>
                      <a:pt x="142" y="227"/>
                    </a:moveTo>
                    <a:lnTo>
                      <a:pt x="142" y="225"/>
                    </a:lnTo>
                    <a:lnTo>
                      <a:pt x="142" y="223"/>
                    </a:lnTo>
                    <a:lnTo>
                      <a:pt x="142" y="223"/>
                    </a:lnTo>
                    <a:lnTo>
                      <a:pt x="142" y="220"/>
                    </a:lnTo>
                    <a:lnTo>
                      <a:pt x="142" y="220"/>
                    </a:lnTo>
                    <a:lnTo>
                      <a:pt x="142" y="218"/>
                    </a:lnTo>
                    <a:lnTo>
                      <a:pt x="142" y="218"/>
                    </a:lnTo>
                    <a:lnTo>
                      <a:pt x="142" y="215"/>
                    </a:lnTo>
                    <a:lnTo>
                      <a:pt x="140" y="213"/>
                    </a:lnTo>
                    <a:lnTo>
                      <a:pt x="140" y="213"/>
                    </a:lnTo>
                    <a:lnTo>
                      <a:pt x="140" y="213"/>
                    </a:lnTo>
                    <a:lnTo>
                      <a:pt x="137" y="211"/>
                    </a:lnTo>
                    <a:lnTo>
                      <a:pt x="137" y="211"/>
                    </a:lnTo>
                    <a:lnTo>
                      <a:pt x="135" y="211"/>
                    </a:lnTo>
                    <a:lnTo>
                      <a:pt x="135" y="208"/>
                    </a:lnTo>
                    <a:lnTo>
                      <a:pt x="133" y="206"/>
                    </a:lnTo>
                    <a:lnTo>
                      <a:pt x="130" y="204"/>
                    </a:lnTo>
                    <a:lnTo>
                      <a:pt x="128" y="201"/>
                    </a:lnTo>
                    <a:lnTo>
                      <a:pt x="125" y="199"/>
                    </a:lnTo>
                    <a:lnTo>
                      <a:pt x="123" y="197"/>
                    </a:lnTo>
                    <a:lnTo>
                      <a:pt x="123" y="194"/>
                    </a:lnTo>
                    <a:lnTo>
                      <a:pt x="123" y="192"/>
                    </a:lnTo>
                    <a:lnTo>
                      <a:pt x="123" y="192"/>
                    </a:lnTo>
                    <a:lnTo>
                      <a:pt x="123" y="192"/>
                    </a:lnTo>
                    <a:lnTo>
                      <a:pt x="123" y="192"/>
                    </a:lnTo>
                    <a:lnTo>
                      <a:pt x="123" y="192"/>
                    </a:lnTo>
                    <a:lnTo>
                      <a:pt x="123" y="189"/>
                    </a:lnTo>
                    <a:lnTo>
                      <a:pt x="123" y="187"/>
                    </a:lnTo>
                    <a:lnTo>
                      <a:pt x="121" y="185"/>
                    </a:lnTo>
                    <a:lnTo>
                      <a:pt x="118" y="182"/>
                    </a:lnTo>
                    <a:lnTo>
                      <a:pt x="116" y="180"/>
                    </a:lnTo>
                    <a:lnTo>
                      <a:pt x="116" y="180"/>
                    </a:lnTo>
                    <a:lnTo>
                      <a:pt x="116" y="178"/>
                    </a:lnTo>
                    <a:lnTo>
                      <a:pt x="116" y="170"/>
                    </a:lnTo>
                    <a:lnTo>
                      <a:pt x="114" y="168"/>
                    </a:lnTo>
                    <a:lnTo>
                      <a:pt x="114" y="166"/>
                    </a:lnTo>
                    <a:lnTo>
                      <a:pt x="114" y="166"/>
                    </a:lnTo>
                    <a:lnTo>
                      <a:pt x="114" y="166"/>
                    </a:lnTo>
                    <a:lnTo>
                      <a:pt x="114" y="163"/>
                    </a:lnTo>
                    <a:lnTo>
                      <a:pt x="114" y="163"/>
                    </a:lnTo>
                    <a:lnTo>
                      <a:pt x="114" y="161"/>
                    </a:lnTo>
                    <a:lnTo>
                      <a:pt x="114" y="161"/>
                    </a:lnTo>
                    <a:lnTo>
                      <a:pt x="114" y="154"/>
                    </a:lnTo>
                    <a:lnTo>
                      <a:pt x="114" y="152"/>
                    </a:lnTo>
                    <a:lnTo>
                      <a:pt x="114" y="152"/>
                    </a:lnTo>
                    <a:lnTo>
                      <a:pt x="114" y="152"/>
                    </a:lnTo>
                    <a:lnTo>
                      <a:pt x="111" y="152"/>
                    </a:lnTo>
                    <a:lnTo>
                      <a:pt x="111" y="152"/>
                    </a:lnTo>
                    <a:lnTo>
                      <a:pt x="111" y="149"/>
                    </a:lnTo>
                    <a:lnTo>
                      <a:pt x="111" y="149"/>
                    </a:lnTo>
                    <a:lnTo>
                      <a:pt x="111" y="147"/>
                    </a:lnTo>
                    <a:lnTo>
                      <a:pt x="111" y="147"/>
                    </a:lnTo>
                    <a:lnTo>
                      <a:pt x="114" y="147"/>
                    </a:lnTo>
                    <a:lnTo>
                      <a:pt x="116" y="144"/>
                    </a:lnTo>
                    <a:lnTo>
                      <a:pt x="116" y="144"/>
                    </a:lnTo>
                    <a:lnTo>
                      <a:pt x="116" y="144"/>
                    </a:lnTo>
                    <a:lnTo>
                      <a:pt x="116" y="142"/>
                    </a:lnTo>
                    <a:lnTo>
                      <a:pt x="118" y="137"/>
                    </a:lnTo>
                    <a:lnTo>
                      <a:pt x="121" y="135"/>
                    </a:lnTo>
                    <a:lnTo>
                      <a:pt x="121" y="133"/>
                    </a:lnTo>
                    <a:lnTo>
                      <a:pt x="123" y="130"/>
                    </a:lnTo>
                    <a:lnTo>
                      <a:pt x="123" y="128"/>
                    </a:lnTo>
                    <a:lnTo>
                      <a:pt x="125" y="125"/>
                    </a:lnTo>
                    <a:lnTo>
                      <a:pt x="125" y="125"/>
                    </a:lnTo>
                    <a:lnTo>
                      <a:pt x="125" y="123"/>
                    </a:lnTo>
                    <a:lnTo>
                      <a:pt x="128" y="121"/>
                    </a:lnTo>
                    <a:lnTo>
                      <a:pt x="130" y="118"/>
                    </a:lnTo>
                    <a:lnTo>
                      <a:pt x="130" y="116"/>
                    </a:lnTo>
                    <a:lnTo>
                      <a:pt x="133" y="116"/>
                    </a:lnTo>
                    <a:lnTo>
                      <a:pt x="133" y="114"/>
                    </a:lnTo>
                    <a:lnTo>
                      <a:pt x="133" y="111"/>
                    </a:lnTo>
                    <a:lnTo>
                      <a:pt x="130" y="111"/>
                    </a:lnTo>
                    <a:lnTo>
                      <a:pt x="130" y="111"/>
                    </a:lnTo>
                    <a:lnTo>
                      <a:pt x="128" y="107"/>
                    </a:lnTo>
                    <a:lnTo>
                      <a:pt x="125" y="102"/>
                    </a:lnTo>
                    <a:lnTo>
                      <a:pt x="123" y="97"/>
                    </a:lnTo>
                    <a:lnTo>
                      <a:pt x="121" y="92"/>
                    </a:lnTo>
                    <a:lnTo>
                      <a:pt x="118" y="90"/>
                    </a:lnTo>
                    <a:lnTo>
                      <a:pt x="118" y="90"/>
                    </a:lnTo>
                    <a:lnTo>
                      <a:pt x="116" y="90"/>
                    </a:lnTo>
                    <a:lnTo>
                      <a:pt x="116" y="90"/>
                    </a:lnTo>
                    <a:lnTo>
                      <a:pt x="114" y="85"/>
                    </a:lnTo>
                    <a:lnTo>
                      <a:pt x="109" y="83"/>
                    </a:lnTo>
                    <a:lnTo>
                      <a:pt x="107" y="80"/>
                    </a:lnTo>
                    <a:lnTo>
                      <a:pt x="107" y="78"/>
                    </a:lnTo>
                    <a:lnTo>
                      <a:pt x="104" y="76"/>
                    </a:lnTo>
                    <a:lnTo>
                      <a:pt x="102" y="73"/>
                    </a:lnTo>
                    <a:lnTo>
                      <a:pt x="102" y="71"/>
                    </a:lnTo>
                    <a:lnTo>
                      <a:pt x="104" y="71"/>
                    </a:lnTo>
                    <a:lnTo>
                      <a:pt x="104" y="69"/>
                    </a:lnTo>
                    <a:lnTo>
                      <a:pt x="107" y="66"/>
                    </a:lnTo>
                    <a:lnTo>
                      <a:pt x="109" y="66"/>
                    </a:lnTo>
                    <a:lnTo>
                      <a:pt x="114" y="66"/>
                    </a:lnTo>
                    <a:lnTo>
                      <a:pt x="118" y="66"/>
                    </a:lnTo>
                    <a:lnTo>
                      <a:pt x="123" y="66"/>
                    </a:lnTo>
                    <a:lnTo>
                      <a:pt x="123" y="66"/>
                    </a:lnTo>
                    <a:lnTo>
                      <a:pt x="125" y="66"/>
                    </a:lnTo>
                    <a:lnTo>
                      <a:pt x="128" y="66"/>
                    </a:lnTo>
                    <a:lnTo>
                      <a:pt x="130" y="66"/>
                    </a:lnTo>
                    <a:lnTo>
                      <a:pt x="133" y="66"/>
                    </a:lnTo>
                    <a:lnTo>
                      <a:pt x="130" y="64"/>
                    </a:lnTo>
                    <a:lnTo>
                      <a:pt x="128" y="62"/>
                    </a:lnTo>
                    <a:lnTo>
                      <a:pt x="125" y="59"/>
                    </a:lnTo>
                    <a:lnTo>
                      <a:pt x="125" y="54"/>
                    </a:lnTo>
                    <a:lnTo>
                      <a:pt x="123" y="52"/>
                    </a:lnTo>
                    <a:lnTo>
                      <a:pt x="123" y="47"/>
                    </a:lnTo>
                    <a:lnTo>
                      <a:pt x="121" y="43"/>
                    </a:lnTo>
                    <a:lnTo>
                      <a:pt x="121" y="38"/>
                    </a:lnTo>
                    <a:lnTo>
                      <a:pt x="123" y="38"/>
                    </a:lnTo>
                    <a:lnTo>
                      <a:pt x="123" y="33"/>
                    </a:lnTo>
                    <a:lnTo>
                      <a:pt x="123" y="31"/>
                    </a:lnTo>
                    <a:lnTo>
                      <a:pt x="123" y="28"/>
                    </a:lnTo>
                    <a:lnTo>
                      <a:pt x="123" y="26"/>
                    </a:lnTo>
                    <a:lnTo>
                      <a:pt x="123" y="26"/>
                    </a:lnTo>
                    <a:lnTo>
                      <a:pt x="121" y="21"/>
                    </a:lnTo>
                    <a:lnTo>
                      <a:pt x="121" y="21"/>
                    </a:lnTo>
                    <a:lnTo>
                      <a:pt x="118" y="17"/>
                    </a:lnTo>
                    <a:lnTo>
                      <a:pt x="118" y="12"/>
                    </a:lnTo>
                    <a:lnTo>
                      <a:pt x="116" y="9"/>
                    </a:lnTo>
                    <a:lnTo>
                      <a:pt x="114" y="7"/>
                    </a:lnTo>
                    <a:lnTo>
                      <a:pt x="111" y="7"/>
                    </a:lnTo>
                    <a:lnTo>
                      <a:pt x="111" y="2"/>
                    </a:lnTo>
                    <a:lnTo>
                      <a:pt x="111" y="2"/>
                    </a:lnTo>
                    <a:lnTo>
                      <a:pt x="107" y="0"/>
                    </a:lnTo>
                    <a:lnTo>
                      <a:pt x="104" y="0"/>
                    </a:lnTo>
                    <a:lnTo>
                      <a:pt x="104" y="9"/>
                    </a:lnTo>
                    <a:lnTo>
                      <a:pt x="107" y="12"/>
                    </a:lnTo>
                    <a:lnTo>
                      <a:pt x="107" y="14"/>
                    </a:lnTo>
                    <a:lnTo>
                      <a:pt x="107" y="14"/>
                    </a:lnTo>
                    <a:lnTo>
                      <a:pt x="107" y="14"/>
                    </a:lnTo>
                    <a:lnTo>
                      <a:pt x="107" y="17"/>
                    </a:lnTo>
                    <a:lnTo>
                      <a:pt x="109" y="17"/>
                    </a:lnTo>
                    <a:lnTo>
                      <a:pt x="111" y="17"/>
                    </a:lnTo>
                    <a:lnTo>
                      <a:pt x="114" y="19"/>
                    </a:lnTo>
                    <a:lnTo>
                      <a:pt x="114" y="19"/>
                    </a:lnTo>
                    <a:lnTo>
                      <a:pt x="114" y="21"/>
                    </a:lnTo>
                    <a:lnTo>
                      <a:pt x="114" y="21"/>
                    </a:lnTo>
                    <a:lnTo>
                      <a:pt x="114" y="24"/>
                    </a:lnTo>
                    <a:lnTo>
                      <a:pt x="114" y="26"/>
                    </a:lnTo>
                    <a:lnTo>
                      <a:pt x="114" y="28"/>
                    </a:lnTo>
                    <a:lnTo>
                      <a:pt x="114" y="33"/>
                    </a:lnTo>
                    <a:lnTo>
                      <a:pt x="114" y="33"/>
                    </a:lnTo>
                    <a:lnTo>
                      <a:pt x="114" y="33"/>
                    </a:lnTo>
                    <a:lnTo>
                      <a:pt x="111" y="36"/>
                    </a:lnTo>
                    <a:lnTo>
                      <a:pt x="109" y="36"/>
                    </a:lnTo>
                    <a:lnTo>
                      <a:pt x="107" y="38"/>
                    </a:lnTo>
                    <a:lnTo>
                      <a:pt x="104" y="40"/>
                    </a:lnTo>
                    <a:lnTo>
                      <a:pt x="104" y="40"/>
                    </a:lnTo>
                    <a:lnTo>
                      <a:pt x="102" y="40"/>
                    </a:lnTo>
                    <a:lnTo>
                      <a:pt x="99" y="43"/>
                    </a:lnTo>
                    <a:lnTo>
                      <a:pt x="97" y="47"/>
                    </a:lnTo>
                    <a:lnTo>
                      <a:pt x="95" y="52"/>
                    </a:lnTo>
                    <a:lnTo>
                      <a:pt x="92" y="57"/>
                    </a:lnTo>
                    <a:lnTo>
                      <a:pt x="92" y="62"/>
                    </a:lnTo>
                    <a:lnTo>
                      <a:pt x="90" y="64"/>
                    </a:lnTo>
                    <a:lnTo>
                      <a:pt x="88" y="66"/>
                    </a:lnTo>
                    <a:lnTo>
                      <a:pt x="88" y="66"/>
                    </a:lnTo>
                    <a:lnTo>
                      <a:pt x="88" y="69"/>
                    </a:lnTo>
                    <a:lnTo>
                      <a:pt x="88" y="73"/>
                    </a:lnTo>
                    <a:lnTo>
                      <a:pt x="88" y="76"/>
                    </a:lnTo>
                    <a:lnTo>
                      <a:pt x="88" y="76"/>
                    </a:lnTo>
                    <a:lnTo>
                      <a:pt x="85" y="76"/>
                    </a:lnTo>
                    <a:lnTo>
                      <a:pt x="83" y="78"/>
                    </a:lnTo>
                    <a:lnTo>
                      <a:pt x="81" y="80"/>
                    </a:lnTo>
                    <a:lnTo>
                      <a:pt x="81" y="83"/>
                    </a:lnTo>
                    <a:lnTo>
                      <a:pt x="81" y="88"/>
                    </a:lnTo>
                    <a:lnTo>
                      <a:pt x="81" y="90"/>
                    </a:lnTo>
                    <a:lnTo>
                      <a:pt x="81" y="90"/>
                    </a:lnTo>
                    <a:lnTo>
                      <a:pt x="78" y="92"/>
                    </a:lnTo>
                    <a:lnTo>
                      <a:pt x="78" y="95"/>
                    </a:lnTo>
                    <a:lnTo>
                      <a:pt x="76" y="95"/>
                    </a:lnTo>
                    <a:lnTo>
                      <a:pt x="73" y="95"/>
                    </a:lnTo>
                    <a:lnTo>
                      <a:pt x="71" y="99"/>
                    </a:lnTo>
                    <a:lnTo>
                      <a:pt x="69" y="102"/>
                    </a:lnTo>
                    <a:lnTo>
                      <a:pt x="69" y="104"/>
                    </a:lnTo>
                    <a:lnTo>
                      <a:pt x="69" y="109"/>
                    </a:lnTo>
                    <a:lnTo>
                      <a:pt x="66" y="114"/>
                    </a:lnTo>
                    <a:lnTo>
                      <a:pt x="66" y="116"/>
                    </a:lnTo>
                    <a:lnTo>
                      <a:pt x="66" y="116"/>
                    </a:lnTo>
                    <a:lnTo>
                      <a:pt x="62" y="121"/>
                    </a:lnTo>
                    <a:lnTo>
                      <a:pt x="62" y="121"/>
                    </a:lnTo>
                    <a:lnTo>
                      <a:pt x="62" y="123"/>
                    </a:lnTo>
                    <a:lnTo>
                      <a:pt x="62" y="125"/>
                    </a:lnTo>
                    <a:lnTo>
                      <a:pt x="62" y="125"/>
                    </a:lnTo>
                    <a:lnTo>
                      <a:pt x="62" y="125"/>
                    </a:lnTo>
                    <a:lnTo>
                      <a:pt x="62" y="128"/>
                    </a:lnTo>
                    <a:lnTo>
                      <a:pt x="59" y="130"/>
                    </a:lnTo>
                    <a:lnTo>
                      <a:pt x="57" y="133"/>
                    </a:lnTo>
                    <a:lnTo>
                      <a:pt x="57" y="133"/>
                    </a:lnTo>
                    <a:lnTo>
                      <a:pt x="57" y="135"/>
                    </a:lnTo>
                    <a:lnTo>
                      <a:pt x="57" y="137"/>
                    </a:lnTo>
                    <a:lnTo>
                      <a:pt x="55" y="137"/>
                    </a:lnTo>
                    <a:lnTo>
                      <a:pt x="55" y="140"/>
                    </a:lnTo>
                    <a:lnTo>
                      <a:pt x="52" y="140"/>
                    </a:lnTo>
                    <a:lnTo>
                      <a:pt x="52" y="140"/>
                    </a:lnTo>
                    <a:lnTo>
                      <a:pt x="50" y="142"/>
                    </a:lnTo>
                    <a:lnTo>
                      <a:pt x="50" y="140"/>
                    </a:lnTo>
                    <a:lnTo>
                      <a:pt x="47" y="140"/>
                    </a:lnTo>
                    <a:lnTo>
                      <a:pt x="47" y="135"/>
                    </a:lnTo>
                    <a:lnTo>
                      <a:pt x="47" y="135"/>
                    </a:lnTo>
                    <a:lnTo>
                      <a:pt x="45" y="135"/>
                    </a:lnTo>
                    <a:lnTo>
                      <a:pt x="45" y="133"/>
                    </a:lnTo>
                    <a:lnTo>
                      <a:pt x="43" y="130"/>
                    </a:lnTo>
                    <a:lnTo>
                      <a:pt x="40" y="128"/>
                    </a:lnTo>
                    <a:lnTo>
                      <a:pt x="38" y="128"/>
                    </a:lnTo>
                    <a:lnTo>
                      <a:pt x="38" y="128"/>
                    </a:lnTo>
                    <a:lnTo>
                      <a:pt x="38" y="130"/>
                    </a:lnTo>
                    <a:lnTo>
                      <a:pt x="38" y="133"/>
                    </a:lnTo>
                    <a:lnTo>
                      <a:pt x="36" y="133"/>
                    </a:lnTo>
                    <a:lnTo>
                      <a:pt x="33" y="133"/>
                    </a:lnTo>
                    <a:lnTo>
                      <a:pt x="31" y="130"/>
                    </a:lnTo>
                    <a:lnTo>
                      <a:pt x="31" y="130"/>
                    </a:lnTo>
                    <a:lnTo>
                      <a:pt x="31" y="130"/>
                    </a:lnTo>
                    <a:lnTo>
                      <a:pt x="31" y="130"/>
                    </a:lnTo>
                    <a:lnTo>
                      <a:pt x="29" y="130"/>
                    </a:lnTo>
                    <a:lnTo>
                      <a:pt x="26" y="133"/>
                    </a:lnTo>
                    <a:lnTo>
                      <a:pt x="24" y="133"/>
                    </a:lnTo>
                    <a:lnTo>
                      <a:pt x="24" y="135"/>
                    </a:lnTo>
                    <a:lnTo>
                      <a:pt x="24" y="137"/>
                    </a:lnTo>
                    <a:lnTo>
                      <a:pt x="21" y="140"/>
                    </a:lnTo>
                    <a:lnTo>
                      <a:pt x="19" y="140"/>
                    </a:lnTo>
                    <a:lnTo>
                      <a:pt x="19" y="142"/>
                    </a:lnTo>
                    <a:lnTo>
                      <a:pt x="17" y="142"/>
                    </a:lnTo>
                    <a:lnTo>
                      <a:pt x="17" y="144"/>
                    </a:lnTo>
                    <a:lnTo>
                      <a:pt x="14" y="147"/>
                    </a:lnTo>
                    <a:lnTo>
                      <a:pt x="10" y="149"/>
                    </a:lnTo>
                    <a:lnTo>
                      <a:pt x="10" y="152"/>
                    </a:lnTo>
                    <a:lnTo>
                      <a:pt x="7" y="154"/>
                    </a:lnTo>
                    <a:lnTo>
                      <a:pt x="7" y="159"/>
                    </a:lnTo>
                    <a:lnTo>
                      <a:pt x="7" y="161"/>
                    </a:lnTo>
                    <a:lnTo>
                      <a:pt x="5" y="168"/>
                    </a:lnTo>
                    <a:lnTo>
                      <a:pt x="5" y="170"/>
                    </a:lnTo>
                    <a:lnTo>
                      <a:pt x="2" y="173"/>
                    </a:lnTo>
                    <a:lnTo>
                      <a:pt x="2" y="175"/>
                    </a:lnTo>
                    <a:lnTo>
                      <a:pt x="0" y="178"/>
                    </a:lnTo>
                    <a:lnTo>
                      <a:pt x="2" y="178"/>
                    </a:lnTo>
                    <a:lnTo>
                      <a:pt x="0" y="180"/>
                    </a:lnTo>
                    <a:lnTo>
                      <a:pt x="0" y="180"/>
                    </a:lnTo>
                    <a:lnTo>
                      <a:pt x="2" y="182"/>
                    </a:lnTo>
                    <a:lnTo>
                      <a:pt x="2" y="182"/>
                    </a:lnTo>
                    <a:lnTo>
                      <a:pt x="5" y="180"/>
                    </a:lnTo>
                    <a:lnTo>
                      <a:pt x="2" y="178"/>
                    </a:lnTo>
                    <a:lnTo>
                      <a:pt x="5" y="180"/>
                    </a:lnTo>
                    <a:lnTo>
                      <a:pt x="5" y="180"/>
                    </a:lnTo>
                    <a:lnTo>
                      <a:pt x="5" y="180"/>
                    </a:lnTo>
                    <a:lnTo>
                      <a:pt x="7" y="180"/>
                    </a:lnTo>
                    <a:lnTo>
                      <a:pt x="7" y="180"/>
                    </a:lnTo>
                    <a:lnTo>
                      <a:pt x="7" y="180"/>
                    </a:lnTo>
                    <a:lnTo>
                      <a:pt x="7" y="182"/>
                    </a:lnTo>
                    <a:lnTo>
                      <a:pt x="7" y="185"/>
                    </a:lnTo>
                    <a:lnTo>
                      <a:pt x="7" y="187"/>
                    </a:lnTo>
                    <a:lnTo>
                      <a:pt x="10" y="187"/>
                    </a:lnTo>
                    <a:lnTo>
                      <a:pt x="10" y="189"/>
                    </a:lnTo>
                    <a:lnTo>
                      <a:pt x="12" y="192"/>
                    </a:lnTo>
                    <a:lnTo>
                      <a:pt x="14" y="192"/>
                    </a:lnTo>
                    <a:lnTo>
                      <a:pt x="14" y="194"/>
                    </a:lnTo>
                    <a:lnTo>
                      <a:pt x="14" y="194"/>
                    </a:lnTo>
                    <a:lnTo>
                      <a:pt x="17" y="194"/>
                    </a:lnTo>
                    <a:lnTo>
                      <a:pt x="17" y="194"/>
                    </a:lnTo>
                    <a:lnTo>
                      <a:pt x="19" y="194"/>
                    </a:lnTo>
                    <a:lnTo>
                      <a:pt x="19" y="192"/>
                    </a:lnTo>
                    <a:lnTo>
                      <a:pt x="19" y="192"/>
                    </a:lnTo>
                    <a:lnTo>
                      <a:pt x="19" y="192"/>
                    </a:lnTo>
                    <a:lnTo>
                      <a:pt x="19" y="192"/>
                    </a:lnTo>
                    <a:lnTo>
                      <a:pt x="21" y="192"/>
                    </a:lnTo>
                    <a:lnTo>
                      <a:pt x="21" y="192"/>
                    </a:lnTo>
                    <a:lnTo>
                      <a:pt x="21" y="192"/>
                    </a:lnTo>
                    <a:lnTo>
                      <a:pt x="21" y="192"/>
                    </a:lnTo>
                    <a:lnTo>
                      <a:pt x="21" y="194"/>
                    </a:lnTo>
                    <a:lnTo>
                      <a:pt x="24" y="194"/>
                    </a:lnTo>
                    <a:lnTo>
                      <a:pt x="24" y="197"/>
                    </a:lnTo>
                    <a:lnTo>
                      <a:pt x="21" y="194"/>
                    </a:lnTo>
                    <a:lnTo>
                      <a:pt x="21" y="197"/>
                    </a:lnTo>
                    <a:lnTo>
                      <a:pt x="19" y="197"/>
                    </a:lnTo>
                    <a:lnTo>
                      <a:pt x="21" y="199"/>
                    </a:lnTo>
                    <a:lnTo>
                      <a:pt x="21" y="201"/>
                    </a:lnTo>
                    <a:lnTo>
                      <a:pt x="24" y="201"/>
                    </a:lnTo>
                    <a:lnTo>
                      <a:pt x="21" y="201"/>
                    </a:lnTo>
                    <a:lnTo>
                      <a:pt x="26" y="206"/>
                    </a:lnTo>
                    <a:lnTo>
                      <a:pt x="26" y="208"/>
                    </a:lnTo>
                    <a:lnTo>
                      <a:pt x="26" y="213"/>
                    </a:lnTo>
                    <a:lnTo>
                      <a:pt x="26" y="215"/>
                    </a:lnTo>
                    <a:lnTo>
                      <a:pt x="26" y="220"/>
                    </a:lnTo>
                    <a:lnTo>
                      <a:pt x="24" y="223"/>
                    </a:lnTo>
                    <a:lnTo>
                      <a:pt x="24" y="227"/>
                    </a:lnTo>
                    <a:lnTo>
                      <a:pt x="24" y="230"/>
                    </a:lnTo>
                    <a:lnTo>
                      <a:pt x="24" y="230"/>
                    </a:lnTo>
                    <a:lnTo>
                      <a:pt x="26" y="230"/>
                    </a:lnTo>
                    <a:lnTo>
                      <a:pt x="26" y="230"/>
                    </a:lnTo>
                    <a:lnTo>
                      <a:pt x="29" y="232"/>
                    </a:lnTo>
                    <a:lnTo>
                      <a:pt x="33" y="232"/>
                    </a:lnTo>
                    <a:lnTo>
                      <a:pt x="38" y="232"/>
                    </a:lnTo>
                    <a:lnTo>
                      <a:pt x="43" y="232"/>
                    </a:lnTo>
                    <a:lnTo>
                      <a:pt x="47" y="232"/>
                    </a:lnTo>
                    <a:lnTo>
                      <a:pt x="52" y="232"/>
                    </a:lnTo>
                    <a:lnTo>
                      <a:pt x="52" y="230"/>
                    </a:lnTo>
                    <a:lnTo>
                      <a:pt x="55" y="230"/>
                    </a:lnTo>
                    <a:lnTo>
                      <a:pt x="52" y="227"/>
                    </a:lnTo>
                    <a:lnTo>
                      <a:pt x="57" y="227"/>
                    </a:lnTo>
                    <a:lnTo>
                      <a:pt x="64" y="230"/>
                    </a:lnTo>
                    <a:lnTo>
                      <a:pt x="66" y="230"/>
                    </a:lnTo>
                    <a:lnTo>
                      <a:pt x="69" y="230"/>
                    </a:lnTo>
                    <a:lnTo>
                      <a:pt x="71" y="230"/>
                    </a:lnTo>
                    <a:lnTo>
                      <a:pt x="76" y="230"/>
                    </a:lnTo>
                    <a:lnTo>
                      <a:pt x="76" y="230"/>
                    </a:lnTo>
                    <a:lnTo>
                      <a:pt x="78" y="230"/>
                    </a:lnTo>
                    <a:lnTo>
                      <a:pt x="81" y="230"/>
                    </a:lnTo>
                    <a:lnTo>
                      <a:pt x="88" y="230"/>
                    </a:lnTo>
                    <a:lnTo>
                      <a:pt x="88" y="230"/>
                    </a:lnTo>
                    <a:lnTo>
                      <a:pt x="90" y="230"/>
                    </a:lnTo>
                    <a:lnTo>
                      <a:pt x="90" y="232"/>
                    </a:lnTo>
                    <a:lnTo>
                      <a:pt x="95" y="232"/>
                    </a:lnTo>
                    <a:lnTo>
                      <a:pt x="99" y="232"/>
                    </a:lnTo>
                    <a:lnTo>
                      <a:pt x="104" y="232"/>
                    </a:lnTo>
                    <a:lnTo>
                      <a:pt x="109" y="232"/>
                    </a:lnTo>
                    <a:lnTo>
                      <a:pt x="111" y="232"/>
                    </a:lnTo>
                    <a:lnTo>
                      <a:pt x="114" y="230"/>
                    </a:lnTo>
                    <a:lnTo>
                      <a:pt x="116" y="232"/>
                    </a:lnTo>
                    <a:lnTo>
                      <a:pt x="116" y="232"/>
                    </a:lnTo>
                    <a:lnTo>
                      <a:pt x="116" y="232"/>
                    </a:lnTo>
                    <a:lnTo>
                      <a:pt x="116" y="234"/>
                    </a:lnTo>
                    <a:lnTo>
                      <a:pt x="118" y="232"/>
                    </a:lnTo>
                    <a:lnTo>
                      <a:pt x="118" y="234"/>
                    </a:lnTo>
                    <a:lnTo>
                      <a:pt x="118" y="234"/>
                    </a:lnTo>
                    <a:lnTo>
                      <a:pt x="121" y="234"/>
                    </a:lnTo>
                    <a:lnTo>
                      <a:pt x="123" y="234"/>
                    </a:lnTo>
                    <a:lnTo>
                      <a:pt x="123" y="234"/>
                    </a:lnTo>
                    <a:lnTo>
                      <a:pt x="125" y="234"/>
                    </a:lnTo>
                    <a:lnTo>
                      <a:pt x="125" y="234"/>
                    </a:lnTo>
                    <a:lnTo>
                      <a:pt x="125" y="234"/>
                    </a:lnTo>
                    <a:lnTo>
                      <a:pt x="128" y="237"/>
                    </a:lnTo>
                    <a:lnTo>
                      <a:pt x="130" y="237"/>
                    </a:lnTo>
                    <a:lnTo>
                      <a:pt x="133" y="237"/>
                    </a:lnTo>
                    <a:lnTo>
                      <a:pt x="135" y="237"/>
                    </a:lnTo>
                    <a:lnTo>
                      <a:pt x="137" y="239"/>
                    </a:lnTo>
                    <a:lnTo>
                      <a:pt x="140" y="239"/>
                    </a:lnTo>
                    <a:lnTo>
                      <a:pt x="142" y="242"/>
                    </a:lnTo>
                    <a:lnTo>
                      <a:pt x="142" y="242"/>
                    </a:lnTo>
                    <a:lnTo>
                      <a:pt x="142" y="242"/>
                    </a:lnTo>
                    <a:lnTo>
                      <a:pt x="142" y="242"/>
                    </a:lnTo>
                    <a:lnTo>
                      <a:pt x="142" y="239"/>
                    </a:lnTo>
                    <a:lnTo>
                      <a:pt x="142" y="237"/>
                    </a:lnTo>
                    <a:lnTo>
                      <a:pt x="142" y="234"/>
                    </a:lnTo>
                    <a:lnTo>
                      <a:pt x="142" y="232"/>
                    </a:lnTo>
                    <a:lnTo>
                      <a:pt x="142" y="232"/>
                    </a:lnTo>
                    <a:lnTo>
                      <a:pt x="144" y="230"/>
                    </a:lnTo>
                    <a:lnTo>
                      <a:pt x="144" y="230"/>
                    </a:lnTo>
                    <a:lnTo>
                      <a:pt x="144" y="230"/>
                    </a:lnTo>
                    <a:lnTo>
                      <a:pt x="142" y="227"/>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Freeform 189"/>
              <p:cNvSpPr>
                <a:spLocks noEditPoints="1"/>
              </p:cNvSpPr>
              <p:nvPr/>
            </p:nvSpPr>
            <p:spPr bwMode="auto">
              <a:xfrm>
                <a:off x="4643" y="2490"/>
                <a:ext cx="100" cy="90"/>
              </a:xfrm>
              <a:custGeom>
                <a:avLst/>
                <a:gdLst>
                  <a:gd name="T0" fmla="*/ 22 w 100"/>
                  <a:gd name="T1" fmla="*/ 83 h 90"/>
                  <a:gd name="T2" fmla="*/ 17 w 100"/>
                  <a:gd name="T3" fmla="*/ 71 h 90"/>
                  <a:gd name="T4" fmla="*/ 19 w 100"/>
                  <a:gd name="T5" fmla="*/ 69 h 90"/>
                  <a:gd name="T6" fmla="*/ 97 w 100"/>
                  <a:gd name="T7" fmla="*/ 38 h 90"/>
                  <a:gd name="T8" fmla="*/ 100 w 100"/>
                  <a:gd name="T9" fmla="*/ 24 h 90"/>
                  <a:gd name="T10" fmla="*/ 93 w 100"/>
                  <a:gd name="T11" fmla="*/ 14 h 90"/>
                  <a:gd name="T12" fmla="*/ 93 w 100"/>
                  <a:gd name="T13" fmla="*/ 7 h 90"/>
                  <a:gd name="T14" fmla="*/ 95 w 100"/>
                  <a:gd name="T15" fmla="*/ 0 h 90"/>
                  <a:gd name="T16" fmla="*/ 90 w 100"/>
                  <a:gd name="T17" fmla="*/ 2 h 90"/>
                  <a:gd name="T18" fmla="*/ 88 w 100"/>
                  <a:gd name="T19" fmla="*/ 5 h 90"/>
                  <a:gd name="T20" fmla="*/ 83 w 100"/>
                  <a:gd name="T21" fmla="*/ 7 h 90"/>
                  <a:gd name="T22" fmla="*/ 78 w 100"/>
                  <a:gd name="T23" fmla="*/ 5 h 90"/>
                  <a:gd name="T24" fmla="*/ 76 w 100"/>
                  <a:gd name="T25" fmla="*/ 2 h 90"/>
                  <a:gd name="T26" fmla="*/ 71 w 100"/>
                  <a:gd name="T27" fmla="*/ 5 h 90"/>
                  <a:gd name="T28" fmla="*/ 67 w 100"/>
                  <a:gd name="T29" fmla="*/ 7 h 90"/>
                  <a:gd name="T30" fmla="*/ 69 w 100"/>
                  <a:gd name="T31" fmla="*/ 16 h 90"/>
                  <a:gd name="T32" fmla="*/ 64 w 100"/>
                  <a:gd name="T33" fmla="*/ 12 h 90"/>
                  <a:gd name="T34" fmla="*/ 55 w 100"/>
                  <a:gd name="T35" fmla="*/ 12 h 90"/>
                  <a:gd name="T36" fmla="*/ 52 w 100"/>
                  <a:gd name="T37" fmla="*/ 7 h 90"/>
                  <a:gd name="T38" fmla="*/ 50 w 100"/>
                  <a:gd name="T39" fmla="*/ 9 h 90"/>
                  <a:gd name="T40" fmla="*/ 48 w 100"/>
                  <a:gd name="T41" fmla="*/ 5 h 90"/>
                  <a:gd name="T42" fmla="*/ 34 w 100"/>
                  <a:gd name="T43" fmla="*/ 7 h 90"/>
                  <a:gd name="T44" fmla="*/ 26 w 100"/>
                  <a:gd name="T45" fmla="*/ 7 h 90"/>
                  <a:gd name="T46" fmla="*/ 19 w 100"/>
                  <a:gd name="T47" fmla="*/ 7 h 90"/>
                  <a:gd name="T48" fmla="*/ 10 w 100"/>
                  <a:gd name="T49" fmla="*/ 12 h 90"/>
                  <a:gd name="T50" fmla="*/ 5 w 100"/>
                  <a:gd name="T51" fmla="*/ 21 h 90"/>
                  <a:gd name="T52" fmla="*/ 3 w 100"/>
                  <a:gd name="T53" fmla="*/ 24 h 90"/>
                  <a:gd name="T54" fmla="*/ 3 w 100"/>
                  <a:gd name="T55" fmla="*/ 31 h 90"/>
                  <a:gd name="T56" fmla="*/ 5 w 100"/>
                  <a:gd name="T57" fmla="*/ 42 h 90"/>
                  <a:gd name="T58" fmla="*/ 10 w 100"/>
                  <a:gd name="T59" fmla="*/ 47 h 90"/>
                  <a:gd name="T60" fmla="*/ 17 w 100"/>
                  <a:gd name="T61" fmla="*/ 64 h 90"/>
                  <a:gd name="T62" fmla="*/ 17 w 100"/>
                  <a:gd name="T63" fmla="*/ 66 h 90"/>
                  <a:gd name="T64" fmla="*/ 19 w 100"/>
                  <a:gd name="T65" fmla="*/ 76 h 90"/>
                  <a:gd name="T66" fmla="*/ 26 w 100"/>
                  <a:gd name="T67" fmla="*/ 78 h 90"/>
                  <a:gd name="T68" fmla="*/ 31 w 100"/>
                  <a:gd name="T69" fmla="*/ 76 h 90"/>
                  <a:gd name="T70" fmla="*/ 29 w 100"/>
                  <a:gd name="T71" fmla="*/ 85 h 90"/>
                  <a:gd name="T72" fmla="*/ 34 w 100"/>
                  <a:gd name="T73" fmla="*/ 87 h 90"/>
                  <a:gd name="T74" fmla="*/ 43 w 100"/>
                  <a:gd name="T75" fmla="*/ 87 h 90"/>
                  <a:gd name="T76" fmla="*/ 48 w 100"/>
                  <a:gd name="T77" fmla="*/ 87 h 90"/>
                  <a:gd name="T78" fmla="*/ 55 w 100"/>
                  <a:gd name="T79" fmla="*/ 85 h 90"/>
                  <a:gd name="T80" fmla="*/ 57 w 100"/>
                  <a:gd name="T81" fmla="*/ 83 h 90"/>
                  <a:gd name="T82" fmla="*/ 62 w 100"/>
                  <a:gd name="T83" fmla="*/ 80 h 90"/>
                  <a:gd name="T84" fmla="*/ 64 w 100"/>
                  <a:gd name="T85" fmla="*/ 78 h 90"/>
                  <a:gd name="T86" fmla="*/ 71 w 100"/>
                  <a:gd name="T87" fmla="*/ 78 h 90"/>
                  <a:gd name="T88" fmla="*/ 74 w 100"/>
                  <a:gd name="T89" fmla="*/ 80 h 90"/>
                  <a:gd name="T90" fmla="*/ 76 w 100"/>
                  <a:gd name="T91" fmla="*/ 78 h 90"/>
                  <a:gd name="T92" fmla="*/ 71 w 100"/>
                  <a:gd name="T93" fmla="*/ 71 h 90"/>
                  <a:gd name="T94" fmla="*/ 69 w 100"/>
                  <a:gd name="T95" fmla="*/ 64 h 90"/>
                  <a:gd name="T96" fmla="*/ 71 w 100"/>
                  <a:gd name="T97" fmla="*/ 64 h 90"/>
                  <a:gd name="T98" fmla="*/ 78 w 100"/>
                  <a:gd name="T99" fmla="*/ 64 h 90"/>
                  <a:gd name="T100" fmla="*/ 81 w 100"/>
                  <a:gd name="T101" fmla="*/ 59 h 90"/>
                  <a:gd name="T102" fmla="*/ 86 w 100"/>
                  <a:gd name="T103" fmla="*/ 57 h 90"/>
                  <a:gd name="T104" fmla="*/ 93 w 100"/>
                  <a:gd name="T105" fmla="*/ 50 h 90"/>
                  <a:gd name="T106" fmla="*/ 97 w 100"/>
                  <a:gd name="T107" fmla="*/ 52 h 90"/>
                  <a:gd name="T108" fmla="*/ 100 w 100"/>
                  <a:gd name="T109" fmla="*/ 45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0" h="90">
                    <a:moveTo>
                      <a:pt x="22" y="83"/>
                    </a:moveTo>
                    <a:lnTo>
                      <a:pt x="24" y="85"/>
                    </a:lnTo>
                    <a:lnTo>
                      <a:pt x="24" y="83"/>
                    </a:lnTo>
                    <a:lnTo>
                      <a:pt x="22" y="83"/>
                    </a:lnTo>
                    <a:lnTo>
                      <a:pt x="22" y="83"/>
                    </a:lnTo>
                    <a:close/>
                    <a:moveTo>
                      <a:pt x="17" y="69"/>
                    </a:moveTo>
                    <a:lnTo>
                      <a:pt x="17" y="71"/>
                    </a:lnTo>
                    <a:lnTo>
                      <a:pt x="17" y="71"/>
                    </a:lnTo>
                    <a:lnTo>
                      <a:pt x="17" y="71"/>
                    </a:lnTo>
                    <a:lnTo>
                      <a:pt x="19" y="71"/>
                    </a:lnTo>
                    <a:lnTo>
                      <a:pt x="19" y="71"/>
                    </a:lnTo>
                    <a:lnTo>
                      <a:pt x="19" y="69"/>
                    </a:lnTo>
                    <a:lnTo>
                      <a:pt x="17" y="69"/>
                    </a:lnTo>
                    <a:close/>
                    <a:moveTo>
                      <a:pt x="100" y="42"/>
                    </a:moveTo>
                    <a:lnTo>
                      <a:pt x="100" y="38"/>
                    </a:lnTo>
                    <a:lnTo>
                      <a:pt x="97" y="38"/>
                    </a:lnTo>
                    <a:lnTo>
                      <a:pt x="97" y="35"/>
                    </a:lnTo>
                    <a:lnTo>
                      <a:pt x="97" y="31"/>
                    </a:lnTo>
                    <a:lnTo>
                      <a:pt x="100" y="26"/>
                    </a:lnTo>
                    <a:lnTo>
                      <a:pt x="100" y="24"/>
                    </a:lnTo>
                    <a:lnTo>
                      <a:pt x="97" y="21"/>
                    </a:lnTo>
                    <a:lnTo>
                      <a:pt x="95" y="19"/>
                    </a:lnTo>
                    <a:lnTo>
                      <a:pt x="95" y="14"/>
                    </a:lnTo>
                    <a:lnTo>
                      <a:pt x="93" y="14"/>
                    </a:lnTo>
                    <a:lnTo>
                      <a:pt x="93" y="12"/>
                    </a:lnTo>
                    <a:lnTo>
                      <a:pt x="93" y="12"/>
                    </a:lnTo>
                    <a:lnTo>
                      <a:pt x="93" y="7"/>
                    </a:lnTo>
                    <a:lnTo>
                      <a:pt x="93" y="7"/>
                    </a:lnTo>
                    <a:lnTo>
                      <a:pt x="95" y="5"/>
                    </a:lnTo>
                    <a:lnTo>
                      <a:pt x="95" y="2"/>
                    </a:lnTo>
                    <a:lnTo>
                      <a:pt x="95" y="0"/>
                    </a:lnTo>
                    <a:lnTo>
                      <a:pt x="95" y="0"/>
                    </a:lnTo>
                    <a:lnTo>
                      <a:pt x="93" y="0"/>
                    </a:lnTo>
                    <a:lnTo>
                      <a:pt x="93" y="2"/>
                    </a:lnTo>
                    <a:lnTo>
                      <a:pt x="93" y="2"/>
                    </a:lnTo>
                    <a:lnTo>
                      <a:pt x="90" y="2"/>
                    </a:lnTo>
                    <a:lnTo>
                      <a:pt x="90" y="2"/>
                    </a:lnTo>
                    <a:lnTo>
                      <a:pt x="90" y="5"/>
                    </a:lnTo>
                    <a:lnTo>
                      <a:pt x="88" y="5"/>
                    </a:lnTo>
                    <a:lnTo>
                      <a:pt x="88" y="5"/>
                    </a:lnTo>
                    <a:lnTo>
                      <a:pt x="86" y="5"/>
                    </a:lnTo>
                    <a:lnTo>
                      <a:pt x="86" y="7"/>
                    </a:lnTo>
                    <a:lnTo>
                      <a:pt x="86" y="7"/>
                    </a:lnTo>
                    <a:lnTo>
                      <a:pt x="83" y="7"/>
                    </a:lnTo>
                    <a:lnTo>
                      <a:pt x="83" y="7"/>
                    </a:lnTo>
                    <a:lnTo>
                      <a:pt x="81" y="7"/>
                    </a:lnTo>
                    <a:lnTo>
                      <a:pt x="81" y="7"/>
                    </a:lnTo>
                    <a:lnTo>
                      <a:pt x="78" y="5"/>
                    </a:lnTo>
                    <a:lnTo>
                      <a:pt x="78" y="5"/>
                    </a:lnTo>
                    <a:lnTo>
                      <a:pt x="78" y="5"/>
                    </a:lnTo>
                    <a:lnTo>
                      <a:pt x="76" y="2"/>
                    </a:lnTo>
                    <a:lnTo>
                      <a:pt x="76" y="2"/>
                    </a:lnTo>
                    <a:lnTo>
                      <a:pt x="76" y="2"/>
                    </a:lnTo>
                    <a:lnTo>
                      <a:pt x="74" y="5"/>
                    </a:lnTo>
                    <a:lnTo>
                      <a:pt x="71" y="5"/>
                    </a:lnTo>
                    <a:lnTo>
                      <a:pt x="71" y="5"/>
                    </a:lnTo>
                    <a:lnTo>
                      <a:pt x="71" y="7"/>
                    </a:lnTo>
                    <a:lnTo>
                      <a:pt x="71" y="7"/>
                    </a:lnTo>
                    <a:lnTo>
                      <a:pt x="67" y="7"/>
                    </a:lnTo>
                    <a:lnTo>
                      <a:pt x="67" y="7"/>
                    </a:lnTo>
                    <a:lnTo>
                      <a:pt x="67" y="9"/>
                    </a:lnTo>
                    <a:lnTo>
                      <a:pt x="69" y="12"/>
                    </a:lnTo>
                    <a:lnTo>
                      <a:pt x="71" y="14"/>
                    </a:lnTo>
                    <a:lnTo>
                      <a:pt x="69" y="16"/>
                    </a:lnTo>
                    <a:lnTo>
                      <a:pt x="67" y="16"/>
                    </a:lnTo>
                    <a:lnTo>
                      <a:pt x="64" y="14"/>
                    </a:lnTo>
                    <a:lnTo>
                      <a:pt x="64" y="14"/>
                    </a:lnTo>
                    <a:lnTo>
                      <a:pt x="64" y="12"/>
                    </a:lnTo>
                    <a:lnTo>
                      <a:pt x="60" y="12"/>
                    </a:lnTo>
                    <a:lnTo>
                      <a:pt x="57" y="12"/>
                    </a:lnTo>
                    <a:lnTo>
                      <a:pt x="55" y="12"/>
                    </a:lnTo>
                    <a:lnTo>
                      <a:pt x="55" y="12"/>
                    </a:lnTo>
                    <a:lnTo>
                      <a:pt x="55" y="9"/>
                    </a:lnTo>
                    <a:lnTo>
                      <a:pt x="52" y="9"/>
                    </a:lnTo>
                    <a:lnTo>
                      <a:pt x="52" y="7"/>
                    </a:lnTo>
                    <a:lnTo>
                      <a:pt x="52" y="7"/>
                    </a:lnTo>
                    <a:lnTo>
                      <a:pt x="52" y="7"/>
                    </a:lnTo>
                    <a:lnTo>
                      <a:pt x="52" y="9"/>
                    </a:lnTo>
                    <a:lnTo>
                      <a:pt x="50" y="9"/>
                    </a:lnTo>
                    <a:lnTo>
                      <a:pt x="50" y="9"/>
                    </a:lnTo>
                    <a:lnTo>
                      <a:pt x="50" y="9"/>
                    </a:lnTo>
                    <a:lnTo>
                      <a:pt x="48" y="7"/>
                    </a:lnTo>
                    <a:lnTo>
                      <a:pt x="48" y="7"/>
                    </a:lnTo>
                    <a:lnTo>
                      <a:pt x="48" y="5"/>
                    </a:lnTo>
                    <a:lnTo>
                      <a:pt x="45" y="5"/>
                    </a:lnTo>
                    <a:lnTo>
                      <a:pt x="41" y="7"/>
                    </a:lnTo>
                    <a:lnTo>
                      <a:pt x="38" y="7"/>
                    </a:lnTo>
                    <a:lnTo>
                      <a:pt x="34" y="7"/>
                    </a:lnTo>
                    <a:lnTo>
                      <a:pt x="31" y="7"/>
                    </a:lnTo>
                    <a:lnTo>
                      <a:pt x="31" y="7"/>
                    </a:lnTo>
                    <a:lnTo>
                      <a:pt x="29" y="7"/>
                    </a:lnTo>
                    <a:lnTo>
                      <a:pt x="26" y="7"/>
                    </a:lnTo>
                    <a:lnTo>
                      <a:pt x="26" y="7"/>
                    </a:lnTo>
                    <a:lnTo>
                      <a:pt x="22" y="5"/>
                    </a:lnTo>
                    <a:lnTo>
                      <a:pt x="22" y="5"/>
                    </a:lnTo>
                    <a:lnTo>
                      <a:pt x="19" y="7"/>
                    </a:lnTo>
                    <a:lnTo>
                      <a:pt x="17" y="7"/>
                    </a:lnTo>
                    <a:lnTo>
                      <a:pt x="15" y="7"/>
                    </a:lnTo>
                    <a:lnTo>
                      <a:pt x="12" y="9"/>
                    </a:lnTo>
                    <a:lnTo>
                      <a:pt x="10" y="12"/>
                    </a:lnTo>
                    <a:lnTo>
                      <a:pt x="10" y="14"/>
                    </a:lnTo>
                    <a:lnTo>
                      <a:pt x="10" y="14"/>
                    </a:lnTo>
                    <a:lnTo>
                      <a:pt x="8" y="16"/>
                    </a:lnTo>
                    <a:lnTo>
                      <a:pt x="5" y="21"/>
                    </a:lnTo>
                    <a:lnTo>
                      <a:pt x="5" y="21"/>
                    </a:lnTo>
                    <a:lnTo>
                      <a:pt x="5" y="21"/>
                    </a:lnTo>
                    <a:lnTo>
                      <a:pt x="5" y="24"/>
                    </a:lnTo>
                    <a:lnTo>
                      <a:pt x="3" y="24"/>
                    </a:lnTo>
                    <a:lnTo>
                      <a:pt x="0" y="24"/>
                    </a:lnTo>
                    <a:lnTo>
                      <a:pt x="0" y="24"/>
                    </a:lnTo>
                    <a:lnTo>
                      <a:pt x="3" y="28"/>
                    </a:lnTo>
                    <a:lnTo>
                      <a:pt x="3" y="31"/>
                    </a:lnTo>
                    <a:lnTo>
                      <a:pt x="3" y="33"/>
                    </a:lnTo>
                    <a:lnTo>
                      <a:pt x="5" y="35"/>
                    </a:lnTo>
                    <a:lnTo>
                      <a:pt x="5" y="38"/>
                    </a:lnTo>
                    <a:lnTo>
                      <a:pt x="5" y="42"/>
                    </a:lnTo>
                    <a:lnTo>
                      <a:pt x="8" y="45"/>
                    </a:lnTo>
                    <a:lnTo>
                      <a:pt x="10" y="45"/>
                    </a:lnTo>
                    <a:lnTo>
                      <a:pt x="12" y="47"/>
                    </a:lnTo>
                    <a:lnTo>
                      <a:pt x="10" y="47"/>
                    </a:lnTo>
                    <a:lnTo>
                      <a:pt x="10" y="52"/>
                    </a:lnTo>
                    <a:lnTo>
                      <a:pt x="12" y="54"/>
                    </a:lnTo>
                    <a:lnTo>
                      <a:pt x="15" y="61"/>
                    </a:lnTo>
                    <a:lnTo>
                      <a:pt x="17" y="64"/>
                    </a:lnTo>
                    <a:lnTo>
                      <a:pt x="15" y="61"/>
                    </a:lnTo>
                    <a:lnTo>
                      <a:pt x="17" y="61"/>
                    </a:lnTo>
                    <a:lnTo>
                      <a:pt x="17" y="61"/>
                    </a:lnTo>
                    <a:lnTo>
                      <a:pt x="17" y="66"/>
                    </a:lnTo>
                    <a:lnTo>
                      <a:pt x="19" y="69"/>
                    </a:lnTo>
                    <a:lnTo>
                      <a:pt x="19" y="71"/>
                    </a:lnTo>
                    <a:lnTo>
                      <a:pt x="19" y="73"/>
                    </a:lnTo>
                    <a:lnTo>
                      <a:pt x="19" y="76"/>
                    </a:lnTo>
                    <a:lnTo>
                      <a:pt x="22" y="80"/>
                    </a:lnTo>
                    <a:lnTo>
                      <a:pt x="24" y="80"/>
                    </a:lnTo>
                    <a:lnTo>
                      <a:pt x="24" y="80"/>
                    </a:lnTo>
                    <a:lnTo>
                      <a:pt x="26" y="78"/>
                    </a:lnTo>
                    <a:lnTo>
                      <a:pt x="26" y="76"/>
                    </a:lnTo>
                    <a:lnTo>
                      <a:pt x="29" y="76"/>
                    </a:lnTo>
                    <a:lnTo>
                      <a:pt x="29" y="76"/>
                    </a:lnTo>
                    <a:lnTo>
                      <a:pt x="31" y="76"/>
                    </a:lnTo>
                    <a:lnTo>
                      <a:pt x="31" y="80"/>
                    </a:lnTo>
                    <a:lnTo>
                      <a:pt x="31" y="83"/>
                    </a:lnTo>
                    <a:lnTo>
                      <a:pt x="29" y="83"/>
                    </a:lnTo>
                    <a:lnTo>
                      <a:pt x="29" y="85"/>
                    </a:lnTo>
                    <a:lnTo>
                      <a:pt x="29" y="85"/>
                    </a:lnTo>
                    <a:lnTo>
                      <a:pt x="29" y="87"/>
                    </a:lnTo>
                    <a:lnTo>
                      <a:pt x="31" y="87"/>
                    </a:lnTo>
                    <a:lnTo>
                      <a:pt x="34" y="87"/>
                    </a:lnTo>
                    <a:lnTo>
                      <a:pt x="36" y="85"/>
                    </a:lnTo>
                    <a:lnTo>
                      <a:pt x="36" y="85"/>
                    </a:lnTo>
                    <a:lnTo>
                      <a:pt x="36" y="87"/>
                    </a:lnTo>
                    <a:lnTo>
                      <a:pt x="43" y="87"/>
                    </a:lnTo>
                    <a:lnTo>
                      <a:pt x="45" y="90"/>
                    </a:lnTo>
                    <a:lnTo>
                      <a:pt x="45" y="90"/>
                    </a:lnTo>
                    <a:lnTo>
                      <a:pt x="48" y="90"/>
                    </a:lnTo>
                    <a:lnTo>
                      <a:pt x="48" y="87"/>
                    </a:lnTo>
                    <a:lnTo>
                      <a:pt x="50" y="87"/>
                    </a:lnTo>
                    <a:lnTo>
                      <a:pt x="52" y="87"/>
                    </a:lnTo>
                    <a:lnTo>
                      <a:pt x="52" y="87"/>
                    </a:lnTo>
                    <a:lnTo>
                      <a:pt x="55" y="85"/>
                    </a:lnTo>
                    <a:lnTo>
                      <a:pt x="55" y="85"/>
                    </a:lnTo>
                    <a:lnTo>
                      <a:pt x="57" y="83"/>
                    </a:lnTo>
                    <a:lnTo>
                      <a:pt x="57" y="83"/>
                    </a:lnTo>
                    <a:lnTo>
                      <a:pt x="57" y="83"/>
                    </a:lnTo>
                    <a:lnTo>
                      <a:pt x="55" y="80"/>
                    </a:lnTo>
                    <a:lnTo>
                      <a:pt x="57" y="80"/>
                    </a:lnTo>
                    <a:lnTo>
                      <a:pt x="60" y="80"/>
                    </a:lnTo>
                    <a:lnTo>
                      <a:pt x="62" y="80"/>
                    </a:lnTo>
                    <a:lnTo>
                      <a:pt x="62" y="80"/>
                    </a:lnTo>
                    <a:lnTo>
                      <a:pt x="62" y="78"/>
                    </a:lnTo>
                    <a:lnTo>
                      <a:pt x="62" y="78"/>
                    </a:lnTo>
                    <a:lnTo>
                      <a:pt x="64" y="78"/>
                    </a:lnTo>
                    <a:lnTo>
                      <a:pt x="67" y="78"/>
                    </a:lnTo>
                    <a:lnTo>
                      <a:pt x="69" y="78"/>
                    </a:lnTo>
                    <a:lnTo>
                      <a:pt x="69" y="78"/>
                    </a:lnTo>
                    <a:lnTo>
                      <a:pt x="71" y="78"/>
                    </a:lnTo>
                    <a:lnTo>
                      <a:pt x="71" y="80"/>
                    </a:lnTo>
                    <a:lnTo>
                      <a:pt x="71" y="80"/>
                    </a:lnTo>
                    <a:lnTo>
                      <a:pt x="74" y="80"/>
                    </a:lnTo>
                    <a:lnTo>
                      <a:pt x="74" y="80"/>
                    </a:lnTo>
                    <a:lnTo>
                      <a:pt x="76" y="83"/>
                    </a:lnTo>
                    <a:lnTo>
                      <a:pt x="76" y="83"/>
                    </a:lnTo>
                    <a:lnTo>
                      <a:pt x="76" y="80"/>
                    </a:lnTo>
                    <a:lnTo>
                      <a:pt x="76" y="78"/>
                    </a:lnTo>
                    <a:lnTo>
                      <a:pt x="76" y="76"/>
                    </a:lnTo>
                    <a:lnTo>
                      <a:pt x="76" y="76"/>
                    </a:lnTo>
                    <a:lnTo>
                      <a:pt x="71" y="73"/>
                    </a:lnTo>
                    <a:lnTo>
                      <a:pt x="71" y="71"/>
                    </a:lnTo>
                    <a:lnTo>
                      <a:pt x="71" y="69"/>
                    </a:lnTo>
                    <a:lnTo>
                      <a:pt x="71" y="66"/>
                    </a:lnTo>
                    <a:lnTo>
                      <a:pt x="69" y="66"/>
                    </a:lnTo>
                    <a:lnTo>
                      <a:pt x="69" y="64"/>
                    </a:lnTo>
                    <a:lnTo>
                      <a:pt x="69" y="64"/>
                    </a:lnTo>
                    <a:lnTo>
                      <a:pt x="71" y="64"/>
                    </a:lnTo>
                    <a:lnTo>
                      <a:pt x="71" y="64"/>
                    </a:lnTo>
                    <a:lnTo>
                      <a:pt x="71" y="64"/>
                    </a:lnTo>
                    <a:lnTo>
                      <a:pt x="74" y="61"/>
                    </a:lnTo>
                    <a:lnTo>
                      <a:pt x="74" y="61"/>
                    </a:lnTo>
                    <a:lnTo>
                      <a:pt x="76" y="61"/>
                    </a:lnTo>
                    <a:lnTo>
                      <a:pt x="78" y="64"/>
                    </a:lnTo>
                    <a:lnTo>
                      <a:pt x="81" y="64"/>
                    </a:lnTo>
                    <a:lnTo>
                      <a:pt x="81" y="64"/>
                    </a:lnTo>
                    <a:lnTo>
                      <a:pt x="81" y="61"/>
                    </a:lnTo>
                    <a:lnTo>
                      <a:pt x="81" y="59"/>
                    </a:lnTo>
                    <a:lnTo>
                      <a:pt x="81" y="57"/>
                    </a:lnTo>
                    <a:lnTo>
                      <a:pt x="81" y="57"/>
                    </a:lnTo>
                    <a:lnTo>
                      <a:pt x="83" y="57"/>
                    </a:lnTo>
                    <a:lnTo>
                      <a:pt x="86" y="57"/>
                    </a:lnTo>
                    <a:lnTo>
                      <a:pt x="86" y="54"/>
                    </a:lnTo>
                    <a:lnTo>
                      <a:pt x="90" y="54"/>
                    </a:lnTo>
                    <a:lnTo>
                      <a:pt x="90" y="52"/>
                    </a:lnTo>
                    <a:lnTo>
                      <a:pt x="93" y="50"/>
                    </a:lnTo>
                    <a:lnTo>
                      <a:pt x="95" y="50"/>
                    </a:lnTo>
                    <a:lnTo>
                      <a:pt x="95" y="50"/>
                    </a:lnTo>
                    <a:lnTo>
                      <a:pt x="97" y="50"/>
                    </a:lnTo>
                    <a:lnTo>
                      <a:pt x="97" y="52"/>
                    </a:lnTo>
                    <a:lnTo>
                      <a:pt x="97" y="50"/>
                    </a:lnTo>
                    <a:lnTo>
                      <a:pt x="100" y="50"/>
                    </a:lnTo>
                    <a:lnTo>
                      <a:pt x="100" y="47"/>
                    </a:lnTo>
                    <a:lnTo>
                      <a:pt x="100" y="45"/>
                    </a:lnTo>
                    <a:lnTo>
                      <a:pt x="100" y="42"/>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Freeform 190"/>
              <p:cNvSpPr>
                <a:spLocks/>
              </p:cNvSpPr>
              <p:nvPr/>
            </p:nvSpPr>
            <p:spPr bwMode="auto">
              <a:xfrm>
                <a:off x="3290" y="2850"/>
                <a:ext cx="33" cy="45"/>
              </a:xfrm>
              <a:custGeom>
                <a:avLst/>
                <a:gdLst>
                  <a:gd name="T0" fmla="*/ 33 w 33"/>
                  <a:gd name="T1" fmla="*/ 14 h 45"/>
                  <a:gd name="T2" fmla="*/ 31 w 33"/>
                  <a:gd name="T3" fmla="*/ 14 h 45"/>
                  <a:gd name="T4" fmla="*/ 29 w 33"/>
                  <a:gd name="T5" fmla="*/ 12 h 45"/>
                  <a:gd name="T6" fmla="*/ 26 w 33"/>
                  <a:gd name="T7" fmla="*/ 12 h 45"/>
                  <a:gd name="T8" fmla="*/ 26 w 33"/>
                  <a:gd name="T9" fmla="*/ 9 h 45"/>
                  <a:gd name="T10" fmla="*/ 26 w 33"/>
                  <a:gd name="T11" fmla="*/ 7 h 45"/>
                  <a:gd name="T12" fmla="*/ 26 w 33"/>
                  <a:gd name="T13" fmla="*/ 7 h 45"/>
                  <a:gd name="T14" fmla="*/ 29 w 33"/>
                  <a:gd name="T15" fmla="*/ 2 h 45"/>
                  <a:gd name="T16" fmla="*/ 29 w 33"/>
                  <a:gd name="T17" fmla="*/ 0 h 45"/>
                  <a:gd name="T18" fmla="*/ 26 w 33"/>
                  <a:gd name="T19" fmla="*/ 0 h 45"/>
                  <a:gd name="T20" fmla="*/ 22 w 33"/>
                  <a:gd name="T21" fmla="*/ 0 h 45"/>
                  <a:gd name="T22" fmla="*/ 22 w 33"/>
                  <a:gd name="T23" fmla="*/ 2 h 45"/>
                  <a:gd name="T24" fmla="*/ 19 w 33"/>
                  <a:gd name="T25" fmla="*/ 2 h 45"/>
                  <a:gd name="T26" fmla="*/ 17 w 33"/>
                  <a:gd name="T27" fmla="*/ 0 h 45"/>
                  <a:gd name="T28" fmla="*/ 17 w 33"/>
                  <a:gd name="T29" fmla="*/ 7 h 45"/>
                  <a:gd name="T30" fmla="*/ 15 w 33"/>
                  <a:gd name="T31" fmla="*/ 9 h 45"/>
                  <a:gd name="T32" fmla="*/ 12 w 33"/>
                  <a:gd name="T33" fmla="*/ 9 h 45"/>
                  <a:gd name="T34" fmla="*/ 7 w 33"/>
                  <a:gd name="T35" fmla="*/ 9 h 45"/>
                  <a:gd name="T36" fmla="*/ 5 w 33"/>
                  <a:gd name="T37" fmla="*/ 7 h 45"/>
                  <a:gd name="T38" fmla="*/ 0 w 33"/>
                  <a:gd name="T39" fmla="*/ 4 h 45"/>
                  <a:gd name="T40" fmla="*/ 0 w 33"/>
                  <a:gd name="T41" fmla="*/ 7 h 45"/>
                  <a:gd name="T42" fmla="*/ 0 w 33"/>
                  <a:gd name="T43" fmla="*/ 9 h 45"/>
                  <a:gd name="T44" fmla="*/ 0 w 33"/>
                  <a:gd name="T45" fmla="*/ 9 h 45"/>
                  <a:gd name="T46" fmla="*/ 3 w 33"/>
                  <a:gd name="T47" fmla="*/ 14 h 45"/>
                  <a:gd name="T48" fmla="*/ 3 w 33"/>
                  <a:gd name="T49" fmla="*/ 19 h 45"/>
                  <a:gd name="T50" fmla="*/ 3 w 33"/>
                  <a:gd name="T51" fmla="*/ 23 h 45"/>
                  <a:gd name="T52" fmla="*/ 3 w 33"/>
                  <a:gd name="T53" fmla="*/ 31 h 45"/>
                  <a:gd name="T54" fmla="*/ 5 w 33"/>
                  <a:gd name="T55" fmla="*/ 38 h 45"/>
                  <a:gd name="T56" fmla="*/ 7 w 33"/>
                  <a:gd name="T57" fmla="*/ 45 h 45"/>
                  <a:gd name="T58" fmla="*/ 15 w 33"/>
                  <a:gd name="T59" fmla="*/ 42 h 45"/>
                  <a:gd name="T60" fmla="*/ 22 w 33"/>
                  <a:gd name="T61" fmla="*/ 38 h 45"/>
                  <a:gd name="T62" fmla="*/ 24 w 33"/>
                  <a:gd name="T63" fmla="*/ 31 h 45"/>
                  <a:gd name="T64" fmla="*/ 24 w 33"/>
                  <a:gd name="T65" fmla="*/ 28 h 45"/>
                  <a:gd name="T66" fmla="*/ 26 w 33"/>
                  <a:gd name="T67" fmla="*/ 26 h 45"/>
                  <a:gd name="T68" fmla="*/ 29 w 33"/>
                  <a:gd name="T69" fmla="*/ 23 h 45"/>
                  <a:gd name="T70" fmla="*/ 29 w 33"/>
                  <a:gd name="T71" fmla="*/ 21 h 45"/>
                  <a:gd name="T72" fmla="*/ 31 w 33"/>
                  <a:gd name="T73" fmla="*/ 21 h 45"/>
                  <a:gd name="T74" fmla="*/ 33 w 33"/>
                  <a:gd name="T75" fmla="*/ 19 h 45"/>
                  <a:gd name="T76" fmla="*/ 33 w 33"/>
                  <a:gd name="T77" fmla="*/ 14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3" h="45">
                    <a:moveTo>
                      <a:pt x="33" y="14"/>
                    </a:moveTo>
                    <a:lnTo>
                      <a:pt x="33" y="14"/>
                    </a:lnTo>
                    <a:lnTo>
                      <a:pt x="33" y="14"/>
                    </a:lnTo>
                    <a:lnTo>
                      <a:pt x="31" y="14"/>
                    </a:lnTo>
                    <a:lnTo>
                      <a:pt x="29" y="12"/>
                    </a:lnTo>
                    <a:lnTo>
                      <a:pt x="29" y="12"/>
                    </a:lnTo>
                    <a:lnTo>
                      <a:pt x="26" y="12"/>
                    </a:lnTo>
                    <a:lnTo>
                      <a:pt x="26" y="12"/>
                    </a:lnTo>
                    <a:lnTo>
                      <a:pt x="26" y="9"/>
                    </a:lnTo>
                    <a:lnTo>
                      <a:pt x="26" y="9"/>
                    </a:lnTo>
                    <a:lnTo>
                      <a:pt x="26" y="9"/>
                    </a:lnTo>
                    <a:lnTo>
                      <a:pt x="26" y="7"/>
                    </a:lnTo>
                    <a:lnTo>
                      <a:pt x="26" y="7"/>
                    </a:lnTo>
                    <a:lnTo>
                      <a:pt x="26" y="7"/>
                    </a:lnTo>
                    <a:lnTo>
                      <a:pt x="26" y="4"/>
                    </a:lnTo>
                    <a:lnTo>
                      <a:pt x="29" y="2"/>
                    </a:lnTo>
                    <a:lnTo>
                      <a:pt x="29" y="0"/>
                    </a:lnTo>
                    <a:lnTo>
                      <a:pt x="29" y="0"/>
                    </a:lnTo>
                    <a:lnTo>
                      <a:pt x="26" y="0"/>
                    </a:lnTo>
                    <a:lnTo>
                      <a:pt x="26" y="0"/>
                    </a:lnTo>
                    <a:lnTo>
                      <a:pt x="24" y="0"/>
                    </a:lnTo>
                    <a:lnTo>
                      <a:pt x="22" y="0"/>
                    </a:lnTo>
                    <a:lnTo>
                      <a:pt x="22" y="0"/>
                    </a:lnTo>
                    <a:lnTo>
                      <a:pt x="22" y="2"/>
                    </a:lnTo>
                    <a:lnTo>
                      <a:pt x="19" y="2"/>
                    </a:lnTo>
                    <a:lnTo>
                      <a:pt x="19" y="2"/>
                    </a:lnTo>
                    <a:lnTo>
                      <a:pt x="17" y="0"/>
                    </a:lnTo>
                    <a:lnTo>
                      <a:pt x="17" y="0"/>
                    </a:lnTo>
                    <a:lnTo>
                      <a:pt x="17" y="4"/>
                    </a:lnTo>
                    <a:lnTo>
                      <a:pt x="17" y="7"/>
                    </a:lnTo>
                    <a:lnTo>
                      <a:pt x="17" y="7"/>
                    </a:lnTo>
                    <a:lnTo>
                      <a:pt x="15" y="9"/>
                    </a:lnTo>
                    <a:lnTo>
                      <a:pt x="12" y="9"/>
                    </a:lnTo>
                    <a:lnTo>
                      <a:pt x="12" y="9"/>
                    </a:lnTo>
                    <a:lnTo>
                      <a:pt x="7" y="9"/>
                    </a:lnTo>
                    <a:lnTo>
                      <a:pt x="7" y="9"/>
                    </a:lnTo>
                    <a:lnTo>
                      <a:pt x="5" y="9"/>
                    </a:lnTo>
                    <a:lnTo>
                      <a:pt x="5" y="7"/>
                    </a:lnTo>
                    <a:lnTo>
                      <a:pt x="3" y="4"/>
                    </a:lnTo>
                    <a:lnTo>
                      <a:pt x="0" y="4"/>
                    </a:lnTo>
                    <a:lnTo>
                      <a:pt x="0" y="4"/>
                    </a:lnTo>
                    <a:lnTo>
                      <a:pt x="0" y="7"/>
                    </a:lnTo>
                    <a:lnTo>
                      <a:pt x="0" y="7"/>
                    </a:lnTo>
                    <a:lnTo>
                      <a:pt x="0" y="9"/>
                    </a:lnTo>
                    <a:lnTo>
                      <a:pt x="0" y="9"/>
                    </a:lnTo>
                    <a:lnTo>
                      <a:pt x="0" y="9"/>
                    </a:lnTo>
                    <a:lnTo>
                      <a:pt x="3" y="12"/>
                    </a:lnTo>
                    <a:lnTo>
                      <a:pt x="3" y="14"/>
                    </a:lnTo>
                    <a:lnTo>
                      <a:pt x="3" y="16"/>
                    </a:lnTo>
                    <a:lnTo>
                      <a:pt x="3" y="19"/>
                    </a:lnTo>
                    <a:lnTo>
                      <a:pt x="3" y="21"/>
                    </a:lnTo>
                    <a:lnTo>
                      <a:pt x="3" y="23"/>
                    </a:lnTo>
                    <a:lnTo>
                      <a:pt x="3" y="28"/>
                    </a:lnTo>
                    <a:lnTo>
                      <a:pt x="3" y="31"/>
                    </a:lnTo>
                    <a:lnTo>
                      <a:pt x="3" y="33"/>
                    </a:lnTo>
                    <a:lnTo>
                      <a:pt x="5" y="38"/>
                    </a:lnTo>
                    <a:lnTo>
                      <a:pt x="7" y="40"/>
                    </a:lnTo>
                    <a:lnTo>
                      <a:pt x="7" y="45"/>
                    </a:lnTo>
                    <a:lnTo>
                      <a:pt x="12" y="45"/>
                    </a:lnTo>
                    <a:lnTo>
                      <a:pt x="15" y="42"/>
                    </a:lnTo>
                    <a:lnTo>
                      <a:pt x="17" y="40"/>
                    </a:lnTo>
                    <a:lnTo>
                      <a:pt x="22" y="38"/>
                    </a:lnTo>
                    <a:lnTo>
                      <a:pt x="22" y="35"/>
                    </a:lnTo>
                    <a:lnTo>
                      <a:pt x="24" y="31"/>
                    </a:lnTo>
                    <a:lnTo>
                      <a:pt x="24" y="31"/>
                    </a:lnTo>
                    <a:lnTo>
                      <a:pt x="24" y="28"/>
                    </a:lnTo>
                    <a:lnTo>
                      <a:pt x="26" y="28"/>
                    </a:lnTo>
                    <a:lnTo>
                      <a:pt x="26" y="26"/>
                    </a:lnTo>
                    <a:lnTo>
                      <a:pt x="29" y="23"/>
                    </a:lnTo>
                    <a:lnTo>
                      <a:pt x="29" y="23"/>
                    </a:lnTo>
                    <a:lnTo>
                      <a:pt x="29" y="21"/>
                    </a:lnTo>
                    <a:lnTo>
                      <a:pt x="29" y="21"/>
                    </a:lnTo>
                    <a:lnTo>
                      <a:pt x="29" y="21"/>
                    </a:lnTo>
                    <a:lnTo>
                      <a:pt x="31" y="21"/>
                    </a:lnTo>
                    <a:lnTo>
                      <a:pt x="33" y="19"/>
                    </a:lnTo>
                    <a:lnTo>
                      <a:pt x="33" y="19"/>
                    </a:lnTo>
                    <a:lnTo>
                      <a:pt x="33" y="16"/>
                    </a:lnTo>
                    <a:lnTo>
                      <a:pt x="33" y="14"/>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9" name="Freeform 191"/>
              <p:cNvSpPr>
                <a:spLocks/>
              </p:cNvSpPr>
              <p:nvPr/>
            </p:nvSpPr>
            <p:spPr bwMode="auto">
              <a:xfrm>
                <a:off x="2647" y="2480"/>
                <a:ext cx="147" cy="121"/>
              </a:xfrm>
              <a:custGeom>
                <a:avLst/>
                <a:gdLst>
                  <a:gd name="T0" fmla="*/ 142 w 147"/>
                  <a:gd name="T1" fmla="*/ 60 h 121"/>
                  <a:gd name="T2" fmla="*/ 144 w 147"/>
                  <a:gd name="T3" fmla="*/ 57 h 121"/>
                  <a:gd name="T4" fmla="*/ 142 w 147"/>
                  <a:gd name="T5" fmla="*/ 52 h 121"/>
                  <a:gd name="T6" fmla="*/ 139 w 147"/>
                  <a:gd name="T7" fmla="*/ 52 h 121"/>
                  <a:gd name="T8" fmla="*/ 132 w 147"/>
                  <a:gd name="T9" fmla="*/ 52 h 121"/>
                  <a:gd name="T10" fmla="*/ 121 w 147"/>
                  <a:gd name="T11" fmla="*/ 45 h 121"/>
                  <a:gd name="T12" fmla="*/ 121 w 147"/>
                  <a:gd name="T13" fmla="*/ 38 h 121"/>
                  <a:gd name="T14" fmla="*/ 123 w 147"/>
                  <a:gd name="T15" fmla="*/ 36 h 121"/>
                  <a:gd name="T16" fmla="*/ 121 w 147"/>
                  <a:gd name="T17" fmla="*/ 34 h 121"/>
                  <a:gd name="T18" fmla="*/ 116 w 147"/>
                  <a:gd name="T19" fmla="*/ 31 h 121"/>
                  <a:gd name="T20" fmla="*/ 111 w 147"/>
                  <a:gd name="T21" fmla="*/ 22 h 121"/>
                  <a:gd name="T22" fmla="*/ 109 w 147"/>
                  <a:gd name="T23" fmla="*/ 15 h 121"/>
                  <a:gd name="T24" fmla="*/ 106 w 147"/>
                  <a:gd name="T25" fmla="*/ 5 h 121"/>
                  <a:gd name="T26" fmla="*/ 97 w 147"/>
                  <a:gd name="T27" fmla="*/ 3 h 121"/>
                  <a:gd name="T28" fmla="*/ 92 w 147"/>
                  <a:gd name="T29" fmla="*/ 0 h 121"/>
                  <a:gd name="T30" fmla="*/ 85 w 147"/>
                  <a:gd name="T31" fmla="*/ 7 h 121"/>
                  <a:gd name="T32" fmla="*/ 73 w 147"/>
                  <a:gd name="T33" fmla="*/ 12 h 121"/>
                  <a:gd name="T34" fmla="*/ 66 w 147"/>
                  <a:gd name="T35" fmla="*/ 19 h 121"/>
                  <a:gd name="T36" fmla="*/ 54 w 147"/>
                  <a:gd name="T37" fmla="*/ 19 h 121"/>
                  <a:gd name="T38" fmla="*/ 50 w 147"/>
                  <a:gd name="T39" fmla="*/ 29 h 121"/>
                  <a:gd name="T40" fmla="*/ 47 w 147"/>
                  <a:gd name="T41" fmla="*/ 31 h 121"/>
                  <a:gd name="T42" fmla="*/ 42 w 147"/>
                  <a:gd name="T43" fmla="*/ 36 h 121"/>
                  <a:gd name="T44" fmla="*/ 38 w 147"/>
                  <a:gd name="T45" fmla="*/ 41 h 121"/>
                  <a:gd name="T46" fmla="*/ 28 w 147"/>
                  <a:gd name="T47" fmla="*/ 38 h 121"/>
                  <a:gd name="T48" fmla="*/ 24 w 147"/>
                  <a:gd name="T49" fmla="*/ 43 h 121"/>
                  <a:gd name="T50" fmla="*/ 24 w 147"/>
                  <a:gd name="T51" fmla="*/ 50 h 121"/>
                  <a:gd name="T52" fmla="*/ 21 w 147"/>
                  <a:gd name="T53" fmla="*/ 55 h 121"/>
                  <a:gd name="T54" fmla="*/ 19 w 147"/>
                  <a:gd name="T55" fmla="*/ 64 h 121"/>
                  <a:gd name="T56" fmla="*/ 12 w 147"/>
                  <a:gd name="T57" fmla="*/ 67 h 121"/>
                  <a:gd name="T58" fmla="*/ 5 w 147"/>
                  <a:gd name="T59" fmla="*/ 69 h 121"/>
                  <a:gd name="T60" fmla="*/ 5 w 147"/>
                  <a:gd name="T61" fmla="*/ 76 h 121"/>
                  <a:gd name="T62" fmla="*/ 2 w 147"/>
                  <a:gd name="T63" fmla="*/ 86 h 121"/>
                  <a:gd name="T64" fmla="*/ 2 w 147"/>
                  <a:gd name="T65" fmla="*/ 93 h 121"/>
                  <a:gd name="T66" fmla="*/ 0 w 147"/>
                  <a:gd name="T67" fmla="*/ 100 h 121"/>
                  <a:gd name="T68" fmla="*/ 7 w 147"/>
                  <a:gd name="T69" fmla="*/ 102 h 121"/>
                  <a:gd name="T70" fmla="*/ 9 w 147"/>
                  <a:gd name="T71" fmla="*/ 109 h 121"/>
                  <a:gd name="T72" fmla="*/ 16 w 147"/>
                  <a:gd name="T73" fmla="*/ 114 h 121"/>
                  <a:gd name="T74" fmla="*/ 21 w 147"/>
                  <a:gd name="T75" fmla="*/ 116 h 121"/>
                  <a:gd name="T76" fmla="*/ 31 w 147"/>
                  <a:gd name="T77" fmla="*/ 112 h 121"/>
                  <a:gd name="T78" fmla="*/ 40 w 147"/>
                  <a:gd name="T79" fmla="*/ 112 h 121"/>
                  <a:gd name="T80" fmla="*/ 45 w 147"/>
                  <a:gd name="T81" fmla="*/ 114 h 121"/>
                  <a:gd name="T82" fmla="*/ 50 w 147"/>
                  <a:gd name="T83" fmla="*/ 119 h 121"/>
                  <a:gd name="T84" fmla="*/ 52 w 147"/>
                  <a:gd name="T85" fmla="*/ 119 h 121"/>
                  <a:gd name="T86" fmla="*/ 52 w 147"/>
                  <a:gd name="T87" fmla="*/ 114 h 121"/>
                  <a:gd name="T88" fmla="*/ 52 w 147"/>
                  <a:gd name="T89" fmla="*/ 105 h 121"/>
                  <a:gd name="T90" fmla="*/ 50 w 147"/>
                  <a:gd name="T91" fmla="*/ 100 h 121"/>
                  <a:gd name="T92" fmla="*/ 50 w 147"/>
                  <a:gd name="T93" fmla="*/ 95 h 121"/>
                  <a:gd name="T94" fmla="*/ 52 w 147"/>
                  <a:gd name="T95" fmla="*/ 88 h 121"/>
                  <a:gd name="T96" fmla="*/ 69 w 147"/>
                  <a:gd name="T97" fmla="*/ 88 h 121"/>
                  <a:gd name="T98" fmla="*/ 80 w 147"/>
                  <a:gd name="T99" fmla="*/ 88 h 121"/>
                  <a:gd name="T100" fmla="*/ 87 w 147"/>
                  <a:gd name="T101" fmla="*/ 88 h 121"/>
                  <a:gd name="T102" fmla="*/ 92 w 147"/>
                  <a:gd name="T103" fmla="*/ 88 h 121"/>
                  <a:gd name="T104" fmla="*/ 95 w 147"/>
                  <a:gd name="T105" fmla="*/ 86 h 121"/>
                  <a:gd name="T106" fmla="*/ 97 w 147"/>
                  <a:gd name="T107" fmla="*/ 83 h 121"/>
                  <a:gd name="T108" fmla="*/ 111 w 147"/>
                  <a:gd name="T109" fmla="*/ 88 h 121"/>
                  <a:gd name="T110" fmla="*/ 118 w 147"/>
                  <a:gd name="T111" fmla="*/ 88 h 121"/>
                  <a:gd name="T112" fmla="*/ 121 w 147"/>
                  <a:gd name="T113" fmla="*/ 86 h 121"/>
                  <a:gd name="T114" fmla="*/ 123 w 147"/>
                  <a:gd name="T115" fmla="*/ 83 h 121"/>
                  <a:gd name="T116" fmla="*/ 125 w 147"/>
                  <a:gd name="T117" fmla="*/ 81 h 121"/>
                  <a:gd name="T118" fmla="*/ 128 w 147"/>
                  <a:gd name="T119" fmla="*/ 79 h 121"/>
                  <a:gd name="T120" fmla="*/ 130 w 147"/>
                  <a:gd name="T121" fmla="*/ 79 h 121"/>
                  <a:gd name="T122" fmla="*/ 139 w 147"/>
                  <a:gd name="T123" fmla="*/ 79 h 121"/>
                  <a:gd name="T124" fmla="*/ 147 w 147"/>
                  <a:gd name="T125" fmla="*/ 69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7" h="121">
                    <a:moveTo>
                      <a:pt x="147" y="67"/>
                    </a:moveTo>
                    <a:lnTo>
                      <a:pt x="144" y="64"/>
                    </a:lnTo>
                    <a:lnTo>
                      <a:pt x="142" y="60"/>
                    </a:lnTo>
                    <a:lnTo>
                      <a:pt x="142" y="60"/>
                    </a:lnTo>
                    <a:lnTo>
                      <a:pt x="142" y="60"/>
                    </a:lnTo>
                    <a:lnTo>
                      <a:pt x="142" y="60"/>
                    </a:lnTo>
                    <a:lnTo>
                      <a:pt x="142" y="57"/>
                    </a:lnTo>
                    <a:lnTo>
                      <a:pt x="144" y="57"/>
                    </a:lnTo>
                    <a:lnTo>
                      <a:pt x="144" y="57"/>
                    </a:lnTo>
                    <a:lnTo>
                      <a:pt x="144" y="57"/>
                    </a:lnTo>
                    <a:lnTo>
                      <a:pt x="144" y="55"/>
                    </a:lnTo>
                    <a:lnTo>
                      <a:pt x="142" y="52"/>
                    </a:lnTo>
                    <a:lnTo>
                      <a:pt x="142" y="52"/>
                    </a:lnTo>
                    <a:lnTo>
                      <a:pt x="142" y="52"/>
                    </a:lnTo>
                    <a:lnTo>
                      <a:pt x="139" y="50"/>
                    </a:lnTo>
                    <a:lnTo>
                      <a:pt x="139" y="52"/>
                    </a:lnTo>
                    <a:lnTo>
                      <a:pt x="137" y="52"/>
                    </a:lnTo>
                    <a:lnTo>
                      <a:pt x="137" y="52"/>
                    </a:lnTo>
                    <a:lnTo>
                      <a:pt x="135" y="52"/>
                    </a:lnTo>
                    <a:lnTo>
                      <a:pt x="132" y="52"/>
                    </a:lnTo>
                    <a:lnTo>
                      <a:pt x="130" y="52"/>
                    </a:lnTo>
                    <a:lnTo>
                      <a:pt x="128" y="48"/>
                    </a:lnTo>
                    <a:lnTo>
                      <a:pt x="123" y="45"/>
                    </a:lnTo>
                    <a:lnTo>
                      <a:pt x="121" y="45"/>
                    </a:lnTo>
                    <a:lnTo>
                      <a:pt x="121" y="45"/>
                    </a:lnTo>
                    <a:lnTo>
                      <a:pt x="121" y="41"/>
                    </a:lnTo>
                    <a:lnTo>
                      <a:pt x="121" y="38"/>
                    </a:lnTo>
                    <a:lnTo>
                      <a:pt x="121" y="38"/>
                    </a:lnTo>
                    <a:lnTo>
                      <a:pt x="123" y="38"/>
                    </a:lnTo>
                    <a:lnTo>
                      <a:pt x="125" y="38"/>
                    </a:lnTo>
                    <a:lnTo>
                      <a:pt x="125" y="38"/>
                    </a:lnTo>
                    <a:lnTo>
                      <a:pt x="123" y="36"/>
                    </a:lnTo>
                    <a:lnTo>
                      <a:pt x="123" y="36"/>
                    </a:lnTo>
                    <a:lnTo>
                      <a:pt x="121" y="34"/>
                    </a:lnTo>
                    <a:lnTo>
                      <a:pt x="121" y="34"/>
                    </a:lnTo>
                    <a:lnTo>
                      <a:pt x="121" y="34"/>
                    </a:lnTo>
                    <a:lnTo>
                      <a:pt x="118" y="31"/>
                    </a:lnTo>
                    <a:lnTo>
                      <a:pt x="118" y="31"/>
                    </a:lnTo>
                    <a:lnTo>
                      <a:pt x="118" y="31"/>
                    </a:lnTo>
                    <a:lnTo>
                      <a:pt x="116" y="31"/>
                    </a:lnTo>
                    <a:lnTo>
                      <a:pt x="116" y="31"/>
                    </a:lnTo>
                    <a:lnTo>
                      <a:pt x="113" y="26"/>
                    </a:lnTo>
                    <a:lnTo>
                      <a:pt x="111" y="24"/>
                    </a:lnTo>
                    <a:lnTo>
                      <a:pt x="111" y="22"/>
                    </a:lnTo>
                    <a:lnTo>
                      <a:pt x="109" y="22"/>
                    </a:lnTo>
                    <a:lnTo>
                      <a:pt x="111" y="19"/>
                    </a:lnTo>
                    <a:lnTo>
                      <a:pt x="109" y="17"/>
                    </a:lnTo>
                    <a:lnTo>
                      <a:pt x="109" y="15"/>
                    </a:lnTo>
                    <a:lnTo>
                      <a:pt x="106" y="15"/>
                    </a:lnTo>
                    <a:lnTo>
                      <a:pt x="106" y="10"/>
                    </a:lnTo>
                    <a:lnTo>
                      <a:pt x="106" y="7"/>
                    </a:lnTo>
                    <a:lnTo>
                      <a:pt x="106" y="5"/>
                    </a:lnTo>
                    <a:lnTo>
                      <a:pt x="106" y="5"/>
                    </a:lnTo>
                    <a:lnTo>
                      <a:pt x="104" y="3"/>
                    </a:lnTo>
                    <a:lnTo>
                      <a:pt x="99" y="3"/>
                    </a:lnTo>
                    <a:lnTo>
                      <a:pt x="97" y="3"/>
                    </a:lnTo>
                    <a:lnTo>
                      <a:pt x="95" y="3"/>
                    </a:lnTo>
                    <a:lnTo>
                      <a:pt x="95" y="3"/>
                    </a:lnTo>
                    <a:lnTo>
                      <a:pt x="95" y="0"/>
                    </a:lnTo>
                    <a:lnTo>
                      <a:pt x="92" y="0"/>
                    </a:lnTo>
                    <a:lnTo>
                      <a:pt x="90" y="3"/>
                    </a:lnTo>
                    <a:lnTo>
                      <a:pt x="87" y="5"/>
                    </a:lnTo>
                    <a:lnTo>
                      <a:pt x="85" y="7"/>
                    </a:lnTo>
                    <a:lnTo>
                      <a:pt x="85" y="7"/>
                    </a:lnTo>
                    <a:lnTo>
                      <a:pt x="80" y="7"/>
                    </a:lnTo>
                    <a:lnTo>
                      <a:pt x="76" y="10"/>
                    </a:lnTo>
                    <a:lnTo>
                      <a:pt x="73" y="12"/>
                    </a:lnTo>
                    <a:lnTo>
                      <a:pt x="73" y="12"/>
                    </a:lnTo>
                    <a:lnTo>
                      <a:pt x="71" y="15"/>
                    </a:lnTo>
                    <a:lnTo>
                      <a:pt x="69" y="15"/>
                    </a:lnTo>
                    <a:lnTo>
                      <a:pt x="66" y="15"/>
                    </a:lnTo>
                    <a:lnTo>
                      <a:pt x="66" y="19"/>
                    </a:lnTo>
                    <a:lnTo>
                      <a:pt x="64" y="22"/>
                    </a:lnTo>
                    <a:lnTo>
                      <a:pt x="59" y="19"/>
                    </a:lnTo>
                    <a:lnTo>
                      <a:pt x="57" y="19"/>
                    </a:lnTo>
                    <a:lnTo>
                      <a:pt x="54" y="19"/>
                    </a:lnTo>
                    <a:lnTo>
                      <a:pt x="52" y="22"/>
                    </a:lnTo>
                    <a:lnTo>
                      <a:pt x="50" y="24"/>
                    </a:lnTo>
                    <a:lnTo>
                      <a:pt x="50" y="29"/>
                    </a:lnTo>
                    <a:lnTo>
                      <a:pt x="50" y="29"/>
                    </a:lnTo>
                    <a:lnTo>
                      <a:pt x="50" y="31"/>
                    </a:lnTo>
                    <a:lnTo>
                      <a:pt x="50" y="31"/>
                    </a:lnTo>
                    <a:lnTo>
                      <a:pt x="47" y="31"/>
                    </a:lnTo>
                    <a:lnTo>
                      <a:pt x="47" y="31"/>
                    </a:lnTo>
                    <a:lnTo>
                      <a:pt x="45" y="31"/>
                    </a:lnTo>
                    <a:lnTo>
                      <a:pt x="42" y="31"/>
                    </a:lnTo>
                    <a:lnTo>
                      <a:pt x="42" y="34"/>
                    </a:lnTo>
                    <a:lnTo>
                      <a:pt x="42" y="36"/>
                    </a:lnTo>
                    <a:lnTo>
                      <a:pt x="42" y="38"/>
                    </a:lnTo>
                    <a:lnTo>
                      <a:pt x="40" y="41"/>
                    </a:lnTo>
                    <a:lnTo>
                      <a:pt x="38" y="41"/>
                    </a:lnTo>
                    <a:lnTo>
                      <a:pt x="38" y="41"/>
                    </a:lnTo>
                    <a:lnTo>
                      <a:pt x="38" y="41"/>
                    </a:lnTo>
                    <a:lnTo>
                      <a:pt x="31" y="38"/>
                    </a:lnTo>
                    <a:lnTo>
                      <a:pt x="31" y="36"/>
                    </a:lnTo>
                    <a:lnTo>
                      <a:pt x="28" y="38"/>
                    </a:lnTo>
                    <a:lnTo>
                      <a:pt x="26" y="38"/>
                    </a:lnTo>
                    <a:lnTo>
                      <a:pt x="26" y="41"/>
                    </a:lnTo>
                    <a:lnTo>
                      <a:pt x="24" y="41"/>
                    </a:lnTo>
                    <a:lnTo>
                      <a:pt x="24" y="43"/>
                    </a:lnTo>
                    <a:lnTo>
                      <a:pt x="24" y="43"/>
                    </a:lnTo>
                    <a:lnTo>
                      <a:pt x="24" y="45"/>
                    </a:lnTo>
                    <a:lnTo>
                      <a:pt x="24" y="48"/>
                    </a:lnTo>
                    <a:lnTo>
                      <a:pt x="24" y="50"/>
                    </a:lnTo>
                    <a:lnTo>
                      <a:pt x="19" y="52"/>
                    </a:lnTo>
                    <a:lnTo>
                      <a:pt x="21" y="52"/>
                    </a:lnTo>
                    <a:lnTo>
                      <a:pt x="21" y="55"/>
                    </a:lnTo>
                    <a:lnTo>
                      <a:pt x="21" y="55"/>
                    </a:lnTo>
                    <a:lnTo>
                      <a:pt x="21" y="60"/>
                    </a:lnTo>
                    <a:lnTo>
                      <a:pt x="19" y="60"/>
                    </a:lnTo>
                    <a:lnTo>
                      <a:pt x="19" y="62"/>
                    </a:lnTo>
                    <a:lnTo>
                      <a:pt x="19" y="64"/>
                    </a:lnTo>
                    <a:lnTo>
                      <a:pt x="16" y="64"/>
                    </a:lnTo>
                    <a:lnTo>
                      <a:pt x="16" y="64"/>
                    </a:lnTo>
                    <a:lnTo>
                      <a:pt x="14" y="67"/>
                    </a:lnTo>
                    <a:lnTo>
                      <a:pt x="12" y="67"/>
                    </a:lnTo>
                    <a:lnTo>
                      <a:pt x="7" y="67"/>
                    </a:lnTo>
                    <a:lnTo>
                      <a:pt x="7" y="67"/>
                    </a:lnTo>
                    <a:lnTo>
                      <a:pt x="5" y="69"/>
                    </a:lnTo>
                    <a:lnTo>
                      <a:pt x="5" y="69"/>
                    </a:lnTo>
                    <a:lnTo>
                      <a:pt x="5" y="71"/>
                    </a:lnTo>
                    <a:lnTo>
                      <a:pt x="5" y="74"/>
                    </a:lnTo>
                    <a:lnTo>
                      <a:pt x="5" y="74"/>
                    </a:lnTo>
                    <a:lnTo>
                      <a:pt x="5" y="76"/>
                    </a:lnTo>
                    <a:lnTo>
                      <a:pt x="5" y="76"/>
                    </a:lnTo>
                    <a:lnTo>
                      <a:pt x="5" y="79"/>
                    </a:lnTo>
                    <a:lnTo>
                      <a:pt x="5" y="83"/>
                    </a:lnTo>
                    <a:lnTo>
                      <a:pt x="2" y="86"/>
                    </a:lnTo>
                    <a:lnTo>
                      <a:pt x="2" y="86"/>
                    </a:lnTo>
                    <a:lnTo>
                      <a:pt x="0" y="86"/>
                    </a:lnTo>
                    <a:lnTo>
                      <a:pt x="2" y="88"/>
                    </a:lnTo>
                    <a:lnTo>
                      <a:pt x="2" y="93"/>
                    </a:lnTo>
                    <a:lnTo>
                      <a:pt x="0" y="95"/>
                    </a:lnTo>
                    <a:lnTo>
                      <a:pt x="0" y="97"/>
                    </a:lnTo>
                    <a:lnTo>
                      <a:pt x="0" y="97"/>
                    </a:lnTo>
                    <a:lnTo>
                      <a:pt x="0" y="100"/>
                    </a:lnTo>
                    <a:lnTo>
                      <a:pt x="0" y="102"/>
                    </a:lnTo>
                    <a:lnTo>
                      <a:pt x="2" y="102"/>
                    </a:lnTo>
                    <a:lnTo>
                      <a:pt x="5" y="102"/>
                    </a:lnTo>
                    <a:lnTo>
                      <a:pt x="7" y="102"/>
                    </a:lnTo>
                    <a:lnTo>
                      <a:pt x="7" y="105"/>
                    </a:lnTo>
                    <a:lnTo>
                      <a:pt x="9" y="107"/>
                    </a:lnTo>
                    <a:lnTo>
                      <a:pt x="9" y="107"/>
                    </a:lnTo>
                    <a:lnTo>
                      <a:pt x="9" y="109"/>
                    </a:lnTo>
                    <a:lnTo>
                      <a:pt x="12" y="112"/>
                    </a:lnTo>
                    <a:lnTo>
                      <a:pt x="14" y="112"/>
                    </a:lnTo>
                    <a:lnTo>
                      <a:pt x="14" y="114"/>
                    </a:lnTo>
                    <a:lnTo>
                      <a:pt x="16" y="114"/>
                    </a:lnTo>
                    <a:lnTo>
                      <a:pt x="19" y="114"/>
                    </a:lnTo>
                    <a:lnTo>
                      <a:pt x="19" y="116"/>
                    </a:lnTo>
                    <a:lnTo>
                      <a:pt x="21" y="116"/>
                    </a:lnTo>
                    <a:lnTo>
                      <a:pt x="21" y="116"/>
                    </a:lnTo>
                    <a:lnTo>
                      <a:pt x="24" y="114"/>
                    </a:lnTo>
                    <a:lnTo>
                      <a:pt x="24" y="114"/>
                    </a:lnTo>
                    <a:lnTo>
                      <a:pt x="28" y="112"/>
                    </a:lnTo>
                    <a:lnTo>
                      <a:pt x="31" y="112"/>
                    </a:lnTo>
                    <a:lnTo>
                      <a:pt x="33" y="109"/>
                    </a:lnTo>
                    <a:lnTo>
                      <a:pt x="35" y="109"/>
                    </a:lnTo>
                    <a:lnTo>
                      <a:pt x="40" y="112"/>
                    </a:lnTo>
                    <a:lnTo>
                      <a:pt x="40" y="112"/>
                    </a:lnTo>
                    <a:lnTo>
                      <a:pt x="42" y="112"/>
                    </a:lnTo>
                    <a:lnTo>
                      <a:pt x="45" y="112"/>
                    </a:lnTo>
                    <a:lnTo>
                      <a:pt x="45" y="114"/>
                    </a:lnTo>
                    <a:lnTo>
                      <a:pt x="45" y="114"/>
                    </a:lnTo>
                    <a:lnTo>
                      <a:pt x="47" y="116"/>
                    </a:lnTo>
                    <a:lnTo>
                      <a:pt x="47" y="116"/>
                    </a:lnTo>
                    <a:lnTo>
                      <a:pt x="50" y="119"/>
                    </a:lnTo>
                    <a:lnTo>
                      <a:pt x="50" y="119"/>
                    </a:lnTo>
                    <a:lnTo>
                      <a:pt x="50" y="121"/>
                    </a:lnTo>
                    <a:lnTo>
                      <a:pt x="52" y="121"/>
                    </a:lnTo>
                    <a:lnTo>
                      <a:pt x="52" y="121"/>
                    </a:lnTo>
                    <a:lnTo>
                      <a:pt x="52" y="119"/>
                    </a:lnTo>
                    <a:lnTo>
                      <a:pt x="52" y="119"/>
                    </a:lnTo>
                    <a:lnTo>
                      <a:pt x="52" y="116"/>
                    </a:lnTo>
                    <a:lnTo>
                      <a:pt x="50" y="114"/>
                    </a:lnTo>
                    <a:lnTo>
                      <a:pt x="52" y="114"/>
                    </a:lnTo>
                    <a:lnTo>
                      <a:pt x="52" y="112"/>
                    </a:lnTo>
                    <a:lnTo>
                      <a:pt x="50" y="107"/>
                    </a:lnTo>
                    <a:lnTo>
                      <a:pt x="50" y="105"/>
                    </a:lnTo>
                    <a:lnTo>
                      <a:pt x="52" y="105"/>
                    </a:lnTo>
                    <a:lnTo>
                      <a:pt x="52" y="102"/>
                    </a:lnTo>
                    <a:lnTo>
                      <a:pt x="50" y="102"/>
                    </a:lnTo>
                    <a:lnTo>
                      <a:pt x="50" y="102"/>
                    </a:lnTo>
                    <a:lnTo>
                      <a:pt x="50" y="100"/>
                    </a:lnTo>
                    <a:lnTo>
                      <a:pt x="50" y="100"/>
                    </a:lnTo>
                    <a:lnTo>
                      <a:pt x="50" y="100"/>
                    </a:lnTo>
                    <a:lnTo>
                      <a:pt x="50" y="97"/>
                    </a:lnTo>
                    <a:lnTo>
                      <a:pt x="50" y="95"/>
                    </a:lnTo>
                    <a:lnTo>
                      <a:pt x="50" y="93"/>
                    </a:lnTo>
                    <a:lnTo>
                      <a:pt x="50" y="88"/>
                    </a:lnTo>
                    <a:lnTo>
                      <a:pt x="50" y="88"/>
                    </a:lnTo>
                    <a:lnTo>
                      <a:pt x="52" y="88"/>
                    </a:lnTo>
                    <a:lnTo>
                      <a:pt x="52" y="88"/>
                    </a:lnTo>
                    <a:lnTo>
                      <a:pt x="57" y="88"/>
                    </a:lnTo>
                    <a:lnTo>
                      <a:pt x="61" y="88"/>
                    </a:lnTo>
                    <a:lnTo>
                      <a:pt x="69" y="88"/>
                    </a:lnTo>
                    <a:lnTo>
                      <a:pt x="73" y="88"/>
                    </a:lnTo>
                    <a:lnTo>
                      <a:pt x="73" y="88"/>
                    </a:lnTo>
                    <a:lnTo>
                      <a:pt x="73" y="88"/>
                    </a:lnTo>
                    <a:lnTo>
                      <a:pt x="80" y="88"/>
                    </a:lnTo>
                    <a:lnTo>
                      <a:pt x="83" y="88"/>
                    </a:lnTo>
                    <a:lnTo>
                      <a:pt x="85" y="88"/>
                    </a:lnTo>
                    <a:lnTo>
                      <a:pt x="85" y="88"/>
                    </a:lnTo>
                    <a:lnTo>
                      <a:pt x="87" y="88"/>
                    </a:lnTo>
                    <a:lnTo>
                      <a:pt x="90" y="88"/>
                    </a:lnTo>
                    <a:lnTo>
                      <a:pt x="90" y="88"/>
                    </a:lnTo>
                    <a:lnTo>
                      <a:pt x="90" y="88"/>
                    </a:lnTo>
                    <a:lnTo>
                      <a:pt x="92" y="88"/>
                    </a:lnTo>
                    <a:lnTo>
                      <a:pt x="92" y="88"/>
                    </a:lnTo>
                    <a:lnTo>
                      <a:pt x="95" y="88"/>
                    </a:lnTo>
                    <a:lnTo>
                      <a:pt x="95" y="86"/>
                    </a:lnTo>
                    <a:lnTo>
                      <a:pt x="95" y="86"/>
                    </a:lnTo>
                    <a:lnTo>
                      <a:pt x="95" y="86"/>
                    </a:lnTo>
                    <a:lnTo>
                      <a:pt x="97" y="86"/>
                    </a:lnTo>
                    <a:lnTo>
                      <a:pt x="97" y="86"/>
                    </a:lnTo>
                    <a:lnTo>
                      <a:pt x="97" y="83"/>
                    </a:lnTo>
                    <a:lnTo>
                      <a:pt x="102" y="86"/>
                    </a:lnTo>
                    <a:lnTo>
                      <a:pt x="106" y="86"/>
                    </a:lnTo>
                    <a:lnTo>
                      <a:pt x="111" y="88"/>
                    </a:lnTo>
                    <a:lnTo>
                      <a:pt x="111" y="88"/>
                    </a:lnTo>
                    <a:lnTo>
                      <a:pt x="111" y="88"/>
                    </a:lnTo>
                    <a:lnTo>
                      <a:pt x="113" y="88"/>
                    </a:lnTo>
                    <a:lnTo>
                      <a:pt x="113" y="88"/>
                    </a:lnTo>
                    <a:lnTo>
                      <a:pt x="118" y="88"/>
                    </a:lnTo>
                    <a:lnTo>
                      <a:pt x="121" y="88"/>
                    </a:lnTo>
                    <a:lnTo>
                      <a:pt x="121" y="88"/>
                    </a:lnTo>
                    <a:lnTo>
                      <a:pt x="121" y="86"/>
                    </a:lnTo>
                    <a:lnTo>
                      <a:pt x="121" y="86"/>
                    </a:lnTo>
                    <a:lnTo>
                      <a:pt x="123" y="86"/>
                    </a:lnTo>
                    <a:lnTo>
                      <a:pt x="123" y="86"/>
                    </a:lnTo>
                    <a:lnTo>
                      <a:pt x="123" y="86"/>
                    </a:lnTo>
                    <a:lnTo>
                      <a:pt x="123" y="83"/>
                    </a:lnTo>
                    <a:lnTo>
                      <a:pt x="123" y="83"/>
                    </a:lnTo>
                    <a:lnTo>
                      <a:pt x="123" y="83"/>
                    </a:lnTo>
                    <a:lnTo>
                      <a:pt x="123" y="83"/>
                    </a:lnTo>
                    <a:lnTo>
                      <a:pt x="125" y="81"/>
                    </a:lnTo>
                    <a:lnTo>
                      <a:pt x="125" y="81"/>
                    </a:lnTo>
                    <a:lnTo>
                      <a:pt x="125" y="81"/>
                    </a:lnTo>
                    <a:lnTo>
                      <a:pt x="128" y="81"/>
                    </a:lnTo>
                    <a:lnTo>
                      <a:pt x="128" y="79"/>
                    </a:lnTo>
                    <a:lnTo>
                      <a:pt x="128" y="79"/>
                    </a:lnTo>
                    <a:lnTo>
                      <a:pt x="128" y="79"/>
                    </a:lnTo>
                    <a:lnTo>
                      <a:pt x="130" y="79"/>
                    </a:lnTo>
                    <a:lnTo>
                      <a:pt x="130" y="79"/>
                    </a:lnTo>
                    <a:lnTo>
                      <a:pt x="132" y="79"/>
                    </a:lnTo>
                    <a:lnTo>
                      <a:pt x="132" y="79"/>
                    </a:lnTo>
                    <a:lnTo>
                      <a:pt x="137" y="79"/>
                    </a:lnTo>
                    <a:lnTo>
                      <a:pt x="139" y="79"/>
                    </a:lnTo>
                    <a:lnTo>
                      <a:pt x="144" y="74"/>
                    </a:lnTo>
                    <a:lnTo>
                      <a:pt x="144" y="74"/>
                    </a:lnTo>
                    <a:lnTo>
                      <a:pt x="147" y="69"/>
                    </a:lnTo>
                    <a:lnTo>
                      <a:pt x="147" y="69"/>
                    </a:lnTo>
                    <a:lnTo>
                      <a:pt x="147" y="67"/>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0" name="Freeform 192"/>
              <p:cNvSpPr>
                <a:spLocks/>
              </p:cNvSpPr>
              <p:nvPr/>
            </p:nvSpPr>
            <p:spPr bwMode="auto">
              <a:xfrm>
                <a:off x="3146" y="1867"/>
                <a:ext cx="104" cy="62"/>
              </a:xfrm>
              <a:custGeom>
                <a:avLst/>
                <a:gdLst>
                  <a:gd name="T0" fmla="*/ 99 w 104"/>
                  <a:gd name="T1" fmla="*/ 10 h 62"/>
                  <a:gd name="T2" fmla="*/ 92 w 104"/>
                  <a:gd name="T3" fmla="*/ 7 h 62"/>
                  <a:gd name="T4" fmla="*/ 90 w 104"/>
                  <a:gd name="T5" fmla="*/ 7 h 62"/>
                  <a:gd name="T6" fmla="*/ 85 w 104"/>
                  <a:gd name="T7" fmla="*/ 5 h 62"/>
                  <a:gd name="T8" fmla="*/ 73 w 104"/>
                  <a:gd name="T9" fmla="*/ 2 h 62"/>
                  <a:gd name="T10" fmla="*/ 59 w 104"/>
                  <a:gd name="T11" fmla="*/ 7 h 62"/>
                  <a:gd name="T12" fmla="*/ 52 w 104"/>
                  <a:gd name="T13" fmla="*/ 12 h 62"/>
                  <a:gd name="T14" fmla="*/ 33 w 104"/>
                  <a:gd name="T15" fmla="*/ 10 h 62"/>
                  <a:gd name="T16" fmla="*/ 19 w 104"/>
                  <a:gd name="T17" fmla="*/ 10 h 62"/>
                  <a:gd name="T18" fmla="*/ 7 w 104"/>
                  <a:gd name="T19" fmla="*/ 7 h 62"/>
                  <a:gd name="T20" fmla="*/ 7 w 104"/>
                  <a:gd name="T21" fmla="*/ 5 h 62"/>
                  <a:gd name="T22" fmla="*/ 9 w 104"/>
                  <a:gd name="T23" fmla="*/ 5 h 62"/>
                  <a:gd name="T24" fmla="*/ 5 w 104"/>
                  <a:gd name="T25" fmla="*/ 0 h 62"/>
                  <a:gd name="T26" fmla="*/ 2 w 104"/>
                  <a:gd name="T27" fmla="*/ 2 h 62"/>
                  <a:gd name="T28" fmla="*/ 0 w 104"/>
                  <a:gd name="T29" fmla="*/ 5 h 62"/>
                  <a:gd name="T30" fmla="*/ 0 w 104"/>
                  <a:gd name="T31" fmla="*/ 10 h 62"/>
                  <a:gd name="T32" fmla="*/ 0 w 104"/>
                  <a:gd name="T33" fmla="*/ 12 h 62"/>
                  <a:gd name="T34" fmla="*/ 2 w 104"/>
                  <a:gd name="T35" fmla="*/ 17 h 62"/>
                  <a:gd name="T36" fmla="*/ 7 w 104"/>
                  <a:gd name="T37" fmla="*/ 19 h 62"/>
                  <a:gd name="T38" fmla="*/ 9 w 104"/>
                  <a:gd name="T39" fmla="*/ 24 h 62"/>
                  <a:gd name="T40" fmla="*/ 9 w 104"/>
                  <a:gd name="T41" fmla="*/ 26 h 62"/>
                  <a:gd name="T42" fmla="*/ 2 w 104"/>
                  <a:gd name="T43" fmla="*/ 29 h 62"/>
                  <a:gd name="T44" fmla="*/ 2 w 104"/>
                  <a:gd name="T45" fmla="*/ 31 h 62"/>
                  <a:gd name="T46" fmla="*/ 2 w 104"/>
                  <a:gd name="T47" fmla="*/ 33 h 62"/>
                  <a:gd name="T48" fmla="*/ 2 w 104"/>
                  <a:gd name="T49" fmla="*/ 36 h 62"/>
                  <a:gd name="T50" fmla="*/ 2 w 104"/>
                  <a:gd name="T51" fmla="*/ 40 h 62"/>
                  <a:gd name="T52" fmla="*/ 5 w 104"/>
                  <a:gd name="T53" fmla="*/ 45 h 62"/>
                  <a:gd name="T54" fmla="*/ 9 w 104"/>
                  <a:gd name="T55" fmla="*/ 47 h 62"/>
                  <a:gd name="T56" fmla="*/ 12 w 104"/>
                  <a:gd name="T57" fmla="*/ 52 h 62"/>
                  <a:gd name="T58" fmla="*/ 12 w 104"/>
                  <a:gd name="T59" fmla="*/ 55 h 62"/>
                  <a:gd name="T60" fmla="*/ 14 w 104"/>
                  <a:gd name="T61" fmla="*/ 59 h 62"/>
                  <a:gd name="T62" fmla="*/ 19 w 104"/>
                  <a:gd name="T63" fmla="*/ 59 h 62"/>
                  <a:gd name="T64" fmla="*/ 24 w 104"/>
                  <a:gd name="T65" fmla="*/ 59 h 62"/>
                  <a:gd name="T66" fmla="*/ 28 w 104"/>
                  <a:gd name="T67" fmla="*/ 57 h 62"/>
                  <a:gd name="T68" fmla="*/ 31 w 104"/>
                  <a:gd name="T69" fmla="*/ 57 h 62"/>
                  <a:gd name="T70" fmla="*/ 36 w 104"/>
                  <a:gd name="T71" fmla="*/ 57 h 62"/>
                  <a:gd name="T72" fmla="*/ 40 w 104"/>
                  <a:gd name="T73" fmla="*/ 57 h 62"/>
                  <a:gd name="T74" fmla="*/ 43 w 104"/>
                  <a:gd name="T75" fmla="*/ 59 h 62"/>
                  <a:gd name="T76" fmla="*/ 47 w 104"/>
                  <a:gd name="T77" fmla="*/ 59 h 62"/>
                  <a:gd name="T78" fmla="*/ 54 w 104"/>
                  <a:gd name="T79" fmla="*/ 62 h 62"/>
                  <a:gd name="T80" fmla="*/ 59 w 104"/>
                  <a:gd name="T81" fmla="*/ 59 h 62"/>
                  <a:gd name="T82" fmla="*/ 64 w 104"/>
                  <a:gd name="T83" fmla="*/ 59 h 62"/>
                  <a:gd name="T84" fmla="*/ 66 w 104"/>
                  <a:gd name="T85" fmla="*/ 57 h 62"/>
                  <a:gd name="T86" fmla="*/ 64 w 104"/>
                  <a:gd name="T87" fmla="*/ 52 h 62"/>
                  <a:gd name="T88" fmla="*/ 66 w 104"/>
                  <a:gd name="T89" fmla="*/ 52 h 62"/>
                  <a:gd name="T90" fmla="*/ 69 w 104"/>
                  <a:gd name="T91" fmla="*/ 50 h 62"/>
                  <a:gd name="T92" fmla="*/ 73 w 104"/>
                  <a:gd name="T93" fmla="*/ 50 h 62"/>
                  <a:gd name="T94" fmla="*/ 73 w 104"/>
                  <a:gd name="T95" fmla="*/ 47 h 62"/>
                  <a:gd name="T96" fmla="*/ 78 w 104"/>
                  <a:gd name="T97" fmla="*/ 47 h 62"/>
                  <a:gd name="T98" fmla="*/ 83 w 104"/>
                  <a:gd name="T99" fmla="*/ 45 h 62"/>
                  <a:gd name="T100" fmla="*/ 85 w 104"/>
                  <a:gd name="T101" fmla="*/ 45 h 62"/>
                  <a:gd name="T102" fmla="*/ 90 w 104"/>
                  <a:gd name="T103" fmla="*/ 47 h 62"/>
                  <a:gd name="T104" fmla="*/ 95 w 104"/>
                  <a:gd name="T105" fmla="*/ 47 h 62"/>
                  <a:gd name="T106" fmla="*/ 97 w 104"/>
                  <a:gd name="T107" fmla="*/ 47 h 62"/>
                  <a:gd name="T108" fmla="*/ 92 w 104"/>
                  <a:gd name="T109" fmla="*/ 38 h 62"/>
                  <a:gd name="T110" fmla="*/ 92 w 104"/>
                  <a:gd name="T111" fmla="*/ 31 h 62"/>
                  <a:gd name="T112" fmla="*/ 95 w 104"/>
                  <a:gd name="T113" fmla="*/ 26 h 62"/>
                  <a:gd name="T114" fmla="*/ 95 w 104"/>
                  <a:gd name="T115" fmla="*/ 21 h 62"/>
                  <a:gd name="T116" fmla="*/ 102 w 104"/>
                  <a:gd name="T117" fmla="*/ 19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4" h="62">
                    <a:moveTo>
                      <a:pt x="104" y="10"/>
                    </a:moveTo>
                    <a:lnTo>
                      <a:pt x="102" y="12"/>
                    </a:lnTo>
                    <a:lnTo>
                      <a:pt x="99" y="10"/>
                    </a:lnTo>
                    <a:lnTo>
                      <a:pt x="97" y="10"/>
                    </a:lnTo>
                    <a:lnTo>
                      <a:pt x="95" y="10"/>
                    </a:lnTo>
                    <a:lnTo>
                      <a:pt x="92" y="7"/>
                    </a:lnTo>
                    <a:lnTo>
                      <a:pt x="92" y="5"/>
                    </a:lnTo>
                    <a:lnTo>
                      <a:pt x="90" y="7"/>
                    </a:lnTo>
                    <a:lnTo>
                      <a:pt x="90" y="7"/>
                    </a:lnTo>
                    <a:lnTo>
                      <a:pt x="88" y="5"/>
                    </a:lnTo>
                    <a:lnTo>
                      <a:pt x="85" y="5"/>
                    </a:lnTo>
                    <a:lnTo>
                      <a:pt x="85" y="5"/>
                    </a:lnTo>
                    <a:lnTo>
                      <a:pt x="78" y="2"/>
                    </a:lnTo>
                    <a:lnTo>
                      <a:pt x="78" y="2"/>
                    </a:lnTo>
                    <a:lnTo>
                      <a:pt x="73" y="2"/>
                    </a:lnTo>
                    <a:lnTo>
                      <a:pt x="69" y="5"/>
                    </a:lnTo>
                    <a:lnTo>
                      <a:pt x="64" y="5"/>
                    </a:lnTo>
                    <a:lnTo>
                      <a:pt x="59" y="7"/>
                    </a:lnTo>
                    <a:lnTo>
                      <a:pt x="57" y="10"/>
                    </a:lnTo>
                    <a:lnTo>
                      <a:pt x="54" y="12"/>
                    </a:lnTo>
                    <a:lnTo>
                      <a:pt x="52" y="12"/>
                    </a:lnTo>
                    <a:lnTo>
                      <a:pt x="47" y="12"/>
                    </a:lnTo>
                    <a:lnTo>
                      <a:pt x="40" y="12"/>
                    </a:lnTo>
                    <a:lnTo>
                      <a:pt x="33" y="10"/>
                    </a:lnTo>
                    <a:lnTo>
                      <a:pt x="31" y="10"/>
                    </a:lnTo>
                    <a:lnTo>
                      <a:pt x="26" y="10"/>
                    </a:lnTo>
                    <a:lnTo>
                      <a:pt x="19" y="10"/>
                    </a:lnTo>
                    <a:lnTo>
                      <a:pt x="14" y="7"/>
                    </a:lnTo>
                    <a:lnTo>
                      <a:pt x="9" y="10"/>
                    </a:lnTo>
                    <a:lnTo>
                      <a:pt x="7" y="7"/>
                    </a:lnTo>
                    <a:lnTo>
                      <a:pt x="7" y="7"/>
                    </a:lnTo>
                    <a:lnTo>
                      <a:pt x="7" y="7"/>
                    </a:lnTo>
                    <a:lnTo>
                      <a:pt x="7" y="5"/>
                    </a:lnTo>
                    <a:lnTo>
                      <a:pt x="9" y="5"/>
                    </a:lnTo>
                    <a:lnTo>
                      <a:pt x="9" y="5"/>
                    </a:lnTo>
                    <a:lnTo>
                      <a:pt x="9" y="5"/>
                    </a:lnTo>
                    <a:lnTo>
                      <a:pt x="9" y="2"/>
                    </a:lnTo>
                    <a:lnTo>
                      <a:pt x="5" y="2"/>
                    </a:lnTo>
                    <a:lnTo>
                      <a:pt x="5" y="0"/>
                    </a:lnTo>
                    <a:lnTo>
                      <a:pt x="5" y="0"/>
                    </a:lnTo>
                    <a:lnTo>
                      <a:pt x="2" y="2"/>
                    </a:lnTo>
                    <a:lnTo>
                      <a:pt x="2" y="2"/>
                    </a:lnTo>
                    <a:lnTo>
                      <a:pt x="2" y="5"/>
                    </a:lnTo>
                    <a:lnTo>
                      <a:pt x="0" y="5"/>
                    </a:lnTo>
                    <a:lnTo>
                      <a:pt x="0" y="5"/>
                    </a:lnTo>
                    <a:lnTo>
                      <a:pt x="0" y="7"/>
                    </a:lnTo>
                    <a:lnTo>
                      <a:pt x="0" y="7"/>
                    </a:lnTo>
                    <a:lnTo>
                      <a:pt x="0" y="10"/>
                    </a:lnTo>
                    <a:lnTo>
                      <a:pt x="0" y="12"/>
                    </a:lnTo>
                    <a:lnTo>
                      <a:pt x="0" y="12"/>
                    </a:lnTo>
                    <a:lnTo>
                      <a:pt x="0" y="12"/>
                    </a:lnTo>
                    <a:lnTo>
                      <a:pt x="2" y="14"/>
                    </a:lnTo>
                    <a:lnTo>
                      <a:pt x="2" y="14"/>
                    </a:lnTo>
                    <a:lnTo>
                      <a:pt x="2" y="17"/>
                    </a:lnTo>
                    <a:lnTo>
                      <a:pt x="5" y="19"/>
                    </a:lnTo>
                    <a:lnTo>
                      <a:pt x="7" y="19"/>
                    </a:lnTo>
                    <a:lnTo>
                      <a:pt x="7" y="19"/>
                    </a:lnTo>
                    <a:lnTo>
                      <a:pt x="7" y="21"/>
                    </a:lnTo>
                    <a:lnTo>
                      <a:pt x="9" y="21"/>
                    </a:lnTo>
                    <a:lnTo>
                      <a:pt x="9" y="24"/>
                    </a:lnTo>
                    <a:lnTo>
                      <a:pt x="9" y="24"/>
                    </a:lnTo>
                    <a:lnTo>
                      <a:pt x="9" y="24"/>
                    </a:lnTo>
                    <a:lnTo>
                      <a:pt x="9" y="26"/>
                    </a:lnTo>
                    <a:lnTo>
                      <a:pt x="7" y="26"/>
                    </a:lnTo>
                    <a:lnTo>
                      <a:pt x="7" y="29"/>
                    </a:lnTo>
                    <a:lnTo>
                      <a:pt x="2" y="29"/>
                    </a:lnTo>
                    <a:lnTo>
                      <a:pt x="2" y="29"/>
                    </a:lnTo>
                    <a:lnTo>
                      <a:pt x="2" y="29"/>
                    </a:lnTo>
                    <a:lnTo>
                      <a:pt x="2" y="31"/>
                    </a:lnTo>
                    <a:lnTo>
                      <a:pt x="2" y="31"/>
                    </a:lnTo>
                    <a:lnTo>
                      <a:pt x="2" y="31"/>
                    </a:lnTo>
                    <a:lnTo>
                      <a:pt x="2" y="33"/>
                    </a:lnTo>
                    <a:lnTo>
                      <a:pt x="2" y="36"/>
                    </a:lnTo>
                    <a:lnTo>
                      <a:pt x="2" y="36"/>
                    </a:lnTo>
                    <a:lnTo>
                      <a:pt x="2" y="36"/>
                    </a:lnTo>
                    <a:lnTo>
                      <a:pt x="2" y="38"/>
                    </a:lnTo>
                    <a:lnTo>
                      <a:pt x="2" y="38"/>
                    </a:lnTo>
                    <a:lnTo>
                      <a:pt x="2" y="40"/>
                    </a:lnTo>
                    <a:lnTo>
                      <a:pt x="0" y="40"/>
                    </a:lnTo>
                    <a:lnTo>
                      <a:pt x="2" y="43"/>
                    </a:lnTo>
                    <a:lnTo>
                      <a:pt x="5" y="45"/>
                    </a:lnTo>
                    <a:lnTo>
                      <a:pt x="7" y="45"/>
                    </a:lnTo>
                    <a:lnTo>
                      <a:pt x="9" y="45"/>
                    </a:lnTo>
                    <a:lnTo>
                      <a:pt x="9" y="47"/>
                    </a:lnTo>
                    <a:lnTo>
                      <a:pt x="9" y="50"/>
                    </a:lnTo>
                    <a:lnTo>
                      <a:pt x="12" y="50"/>
                    </a:lnTo>
                    <a:lnTo>
                      <a:pt x="12" y="52"/>
                    </a:lnTo>
                    <a:lnTo>
                      <a:pt x="12" y="52"/>
                    </a:lnTo>
                    <a:lnTo>
                      <a:pt x="12" y="52"/>
                    </a:lnTo>
                    <a:lnTo>
                      <a:pt x="12" y="55"/>
                    </a:lnTo>
                    <a:lnTo>
                      <a:pt x="12" y="59"/>
                    </a:lnTo>
                    <a:lnTo>
                      <a:pt x="12" y="59"/>
                    </a:lnTo>
                    <a:lnTo>
                      <a:pt x="14" y="59"/>
                    </a:lnTo>
                    <a:lnTo>
                      <a:pt x="14" y="59"/>
                    </a:lnTo>
                    <a:lnTo>
                      <a:pt x="17" y="59"/>
                    </a:lnTo>
                    <a:lnTo>
                      <a:pt x="19" y="59"/>
                    </a:lnTo>
                    <a:lnTo>
                      <a:pt x="19" y="59"/>
                    </a:lnTo>
                    <a:lnTo>
                      <a:pt x="21" y="59"/>
                    </a:lnTo>
                    <a:lnTo>
                      <a:pt x="24" y="59"/>
                    </a:lnTo>
                    <a:lnTo>
                      <a:pt x="26" y="59"/>
                    </a:lnTo>
                    <a:lnTo>
                      <a:pt x="28" y="57"/>
                    </a:lnTo>
                    <a:lnTo>
                      <a:pt x="28" y="57"/>
                    </a:lnTo>
                    <a:lnTo>
                      <a:pt x="31" y="57"/>
                    </a:lnTo>
                    <a:lnTo>
                      <a:pt x="31" y="57"/>
                    </a:lnTo>
                    <a:lnTo>
                      <a:pt x="31" y="57"/>
                    </a:lnTo>
                    <a:lnTo>
                      <a:pt x="33" y="57"/>
                    </a:lnTo>
                    <a:lnTo>
                      <a:pt x="36" y="57"/>
                    </a:lnTo>
                    <a:lnTo>
                      <a:pt x="36" y="57"/>
                    </a:lnTo>
                    <a:lnTo>
                      <a:pt x="38" y="55"/>
                    </a:lnTo>
                    <a:lnTo>
                      <a:pt x="38" y="55"/>
                    </a:lnTo>
                    <a:lnTo>
                      <a:pt x="40" y="57"/>
                    </a:lnTo>
                    <a:lnTo>
                      <a:pt x="40" y="57"/>
                    </a:lnTo>
                    <a:lnTo>
                      <a:pt x="40" y="59"/>
                    </a:lnTo>
                    <a:lnTo>
                      <a:pt x="43" y="59"/>
                    </a:lnTo>
                    <a:lnTo>
                      <a:pt x="43" y="59"/>
                    </a:lnTo>
                    <a:lnTo>
                      <a:pt x="45" y="59"/>
                    </a:lnTo>
                    <a:lnTo>
                      <a:pt x="47" y="59"/>
                    </a:lnTo>
                    <a:lnTo>
                      <a:pt x="50" y="59"/>
                    </a:lnTo>
                    <a:lnTo>
                      <a:pt x="52" y="62"/>
                    </a:lnTo>
                    <a:lnTo>
                      <a:pt x="54" y="62"/>
                    </a:lnTo>
                    <a:lnTo>
                      <a:pt x="57" y="62"/>
                    </a:lnTo>
                    <a:lnTo>
                      <a:pt x="57" y="62"/>
                    </a:lnTo>
                    <a:lnTo>
                      <a:pt x="59" y="59"/>
                    </a:lnTo>
                    <a:lnTo>
                      <a:pt x="59" y="59"/>
                    </a:lnTo>
                    <a:lnTo>
                      <a:pt x="62" y="62"/>
                    </a:lnTo>
                    <a:lnTo>
                      <a:pt x="64" y="59"/>
                    </a:lnTo>
                    <a:lnTo>
                      <a:pt x="66" y="59"/>
                    </a:lnTo>
                    <a:lnTo>
                      <a:pt x="66" y="57"/>
                    </a:lnTo>
                    <a:lnTo>
                      <a:pt x="66" y="57"/>
                    </a:lnTo>
                    <a:lnTo>
                      <a:pt x="66" y="55"/>
                    </a:lnTo>
                    <a:lnTo>
                      <a:pt x="64" y="55"/>
                    </a:lnTo>
                    <a:lnTo>
                      <a:pt x="64" y="52"/>
                    </a:lnTo>
                    <a:lnTo>
                      <a:pt x="64" y="52"/>
                    </a:lnTo>
                    <a:lnTo>
                      <a:pt x="66" y="52"/>
                    </a:lnTo>
                    <a:lnTo>
                      <a:pt x="66" y="52"/>
                    </a:lnTo>
                    <a:lnTo>
                      <a:pt x="69" y="52"/>
                    </a:lnTo>
                    <a:lnTo>
                      <a:pt x="69" y="52"/>
                    </a:lnTo>
                    <a:lnTo>
                      <a:pt x="69" y="50"/>
                    </a:lnTo>
                    <a:lnTo>
                      <a:pt x="69" y="50"/>
                    </a:lnTo>
                    <a:lnTo>
                      <a:pt x="71" y="50"/>
                    </a:lnTo>
                    <a:lnTo>
                      <a:pt x="73" y="50"/>
                    </a:lnTo>
                    <a:lnTo>
                      <a:pt x="73" y="47"/>
                    </a:lnTo>
                    <a:lnTo>
                      <a:pt x="73" y="47"/>
                    </a:lnTo>
                    <a:lnTo>
                      <a:pt x="73" y="47"/>
                    </a:lnTo>
                    <a:lnTo>
                      <a:pt x="76" y="47"/>
                    </a:lnTo>
                    <a:lnTo>
                      <a:pt x="76" y="47"/>
                    </a:lnTo>
                    <a:lnTo>
                      <a:pt x="78" y="47"/>
                    </a:lnTo>
                    <a:lnTo>
                      <a:pt x="80" y="45"/>
                    </a:lnTo>
                    <a:lnTo>
                      <a:pt x="80" y="45"/>
                    </a:lnTo>
                    <a:lnTo>
                      <a:pt x="83" y="45"/>
                    </a:lnTo>
                    <a:lnTo>
                      <a:pt x="85" y="45"/>
                    </a:lnTo>
                    <a:lnTo>
                      <a:pt x="85" y="45"/>
                    </a:lnTo>
                    <a:lnTo>
                      <a:pt x="85" y="45"/>
                    </a:lnTo>
                    <a:lnTo>
                      <a:pt x="88" y="47"/>
                    </a:lnTo>
                    <a:lnTo>
                      <a:pt x="90" y="47"/>
                    </a:lnTo>
                    <a:lnTo>
                      <a:pt x="90" y="47"/>
                    </a:lnTo>
                    <a:lnTo>
                      <a:pt x="92" y="47"/>
                    </a:lnTo>
                    <a:lnTo>
                      <a:pt x="92" y="47"/>
                    </a:lnTo>
                    <a:lnTo>
                      <a:pt x="95" y="47"/>
                    </a:lnTo>
                    <a:lnTo>
                      <a:pt x="95" y="47"/>
                    </a:lnTo>
                    <a:lnTo>
                      <a:pt x="95" y="47"/>
                    </a:lnTo>
                    <a:lnTo>
                      <a:pt x="97" y="47"/>
                    </a:lnTo>
                    <a:lnTo>
                      <a:pt x="97" y="45"/>
                    </a:lnTo>
                    <a:lnTo>
                      <a:pt x="95" y="43"/>
                    </a:lnTo>
                    <a:lnTo>
                      <a:pt x="92" y="38"/>
                    </a:lnTo>
                    <a:lnTo>
                      <a:pt x="90" y="38"/>
                    </a:lnTo>
                    <a:lnTo>
                      <a:pt x="88" y="36"/>
                    </a:lnTo>
                    <a:lnTo>
                      <a:pt x="92" y="31"/>
                    </a:lnTo>
                    <a:lnTo>
                      <a:pt x="92" y="31"/>
                    </a:lnTo>
                    <a:lnTo>
                      <a:pt x="95" y="31"/>
                    </a:lnTo>
                    <a:lnTo>
                      <a:pt x="95" y="26"/>
                    </a:lnTo>
                    <a:lnTo>
                      <a:pt x="95" y="21"/>
                    </a:lnTo>
                    <a:lnTo>
                      <a:pt x="95" y="21"/>
                    </a:lnTo>
                    <a:lnTo>
                      <a:pt x="95" y="21"/>
                    </a:lnTo>
                    <a:lnTo>
                      <a:pt x="97" y="17"/>
                    </a:lnTo>
                    <a:lnTo>
                      <a:pt x="99" y="17"/>
                    </a:lnTo>
                    <a:lnTo>
                      <a:pt x="102" y="19"/>
                    </a:lnTo>
                    <a:lnTo>
                      <a:pt x="104" y="17"/>
                    </a:lnTo>
                    <a:lnTo>
                      <a:pt x="104" y="10"/>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1" name="Freeform 193"/>
              <p:cNvSpPr>
                <a:spLocks noEditPoints="1"/>
              </p:cNvSpPr>
              <p:nvPr/>
            </p:nvSpPr>
            <p:spPr bwMode="auto">
              <a:xfrm>
                <a:off x="4875" y="2693"/>
                <a:ext cx="24" cy="22"/>
              </a:xfrm>
              <a:custGeom>
                <a:avLst/>
                <a:gdLst>
                  <a:gd name="T0" fmla="*/ 22 w 24"/>
                  <a:gd name="T1" fmla="*/ 12 h 22"/>
                  <a:gd name="T2" fmla="*/ 22 w 24"/>
                  <a:gd name="T3" fmla="*/ 10 h 22"/>
                  <a:gd name="T4" fmla="*/ 22 w 24"/>
                  <a:gd name="T5" fmla="*/ 8 h 22"/>
                  <a:gd name="T6" fmla="*/ 19 w 24"/>
                  <a:gd name="T7" fmla="*/ 5 h 22"/>
                  <a:gd name="T8" fmla="*/ 19 w 24"/>
                  <a:gd name="T9" fmla="*/ 3 h 22"/>
                  <a:gd name="T10" fmla="*/ 17 w 24"/>
                  <a:gd name="T11" fmla="*/ 3 h 22"/>
                  <a:gd name="T12" fmla="*/ 17 w 24"/>
                  <a:gd name="T13" fmla="*/ 5 h 22"/>
                  <a:gd name="T14" fmla="*/ 17 w 24"/>
                  <a:gd name="T15" fmla="*/ 8 h 22"/>
                  <a:gd name="T16" fmla="*/ 19 w 24"/>
                  <a:gd name="T17" fmla="*/ 10 h 22"/>
                  <a:gd name="T18" fmla="*/ 19 w 24"/>
                  <a:gd name="T19" fmla="*/ 15 h 22"/>
                  <a:gd name="T20" fmla="*/ 22 w 24"/>
                  <a:gd name="T21" fmla="*/ 15 h 22"/>
                  <a:gd name="T22" fmla="*/ 22 w 24"/>
                  <a:gd name="T23" fmla="*/ 15 h 22"/>
                  <a:gd name="T24" fmla="*/ 24 w 24"/>
                  <a:gd name="T25" fmla="*/ 15 h 22"/>
                  <a:gd name="T26" fmla="*/ 24 w 24"/>
                  <a:gd name="T27" fmla="*/ 15 h 22"/>
                  <a:gd name="T28" fmla="*/ 24 w 24"/>
                  <a:gd name="T29" fmla="*/ 15 h 22"/>
                  <a:gd name="T30" fmla="*/ 22 w 24"/>
                  <a:gd name="T31" fmla="*/ 12 h 22"/>
                  <a:gd name="T32" fmla="*/ 17 w 24"/>
                  <a:gd name="T33" fmla="*/ 0 h 22"/>
                  <a:gd name="T34" fmla="*/ 17 w 24"/>
                  <a:gd name="T35" fmla="*/ 0 h 22"/>
                  <a:gd name="T36" fmla="*/ 14 w 24"/>
                  <a:gd name="T37" fmla="*/ 3 h 22"/>
                  <a:gd name="T38" fmla="*/ 12 w 24"/>
                  <a:gd name="T39" fmla="*/ 3 h 22"/>
                  <a:gd name="T40" fmla="*/ 10 w 24"/>
                  <a:gd name="T41" fmla="*/ 5 h 22"/>
                  <a:gd name="T42" fmla="*/ 10 w 24"/>
                  <a:gd name="T43" fmla="*/ 8 h 22"/>
                  <a:gd name="T44" fmla="*/ 7 w 24"/>
                  <a:gd name="T45" fmla="*/ 8 h 22"/>
                  <a:gd name="T46" fmla="*/ 5 w 24"/>
                  <a:gd name="T47" fmla="*/ 10 h 22"/>
                  <a:gd name="T48" fmla="*/ 3 w 24"/>
                  <a:gd name="T49" fmla="*/ 10 h 22"/>
                  <a:gd name="T50" fmla="*/ 0 w 24"/>
                  <a:gd name="T51" fmla="*/ 10 h 22"/>
                  <a:gd name="T52" fmla="*/ 0 w 24"/>
                  <a:gd name="T53" fmla="*/ 10 h 22"/>
                  <a:gd name="T54" fmla="*/ 3 w 24"/>
                  <a:gd name="T55" fmla="*/ 12 h 22"/>
                  <a:gd name="T56" fmla="*/ 3 w 24"/>
                  <a:gd name="T57" fmla="*/ 12 h 22"/>
                  <a:gd name="T58" fmla="*/ 3 w 24"/>
                  <a:gd name="T59" fmla="*/ 15 h 22"/>
                  <a:gd name="T60" fmla="*/ 5 w 24"/>
                  <a:gd name="T61" fmla="*/ 15 h 22"/>
                  <a:gd name="T62" fmla="*/ 5 w 24"/>
                  <a:gd name="T63" fmla="*/ 17 h 22"/>
                  <a:gd name="T64" fmla="*/ 5 w 24"/>
                  <a:gd name="T65" fmla="*/ 17 h 22"/>
                  <a:gd name="T66" fmla="*/ 7 w 24"/>
                  <a:gd name="T67" fmla="*/ 17 h 22"/>
                  <a:gd name="T68" fmla="*/ 7 w 24"/>
                  <a:gd name="T69" fmla="*/ 17 h 22"/>
                  <a:gd name="T70" fmla="*/ 10 w 24"/>
                  <a:gd name="T71" fmla="*/ 19 h 22"/>
                  <a:gd name="T72" fmla="*/ 10 w 24"/>
                  <a:gd name="T73" fmla="*/ 22 h 22"/>
                  <a:gd name="T74" fmla="*/ 10 w 24"/>
                  <a:gd name="T75" fmla="*/ 22 h 22"/>
                  <a:gd name="T76" fmla="*/ 12 w 24"/>
                  <a:gd name="T77" fmla="*/ 22 h 22"/>
                  <a:gd name="T78" fmla="*/ 12 w 24"/>
                  <a:gd name="T79" fmla="*/ 19 h 22"/>
                  <a:gd name="T80" fmla="*/ 14 w 24"/>
                  <a:gd name="T81" fmla="*/ 19 h 22"/>
                  <a:gd name="T82" fmla="*/ 14 w 24"/>
                  <a:gd name="T83" fmla="*/ 17 h 22"/>
                  <a:gd name="T84" fmla="*/ 14 w 24"/>
                  <a:gd name="T85" fmla="*/ 17 h 22"/>
                  <a:gd name="T86" fmla="*/ 14 w 24"/>
                  <a:gd name="T87" fmla="*/ 15 h 22"/>
                  <a:gd name="T88" fmla="*/ 14 w 24"/>
                  <a:gd name="T89" fmla="*/ 15 h 22"/>
                  <a:gd name="T90" fmla="*/ 14 w 24"/>
                  <a:gd name="T91" fmla="*/ 12 h 22"/>
                  <a:gd name="T92" fmla="*/ 14 w 24"/>
                  <a:gd name="T93" fmla="*/ 12 h 22"/>
                  <a:gd name="T94" fmla="*/ 12 w 24"/>
                  <a:gd name="T95" fmla="*/ 10 h 22"/>
                  <a:gd name="T96" fmla="*/ 12 w 24"/>
                  <a:gd name="T97" fmla="*/ 8 h 22"/>
                  <a:gd name="T98" fmla="*/ 12 w 24"/>
                  <a:gd name="T99" fmla="*/ 8 h 22"/>
                  <a:gd name="T100" fmla="*/ 12 w 24"/>
                  <a:gd name="T101" fmla="*/ 8 h 22"/>
                  <a:gd name="T102" fmla="*/ 14 w 24"/>
                  <a:gd name="T103" fmla="*/ 5 h 22"/>
                  <a:gd name="T104" fmla="*/ 17 w 24"/>
                  <a:gd name="T105" fmla="*/ 5 h 22"/>
                  <a:gd name="T106" fmla="*/ 17 w 24"/>
                  <a:gd name="T107" fmla="*/ 3 h 22"/>
                  <a:gd name="T108" fmla="*/ 17 w 24"/>
                  <a:gd name="T109" fmla="*/ 3 h 22"/>
                  <a:gd name="T110" fmla="*/ 17 w 24"/>
                  <a:gd name="T11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4" h="22">
                    <a:moveTo>
                      <a:pt x="22" y="12"/>
                    </a:moveTo>
                    <a:lnTo>
                      <a:pt x="22" y="10"/>
                    </a:lnTo>
                    <a:lnTo>
                      <a:pt x="22" y="8"/>
                    </a:lnTo>
                    <a:lnTo>
                      <a:pt x="19" y="5"/>
                    </a:lnTo>
                    <a:lnTo>
                      <a:pt x="19" y="3"/>
                    </a:lnTo>
                    <a:lnTo>
                      <a:pt x="17" y="3"/>
                    </a:lnTo>
                    <a:lnTo>
                      <a:pt x="17" y="5"/>
                    </a:lnTo>
                    <a:lnTo>
                      <a:pt x="17" y="8"/>
                    </a:lnTo>
                    <a:lnTo>
                      <a:pt x="19" y="10"/>
                    </a:lnTo>
                    <a:lnTo>
                      <a:pt x="19" y="15"/>
                    </a:lnTo>
                    <a:lnTo>
                      <a:pt x="22" y="15"/>
                    </a:lnTo>
                    <a:lnTo>
                      <a:pt x="22" y="15"/>
                    </a:lnTo>
                    <a:lnTo>
                      <a:pt x="24" y="15"/>
                    </a:lnTo>
                    <a:lnTo>
                      <a:pt x="24" y="15"/>
                    </a:lnTo>
                    <a:lnTo>
                      <a:pt x="24" y="15"/>
                    </a:lnTo>
                    <a:lnTo>
                      <a:pt x="22" y="12"/>
                    </a:lnTo>
                    <a:close/>
                    <a:moveTo>
                      <a:pt x="17" y="0"/>
                    </a:moveTo>
                    <a:lnTo>
                      <a:pt x="17" y="0"/>
                    </a:lnTo>
                    <a:lnTo>
                      <a:pt x="14" y="3"/>
                    </a:lnTo>
                    <a:lnTo>
                      <a:pt x="12" y="3"/>
                    </a:lnTo>
                    <a:lnTo>
                      <a:pt x="10" y="5"/>
                    </a:lnTo>
                    <a:lnTo>
                      <a:pt x="10" y="8"/>
                    </a:lnTo>
                    <a:lnTo>
                      <a:pt x="7" y="8"/>
                    </a:lnTo>
                    <a:lnTo>
                      <a:pt x="5" y="10"/>
                    </a:lnTo>
                    <a:lnTo>
                      <a:pt x="3" y="10"/>
                    </a:lnTo>
                    <a:lnTo>
                      <a:pt x="0" y="10"/>
                    </a:lnTo>
                    <a:lnTo>
                      <a:pt x="0" y="10"/>
                    </a:lnTo>
                    <a:lnTo>
                      <a:pt x="3" y="12"/>
                    </a:lnTo>
                    <a:lnTo>
                      <a:pt x="3" y="12"/>
                    </a:lnTo>
                    <a:lnTo>
                      <a:pt x="3" y="15"/>
                    </a:lnTo>
                    <a:lnTo>
                      <a:pt x="5" y="15"/>
                    </a:lnTo>
                    <a:lnTo>
                      <a:pt x="5" y="17"/>
                    </a:lnTo>
                    <a:lnTo>
                      <a:pt x="5" y="17"/>
                    </a:lnTo>
                    <a:lnTo>
                      <a:pt x="7" y="17"/>
                    </a:lnTo>
                    <a:lnTo>
                      <a:pt x="7" y="17"/>
                    </a:lnTo>
                    <a:lnTo>
                      <a:pt x="10" y="19"/>
                    </a:lnTo>
                    <a:lnTo>
                      <a:pt x="10" y="22"/>
                    </a:lnTo>
                    <a:lnTo>
                      <a:pt x="10" y="22"/>
                    </a:lnTo>
                    <a:lnTo>
                      <a:pt x="12" y="22"/>
                    </a:lnTo>
                    <a:lnTo>
                      <a:pt x="12" y="19"/>
                    </a:lnTo>
                    <a:lnTo>
                      <a:pt x="14" y="19"/>
                    </a:lnTo>
                    <a:lnTo>
                      <a:pt x="14" y="17"/>
                    </a:lnTo>
                    <a:lnTo>
                      <a:pt x="14" y="17"/>
                    </a:lnTo>
                    <a:lnTo>
                      <a:pt x="14" y="15"/>
                    </a:lnTo>
                    <a:lnTo>
                      <a:pt x="14" y="15"/>
                    </a:lnTo>
                    <a:lnTo>
                      <a:pt x="14" y="12"/>
                    </a:lnTo>
                    <a:lnTo>
                      <a:pt x="14" y="12"/>
                    </a:lnTo>
                    <a:lnTo>
                      <a:pt x="12" y="10"/>
                    </a:lnTo>
                    <a:lnTo>
                      <a:pt x="12" y="8"/>
                    </a:lnTo>
                    <a:lnTo>
                      <a:pt x="12" y="8"/>
                    </a:lnTo>
                    <a:lnTo>
                      <a:pt x="12" y="8"/>
                    </a:lnTo>
                    <a:lnTo>
                      <a:pt x="14" y="5"/>
                    </a:lnTo>
                    <a:lnTo>
                      <a:pt x="17" y="5"/>
                    </a:lnTo>
                    <a:lnTo>
                      <a:pt x="17" y="3"/>
                    </a:lnTo>
                    <a:lnTo>
                      <a:pt x="17" y="3"/>
                    </a:lnTo>
                    <a:lnTo>
                      <a:pt x="17" y="0"/>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2" name="Freeform 194"/>
              <p:cNvSpPr>
                <a:spLocks noEditPoints="1"/>
              </p:cNvSpPr>
              <p:nvPr/>
            </p:nvSpPr>
            <p:spPr bwMode="auto">
              <a:xfrm>
                <a:off x="1563" y="2405"/>
                <a:ext cx="8" cy="7"/>
              </a:xfrm>
              <a:custGeom>
                <a:avLst/>
                <a:gdLst>
                  <a:gd name="T0" fmla="*/ 0 w 8"/>
                  <a:gd name="T1" fmla="*/ 4 h 7"/>
                  <a:gd name="T2" fmla="*/ 0 w 8"/>
                  <a:gd name="T3" fmla="*/ 7 h 7"/>
                  <a:gd name="T4" fmla="*/ 0 w 8"/>
                  <a:gd name="T5" fmla="*/ 7 h 7"/>
                  <a:gd name="T6" fmla="*/ 0 w 8"/>
                  <a:gd name="T7" fmla="*/ 7 h 7"/>
                  <a:gd name="T8" fmla="*/ 3 w 8"/>
                  <a:gd name="T9" fmla="*/ 4 h 7"/>
                  <a:gd name="T10" fmla="*/ 3 w 8"/>
                  <a:gd name="T11" fmla="*/ 4 h 7"/>
                  <a:gd name="T12" fmla="*/ 0 w 8"/>
                  <a:gd name="T13" fmla="*/ 4 h 7"/>
                  <a:gd name="T14" fmla="*/ 5 w 8"/>
                  <a:gd name="T15" fmla="*/ 4 h 7"/>
                  <a:gd name="T16" fmla="*/ 5 w 8"/>
                  <a:gd name="T17" fmla="*/ 4 h 7"/>
                  <a:gd name="T18" fmla="*/ 5 w 8"/>
                  <a:gd name="T19" fmla="*/ 4 h 7"/>
                  <a:gd name="T20" fmla="*/ 5 w 8"/>
                  <a:gd name="T21" fmla="*/ 4 h 7"/>
                  <a:gd name="T22" fmla="*/ 8 w 8"/>
                  <a:gd name="T23" fmla="*/ 4 h 7"/>
                  <a:gd name="T24" fmla="*/ 5 w 8"/>
                  <a:gd name="T25" fmla="*/ 4 h 7"/>
                  <a:gd name="T26" fmla="*/ 5 w 8"/>
                  <a:gd name="T27" fmla="*/ 4 h 7"/>
                  <a:gd name="T28" fmla="*/ 8 w 8"/>
                  <a:gd name="T29" fmla="*/ 0 h 7"/>
                  <a:gd name="T30" fmla="*/ 8 w 8"/>
                  <a:gd name="T31" fmla="*/ 0 h 7"/>
                  <a:gd name="T32" fmla="*/ 5 w 8"/>
                  <a:gd name="T33" fmla="*/ 0 h 7"/>
                  <a:gd name="T34" fmla="*/ 5 w 8"/>
                  <a:gd name="T35" fmla="*/ 0 h 7"/>
                  <a:gd name="T36" fmla="*/ 5 w 8"/>
                  <a:gd name="T37" fmla="*/ 0 h 7"/>
                  <a:gd name="T38" fmla="*/ 8 w 8"/>
                  <a:gd name="T39" fmla="*/ 0 h 7"/>
                  <a:gd name="T40" fmla="*/ 8 w 8"/>
                  <a:gd name="T41" fmla="*/ 0 h 7"/>
                  <a:gd name="T42" fmla="*/ 8 w 8"/>
                  <a:gd name="T43" fmla="*/ 0 h 7"/>
                  <a:gd name="T44" fmla="*/ 8 w 8"/>
                  <a:gd name="T45"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 h="7">
                    <a:moveTo>
                      <a:pt x="0" y="4"/>
                    </a:moveTo>
                    <a:lnTo>
                      <a:pt x="0" y="7"/>
                    </a:lnTo>
                    <a:lnTo>
                      <a:pt x="0" y="7"/>
                    </a:lnTo>
                    <a:lnTo>
                      <a:pt x="0" y="7"/>
                    </a:lnTo>
                    <a:lnTo>
                      <a:pt x="3" y="4"/>
                    </a:lnTo>
                    <a:lnTo>
                      <a:pt x="3" y="4"/>
                    </a:lnTo>
                    <a:lnTo>
                      <a:pt x="0" y="4"/>
                    </a:lnTo>
                    <a:close/>
                    <a:moveTo>
                      <a:pt x="5" y="4"/>
                    </a:moveTo>
                    <a:lnTo>
                      <a:pt x="5" y="4"/>
                    </a:lnTo>
                    <a:lnTo>
                      <a:pt x="5" y="4"/>
                    </a:lnTo>
                    <a:lnTo>
                      <a:pt x="5" y="4"/>
                    </a:lnTo>
                    <a:lnTo>
                      <a:pt x="8" y="4"/>
                    </a:lnTo>
                    <a:lnTo>
                      <a:pt x="5" y="4"/>
                    </a:lnTo>
                    <a:lnTo>
                      <a:pt x="5" y="4"/>
                    </a:lnTo>
                    <a:close/>
                    <a:moveTo>
                      <a:pt x="8" y="0"/>
                    </a:moveTo>
                    <a:lnTo>
                      <a:pt x="8" y="0"/>
                    </a:lnTo>
                    <a:lnTo>
                      <a:pt x="5" y="0"/>
                    </a:lnTo>
                    <a:lnTo>
                      <a:pt x="5" y="0"/>
                    </a:lnTo>
                    <a:lnTo>
                      <a:pt x="5" y="0"/>
                    </a:lnTo>
                    <a:lnTo>
                      <a:pt x="8" y="0"/>
                    </a:lnTo>
                    <a:lnTo>
                      <a:pt x="8" y="0"/>
                    </a:lnTo>
                    <a:lnTo>
                      <a:pt x="8" y="0"/>
                    </a:lnTo>
                    <a:lnTo>
                      <a:pt x="8" y="0"/>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Freeform 195"/>
              <p:cNvSpPr>
                <a:spLocks noEditPoints="1"/>
              </p:cNvSpPr>
              <p:nvPr/>
            </p:nvSpPr>
            <p:spPr bwMode="auto">
              <a:xfrm>
                <a:off x="1372" y="2689"/>
                <a:ext cx="728" cy="824"/>
              </a:xfrm>
              <a:custGeom>
                <a:avLst/>
                <a:gdLst>
                  <a:gd name="T0" fmla="*/ 575 w 728"/>
                  <a:gd name="T1" fmla="*/ 599 h 824"/>
                  <a:gd name="T2" fmla="*/ 546 w 728"/>
                  <a:gd name="T3" fmla="*/ 170 h 824"/>
                  <a:gd name="T4" fmla="*/ 409 w 728"/>
                  <a:gd name="T5" fmla="*/ 137 h 824"/>
                  <a:gd name="T6" fmla="*/ 442 w 728"/>
                  <a:gd name="T7" fmla="*/ 149 h 824"/>
                  <a:gd name="T8" fmla="*/ 471 w 728"/>
                  <a:gd name="T9" fmla="*/ 128 h 824"/>
                  <a:gd name="T10" fmla="*/ 447 w 728"/>
                  <a:gd name="T11" fmla="*/ 113 h 824"/>
                  <a:gd name="T12" fmla="*/ 435 w 728"/>
                  <a:gd name="T13" fmla="*/ 102 h 824"/>
                  <a:gd name="T14" fmla="*/ 728 w 728"/>
                  <a:gd name="T15" fmla="*/ 260 h 824"/>
                  <a:gd name="T16" fmla="*/ 639 w 728"/>
                  <a:gd name="T17" fmla="*/ 177 h 824"/>
                  <a:gd name="T18" fmla="*/ 553 w 728"/>
                  <a:gd name="T19" fmla="*/ 165 h 824"/>
                  <a:gd name="T20" fmla="*/ 546 w 728"/>
                  <a:gd name="T21" fmla="*/ 151 h 824"/>
                  <a:gd name="T22" fmla="*/ 504 w 728"/>
                  <a:gd name="T23" fmla="*/ 128 h 824"/>
                  <a:gd name="T24" fmla="*/ 473 w 728"/>
                  <a:gd name="T25" fmla="*/ 135 h 824"/>
                  <a:gd name="T26" fmla="*/ 440 w 728"/>
                  <a:gd name="T27" fmla="*/ 151 h 824"/>
                  <a:gd name="T28" fmla="*/ 407 w 728"/>
                  <a:gd name="T29" fmla="*/ 139 h 824"/>
                  <a:gd name="T30" fmla="*/ 438 w 728"/>
                  <a:gd name="T31" fmla="*/ 73 h 824"/>
                  <a:gd name="T32" fmla="*/ 407 w 728"/>
                  <a:gd name="T33" fmla="*/ 33 h 824"/>
                  <a:gd name="T34" fmla="*/ 378 w 728"/>
                  <a:gd name="T35" fmla="*/ 64 h 824"/>
                  <a:gd name="T36" fmla="*/ 350 w 728"/>
                  <a:gd name="T37" fmla="*/ 57 h 824"/>
                  <a:gd name="T38" fmla="*/ 322 w 728"/>
                  <a:gd name="T39" fmla="*/ 71 h 824"/>
                  <a:gd name="T40" fmla="*/ 291 w 728"/>
                  <a:gd name="T41" fmla="*/ 78 h 824"/>
                  <a:gd name="T42" fmla="*/ 262 w 728"/>
                  <a:gd name="T43" fmla="*/ 73 h 824"/>
                  <a:gd name="T44" fmla="*/ 262 w 728"/>
                  <a:gd name="T45" fmla="*/ 23 h 824"/>
                  <a:gd name="T46" fmla="*/ 246 w 728"/>
                  <a:gd name="T47" fmla="*/ 2 h 824"/>
                  <a:gd name="T48" fmla="*/ 206 w 728"/>
                  <a:gd name="T49" fmla="*/ 33 h 824"/>
                  <a:gd name="T50" fmla="*/ 180 w 728"/>
                  <a:gd name="T51" fmla="*/ 35 h 824"/>
                  <a:gd name="T52" fmla="*/ 175 w 728"/>
                  <a:gd name="T53" fmla="*/ 80 h 824"/>
                  <a:gd name="T54" fmla="*/ 132 w 728"/>
                  <a:gd name="T55" fmla="*/ 90 h 824"/>
                  <a:gd name="T56" fmla="*/ 104 w 728"/>
                  <a:gd name="T57" fmla="*/ 76 h 824"/>
                  <a:gd name="T58" fmla="*/ 85 w 728"/>
                  <a:gd name="T59" fmla="*/ 92 h 824"/>
                  <a:gd name="T60" fmla="*/ 68 w 728"/>
                  <a:gd name="T61" fmla="*/ 102 h 824"/>
                  <a:gd name="T62" fmla="*/ 80 w 728"/>
                  <a:gd name="T63" fmla="*/ 147 h 824"/>
                  <a:gd name="T64" fmla="*/ 45 w 728"/>
                  <a:gd name="T65" fmla="*/ 206 h 824"/>
                  <a:gd name="T66" fmla="*/ 14 w 728"/>
                  <a:gd name="T67" fmla="*/ 251 h 824"/>
                  <a:gd name="T68" fmla="*/ 5 w 728"/>
                  <a:gd name="T69" fmla="*/ 279 h 824"/>
                  <a:gd name="T70" fmla="*/ 33 w 728"/>
                  <a:gd name="T71" fmla="*/ 315 h 824"/>
                  <a:gd name="T72" fmla="*/ 66 w 728"/>
                  <a:gd name="T73" fmla="*/ 336 h 824"/>
                  <a:gd name="T74" fmla="*/ 116 w 728"/>
                  <a:gd name="T75" fmla="*/ 336 h 824"/>
                  <a:gd name="T76" fmla="*/ 163 w 728"/>
                  <a:gd name="T77" fmla="*/ 331 h 824"/>
                  <a:gd name="T78" fmla="*/ 180 w 728"/>
                  <a:gd name="T79" fmla="*/ 369 h 824"/>
                  <a:gd name="T80" fmla="*/ 232 w 728"/>
                  <a:gd name="T81" fmla="*/ 395 h 824"/>
                  <a:gd name="T82" fmla="*/ 270 w 728"/>
                  <a:gd name="T83" fmla="*/ 452 h 824"/>
                  <a:gd name="T84" fmla="*/ 322 w 728"/>
                  <a:gd name="T85" fmla="*/ 497 h 824"/>
                  <a:gd name="T86" fmla="*/ 319 w 728"/>
                  <a:gd name="T87" fmla="*/ 547 h 824"/>
                  <a:gd name="T88" fmla="*/ 324 w 728"/>
                  <a:gd name="T89" fmla="*/ 580 h 824"/>
                  <a:gd name="T90" fmla="*/ 362 w 728"/>
                  <a:gd name="T91" fmla="*/ 585 h 824"/>
                  <a:gd name="T92" fmla="*/ 383 w 728"/>
                  <a:gd name="T93" fmla="*/ 618 h 824"/>
                  <a:gd name="T94" fmla="*/ 402 w 728"/>
                  <a:gd name="T95" fmla="*/ 651 h 824"/>
                  <a:gd name="T96" fmla="*/ 395 w 728"/>
                  <a:gd name="T97" fmla="*/ 693 h 824"/>
                  <a:gd name="T98" fmla="*/ 374 w 728"/>
                  <a:gd name="T99" fmla="*/ 717 h 824"/>
                  <a:gd name="T100" fmla="*/ 385 w 728"/>
                  <a:gd name="T101" fmla="*/ 762 h 824"/>
                  <a:gd name="T102" fmla="*/ 426 w 728"/>
                  <a:gd name="T103" fmla="*/ 786 h 824"/>
                  <a:gd name="T104" fmla="*/ 454 w 728"/>
                  <a:gd name="T105" fmla="*/ 805 h 824"/>
                  <a:gd name="T106" fmla="*/ 468 w 728"/>
                  <a:gd name="T107" fmla="*/ 748 h 824"/>
                  <a:gd name="T108" fmla="*/ 459 w 728"/>
                  <a:gd name="T109" fmla="*/ 786 h 824"/>
                  <a:gd name="T110" fmla="*/ 501 w 728"/>
                  <a:gd name="T111" fmla="*/ 675 h 824"/>
                  <a:gd name="T112" fmla="*/ 513 w 728"/>
                  <a:gd name="T113" fmla="*/ 644 h 824"/>
                  <a:gd name="T114" fmla="*/ 577 w 728"/>
                  <a:gd name="T115" fmla="*/ 596 h 824"/>
                  <a:gd name="T116" fmla="*/ 615 w 728"/>
                  <a:gd name="T117" fmla="*/ 592 h 824"/>
                  <a:gd name="T118" fmla="*/ 655 w 728"/>
                  <a:gd name="T119" fmla="*/ 490 h 824"/>
                  <a:gd name="T120" fmla="*/ 660 w 728"/>
                  <a:gd name="T121" fmla="*/ 388 h 824"/>
                  <a:gd name="T122" fmla="*/ 688 w 728"/>
                  <a:gd name="T123" fmla="*/ 345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28" h="824">
                    <a:moveTo>
                      <a:pt x="508" y="691"/>
                    </a:moveTo>
                    <a:lnTo>
                      <a:pt x="508" y="693"/>
                    </a:lnTo>
                    <a:lnTo>
                      <a:pt x="508" y="693"/>
                    </a:lnTo>
                    <a:lnTo>
                      <a:pt x="508" y="698"/>
                    </a:lnTo>
                    <a:lnTo>
                      <a:pt x="508" y="698"/>
                    </a:lnTo>
                    <a:lnTo>
                      <a:pt x="508" y="696"/>
                    </a:lnTo>
                    <a:lnTo>
                      <a:pt x="511" y="693"/>
                    </a:lnTo>
                    <a:lnTo>
                      <a:pt x="511" y="691"/>
                    </a:lnTo>
                    <a:lnTo>
                      <a:pt x="508" y="691"/>
                    </a:lnTo>
                    <a:lnTo>
                      <a:pt x="508" y="691"/>
                    </a:lnTo>
                    <a:close/>
                    <a:moveTo>
                      <a:pt x="504" y="670"/>
                    </a:moveTo>
                    <a:lnTo>
                      <a:pt x="504" y="670"/>
                    </a:lnTo>
                    <a:lnTo>
                      <a:pt x="504" y="670"/>
                    </a:lnTo>
                    <a:lnTo>
                      <a:pt x="504" y="667"/>
                    </a:lnTo>
                    <a:lnTo>
                      <a:pt x="504" y="665"/>
                    </a:lnTo>
                    <a:lnTo>
                      <a:pt x="504" y="665"/>
                    </a:lnTo>
                    <a:lnTo>
                      <a:pt x="501" y="667"/>
                    </a:lnTo>
                    <a:lnTo>
                      <a:pt x="504" y="670"/>
                    </a:lnTo>
                    <a:close/>
                    <a:moveTo>
                      <a:pt x="558" y="613"/>
                    </a:moveTo>
                    <a:lnTo>
                      <a:pt x="556" y="613"/>
                    </a:lnTo>
                    <a:lnTo>
                      <a:pt x="553" y="615"/>
                    </a:lnTo>
                    <a:lnTo>
                      <a:pt x="556" y="618"/>
                    </a:lnTo>
                    <a:lnTo>
                      <a:pt x="558" y="618"/>
                    </a:lnTo>
                    <a:lnTo>
                      <a:pt x="558" y="618"/>
                    </a:lnTo>
                    <a:lnTo>
                      <a:pt x="558" y="615"/>
                    </a:lnTo>
                    <a:lnTo>
                      <a:pt x="558" y="615"/>
                    </a:lnTo>
                    <a:lnTo>
                      <a:pt x="558" y="615"/>
                    </a:lnTo>
                    <a:lnTo>
                      <a:pt x="558" y="613"/>
                    </a:lnTo>
                    <a:lnTo>
                      <a:pt x="558" y="613"/>
                    </a:lnTo>
                    <a:close/>
                    <a:moveTo>
                      <a:pt x="575" y="599"/>
                    </a:moveTo>
                    <a:lnTo>
                      <a:pt x="575" y="599"/>
                    </a:lnTo>
                    <a:lnTo>
                      <a:pt x="575" y="599"/>
                    </a:lnTo>
                    <a:lnTo>
                      <a:pt x="575" y="599"/>
                    </a:lnTo>
                    <a:lnTo>
                      <a:pt x="572" y="601"/>
                    </a:lnTo>
                    <a:lnTo>
                      <a:pt x="575" y="601"/>
                    </a:lnTo>
                    <a:lnTo>
                      <a:pt x="575" y="601"/>
                    </a:lnTo>
                    <a:lnTo>
                      <a:pt x="577" y="601"/>
                    </a:lnTo>
                    <a:lnTo>
                      <a:pt x="577" y="601"/>
                    </a:lnTo>
                    <a:lnTo>
                      <a:pt x="577" y="601"/>
                    </a:lnTo>
                    <a:lnTo>
                      <a:pt x="575" y="599"/>
                    </a:lnTo>
                    <a:close/>
                    <a:moveTo>
                      <a:pt x="655" y="395"/>
                    </a:moveTo>
                    <a:lnTo>
                      <a:pt x="655" y="395"/>
                    </a:lnTo>
                    <a:lnTo>
                      <a:pt x="657" y="395"/>
                    </a:lnTo>
                    <a:lnTo>
                      <a:pt x="657" y="398"/>
                    </a:lnTo>
                    <a:lnTo>
                      <a:pt x="657" y="398"/>
                    </a:lnTo>
                    <a:lnTo>
                      <a:pt x="657" y="395"/>
                    </a:lnTo>
                    <a:lnTo>
                      <a:pt x="657" y="395"/>
                    </a:lnTo>
                    <a:lnTo>
                      <a:pt x="657" y="395"/>
                    </a:lnTo>
                    <a:lnTo>
                      <a:pt x="655" y="395"/>
                    </a:lnTo>
                    <a:close/>
                    <a:moveTo>
                      <a:pt x="662" y="383"/>
                    </a:moveTo>
                    <a:lnTo>
                      <a:pt x="662" y="386"/>
                    </a:lnTo>
                    <a:lnTo>
                      <a:pt x="660" y="388"/>
                    </a:lnTo>
                    <a:lnTo>
                      <a:pt x="660" y="388"/>
                    </a:lnTo>
                    <a:lnTo>
                      <a:pt x="660" y="388"/>
                    </a:lnTo>
                    <a:lnTo>
                      <a:pt x="662" y="386"/>
                    </a:lnTo>
                    <a:lnTo>
                      <a:pt x="662" y="386"/>
                    </a:lnTo>
                    <a:lnTo>
                      <a:pt x="662" y="383"/>
                    </a:lnTo>
                    <a:lnTo>
                      <a:pt x="662" y="383"/>
                    </a:lnTo>
                    <a:close/>
                    <a:moveTo>
                      <a:pt x="546" y="173"/>
                    </a:moveTo>
                    <a:lnTo>
                      <a:pt x="546" y="170"/>
                    </a:lnTo>
                    <a:lnTo>
                      <a:pt x="546" y="170"/>
                    </a:lnTo>
                    <a:lnTo>
                      <a:pt x="546" y="168"/>
                    </a:lnTo>
                    <a:lnTo>
                      <a:pt x="546" y="168"/>
                    </a:lnTo>
                    <a:lnTo>
                      <a:pt x="546" y="170"/>
                    </a:lnTo>
                    <a:lnTo>
                      <a:pt x="544" y="170"/>
                    </a:lnTo>
                    <a:lnTo>
                      <a:pt x="546" y="173"/>
                    </a:lnTo>
                    <a:lnTo>
                      <a:pt x="544" y="175"/>
                    </a:lnTo>
                    <a:lnTo>
                      <a:pt x="546" y="173"/>
                    </a:lnTo>
                    <a:close/>
                    <a:moveTo>
                      <a:pt x="537" y="139"/>
                    </a:moveTo>
                    <a:lnTo>
                      <a:pt x="539" y="139"/>
                    </a:lnTo>
                    <a:lnTo>
                      <a:pt x="539" y="137"/>
                    </a:lnTo>
                    <a:lnTo>
                      <a:pt x="537" y="137"/>
                    </a:lnTo>
                    <a:lnTo>
                      <a:pt x="537" y="139"/>
                    </a:lnTo>
                    <a:lnTo>
                      <a:pt x="537" y="139"/>
                    </a:lnTo>
                    <a:lnTo>
                      <a:pt x="537" y="139"/>
                    </a:lnTo>
                    <a:lnTo>
                      <a:pt x="537" y="139"/>
                    </a:lnTo>
                    <a:lnTo>
                      <a:pt x="537" y="139"/>
                    </a:lnTo>
                    <a:close/>
                    <a:moveTo>
                      <a:pt x="407" y="142"/>
                    </a:moveTo>
                    <a:lnTo>
                      <a:pt x="409" y="142"/>
                    </a:lnTo>
                    <a:lnTo>
                      <a:pt x="414" y="139"/>
                    </a:lnTo>
                    <a:lnTo>
                      <a:pt x="416" y="137"/>
                    </a:lnTo>
                    <a:lnTo>
                      <a:pt x="419" y="132"/>
                    </a:lnTo>
                    <a:lnTo>
                      <a:pt x="419" y="132"/>
                    </a:lnTo>
                    <a:lnTo>
                      <a:pt x="421" y="125"/>
                    </a:lnTo>
                    <a:lnTo>
                      <a:pt x="421" y="123"/>
                    </a:lnTo>
                    <a:lnTo>
                      <a:pt x="416" y="123"/>
                    </a:lnTo>
                    <a:lnTo>
                      <a:pt x="414" y="125"/>
                    </a:lnTo>
                    <a:lnTo>
                      <a:pt x="411" y="130"/>
                    </a:lnTo>
                    <a:lnTo>
                      <a:pt x="411" y="135"/>
                    </a:lnTo>
                    <a:lnTo>
                      <a:pt x="409" y="137"/>
                    </a:lnTo>
                    <a:lnTo>
                      <a:pt x="407" y="142"/>
                    </a:lnTo>
                    <a:close/>
                    <a:moveTo>
                      <a:pt x="452" y="116"/>
                    </a:moveTo>
                    <a:lnTo>
                      <a:pt x="449" y="116"/>
                    </a:lnTo>
                    <a:lnTo>
                      <a:pt x="440" y="113"/>
                    </a:lnTo>
                    <a:lnTo>
                      <a:pt x="435" y="113"/>
                    </a:lnTo>
                    <a:lnTo>
                      <a:pt x="430" y="116"/>
                    </a:lnTo>
                    <a:lnTo>
                      <a:pt x="430" y="118"/>
                    </a:lnTo>
                    <a:lnTo>
                      <a:pt x="430" y="120"/>
                    </a:lnTo>
                    <a:lnTo>
                      <a:pt x="430" y="123"/>
                    </a:lnTo>
                    <a:lnTo>
                      <a:pt x="430" y="123"/>
                    </a:lnTo>
                    <a:lnTo>
                      <a:pt x="428" y="125"/>
                    </a:lnTo>
                    <a:lnTo>
                      <a:pt x="428" y="125"/>
                    </a:lnTo>
                    <a:lnTo>
                      <a:pt x="428" y="130"/>
                    </a:lnTo>
                    <a:lnTo>
                      <a:pt x="428" y="132"/>
                    </a:lnTo>
                    <a:lnTo>
                      <a:pt x="430" y="135"/>
                    </a:lnTo>
                    <a:lnTo>
                      <a:pt x="433" y="135"/>
                    </a:lnTo>
                    <a:lnTo>
                      <a:pt x="433" y="135"/>
                    </a:lnTo>
                    <a:lnTo>
                      <a:pt x="433" y="135"/>
                    </a:lnTo>
                    <a:lnTo>
                      <a:pt x="433" y="135"/>
                    </a:lnTo>
                    <a:lnTo>
                      <a:pt x="430" y="135"/>
                    </a:lnTo>
                    <a:lnTo>
                      <a:pt x="430" y="135"/>
                    </a:lnTo>
                    <a:lnTo>
                      <a:pt x="430" y="137"/>
                    </a:lnTo>
                    <a:lnTo>
                      <a:pt x="430" y="139"/>
                    </a:lnTo>
                    <a:lnTo>
                      <a:pt x="430" y="144"/>
                    </a:lnTo>
                    <a:lnTo>
                      <a:pt x="433" y="147"/>
                    </a:lnTo>
                    <a:lnTo>
                      <a:pt x="433" y="147"/>
                    </a:lnTo>
                    <a:lnTo>
                      <a:pt x="435" y="149"/>
                    </a:lnTo>
                    <a:lnTo>
                      <a:pt x="435" y="149"/>
                    </a:lnTo>
                    <a:lnTo>
                      <a:pt x="438" y="149"/>
                    </a:lnTo>
                    <a:lnTo>
                      <a:pt x="442" y="149"/>
                    </a:lnTo>
                    <a:lnTo>
                      <a:pt x="442" y="147"/>
                    </a:lnTo>
                    <a:lnTo>
                      <a:pt x="445" y="147"/>
                    </a:lnTo>
                    <a:lnTo>
                      <a:pt x="445" y="149"/>
                    </a:lnTo>
                    <a:lnTo>
                      <a:pt x="447" y="149"/>
                    </a:lnTo>
                    <a:lnTo>
                      <a:pt x="449" y="149"/>
                    </a:lnTo>
                    <a:lnTo>
                      <a:pt x="449" y="149"/>
                    </a:lnTo>
                    <a:lnTo>
                      <a:pt x="452" y="147"/>
                    </a:lnTo>
                    <a:lnTo>
                      <a:pt x="452" y="147"/>
                    </a:lnTo>
                    <a:lnTo>
                      <a:pt x="452" y="144"/>
                    </a:lnTo>
                    <a:lnTo>
                      <a:pt x="454" y="144"/>
                    </a:lnTo>
                    <a:lnTo>
                      <a:pt x="456" y="144"/>
                    </a:lnTo>
                    <a:lnTo>
                      <a:pt x="459" y="144"/>
                    </a:lnTo>
                    <a:lnTo>
                      <a:pt x="459" y="144"/>
                    </a:lnTo>
                    <a:lnTo>
                      <a:pt x="459" y="142"/>
                    </a:lnTo>
                    <a:lnTo>
                      <a:pt x="459" y="142"/>
                    </a:lnTo>
                    <a:lnTo>
                      <a:pt x="461" y="142"/>
                    </a:lnTo>
                    <a:lnTo>
                      <a:pt x="461" y="144"/>
                    </a:lnTo>
                    <a:lnTo>
                      <a:pt x="464" y="142"/>
                    </a:lnTo>
                    <a:lnTo>
                      <a:pt x="464" y="142"/>
                    </a:lnTo>
                    <a:lnTo>
                      <a:pt x="466" y="139"/>
                    </a:lnTo>
                    <a:lnTo>
                      <a:pt x="466" y="139"/>
                    </a:lnTo>
                    <a:lnTo>
                      <a:pt x="466" y="137"/>
                    </a:lnTo>
                    <a:lnTo>
                      <a:pt x="466" y="137"/>
                    </a:lnTo>
                    <a:lnTo>
                      <a:pt x="466" y="137"/>
                    </a:lnTo>
                    <a:lnTo>
                      <a:pt x="468" y="135"/>
                    </a:lnTo>
                    <a:lnTo>
                      <a:pt x="468" y="135"/>
                    </a:lnTo>
                    <a:lnTo>
                      <a:pt x="468" y="132"/>
                    </a:lnTo>
                    <a:lnTo>
                      <a:pt x="471" y="130"/>
                    </a:lnTo>
                    <a:lnTo>
                      <a:pt x="471" y="130"/>
                    </a:lnTo>
                    <a:lnTo>
                      <a:pt x="471" y="128"/>
                    </a:lnTo>
                    <a:lnTo>
                      <a:pt x="471" y="125"/>
                    </a:lnTo>
                    <a:lnTo>
                      <a:pt x="471" y="125"/>
                    </a:lnTo>
                    <a:lnTo>
                      <a:pt x="471" y="125"/>
                    </a:lnTo>
                    <a:lnTo>
                      <a:pt x="473" y="123"/>
                    </a:lnTo>
                    <a:lnTo>
                      <a:pt x="473" y="120"/>
                    </a:lnTo>
                    <a:lnTo>
                      <a:pt x="473" y="118"/>
                    </a:lnTo>
                    <a:lnTo>
                      <a:pt x="473" y="118"/>
                    </a:lnTo>
                    <a:lnTo>
                      <a:pt x="473" y="116"/>
                    </a:lnTo>
                    <a:lnTo>
                      <a:pt x="471" y="116"/>
                    </a:lnTo>
                    <a:lnTo>
                      <a:pt x="471" y="116"/>
                    </a:lnTo>
                    <a:lnTo>
                      <a:pt x="466" y="116"/>
                    </a:lnTo>
                    <a:lnTo>
                      <a:pt x="459" y="113"/>
                    </a:lnTo>
                    <a:lnTo>
                      <a:pt x="459" y="113"/>
                    </a:lnTo>
                    <a:lnTo>
                      <a:pt x="456" y="116"/>
                    </a:lnTo>
                    <a:lnTo>
                      <a:pt x="454" y="116"/>
                    </a:lnTo>
                    <a:lnTo>
                      <a:pt x="452" y="116"/>
                    </a:lnTo>
                    <a:close/>
                    <a:moveTo>
                      <a:pt x="423" y="116"/>
                    </a:moveTo>
                    <a:lnTo>
                      <a:pt x="426" y="118"/>
                    </a:lnTo>
                    <a:lnTo>
                      <a:pt x="430" y="113"/>
                    </a:lnTo>
                    <a:lnTo>
                      <a:pt x="430" y="113"/>
                    </a:lnTo>
                    <a:lnTo>
                      <a:pt x="430" y="113"/>
                    </a:lnTo>
                    <a:lnTo>
                      <a:pt x="428" y="111"/>
                    </a:lnTo>
                    <a:lnTo>
                      <a:pt x="428" y="111"/>
                    </a:lnTo>
                    <a:lnTo>
                      <a:pt x="426" y="113"/>
                    </a:lnTo>
                    <a:lnTo>
                      <a:pt x="423" y="116"/>
                    </a:lnTo>
                    <a:lnTo>
                      <a:pt x="423" y="116"/>
                    </a:lnTo>
                    <a:lnTo>
                      <a:pt x="423" y="116"/>
                    </a:lnTo>
                    <a:lnTo>
                      <a:pt x="423" y="116"/>
                    </a:lnTo>
                    <a:close/>
                    <a:moveTo>
                      <a:pt x="447" y="111"/>
                    </a:moveTo>
                    <a:lnTo>
                      <a:pt x="447" y="113"/>
                    </a:lnTo>
                    <a:lnTo>
                      <a:pt x="449" y="113"/>
                    </a:lnTo>
                    <a:lnTo>
                      <a:pt x="454" y="113"/>
                    </a:lnTo>
                    <a:lnTo>
                      <a:pt x="454" y="113"/>
                    </a:lnTo>
                    <a:lnTo>
                      <a:pt x="454" y="111"/>
                    </a:lnTo>
                    <a:lnTo>
                      <a:pt x="454" y="111"/>
                    </a:lnTo>
                    <a:lnTo>
                      <a:pt x="452" y="109"/>
                    </a:lnTo>
                    <a:lnTo>
                      <a:pt x="452" y="109"/>
                    </a:lnTo>
                    <a:lnTo>
                      <a:pt x="449" y="111"/>
                    </a:lnTo>
                    <a:lnTo>
                      <a:pt x="447" y="111"/>
                    </a:lnTo>
                    <a:close/>
                    <a:moveTo>
                      <a:pt x="440" y="106"/>
                    </a:moveTo>
                    <a:lnTo>
                      <a:pt x="438" y="106"/>
                    </a:lnTo>
                    <a:lnTo>
                      <a:pt x="438" y="109"/>
                    </a:lnTo>
                    <a:lnTo>
                      <a:pt x="438" y="111"/>
                    </a:lnTo>
                    <a:lnTo>
                      <a:pt x="438" y="111"/>
                    </a:lnTo>
                    <a:lnTo>
                      <a:pt x="442" y="111"/>
                    </a:lnTo>
                    <a:lnTo>
                      <a:pt x="442" y="111"/>
                    </a:lnTo>
                    <a:lnTo>
                      <a:pt x="445" y="111"/>
                    </a:lnTo>
                    <a:lnTo>
                      <a:pt x="447" y="111"/>
                    </a:lnTo>
                    <a:lnTo>
                      <a:pt x="449" y="106"/>
                    </a:lnTo>
                    <a:lnTo>
                      <a:pt x="449" y="106"/>
                    </a:lnTo>
                    <a:lnTo>
                      <a:pt x="445" y="104"/>
                    </a:lnTo>
                    <a:lnTo>
                      <a:pt x="440" y="106"/>
                    </a:lnTo>
                    <a:close/>
                    <a:moveTo>
                      <a:pt x="435" y="109"/>
                    </a:moveTo>
                    <a:lnTo>
                      <a:pt x="438" y="106"/>
                    </a:lnTo>
                    <a:lnTo>
                      <a:pt x="438" y="104"/>
                    </a:lnTo>
                    <a:lnTo>
                      <a:pt x="438" y="99"/>
                    </a:lnTo>
                    <a:lnTo>
                      <a:pt x="438" y="99"/>
                    </a:lnTo>
                    <a:lnTo>
                      <a:pt x="435" y="99"/>
                    </a:lnTo>
                    <a:lnTo>
                      <a:pt x="435" y="99"/>
                    </a:lnTo>
                    <a:lnTo>
                      <a:pt x="435" y="102"/>
                    </a:lnTo>
                    <a:lnTo>
                      <a:pt x="435" y="104"/>
                    </a:lnTo>
                    <a:lnTo>
                      <a:pt x="433" y="106"/>
                    </a:lnTo>
                    <a:lnTo>
                      <a:pt x="433" y="106"/>
                    </a:lnTo>
                    <a:lnTo>
                      <a:pt x="433" y="111"/>
                    </a:lnTo>
                    <a:lnTo>
                      <a:pt x="435" y="111"/>
                    </a:lnTo>
                    <a:lnTo>
                      <a:pt x="435" y="109"/>
                    </a:lnTo>
                    <a:close/>
                    <a:moveTo>
                      <a:pt x="440" y="104"/>
                    </a:moveTo>
                    <a:lnTo>
                      <a:pt x="442" y="99"/>
                    </a:lnTo>
                    <a:lnTo>
                      <a:pt x="442" y="99"/>
                    </a:lnTo>
                    <a:lnTo>
                      <a:pt x="442" y="97"/>
                    </a:lnTo>
                    <a:lnTo>
                      <a:pt x="442" y="97"/>
                    </a:lnTo>
                    <a:lnTo>
                      <a:pt x="442" y="99"/>
                    </a:lnTo>
                    <a:lnTo>
                      <a:pt x="440" y="99"/>
                    </a:lnTo>
                    <a:lnTo>
                      <a:pt x="438" y="99"/>
                    </a:lnTo>
                    <a:lnTo>
                      <a:pt x="438" y="104"/>
                    </a:lnTo>
                    <a:lnTo>
                      <a:pt x="438" y="104"/>
                    </a:lnTo>
                    <a:lnTo>
                      <a:pt x="440" y="104"/>
                    </a:lnTo>
                    <a:close/>
                    <a:moveTo>
                      <a:pt x="435" y="71"/>
                    </a:moveTo>
                    <a:lnTo>
                      <a:pt x="438" y="71"/>
                    </a:lnTo>
                    <a:lnTo>
                      <a:pt x="438" y="68"/>
                    </a:lnTo>
                    <a:lnTo>
                      <a:pt x="438" y="66"/>
                    </a:lnTo>
                    <a:lnTo>
                      <a:pt x="438" y="66"/>
                    </a:lnTo>
                    <a:lnTo>
                      <a:pt x="435" y="66"/>
                    </a:lnTo>
                    <a:lnTo>
                      <a:pt x="435" y="66"/>
                    </a:lnTo>
                    <a:lnTo>
                      <a:pt x="435" y="68"/>
                    </a:lnTo>
                    <a:lnTo>
                      <a:pt x="435" y="71"/>
                    </a:lnTo>
                    <a:lnTo>
                      <a:pt x="435" y="71"/>
                    </a:lnTo>
                    <a:close/>
                    <a:moveTo>
                      <a:pt x="728" y="267"/>
                    </a:moveTo>
                    <a:lnTo>
                      <a:pt x="728" y="265"/>
                    </a:lnTo>
                    <a:lnTo>
                      <a:pt x="728" y="260"/>
                    </a:lnTo>
                    <a:lnTo>
                      <a:pt x="728" y="260"/>
                    </a:lnTo>
                    <a:lnTo>
                      <a:pt x="728" y="258"/>
                    </a:lnTo>
                    <a:lnTo>
                      <a:pt x="726" y="255"/>
                    </a:lnTo>
                    <a:lnTo>
                      <a:pt x="726" y="246"/>
                    </a:lnTo>
                    <a:lnTo>
                      <a:pt x="724" y="241"/>
                    </a:lnTo>
                    <a:lnTo>
                      <a:pt x="721" y="237"/>
                    </a:lnTo>
                    <a:lnTo>
                      <a:pt x="721" y="229"/>
                    </a:lnTo>
                    <a:lnTo>
                      <a:pt x="717" y="222"/>
                    </a:lnTo>
                    <a:lnTo>
                      <a:pt x="717" y="220"/>
                    </a:lnTo>
                    <a:lnTo>
                      <a:pt x="714" y="220"/>
                    </a:lnTo>
                    <a:lnTo>
                      <a:pt x="707" y="218"/>
                    </a:lnTo>
                    <a:lnTo>
                      <a:pt x="702" y="220"/>
                    </a:lnTo>
                    <a:lnTo>
                      <a:pt x="698" y="218"/>
                    </a:lnTo>
                    <a:lnTo>
                      <a:pt x="695" y="220"/>
                    </a:lnTo>
                    <a:lnTo>
                      <a:pt x="693" y="218"/>
                    </a:lnTo>
                    <a:lnTo>
                      <a:pt x="691" y="215"/>
                    </a:lnTo>
                    <a:lnTo>
                      <a:pt x="688" y="215"/>
                    </a:lnTo>
                    <a:lnTo>
                      <a:pt x="684" y="215"/>
                    </a:lnTo>
                    <a:lnTo>
                      <a:pt x="681" y="210"/>
                    </a:lnTo>
                    <a:lnTo>
                      <a:pt x="676" y="208"/>
                    </a:lnTo>
                    <a:lnTo>
                      <a:pt x="672" y="203"/>
                    </a:lnTo>
                    <a:lnTo>
                      <a:pt x="667" y="201"/>
                    </a:lnTo>
                    <a:lnTo>
                      <a:pt x="662" y="194"/>
                    </a:lnTo>
                    <a:lnTo>
                      <a:pt x="662" y="194"/>
                    </a:lnTo>
                    <a:lnTo>
                      <a:pt x="660" y="189"/>
                    </a:lnTo>
                    <a:lnTo>
                      <a:pt x="655" y="189"/>
                    </a:lnTo>
                    <a:lnTo>
                      <a:pt x="650" y="184"/>
                    </a:lnTo>
                    <a:lnTo>
                      <a:pt x="648" y="182"/>
                    </a:lnTo>
                    <a:lnTo>
                      <a:pt x="643" y="180"/>
                    </a:lnTo>
                    <a:lnTo>
                      <a:pt x="639" y="177"/>
                    </a:lnTo>
                    <a:lnTo>
                      <a:pt x="639" y="175"/>
                    </a:lnTo>
                    <a:lnTo>
                      <a:pt x="634" y="175"/>
                    </a:lnTo>
                    <a:lnTo>
                      <a:pt x="631" y="173"/>
                    </a:lnTo>
                    <a:lnTo>
                      <a:pt x="627" y="170"/>
                    </a:lnTo>
                    <a:lnTo>
                      <a:pt x="622" y="170"/>
                    </a:lnTo>
                    <a:lnTo>
                      <a:pt x="615" y="173"/>
                    </a:lnTo>
                    <a:lnTo>
                      <a:pt x="608" y="173"/>
                    </a:lnTo>
                    <a:lnTo>
                      <a:pt x="605" y="173"/>
                    </a:lnTo>
                    <a:lnTo>
                      <a:pt x="603" y="173"/>
                    </a:lnTo>
                    <a:lnTo>
                      <a:pt x="601" y="173"/>
                    </a:lnTo>
                    <a:lnTo>
                      <a:pt x="598" y="170"/>
                    </a:lnTo>
                    <a:lnTo>
                      <a:pt x="596" y="170"/>
                    </a:lnTo>
                    <a:lnTo>
                      <a:pt x="594" y="170"/>
                    </a:lnTo>
                    <a:lnTo>
                      <a:pt x="589" y="170"/>
                    </a:lnTo>
                    <a:lnTo>
                      <a:pt x="582" y="168"/>
                    </a:lnTo>
                    <a:lnTo>
                      <a:pt x="579" y="165"/>
                    </a:lnTo>
                    <a:lnTo>
                      <a:pt x="577" y="165"/>
                    </a:lnTo>
                    <a:lnTo>
                      <a:pt x="575" y="163"/>
                    </a:lnTo>
                    <a:lnTo>
                      <a:pt x="570" y="161"/>
                    </a:lnTo>
                    <a:lnTo>
                      <a:pt x="568" y="161"/>
                    </a:lnTo>
                    <a:lnTo>
                      <a:pt x="565" y="163"/>
                    </a:lnTo>
                    <a:lnTo>
                      <a:pt x="565" y="163"/>
                    </a:lnTo>
                    <a:lnTo>
                      <a:pt x="561" y="165"/>
                    </a:lnTo>
                    <a:lnTo>
                      <a:pt x="558" y="165"/>
                    </a:lnTo>
                    <a:lnTo>
                      <a:pt x="558" y="165"/>
                    </a:lnTo>
                    <a:lnTo>
                      <a:pt x="556" y="168"/>
                    </a:lnTo>
                    <a:lnTo>
                      <a:pt x="553" y="170"/>
                    </a:lnTo>
                    <a:lnTo>
                      <a:pt x="551" y="170"/>
                    </a:lnTo>
                    <a:lnTo>
                      <a:pt x="553" y="168"/>
                    </a:lnTo>
                    <a:lnTo>
                      <a:pt x="553" y="165"/>
                    </a:lnTo>
                    <a:lnTo>
                      <a:pt x="553" y="165"/>
                    </a:lnTo>
                    <a:lnTo>
                      <a:pt x="553" y="163"/>
                    </a:lnTo>
                    <a:lnTo>
                      <a:pt x="553" y="163"/>
                    </a:lnTo>
                    <a:lnTo>
                      <a:pt x="551" y="163"/>
                    </a:lnTo>
                    <a:lnTo>
                      <a:pt x="551" y="165"/>
                    </a:lnTo>
                    <a:lnTo>
                      <a:pt x="549" y="168"/>
                    </a:lnTo>
                    <a:lnTo>
                      <a:pt x="549" y="173"/>
                    </a:lnTo>
                    <a:lnTo>
                      <a:pt x="544" y="177"/>
                    </a:lnTo>
                    <a:lnTo>
                      <a:pt x="542" y="180"/>
                    </a:lnTo>
                    <a:lnTo>
                      <a:pt x="542" y="177"/>
                    </a:lnTo>
                    <a:lnTo>
                      <a:pt x="544" y="170"/>
                    </a:lnTo>
                    <a:lnTo>
                      <a:pt x="544" y="168"/>
                    </a:lnTo>
                    <a:lnTo>
                      <a:pt x="544" y="165"/>
                    </a:lnTo>
                    <a:lnTo>
                      <a:pt x="546" y="165"/>
                    </a:lnTo>
                    <a:lnTo>
                      <a:pt x="546" y="163"/>
                    </a:lnTo>
                    <a:lnTo>
                      <a:pt x="546" y="163"/>
                    </a:lnTo>
                    <a:lnTo>
                      <a:pt x="549" y="161"/>
                    </a:lnTo>
                    <a:lnTo>
                      <a:pt x="549" y="158"/>
                    </a:lnTo>
                    <a:lnTo>
                      <a:pt x="549" y="156"/>
                    </a:lnTo>
                    <a:lnTo>
                      <a:pt x="546" y="158"/>
                    </a:lnTo>
                    <a:lnTo>
                      <a:pt x="544" y="158"/>
                    </a:lnTo>
                    <a:lnTo>
                      <a:pt x="544" y="161"/>
                    </a:lnTo>
                    <a:lnTo>
                      <a:pt x="542" y="161"/>
                    </a:lnTo>
                    <a:lnTo>
                      <a:pt x="542" y="158"/>
                    </a:lnTo>
                    <a:lnTo>
                      <a:pt x="542" y="158"/>
                    </a:lnTo>
                    <a:lnTo>
                      <a:pt x="544" y="158"/>
                    </a:lnTo>
                    <a:lnTo>
                      <a:pt x="544" y="156"/>
                    </a:lnTo>
                    <a:lnTo>
                      <a:pt x="544" y="156"/>
                    </a:lnTo>
                    <a:lnTo>
                      <a:pt x="546" y="154"/>
                    </a:lnTo>
                    <a:lnTo>
                      <a:pt x="546" y="151"/>
                    </a:lnTo>
                    <a:lnTo>
                      <a:pt x="544" y="149"/>
                    </a:lnTo>
                    <a:lnTo>
                      <a:pt x="544" y="149"/>
                    </a:lnTo>
                    <a:lnTo>
                      <a:pt x="542" y="149"/>
                    </a:lnTo>
                    <a:lnTo>
                      <a:pt x="542" y="149"/>
                    </a:lnTo>
                    <a:lnTo>
                      <a:pt x="542" y="149"/>
                    </a:lnTo>
                    <a:lnTo>
                      <a:pt x="542" y="147"/>
                    </a:lnTo>
                    <a:lnTo>
                      <a:pt x="539" y="147"/>
                    </a:lnTo>
                    <a:lnTo>
                      <a:pt x="539" y="144"/>
                    </a:lnTo>
                    <a:lnTo>
                      <a:pt x="537" y="144"/>
                    </a:lnTo>
                    <a:lnTo>
                      <a:pt x="534" y="142"/>
                    </a:lnTo>
                    <a:lnTo>
                      <a:pt x="534" y="142"/>
                    </a:lnTo>
                    <a:lnTo>
                      <a:pt x="532" y="147"/>
                    </a:lnTo>
                    <a:lnTo>
                      <a:pt x="532" y="147"/>
                    </a:lnTo>
                    <a:lnTo>
                      <a:pt x="530" y="147"/>
                    </a:lnTo>
                    <a:lnTo>
                      <a:pt x="530" y="144"/>
                    </a:lnTo>
                    <a:lnTo>
                      <a:pt x="527" y="139"/>
                    </a:lnTo>
                    <a:lnTo>
                      <a:pt x="527" y="139"/>
                    </a:lnTo>
                    <a:lnTo>
                      <a:pt x="525" y="139"/>
                    </a:lnTo>
                    <a:lnTo>
                      <a:pt x="523" y="137"/>
                    </a:lnTo>
                    <a:lnTo>
                      <a:pt x="518" y="137"/>
                    </a:lnTo>
                    <a:lnTo>
                      <a:pt x="518" y="135"/>
                    </a:lnTo>
                    <a:lnTo>
                      <a:pt x="516" y="135"/>
                    </a:lnTo>
                    <a:lnTo>
                      <a:pt x="513" y="135"/>
                    </a:lnTo>
                    <a:lnTo>
                      <a:pt x="513" y="132"/>
                    </a:lnTo>
                    <a:lnTo>
                      <a:pt x="513" y="132"/>
                    </a:lnTo>
                    <a:lnTo>
                      <a:pt x="511" y="132"/>
                    </a:lnTo>
                    <a:lnTo>
                      <a:pt x="508" y="132"/>
                    </a:lnTo>
                    <a:lnTo>
                      <a:pt x="506" y="132"/>
                    </a:lnTo>
                    <a:lnTo>
                      <a:pt x="506" y="130"/>
                    </a:lnTo>
                    <a:lnTo>
                      <a:pt x="504" y="128"/>
                    </a:lnTo>
                    <a:lnTo>
                      <a:pt x="504" y="128"/>
                    </a:lnTo>
                    <a:lnTo>
                      <a:pt x="501" y="128"/>
                    </a:lnTo>
                    <a:lnTo>
                      <a:pt x="501" y="128"/>
                    </a:lnTo>
                    <a:lnTo>
                      <a:pt x="499" y="128"/>
                    </a:lnTo>
                    <a:lnTo>
                      <a:pt x="497" y="128"/>
                    </a:lnTo>
                    <a:lnTo>
                      <a:pt x="497" y="125"/>
                    </a:lnTo>
                    <a:lnTo>
                      <a:pt x="494" y="125"/>
                    </a:lnTo>
                    <a:lnTo>
                      <a:pt x="492" y="125"/>
                    </a:lnTo>
                    <a:lnTo>
                      <a:pt x="492" y="125"/>
                    </a:lnTo>
                    <a:lnTo>
                      <a:pt x="492" y="125"/>
                    </a:lnTo>
                    <a:lnTo>
                      <a:pt x="492" y="125"/>
                    </a:lnTo>
                    <a:lnTo>
                      <a:pt x="492" y="128"/>
                    </a:lnTo>
                    <a:lnTo>
                      <a:pt x="490" y="128"/>
                    </a:lnTo>
                    <a:lnTo>
                      <a:pt x="490" y="125"/>
                    </a:lnTo>
                    <a:lnTo>
                      <a:pt x="487" y="125"/>
                    </a:lnTo>
                    <a:lnTo>
                      <a:pt x="487" y="125"/>
                    </a:lnTo>
                    <a:lnTo>
                      <a:pt x="485" y="125"/>
                    </a:lnTo>
                    <a:lnTo>
                      <a:pt x="485" y="125"/>
                    </a:lnTo>
                    <a:lnTo>
                      <a:pt x="485" y="125"/>
                    </a:lnTo>
                    <a:lnTo>
                      <a:pt x="482" y="125"/>
                    </a:lnTo>
                    <a:lnTo>
                      <a:pt x="482" y="128"/>
                    </a:lnTo>
                    <a:lnTo>
                      <a:pt x="480" y="125"/>
                    </a:lnTo>
                    <a:lnTo>
                      <a:pt x="480" y="125"/>
                    </a:lnTo>
                    <a:lnTo>
                      <a:pt x="478" y="128"/>
                    </a:lnTo>
                    <a:lnTo>
                      <a:pt x="478" y="128"/>
                    </a:lnTo>
                    <a:lnTo>
                      <a:pt x="478" y="128"/>
                    </a:lnTo>
                    <a:lnTo>
                      <a:pt x="475" y="130"/>
                    </a:lnTo>
                    <a:lnTo>
                      <a:pt x="475" y="132"/>
                    </a:lnTo>
                    <a:lnTo>
                      <a:pt x="475" y="132"/>
                    </a:lnTo>
                    <a:lnTo>
                      <a:pt x="473" y="135"/>
                    </a:lnTo>
                    <a:lnTo>
                      <a:pt x="473" y="137"/>
                    </a:lnTo>
                    <a:lnTo>
                      <a:pt x="473" y="139"/>
                    </a:lnTo>
                    <a:lnTo>
                      <a:pt x="473" y="139"/>
                    </a:lnTo>
                    <a:lnTo>
                      <a:pt x="473" y="142"/>
                    </a:lnTo>
                    <a:lnTo>
                      <a:pt x="475" y="142"/>
                    </a:lnTo>
                    <a:lnTo>
                      <a:pt x="473" y="144"/>
                    </a:lnTo>
                    <a:lnTo>
                      <a:pt x="473" y="144"/>
                    </a:lnTo>
                    <a:lnTo>
                      <a:pt x="471" y="144"/>
                    </a:lnTo>
                    <a:lnTo>
                      <a:pt x="471" y="142"/>
                    </a:lnTo>
                    <a:lnTo>
                      <a:pt x="468" y="142"/>
                    </a:lnTo>
                    <a:lnTo>
                      <a:pt x="464" y="149"/>
                    </a:lnTo>
                    <a:lnTo>
                      <a:pt x="459" y="151"/>
                    </a:lnTo>
                    <a:lnTo>
                      <a:pt x="459" y="151"/>
                    </a:lnTo>
                    <a:lnTo>
                      <a:pt x="454" y="161"/>
                    </a:lnTo>
                    <a:lnTo>
                      <a:pt x="454" y="163"/>
                    </a:lnTo>
                    <a:lnTo>
                      <a:pt x="452" y="165"/>
                    </a:lnTo>
                    <a:lnTo>
                      <a:pt x="452" y="168"/>
                    </a:lnTo>
                    <a:lnTo>
                      <a:pt x="452" y="168"/>
                    </a:lnTo>
                    <a:lnTo>
                      <a:pt x="452" y="165"/>
                    </a:lnTo>
                    <a:lnTo>
                      <a:pt x="452" y="165"/>
                    </a:lnTo>
                    <a:lnTo>
                      <a:pt x="454" y="158"/>
                    </a:lnTo>
                    <a:lnTo>
                      <a:pt x="454" y="158"/>
                    </a:lnTo>
                    <a:lnTo>
                      <a:pt x="454" y="154"/>
                    </a:lnTo>
                    <a:lnTo>
                      <a:pt x="456" y="147"/>
                    </a:lnTo>
                    <a:lnTo>
                      <a:pt x="452" y="151"/>
                    </a:lnTo>
                    <a:lnTo>
                      <a:pt x="449" y="151"/>
                    </a:lnTo>
                    <a:lnTo>
                      <a:pt x="445" y="151"/>
                    </a:lnTo>
                    <a:lnTo>
                      <a:pt x="445" y="149"/>
                    </a:lnTo>
                    <a:lnTo>
                      <a:pt x="442" y="151"/>
                    </a:lnTo>
                    <a:lnTo>
                      <a:pt x="440" y="151"/>
                    </a:lnTo>
                    <a:lnTo>
                      <a:pt x="440" y="151"/>
                    </a:lnTo>
                    <a:lnTo>
                      <a:pt x="435" y="154"/>
                    </a:lnTo>
                    <a:lnTo>
                      <a:pt x="433" y="151"/>
                    </a:lnTo>
                    <a:lnTo>
                      <a:pt x="433" y="149"/>
                    </a:lnTo>
                    <a:lnTo>
                      <a:pt x="430" y="149"/>
                    </a:lnTo>
                    <a:lnTo>
                      <a:pt x="430" y="147"/>
                    </a:lnTo>
                    <a:lnTo>
                      <a:pt x="430" y="147"/>
                    </a:lnTo>
                    <a:lnTo>
                      <a:pt x="428" y="142"/>
                    </a:lnTo>
                    <a:lnTo>
                      <a:pt x="428" y="139"/>
                    </a:lnTo>
                    <a:lnTo>
                      <a:pt x="428" y="139"/>
                    </a:lnTo>
                    <a:lnTo>
                      <a:pt x="428" y="137"/>
                    </a:lnTo>
                    <a:lnTo>
                      <a:pt x="426" y="135"/>
                    </a:lnTo>
                    <a:lnTo>
                      <a:pt x="426" y="135"/>
                    </a:lnTo>
                    <a:lnTo>
                      <a:pt x="428" y="132"/>
                    </a:lnTo>
                    <a:lnTo>
                      <a:pt x="428" y="132"/>
                    </a:lnTo>
                    <a:lnTo>
                      <a:pt x="426" y="130"/>
                    </a:lnTo>
                    <a:lnTo>
                      <a:pt x="426" y="132"/>
                    </a:lnTo>
                    <a:lnTo>
                      <a:pt x="423" y="132"/>
                    </a:lnTo>
                    <a:lnTo>
                      <a:pt x="421" y="135"/>
                    </a:lnTo>
                    <a:lnTo>
                      <a:pt x="419" y="137"/>
                    </a:lnTo>
                    <a:lnTo>
                      <a:pt x="414" y="139"/>
                    </a:lnTo>
                    <a:lnTo>
                      <a:pt x="414" y="139"/>
                    </a:lnTo>
                    <a:lnTo>
                      <a:pt x="407" y="144"/>
                    </a:lnTo>
                    <a:lnTo>
                      <a:pt x="402" y="147"/>
                    </a:lnTo>
                    <a:lnTo>
                      <a:pt x="400" y="144"/>
                    </a:lnTo>
                    <a:lnTo>
                      <a:pt x="395" y="144"/>
                    </a:lnTo>
                    <a:lnTo>
                      <a:pt x="395" y="144"/>
                    </a:lnTo>
                    <a:lnTo>
                      <a:pt x="402" y="139"/>
                    </a:lnTo>
                    <a:lnTo>
                      <a:pt x="407" y="142"/>
                    </a:lnTo>
                    <a:lnTo>
                      <a:pt x="407" y="139"/>
                    </a:lnTo>
                    <a:lnTo>
                      <a:pt x="407" y="139"/>
                    </a:lnTo>
                    <a:lnTo>
                      <a:pt x="407" y="137"/>
                    </a:lnTo>
                    <a:lnTo>
                      <a:pt x="409" y="135"/>
                    </a:lnTo>
                    <a:lnTo>
                      <a:pt x="411" y="132"/>
                    </a:lnTo>
                    <a:lnTo>
                      <a:pt x="411" y="130"/>
                    </a:lnTo>
                    <a:lnTo>
                      <a:pt x="411" y="128"/>
                    </a:lnTo>
                    <a:lnTo>
                      <a:pt x="414" y="123"/>
                    </a:lnTo>
                    <a:lnTo>
                      <a:pt x="416" y="123"/>
                    </a:lnTo>
                    <a:lnTo>
                      <a:pt x="416" y="120"/>
                    </a:lnTo>
                    <a:lnTo>
                      <a:pt x="419" y="116"/>
                    </a:lnTo>
                    <a:lnTo>
                      <a:pt x="419" y="113"/>
                    </a:lnTo>
                    <a:lnTo>
                      <a:pt x="423" y="111"/>
                    </a:lnTo>
                    <a:lnTo>
                      <a:pt x="426" y="109"/>
                    </a:lnTo>
                    <a:lnTo>
                      <a:pt x="426" y="109"/>
                    </a:lnTo>
                    <a:lnTo>
                      <a:pt x="428" y="106"/>
                    </a:lnTo>
                    <a:lnTo>
                      <a:pt x="430" y="106"/>
                    </a:lnTo>
                    <a:lnTo>
                      <a:pt x="433" y="102"/>
                    </a:lnTo>
                    <a:lnTo>
                      <a:pt x="435" y="97"/>
                    </a:lnTo>
                    <a:lnTo>
                      <a:pt x="438" y="94"/>
                    </a:lnTo>
                    <a:lnTo>
                      <a:pt x="438" y="94"/>
                    </a:lnTo>
                    <a:lnTo>
                      <a:pt x="442" y="90"/>
                    </a:lnTo>
                    <a:lnTo>
                      <a:pt x="442" y="90"/>
                    </a:lnTo>
                    <a:lnTo>
                      <a:pt x="445" y="87"/>
                    </a:lnTo>
                    <a:lnTo>
                      <a:pt x="445" y="87"/>
                    </a:lnTo>
                    <a:lnTo>
                      <a:pt x="445" y="85"/>
                    </a:lnTo>
                    <a:lnTo>
                      <a:pt x="445" y="80"/>
                    </a:lnTo>
                    <a:lnTo>
                      <a:pt x="445" y="76"/>
                    </a:lnTo>
                    <a:lnTo>
                      <a:pt x="442" y="76"/>
                    </a:lnTo>
                    <a:lnTo>
                      <a:pt x="440" y="73"/>
                    </a:lnTo>
                    <a:lnTo>
                      <a:pt x="438" y="73"/>
                    </a:lnTo>
                    <a:lnTo>
                      <a:pt x="435" y="73"/>
                    </a:lnTo>
                    <a:lnTo>
                      <a:pt x="433" y="71"/>
                    </a:lnTo>
                    <a:lnTo>
                      <a:pt x="433" y="68"/>
                    </a:lnTo>
                    <a:lnTo>
                      <a:pt x="433" y="66"/>
                    </a:lnTo>
                    <a:lnTo>
                      <a:pt x="430" y="66"/>
                    </a:lnTo>
                    <a:lnTo>
                      <a:pt x="430" y="66"/>
                    </a:lnTo>
                    <a:lnTo>
                      <a:pt x="430" y="66"/>
                    </a:lnTo>
                    <a:lnTo>
                      <a:pt x="430" y="64"/>
                    </a:lnTo>
                    <a:lnTo>
                      <a:pt x="430" y="61"/>
                    </a:lnTo>
                    <a:lnTo>
                      <a:pt x="428" y="59"/>
                    </a:lnTo>
                    <a:lnTo>
                      <a:pt x="428" y="57"/>
                    </a:lnTo>
                    <a:lnTo>
                      <a:pt x="428" y="54"/>
                    </a:lnTo>
                    <a:lnTo>
                      <a:pt x="426" y="47"/>
                    </a:lnTo>
                    <a:lnTo>
                      <a:pt x="426" y="42"/>
                    </a:lnTo>
                    <a:lnTo>
                      <a:pt x="423" y="33"/>
                    </a:lnTo>
                    <a:lnTo>
                      <a:pt x="421" y="23"/>
                    </a:lnTo>
                    <a:lnTo>
                      <a:pt x="421" y="21"/>
                    </a:lnTo>
                    <a:lnTo>
                      <a:pt x="416" y="21"/>
                    </a:lnTo>
                    <a:lnTo>
                      <a:pt x="416" y="21"/>
                    </a:lnTo>
                    <a:lnTo>
                      <a:pt x="416" y="21"/>
                    </a:lnTo>
                    <a:lnTo>
                      <a:pt x="414" y="26"/>
                    </a:lnTo>
                    <a:lnTo>
                      <a:pt x="414" y="26"/>
                    </a:lnTo>
                    <a:lnTo>
                      <a:pt x="411" y="26"/>
                    </a:lnTo>
                    <a:lnTo>
                      <a:pt x="411" y="28"/>
                    </a:lnTo>
                    <a:lnTo>
                      <a:pt x="411" y="28"/>
                    </a:lnTo>
                    <a:lnTo>
                      <a:pt x="409" y="31"/>
                    </a:lnTo>
                    <a:lnTo>
                      <a:pt x="409" y="31"/>
                    </a:lnTo>
                    <a:lnTo>
                      <a:pt x="409" y="33"/>
                    </a:lnTo>
                    <a:lnTo>
                      <a:pt x="407" y="33"/>
                    </a:lnTo>
                    <a:lnTo>
                      <a:pt x="407" y="33"/>
                    </a:lnTo>
                    <a:lnTo>
                      <a:pt x="404" y="38"/>
                    </a:lnTo>
                    <a:lnTo>
                      <a:pt x="404" y="40"/>
                    </a:lnTo>
                    <a:lnTo>
                      <a:pt x="402" y="42"/>
                    </a:lnTo>
                    <a:lnTo>
                      <a:pt x="402" y="42"/>
                    </a:lnTo>
                    <a:lnTo>
                      <a:pt x="400" y="45"/>
                    </a:lnTo>
                    <a:lnTo>
                      <a:pt x="400" y="45"/>
                    </a:lnTo>
                    <a:lnTo>
                      <a:pt x="400" y="47"/>
                    </a:lnTo>
                    <a:lnTo>
                      <a:pt x="400" y="47"/>
                    </a:lnTo>
                    <a:lnTo>
                      <a:pt x="400" y="49"/>
                    </a:lnTo>
                    <a:lnTo>
                      <a:pt x="397" y="49"/>
                    </a:lnTo>
                    <a:lnTo>
                      <a:pt x="397" y="54"/>
                    </a:lnTo>
                    <a:lnTo>
                      <a:pt x="397" y="57"/>
                    </a:lnTo>
                    <a:lnTo>
                      <a:pt x="395" y="57"/>
                    </a:lnTo>
                    <a:lnTo>
                      <a:pt x="395" y="59"/>
                    </a:lnTo>
                    <a:lnTo>
                      <a:pt x="393" y="61"/>
                    </a:lnTo>
                    <a:lnTo>
                      <a:pt x="393" y="61"/>
                    </a:lnTo>
                    <a:lnTo>
                      <a:pt x="390" y="64"/>
                    </a:lnTo>
                    <a:lnTo>
                      <a:pt x="390" y="64"/>
                    </a:lnTo>
                    <a:lnTo>
                      <a:pt x="388" y="66"/>
                    </a:lnTo>
                    <a:lnTo>
                      <a:pt x="388" y="66"/>
                    </a:lnTo>
                    <a:lnTo>
                      <a:pt x="385" y="64"/>
                    </a:lnTo>
                    <a:lnTo>
                      <a:pt x="385" y="64"/>
                    </a:lnTo>
                    <a:lnTo>
                      <a:pt x="383" y="64"/>
                    </a:lnTo>
                    <a:lnTo>
                      <a:pt x="383" y="64"/>
                    </a:lnTo>
                    <a:lnTo>
                      <a:pt x="383" y="64"/>
                    </a:lnTo>
                    <a:lnTo>
                      <a:pt x="381" y="61"/>
                    </a:lnTo>
                    <a:lnTo>
                      <a:pt x="381" y="61"/>
                    </a:lnTo>
                    <a:lnTo>
                      <a:pt x="381" y="64"/>
                    </a:lnTo>
                    <a:lnTo>
                      <a:pt x="378" y="64"/>
                    </a:lnTo>
                    <a:lnTo>
                      <a:pt x="378" y="64"/>
                    </a:lnTo>
                    <a:lnTo>
                      <a:pt x="376" y="64"/>
                    </a:lnTo>
                    <a:lnTo>
                      <a:pt x="374" y="61"/>
                    </a:lnTo>
                    <a:lnTo>
                      <a:pt x="374" y="61"/>
                    </a:lnTo>
                    <a:lnTo>
                      <a:pt x="374" y="61"/>
                    </a:lnTo>
                    <a:lnTo>
                      <a:pt x="374" y="61"/>
                    </a:lnTo>
                    <a:lnTo>
                      <a:pt x="371" y="61"/>
                    </a:lnTo>
                    <a:lnTo>
                      <a:pt x="371" y="64"/>
                    </a:lnTo>
                    <a:lnTo>
                      <a:pt x="371" y="64"/>
                    </a:lnTo>
                    <a:lnTo>
                      <a:pt x="367" y="66"/>
                    </a:lnTo>
                    <a:lnTo>
                      <a:pt x="367" y="66"/>
                    </a:lnTo>
                    <a:lnTo>
                      <a:pt x="367" y="66"/>
                    </a:lnTo>
                    <a:lnTo>
                      <a:pt x="364" y="66"/>
                    </a:lnTo>
                    <a:lnTo>
                      <a:pt x="364" y="66"/>
                    </a:lnTo>
                    <a:lnTo>
                      <a:pt x="362" y="64"/>
                    </a:lnTo>
                    <a:lnTo>
                      <a:pt x="359" y="64"/>
                    </a:lnTo>
                    <a:lnTo>
                      <a:pt x="359" y="64"/>
                    </a:lnTo>
                    <a:lnTo>
                      <a:pt x="357" y="61"/>
                    </a:lnTo>
                    <a:lnTo>
                      <a:pt x="357" y="61"/>
                    </a:lnTo>
                    <a:lnTo>
                      <a:pt x="357" y="61"/>
                    </a:lnTo>
                    <a:lnTo>
                      <a:pt x="357" y="61"/>
                    </a:lnTo>
                    <a:lnTo>
                      <a:pt x="357" y="61"/>
                    </a:lnTo>
                    <a:lnTo>
                      <a:pt x="355" y="59"/>
                    </a:lnTo>
                    <a:lnTo>
                      <a:pt x="355" y="59"/>
                    </a:lnTo>
                    <a:lnTo>
                      <a:pt x="352" y="59"/>
                    </a:lnTo>
                    <a:lnTo>
                      <a:pt x="352" y="59"/>
                    </a:lnTo>
                    <a:lnTo>
                      <a:pt x="352" y="59"/>
                    </a:lnTo>
                    <a:lnTo>
                      <a:pt x="352" y="57"/>
                    </a:lnTo>
                    <a:lnTo>
                      <a:pt x="350" y="57"/>
                    </a:lnTo>
                    <a:lnTo>
                      <a:pt x="350" y="57"/>
                    </a:lnTo>
                    <a:lnTo>
                      <a:pt x="350" y="57"/>
                    </a:lnTo>
                    <a:lnTo>
                      <a:pt x="348" y="57"/>
                    </a:lnTo>
                    <a:lnTo>
                      <a:pt x="348" y="57"/>
                    </a:lnTo>
                    <a:lnTo>
                      <a:pt x="348" y="57"/>
                    </a:lnTo>
                    <a:lnTo>
                      <a:pt x="345" y="59"/>
                    </a:lnTo>
                    <a:lnTo>
                      <a:pt x="345" y="59"/>
                    </a:lnTo>
                    <a:lnTo>
                      <a:pt x="343" y="59"/>
                    </a:lnTo>
                    <a:lnTo>
                      <a:pt x="338" y="59"/>
                    </a:lnTo>
                    <a:lnTo>
                      <a:pt x="336" y="61"/>
                    </a:lnTo>
                    <a:lnTo>
                      <a:pt x="333" y="59"/>
                    </a:lnTo>
                    <a:lnTo>
                      <a:pt x="333" y="59"/>
                    </a:lnTo>
                    <a:lnTo>
                      <a:pt x="333" y="59"/>
                    </a:lnTo>
                    <a:lnTo>
                      <a:pt x="333" y="59"/>
                    </a:lnTo>
                    <a:lnTo>
                      <a:pt x="331" y="59"/>
                    </a:lnTo>
                    <a:lnTo>
                      <a:pt x="331" y="61"/>
                    </a:lnTo>
                    <a:lnTo>
                      <a:pt x="331" y="61"/>
                    </a:lnTo>
                    <a:lnTo>
                      <a:pt x="331" y="61"/>
                    </a:lnTo>
                    <a:lnTo>
                      <a:pt x="329" y="61"/>
                    </a:lnTo>
                    <a:lnTo>
                      <a:pt x="329" y="64"/>
                    </a:lnTo>
                    <a:lnTo>
                      <a:pt x="331" y="64"/>
                    </a:lnTo>
                    <a:lnTo>
                      <a:pt x="331" y="66"/>
                    </a:lnTo>
                    <a:lnTo>
                      <a:pt x="333" y="66"/>
                    </a:lnTo>
                    <a:lnTo>
                      <a:pt x="333" y="68"/>
                    </a:lnTo>
                    <a:lnTo>
                      <a:pt x="333" y="68"/>
                    </a:lnTo>
                    <a:lnTo>
                      <a:pt x="333" y="71"/>
                    </a:lnTo>
                    <a:lnTo>
                      <a:pt x="333" y="71"/>
                    </a:lnTo>
                    <a:lnTo>
                      <a:pt x="331" y="73"/>
                    </a:lnTo>
                    <a:lnTo>
                      <a:pt x="326" y="71"/>
                    </a:lnTo>
                    <a:lnTo>
                      <a:pt x="324" y="71"/>
                    </a:lnTo>
                    <a:lnTo>
                      <a:pt x="324" y="71"/>
                    </a:lnTo>
                    <a:lnTo>
                      <a:pt x="322" y="71"/>
                    </a:lnTo>
                    <a:lnTo>
                      <a:pt x="322" y="71"/>
                    </a:lnTo>
                    <a:lnTo>
                      <a:pt x="322" y="71"/>
                    </a:lnTo>
                    <a:lnTo>
                      <a:pt x="319" y="71"/>
                    </a:lnTo>
                    <a:lnTo>
                      <a:pt x="319" y="71"/>
                    </a:lnTo>
                    <a:lnTo>
                      <a:pt x="317" y="71"/>
                    </a:lnTo>
                    <a:lnTo>
                      <a:pt x="317" y="71"/>
                    </a:lnTo>
                    <a:lnTo>
                      <a:pt x="314" y="71"/>
                    </a:lnTo>
                    <a:lnTo>
                      <a:pt x="312" y="71"/>
                    </a:lnTo>
                    <a:lnTo>
                      <a:pt x="312" y="71"/>
                    </a:lnTo>
                    <a:lnTo>
                      <a:pt x="312" y="68"/>
                    </a:lnTo>
                    <a:lnTo>
                      <a:pt x="310" y="68"/>
                    </a:lnTo>
                    <a:lnTo>
                      <a:pt x="310" y="68"/>
                    </a:lnTo>
                    <a:lnTo>
                      <a:pt x="307" y="71"/>
                    </a:lnTo>
                    <a:lnTo>
                      <a:pt x="307" y="68"/>
                    </a:lnTo>
                    <a:lnTo>
                      <a:pt x="307" y="71"/>
                    </a:lnTo>
                    <a:lnTo>
                      <a:pt x="305" y="71"/>
                    </a:lnTo>
                    <a:lnTo>
                      <a:pt x="303" y="73"/>
                    </a:lnTo>
                    <a:lnTo>
                      <a:pt x="303" y="76"/>
                    </a:lnTo>
                    <a:lnTo>
                      <a:pt x="303" y="76"/>
                    </a:lnTo>
                    <a:lnTo>
                      <a:pt x="300" y="76"/>
                    </a:lnTo>
                    <a:lnTo>
                      <a:pt x="298" y="76"/>
                    </a:lnTo>
                    <a:lnTo>
                      <a:pt x="296" y="76"/>
                    </a:lnTo>
                    <a:lnTo>
                      <a:pt x="296" y="76"/>
                    </a:lnTo>
                    <a:lnTo>
                      <a:pt x="296" y="76"/>
                    </a:lnTo>
                    <a:lnTo>
                      <a:pt x="296" y="78"/>
                    </a:lnTo>
                    <a:lnTo>
                      <a:pt x="293" y="78"/>
                    </a:lnTo>
                    <a:lnTo>
                      <a:pt x="293" y="78"/>
                    </a:lnTo>
                    <a:lnTo>
                      <a:pt x="293" y="80"/>
                    </a:lnTo>
                    <a:lnTo>
                      <a:pt x="291" y="78"/>
                    </a:lnTo>
                    <a:lnTo>
                      <a:pt x="291" y="78"/>
                    </a:lnTo>
                    <a:lnTo>
                      <a:pt x="291" y="78"/>
                    </a:lnTo>
                    <a:lnTo>
                      <a:pt x="288" y="78"/>
                    </a:lnTo>
                    <a:lnTo>
                      <a:pt x="288" y="78"/>
                    </a:lnTo>
                    <a:lnTo>
                      <a:pt x="288" y="78"/>
                    </a:lnTo>
                    <a:lnTo>
                      <a:pt x="288" y="78"/>
                    </a:lnTo>
                    <a:lnTo>
                      <a:pt x="286" y="78"/>
                    </a:lnTo>
                    <a:lnTo>
                      <a:pt x="286" y="80"/>
                    </a:lnTo>
                    <a:lnTo>
                      <a:pt x="286" y="80"/>
                    </a:lnTo>
                    <a:lnTo>
                      <a:pt x="284" y="80"/>
                    </a:lnTo>
                    <a:lnTo>
                      <a:pt x="286" y="83"/>
                    </a:lnTo>
                    <a:lnTo>
                      <a:pt x="286" y="83"/>
                    </a:lnTo>
                    <a:lnTo>
                      <a:pt x="284" y="85"/>
                    </a:lnTo>
                    <a:lnTo>
                      <a:pt x="284" y="85"/>
                    </a:lnTo>
                    <a:lnTo>
                      <a:pt x="281" y="85"/>
                    </a:lnTo>
                    <a:lnTo>
                      <a:pt x="281" y="85"/>
                    </a:lnTo>
                    <a:lnTo>
                      <a:pt x="279" y="85"/>
                    </a:lnTo>
                    <a:lnTo>
                      <a:pt x="279" y="85"/>
                    </a:lnTo>
                    <a:lnTo>
                      <a:pt x="279" y="85"/>
                    </a:lnTo>
                    <a:lnTo>
                      <a:pt x="277" y="85"/>
                    </a:lnTo>
                    <a:lnTo>
                      <a:pt x="277" y="83"/>
                    </a:lnTo>
                    <a:lnTo>
                      <a:pt x="274" y="83"/>
                    </a:lnTo>
                    <a:lnTo>
                      <a:pt x="272" y="83"/>
                    </a:lnTo>
                    <a:lnTo>
                      <a:pt x="270" y="80"/>
                    </a:lnTo>
                    <a:lnTo>
                      <a:pt x="270" y="80"/>
                    </a:lnTo>
                    <a:lnTo>
                      <a:pt x="270" y="78"/>
                    </a:lnTo>
                    <a:lnTo>
                      <a:pt x="267" y="76"/>
                    </a:lnTo>
                    <a:lnTo>
                      <a:pt x="265" y="76"/>
                    </a:lnTo>
                    <a:lnTo>
                      <a:pt x="265" y="76"/>
                    </a:lnTo>
                    <a:lnTo>
                      <a:pt x="262" y="73"/>
                    </a:lnTo>
                    <a:lnTo>
                      <a:pt x="262" y="73"/>
                    </a:lnTo>
                    <a:lnTo>
                      <a:pt x="262" y="73"/>
                    </a:lnTo>
                    <a:lnTo>
                      <a:pt x="262" y="71"/>
                    </a:lnTo>
                    <a:lnTo>
                      <a:pt x="262" y="71"/>
                    </a:lnTo>
                    <a:lnTo>
                      <a:pt x="262" y="71"/>
                    </a:lnTo>
                    <a:lnTo>
                      <a:pt x="262" y="71"/>
                    </a:lnTo>
                    <a:lnTo>
                      <a:pt x="262" y="66"/>
                    </a:lnTo>
                    <a:lnTo>
                      <a:pt x="262" y="64"/>
                    </a:lnTo>
                    <a:lnTo>
                      <a:pt x="260" y="61"/>
                    </a:lnTo>
                    <a:lnTo>
                      <a:pt x="260" y="61"/>
                    </a:lnTo>
                    <a:lnTo>
                      <a:pt x="258" y="57"/>
                    </a:lnTo>
                    <a:lnTo>
                      <a:pt x="258" y="54"/>
                    </a:lnTo>
                    <a:lnTo>
                      <a:pt x="258" y="52"/>
                    </a:lnTo>
                    <a:lnTo>
                      <a:pt x="258" y="47"/>
                    </a:lnTo>
                    <a:lnTo>
                      <a:pt x="258" y="45"/>
                    </a:lnTo>
                    <a:lnTo>
                      <a:pt x="260" y="42"/>
                    </a:lnTo>
                    <a:lnTo>
                      <a:pt x="260" y="40"/>
                    </a:lnTo>
                    <a:lnTo>
                      <a:pt x="260" y="40"/>
                    </a:lnTo>
                    <a:lnTo>
                      <a:pt x="260" y="38"/>
                    </a:lnTo>
                    <a:lnTo>
                      <a:pt x="260" y="35"/>
                    </a:lnTo>
                    <a:lnTo>
                      <a:pt x="262" y="33"/>
                    </a:lnTo>
                    <a:lnTo>
                      <a:pt x="265" y="33"/>
                    </a:lnTo>
                    <a:lnTo>
                      <a:pt x="265" y="33"/>
                    </a:lnTo>
                    <a:lnTo>
                      <a:pt x="265" y="31"/>
                    </a:lnTo>
                    <a:lnTo>
                      <a:pt x="265" y="28"/>
                    </a:lnTo>
                    <a:lnTo>
                      <a:pt x="267" y="28"/>
                    </a:lnTo>
                    <a:lnTo>
                      <a:pt x="267" y="28"/>
                    </a:lnTo>
                    <a:lnTo>
                      <a:pt x="265" y="28"/>
                    </a:lnTo>
                    <a:lnTo>
                      <a:pt x="265" y="26"/>
                    </a:lnTo>
                    <a:lnTo>
                      <a:pt x="265" y="23"/>
                    </a:lnTo>
                    <a:lnTo>
                      <a:pt x="262" y="23"/>
                    </a:lnTo>
                    <a:lnTo>
                      <a:pt x="262" y="21"/>
                    </a:lnTo>
                    <a:lnTo>
                      <a:pt x="262" y="21"/>
                    </a:lnTo>
                    <a:lnTo>
                      <a:pt x="265" y="19"/>
                    </a:lnTo>
                    <a:lnTo>
                      <a:pt x="265" y="19"/>
                    </a:lnTo>
                    <a:lnTo>
                      <a:pt x="262" y="19"/>
                    </a:lnTo>
                    <a:lnTo>
                      <a:pt x="262" y="16"/>
                    </a:lnTo>
                    <a:lnTo>
                      <a:pt x="260" y="16"/>
                    </a:lnTo>
                    <a:lnTo>
                      <a:pt x="260" y="16"/>
                    </a:lnTo>
                    <a:lnTo>
                      <a:pt x="258" y="16"/>
                    </a:lnTo>
                    <a:lnTo>
                      <a:pt x="255" y="16"/>
                    </a:lnTo>
                    <a:lnTo>
                      <a:pt x="255" y="16"/>
                    </a:lnTo>
                    <a:lnTo>
                      <a:pt x="255" y="14"/>
                    </a:lnTo>
                    <a:lnTo>
                      <a:pt x="255" y="14"/>
                    </a:lnTo>
                    <a:lnTo>
                      <a:pt x="258" y="12"/>
                    </a:lnTo>
                    <a:lnTo>
                      <a:pt x="258" y="12"/>
                    </a:lnTo>
                    <a:lnTo>
                      <a:pt x="258" y="9"/>
                    </a:lnTo>
                    <a:lnTo>
                      <a:pt x="258" y="7"/>
                    </a:lnTo>
                    <a:lnTo>
                      <a:pt x="258" y="4"/>
                    </a:lnTo>
                    <a:lnTo>
                      <a:pt x="258" y="4"/>
                    </a:lnTo>
                    <a:lnTo>
                      <a:pt x="258" y="2"/>
                    </a:lnTo>
                    <a:lnTo>
                      <a:pt x="258" y="2"/>
                    </a:lnTo>
                    <a:lnTo>
                      <a:pt x="255" y="0"/>
                    </a:lnTo>
                    <a:lnTo>
                      <a:pt x="255" y="0"/>
                    </a:lnTo>
                    <a:lnTo>
                      <a:pt x="255" y="0"/>
                    </a:lnTo>
                    <a:lnTo>
                      <a:pt x="253" y="2"/>
                    </a:lnTo>
                    <a:lnTo>
                      <a:pt x="251" y="2"/>
                    </a:lnTo>
                    <a:lnTo>
                      <a:pt x="251" y="2"/>
                    </a:lnTo>
                    <a:lnTo>
                      <a:pt x="248" y="2"/>
                    </a:lnTo>
                    <a:lnTo>
                      <a:pt x="246" y="0"/>
                    </a:lnTo>
                    <a:lnTo>
                      <a:pt x="246" y="2"/>
                    </a:lnTo>
                    <a:lnTo>
                      <a:pt x="246" y="2"/>
                    </a:lnTo>
                    <a:lnTo>
                      <a:pt x="246" y="2"/>
                    </a:lnTo>
                    <a:lnTo>
                      <a:pt x="246" y="4"/>
                    </a:lnTo>
                    <a:lnTo>
                      <a:pt x="248" y="4"/>
                    </a:lnTo>
                    <a:lnTo>
                      <a:pt x="248" y="7"/>
                    </a:lnTo>
                    <a:lnTo>
                      <a:pt x="246" y="7"/>
                    </a:lnTo>
                    <a:lnTo>
                      <a:pt x="246" y="9"/>
                    </a:lnTo>
                    <a:lnTo>
                      <a:pt x="244" y="9"/>
                    </a:lnTo>
                    <a:lnTo>
                      <a:pt x="244" y="12"/>
                    </a:lnTo>
                    <a:lnTo>
                      <a:pt x="241" y="12"/>
                    </a:lnTo>
                    <a:lnTo>
                      <a:pt x="241" y="14"/>
                    </a:lnTo>
                    <a:lnTo>
                      <a:pt x="239" y="16"/>
                    </a:lnTo>
                    <a:lnTo>
                      <a:pt x="239" y="16"/>
                    </a:lnTo>
                    <a:lnTo>
                      <a:pt x="239" y="16"/>
                    </a:lnTo>
                    <a:lnTo>
                      <a:pt x="236" y="16"/>
                    </a:lnTo>
                    <a:lnTo>
                      <a:pt x="234" y="16"/>
                    </a:lnTo>
                    <a:lnTo>
                      <a:pt x="232" y="16"/>
                    </a:lnTo>
                    <a:lnTo>
                      <a:pt x="232" y="19"/>
                    </a:lnTo>
                    <a:lnTo>
                      <a:pt x="229" y="21"/>
                    </a:lnTo>
                    <a:lnTo>
                      <a:pt x="225" y="23"/>
                    </a:lnTo>
                    <a:lnTo>
                      <a:pt x="220" y="23"/>
                    </a:lnTo>
                    <a:lnTo>
                      <a:pt x="218" y="23"/>
                    </a:lnTo>
                    <a:lnTo>
                      <a:pt x="213" y="23"/>
                    </a:lnTo>
                    <a:lnTo>
                      <a:pt x="213" y="23"/>
                    </a:lnTo>
                    <a:lnTo>
                      <a:pt x="210" y="26"/>
                    </a:lnTo>
                    <a:lnTo>
                      <a:pt x="210" y="26"/>
                    </a:lnTo>
                    <a:lnTo>
                      <a:pt x="208" y="26"/>
                    </a:lnTo>
                    <a:lnTo>
                      <a:pt x="208" y="26"/>
                    </a:lnTo>
                    <a:lnTo>
                      <a:pt x="208" y="28"/>
                    </a:lnTo>
                    <a:lnTo>
                      <a:pt x="206" y="33"/>
                    </a:lnTo>
                    <a:lnTo>
                      <a:pt x="206" y="35"/>
                    </a:lnTo>
                    <a:lnTo>
                      <a:pt x="203" y="35"/>
                    </a:lnTo>
                    <a:lnTo>
                      <a:pt x="201" y="33"/>
                    </a:lnTo>
                    <a:lnTo>
                      <a:pt x="199" y="31"/>
                    </a:lnTo>
                    <a:lnTo>
                      <a:pt x="196" y="28"/>
                    </a:lnTo>
                    <a:lnTo>
                      <a:pt x="196" y="28"/>
                    </a:lnTo>
                    <a:lnTo>
                      <a:pt x="194" y="28"/>
                    </a:lnTo>
                    <a:lnTo>
                      <a:pt x="191" y="28"/>
                    </a:lnTo>
                    <a:lnTo>
                      <a:pt x="191" y="28"/>
                    </a:lnTo>
                    <a:lnTo>
                      <a:pt x="189" y="28"/>
                    </a:lnTo>
                    <a:lnTo>
                      <a:pt x="189" y="28"/>
                    </a:lnTo>
                    <a:lnTo>
                      <a:pt x="184" y="28"/>
                    </a:lnTo>
                    <a:lnTo>
                      <a:pt x="182" y="28"/>
                    </a:lnTo>
                    <a:lnTo>
                      <a:pt x="182" y="28"/>
                    </a:lnTo>
                    <a:lnTo>
                      <a:pt x="182" y="26"/>
                    </a:lnTo>
                    <a:lnTo>
                      <a:pt x="180" y="23"/>
                    </a:lnTo>
                    <a:lnTo>
                      <a:pt x="180" y="23"/>
                    </a:lnTo>
                    <a:lnTo>
                      <a:pt x="180" y="23"/>
                    </a:lnTo>
                    <a:lnTo>
                      <a:pt x="173" y="23"/>
                    </a:lnTo>
                    <a:lnTo>
                      <a:pt x="173" y="23"/>
                    </a:lnTo>
                    <a:lnTo>
                      <a:pt x="173" y="23"/>
                    </a:lnTo>
                    <a:lnTo>
                      <a:pt x="170" y="21"/>
                    </a:lnTo>
                    <a:lnTo>
                      <a:pt x="170" y="21"/>
                    </a:lnTo>
                    <a:lnTo>
                      <a:pt x="168" y="21"/>
                    </a:lnTo>
                    <a:lnTo>
                      <a:pt x="168" y="21"/>
                    </a:lnTo>
                    <a:lnTo>
                      <a:pt x="170" y="26"/>
                    </a:lnTo>
                    <a:lnTo>
                      <a:pt x="170" y="26"/>
                    </a:lnTo>
                    <a:lnTo>
                      <a:pt x="173" y="28"/>
                    </a:lnTo>
                    <a:lnTo>
                      <a:pt x="177" y="33"/>
                    </a:lnTo>
                    <a:lnTo>
                      <a:pt x="180" y="35"/>
                    </a:lnTo>
                    <a:lnTo>
                      <a:pt x="180" y="38"/>
                    </a:lnTo>
                    <a:lnTo>
                      <a:pt x="180" y="40"/>
                    </a:lnTo>
                    <a:lnTo>
                      <a:pt x="180" y="42"/>
                    </a:lnTo>
                    <a:lnTo>
                      <a:pt x="180" y="47"/>
                    </a:lnTo>
                    <a:lnTo>
                      <a:pt x="182" y="52"/>
                    </a:lnTo>
                    <a:lnTo>
                      <a:pt x="182" y="54"/>
                    </a:lnTo>
                    <a:lnTo>
                      <a:pt x="182" y="57"/>
                    </a:lnTo>
                    <a:lnTo>
                      <a:pt x="182" y="57"/>
                    </a:lnTo>
                    <a:lnTo>
                      <a:pt x="182" y="59"/>
                    </a:lnTo>
                    <a:lnTo>
                      <a:pt x="182" y="59"/>
                    </a:lnTo>
                    <a:lnTo>
                      <a:pt x="184" y="59"/>
                    </a:lnTo>
                    <a:lnTo>
                      <a:pt x="189" y="59"/>
                    </a:lnTo>
                    <a:lnTo>
                      <a:pt x="191" y="59"/>
                    </a:lnTo>
                    <a:lnTo>
                      <a:pt x="194" y="59"/>
                    </a:lnTo>
                    <a:lnTo>
                      <a:pt x="194" y="61"/>
                    </a:lnTo>
                    <a:lnTo>
                      <a:pt x="194" y="64"/>
                    </a:lnTo>
                    <a:lnTo>
                      <a:pt x="194" y="66"/>
                    </a:lnTo>
                    <a:lnTo>
                      <a:pt x="191" y="66"/>
                    </a:lnTo>
                    <a:lnTo>
                      <a:pt x="191" y="66"/>
                    </a:lnTo>
                    <a:lnTo>
                      <a:pt x="189" y="68"/>
                    </a:lnTo>
                    <a:lnTo>
                      <a:pt x="184" y="68"/>
                    </a:lnTo>
                    <a:lnTo>
                      <a:pt x="184" y="68"/>
                    </a:lnTo>
                    <a:lnTo>
                      <a:pt x="182" y="71"/>
                    </a:lnTo>
                    <a:lnTo>
                      <a:pt x="182" y="71"/>
                    </a:lnTo>
                    <a:lnTo>
                      <a:pt x="182" y="71"/>
                    </a:lnTo>
                    <a:lnTo>
                      <a:pt x="182" y="73"/>
                    </a:lnTo>
                    <a:lnTo>
                      <a:pt x="180" y="78"/>
                    </a:lnTo>
                    <a:lnTo>
                      <a:pt x="180" y="78"/>
                    </a:lnTo>
                    <a:lnTo>
                      <a:pt x="177" y="80"/>
                    </a:lnTo>
                    <a:lnTo>
                      <a:pt x="175" y="80"/>
                    </a:lnTo>
                    <a:lnTo>
                      <a:pt x="173" y="80"/>
                    </a:lnTo>
                    <a:lnTo>
                      <a:pt x="173" y="80"/>
                    </a:lnTo>
                    <a:lnTo>
                      <a:pt x="173" y="83"/>
                    </a:lnTo>
                    <a:lnTo>
                      <a:pt x="170" y="83"/>
                    </a:lnTo>
                    <a:lnTo>
                      <a:pt x="168" y="85"/>
                    </a:lnTo>
                    <a:lnTo>
                      <a:pt x="168" y="85"/>
                    </a:lnTo>
                    <a:lnTo>
                      <a:pt x="165" y="85"/>
                    </a:lnTo>
                    <a:lnTo>
                      <a:pt x="163" y="87"/>
                    </a:lnTo>
                    <a:lnTo>
                      <a:pt x="161" y="87"/>
                    </a:lnTo>
                    <a:lnTo>
                      <a:pt x="161" y="90"/>
                    </a:lnTo>
                    <a:lnTo>
                      <a:pt x="158" y="92"/>
                    </a:lnTo>
                    <a:lnTo>
                      <a:pt x="156" y="92"/>
                    </a:lnTo>
                    <a:lnTo>
                      <a:pt x="156" y="94"/>
                    </a:lnTo>
                    <a:lnTo>
                      <a:pt x="154" y="97"/>
                    </a:lnTo>
                    <a:lnTo>
                      <a:pt x="154" y="97"/>
                    </a:lnTo>
                    <a:lnTo>
                      <a:pt x="154" y="94"/>
                    </a:lnTo>
                    <a:lnTo>
                      <a:pt x="154" y="92"/>
                    </a:lnTo>
                    <a:lnTo>
                      <a:pt x="154" y="92"/>
                    </a:lnTo>
                    <a:lnTo>
                      <a:pt x="151" y="90"/>
                    </a:lnTo>
                    <a:lnTo>
                      <a:pt x="151" y="90"/>
                    </a:lnTo>
                    <a:lnTo>
                      <a:pt x="151" y="90"/>
                    </a:lnTo>
                    <a:lnTo>
                      <a:pt x="149" y="92"/>
                    </a:lnTo>
                    <a:lnTo>
                      <a:pt x="147" y="92"/>
                    </a:lnTo>
                    <a:lnTo>
                      <a:pt x="144" y="94"/>
                    </a:lnTo>
                    <a:lnTo>
                      <a:pt x="144" y="94"/>
                    </a:lnTo>
                    <a:lnTo>
                      <a:pt x="142" y="94"/>
                    </a:lnTo>
                    <a:lnTo>
                      <a:pt x="139" y="94"/>
                    </a:lnTo>
                    <a:lnTo>
                      <a:pt x="139" y="94"/>
                    </a:lnTo>
                    <a:lnTo>
                      <a:pt x="137" y="94"/>
                    </a:lnTo>
                    <a:lnTo>
                      <a:pt x="132" y="90"/>
                    </a:lnTo>
                    <a:lnTo>
                      <a:pt x="128" y="85"/>
                    </a:lnTo>
                    <a:lnTo>
                      <a:pt x="125" y="87"/>
                    </a:lnTo>
                    <a:lnTo>
                      <a:pt x="125" y="85"/>
                    </a:lnTo>
                    <a:lnTo>
                      <a:pt x="125" y="85"/>
                    </a:lnTo>
                    <a:lnTo>
                      <a:pt x="125" y="83"/>
                    </a:lnTo>
                    <a:lnTo>
                      <a:pt x="125" y="78"/>
                    </a:lnTo>
                    <a:lnTo>
                      <a:pt x="125" y="76"/>
                    </a:lnTo>
                    <a:lnTo>
                      <a:pt x="123" y="73"/>
                    </a:lnTo>
                    <a:lnTo>
                      <a:pt x="121" y="68"/>
                    </a:lnTo>
                    <a:lnTo>
                      <a:pt x="121" y="66"/>
                    </a:lnTo>
                    <a:lnTo>
                      <a:pt x="118" y="66"/>
                    </a:lnTo>
                    <a:lnTo>
                      <a:pt x="118" y="66"/>
                    </a:lnTo>
                    <a:lnTo>
                      <a:pt x="118" y="66"/>
                    </a:lnTo>
                    <a:lnTo>
                      <a:pt x="116" y="68"/>
                    </a:lnTo>
                    <a:lnTo>
                      <a:pt x="116" y="68"/>
                    </a:lnTo>
                    <a:lnTo>
                      <a:pt x="113" y="71"/>
                    </a:lnTo>
                    <a:lnTo>
                      <a:pt x="111" y="73"/>
                    </a:lnTo>
                    <a:lnTo>
                      <a:pt x="111" y="73"/>
                    </a:lnTo>
                    <a:lnTo>
                      <a:pt x="109" y="73"/>
                    </a:lnTo>
                    <a:lnTo>
                      <a:pt x="109" y="73"/>
                    </a:lnTo>
                    <a:lnTo>
                      <a:pt x="106" y="73"/>
                    </a:lnTo>
                    <a:lnTo>
                      <a:pt x="106" y="71"/>
                    </a:lnTo>
                    <a:lnTo>
                      <a:pt x="106" y="71"/>
                    </a:lnTo>
                    <a:lnTo>
                      <a:pt x="104" y="68"/>
                    </a:lnTo>
                    <a:lnTo>
                      <a:pt x="104" y="71"/>
                    </a:lnTo>
                    <a:lnTo>
                      <a:pt x="104" y="71"/>
                    </a:lnTo>
                    <a:lnTo>
                      <a:pt x="104" y="73"/>
                    </a:lnTo>
                    <a:lnTo>
                      <a:pt x="104" y="73"/>
                    </a:lnTo>
                    <a:lnTo>
                      <a:pt x="104" y="76"/>
                    </a:lnTo>
                    <a:lnTo>
                      <a:pt x="104" y="76"/>
                    </a:lnTo>
                    <a:lnTo>
                      <a:pt x="99" y="76"/>
                    </a:lnTo>
                    <a:lnTo>
                      <a:pt x="95" y="76"/>
                    </a:lnTo>
                    <a:lnTo>
                      <a:pt x="90" y="76"/>
                    </a:lnTo>
                    <a:lnTo>
                      <a:pt x="87" y="76"/>
                    </a:lnTo>
                    <a:lnTo>
                      <a:pt x="83" y="76"/>
                    </a:lnTo>
                    <a:lnTo>
                      <a:pt x="83" y="76"/>
                    </a:lnTo>
                    <a:lnTo>
                      <a:pt x="80" y="73"/>
                    </a:lnTo>
                    <a:lnTo>
                      <a:pt x="78" y="73"/>
                    </a:lnTo>
                    <a:lnTo>
                      <a:pt x="78" y="73"/>
                    </a:lnTo>
                    <a:lnTo>
                      <a:pt x="78" y="73"/>
                    </a:lnTo>
                    <a:lnTo>
                      <a:pt x="76" y="76"/>
                    </a:lnTo>
                    <a:lnTo>
                      <a:pt x="73" y="76"/>
                    </a:lnTo>
                    <a:lnTo>
                      <a:pt x="73" y="76"/>
                    </a:lnTo>
                    <a:lnTo>
                      <a:pt x="73" y="78"/>
                    </a:lnTo>
                    <a:lnTo>
                      <a:pt x="73" y="83"/>
                    </a:lnTo>
                    <a:lnTo>
                      <a:pt x="73" y="90"/>
                    </a:lnTo>
                    <a:lnTo>
                      <a:pt x="73" y="87"/>
                    </a:lnTo>
                    <a:lnTo>
                      <a:pt x="76" y="87"/>
                    </a:lnTo>
                    <a:lnTo>
                      <a:pt x="76" y="90"/>
                    </a:lnTo>
                    <a:lnTo>
                      <a:pt x="78" y="87"/>
                    </a:lnTo>
                    <a:lnTo>
                      <a:pt x="78" y="90"/>
                    </a:lnTo>
                    <a:lnTo>
                      <a:pt x="80" y="90"/>
                    </a:lnTo>
                    <a:lnTo>
                      <a:pt x="80" y="90"/>
                    </a:lnTo>
                    <a:lnTo>
                      <a:pt x="80" y="90"/>
                    </a:lnTo>
                    <a:lnTo>
                      <a:pt x="80" y="90"/>
                    </a:lnTo>
                    <a:lnTo>
                      <a:pt x="83" y="90"/>
                    </a:lnTo>
                    <a:lnTo>
                      <a:pt x="83" y="90"/>
                    </a:lnTo>
                    <a:lnTo>
                      <a:pt x="85" y="90"/>
                    </a:lnTo>
                    <a:lnTo>
                      <a:pt x="85" y="90"/>
                    </a:lnTo>
                    <a:lnTo>
                      <a:pt x="85" y="92"/>
                    </a:lnTo>
                    <a:lnTo>
                      <a:pt x="85" y="92"/>
                    </a:lnTo>
                    <a:lnTo>
                      <a:pt x="85" y="94"/>
                    </a:lnTo>
                    <a:lnTo>
                      <a:pt x="85" y="94"/>
                    </a:lnTo>
                    <a:lnTo>
                      <a:pt x="85" y="97"/>
                    </a:lnTo>
                    <a:lnTo>
                      <a:pt x="85" y="97"/>
                    </a:lnTo>
                    <a:lnTo>
                      <a:pt x="85" y="97"/>
                    </a:lnTo>
                    <a:lnTo>
                      <a:pt x="85" y="97"/>
                    </a:lnTo>
                    <a:lnTo>
                      <a:pt x="85" y="97"/>
                    </a:lnTo>
                    <a:lnTo>
                      <a:pt x="85" y="97"/>
                    </a:lnTo>
                    <a:lnTo>
                      <a:pt x="85" y="97"/>
                    </a:lnTo>
                    <a:lnTo>
                      <a:pt x="83" y="97"/>
                    </a:lnTo>
                    <a:lnTo>
                      <a:pt x="83" y="97"/>
                    </a:lnTo>
                    <a:lnTo>
                      <a:pt x="83" y="97"/>
                    </a:lnTo>
                    <a:lnTo>
                      <a:pt x="83" y="97"/>
                    </a:lnTo>
                    <a:lnTo>
                      <a:pt x="83" y="97"/>
                    </a:lnTo>
                    <a:lnTo>
                      <a:pt x="80" y="97"/>
                    </a:lnTo>
                    <a:lnTo>
                      <a:pt x="80" y="97"/>
                    </a:lnTo>
                    <a:lnTo>
                      <a:pt x="78" y="97"/>
                    </a:lnTo>
                    <a:lnTo>
                      <a:pt x="78" y="97"/>
                    </a:lnTo>
                    <a:lnTo>
                      <a:pt x="78" y="97"/>
                    </a:lnTo>
                    <a:lnTo>
                      <a:pt x="78" y="97"/>
                    </a:lnTo>
                    <a:lnTo>
                      <a:pt x="76" y="97"/>
                    </a:lnTo>
                    <a:lnTo>
                      <a:pt x="76" y="97"/>
                    </a:lnTo>
                    <a:lnTo>
                      <a:pt x="76" y="97"/>
                    </a:lnTo>
                    <a:lnTo>
                      <a:pt x="73" y="99"/>
                    </a:lnTo>
                    <a:lnTo>
                      <a:pt x="73" y="99"/>
                    </a:lnTo>
                    <a:lnTo>
                      <a:pt x="71" y="99"/>
                    </a:lnTo>
                    <a:lnTo>
                      <a:pt x="71" y="99"/>
                    </a:lnTo>
                    <a:lnTo>
                      <a:pt x="68" y="99"/>
                    </a:lnTo>
                    <a:lnTo>
                      <a:pt x="68" y="102"/>
                    </a:lnTo>
                    <a:lnTo>
                      <a:pt x="68" y="106"/>
                    </a:lnTo>
                    <a:lnTo>
                      <a:pt x="68" y="111"/>
                    </a:lnTo>
                    <a:lnTo>
                      <a:pt x="68" y="113"/>
                    </a:lnTo>
                    <a:lnTo>
                      <a:pt x="68" y="116"/>
                    </a:lnTo>
                    <a:lnTo>
                      <a:pt x="71" y="118"/>
                    </a:lnTo>
                    <a:lnTo>
                      <a:pt x="73" y="118"/>
                    </a:lnTo>
                    <a:lnTo>
                      <a:pt x="76" y="120"/>
                    </a:lnTo>
                    <a:lnTo>
                      <a:pt x="76" y="120"/>
                    </a:lnTo>
                    <a:lnTo>
                      <a:pt x="78" y="123"/>
                    </a:lnTo>
                    <a:lnTo>
                      <a:pt x="78" y="123"/>
                    </a:lnTo>
                    <a:lnTo>
                      <a:pt x="78" y="123"/>
                    </a:lnTo>
                    <a:lnTo>
                      <a:pt x="78" y="125"/>
                    </a:lnTo>
                    <a:lnTo>
                      <a:pt x="78" y="125"/>
                    </a:lnTo>
                    <a:lnTo>
                      <a:pt x="78" y="125"/>
                    </a:lnTo>
                    <a:lnTo>
                      <a:pt x="78" y="128"/>
                    </a:lnTo>
                    <a:lnTo>
                      <a:pt x="78" y="128"/>
                    </a:lnTo>
                    <a:lnTo>
                      <a:pt x="78" y="130"/>
                    </a:lnTo>
                    <a:lnTo>
                      <a:pt x="78" y="130"/>
                    </a:lnTo>
                    <a:lnTo>
                      <a:pt x="78" y="130"/>
                    </a:lnTo>
                    <a:lnTo>
                      <a:pt x="80" y="130"/>
                    </a:lnTo>
                    <a:lnTo>
                      <a:pt x="80" y="132"/>
                    </a:lnTo>
                    <a:lnTo>
                      <a:pt x="80" y="132"/>
                    </a:lnTo>
                    <a:lnTo>
                      <a:pt x="80" y="132"/>
                    </a:lnTo>
                    <a:lnTo>
                      <a:pt x="80" y="135"/>
                    </a:lnTo>
                    <a:lnTo>
                      <a:pt x="80" y="135"/>
                    </a:lnTo>
                    <a:lnTo>
                      <a:pt x="80" y="135"/>
                    </a:lnTo>
                    <a:lnTo>
                      <a:pt x="83" y="137"/>
                    </a:lnTo>
                    <a:lnTo>
                      <a:pt x="80" y="137"/>
                    </a:lnTo>
                    <a:lnTo>
                      <a:pt x="80" y="142"/>
                    </a:lnTo>
                    <a:lnTo>
                      <a:pt x="80" y="147"/>
                    </a:lnTo>
                    <a:lnTo>
                      <a:pt x="80" y="149"/>
                    </a:lnTo>
                    <a:lnTo>
                      <a:pt x="78" y="154"/>
                    </a:lnTo>
                    <a:lnTo>
                      <a:pt x="78" y="161"/>
                    </a:lnTo>
                    <a:lnTo>
                      <a:pt x="78" y="168"/>
                    </a:lnTo>
                    <a:lnTo>
                      <a:pt x="76" y="175"/>
                    </a:lnTo>
                    <a:lnTo>
                      <a:pt x="76" y="182"/>
                    </a:lnTo>
                    <a:lnTo>
                      <a:pt x="73" y="189"/>
                    </a:lnTo>
                    <a:lnTo>
                      <a:pt x="73" y="196"/>
                    </a:lnTo>
                    <a:lnTo>
                      <a:pt x="73" y="201"/>
                    </a:lnTo>
                    <a:lnTo>
                      <a:pt x="73" y="201"/>
                    </a:lnTo>
                    <a:lnTo>
                      <a:pt x="73" y="201"/>
                    </a:lnTo>
                    <a:lnTo>
                      <a:pt x="71" y="203"/>
                    </a:lnTo>
                    <a:lnTo>
                      <a:pt x="71" y="203"/>
                    </a:lnTo>
                    <a:lnTo>
                      <a:pt x="68" y="201"/>
                    </a:lnTo>
                    <a:lnTo>
                      <a:pt x="68" y="201"/>
                    </a:lnTo>
                    <a:lnTo>
                      <a:pt x="68" y="201"/>
                    </a:lnTo>
                    <a:lnTo>
                      <a:pt x="66" y="201"/>
                    </a:lnTo>
                    <a:lnTo>
                      <a:pt x="66" y="199"/>
                    </a:lnTo>
                    <a:lnTo>
                      <a:pt x="64" y="199"/>
                    </a:lnTo>
                    <a:lnTo>
                      <a:pt x="61" y="199"/>
                    </a:lnTo>
                    <a:lnTo>
                      <a:pt x="59" y="199"/>
                    </a:lnTo>
                    <a:lnTo>
                      <a:pt x="59" y="199"/>
                    </a:lnTo>
                    <a:lnTo>
                      <a:pt x="57" y="199"/>
                    </a:lnTo>
                    <a:lnTo>
                      <a:pt x="57" y="201"/>
                    </a:lnTo>
                    <a:lnTo>
                      <a:pt x="54" y="201"/>
                    </a:lnTo>
                    <a:lnTo>
                      <a:pt x="54" y="203"/>
                    </a:lnTo>
                    <a:lnTo>
                      <a:pt x="50" y="203"/>
                    </a:lnTo>
                    <a:lnTo>
                      <a:pt x="50" y="203"/>
                    </a:lnTo>
                    <a:lnTo>
                      <a:pt x="47" y="206"/>
                    </a:lnTo>
                    <a:lnTo>
                      <a:pt x="45" y="206"/>
                    </a:lnTo>
                    <a:lnTo>
                      <a:pt x="42" y="206"/>
                    </a:lnTo>
                    <a:lnTo>
                      <a:pt x="40" y="206"/>
                    </a:lnTo>
                    <a:lnTo>
                      <a:pt x="38" y="206"/>
                    </a:lnTo>
                    <a:lnTo>
                      <a:pt x="35" y="208"/>
                    </a:lnTo>
                    <a:lnTo>
                      <a:pt x="35" y="208"/>
                    </a:lnTo>
                    <a:lnTo>
                      <a:pt x="33" y="208"/>
                    </a:lnTo>
                    <a:lnTo>
                      <a:pt x="31" y="210"/>
                    </a:lnTo>
                    <a:lnTo>
                      <a:pt x="28" y="213"/>
                    </a:lnTo>
                    <a:lnTo>
                      <a:pt x="26" y="215"/>
                    </a:lnTo>
                    <a:lnTo>
                      <a:pt x="24" y="218"/>
                    </a:lnTo>
                    <a:lnTo>
                      <a:pt x="21" y="218"/>
                    </a:lnTo>
                    <a:lnTo>
                      <a:pt x="19" y="220"/>
                    </a:lnTo>
                    <a:lnTo>
                      <a:pt x="19" y="220"/>
                    </a:lnTo>
                    <a:lnTo>
                      <a:pt x="19" y="220"/>
                    </a:lnTo>
                    <a:lnTo>
                      <a:pt x="19" y="220"/>
                    </a:lnTo>
                    <a:lnTo>
                      <a:pt x="19" y="222"/>
                    </a:lnTo>
                    <a:lnTo>
                      <a:pt x="16" y="227"/>
                    </a:lnTo>
                    <a:lnTo>
                      <a:pt x="16" y="229"/>
                    </a:lnTo>
                    <a:lnTo>
                      <a:pt x="16" y="229"/>
                    </a:lnTo>
                    <a:lnTo>
                      <a:pt x="16" y="234"/>
                    </a:lnTo>
                    <a:lnTo>
                      <a:pt x="14" y="237"/>
                    </a:lnTo>
                    <a:lnTo>
                      <a:pt x="14" y="239"/>
                    </a:lnTo>
                    <a:lnTo>
                      <a:pt x="12" y="239"/>
                    </a:lnTo>
                    <a:lnTo>
                      <a:pt x="14" y="241"/>
                    </a:lnTo>
                    <a:lnTo>
                      <a:pt x="14" y="244"/>
                    </a:lnTo>
                    <a:lnTo>
                      <a:pt x="14" y="246"/>
                    </a:lnTo>
                    <a:lnTo>
                      <a:pt x="14" y="246"/>
                    </a:lnTo>
                    <a:lnTo>
                      <a:pt x="14" y="248"/>
                    </a:lnTo>
                    <a:lnTo>
                      <a:pt x="14" y="248"/>
                    </a:lnTo>
                    <a:lnTo>
                      <a:pt x="14" y="251"/>
                    </a:lnTo>
                    <a:lnTo>
                      <a:pt x="12" y="251"/>
                    </a:lnTo>
                    <a:lnTo>
                      <a:pt x="9" y="253"/>
                    </a:lnTo>
                    <a:lnTo>
                      <a:pt x="5" y="255"/>
                    </a:lnTo>
                    <a:lnTo>
                      <a:pt x="5" y="258"/>
                    </a:lnTo>
                    <a:lnTo>
                      <a:pt x="5" y="258"/>
                    </a:lnTo>
                    <a:lnTo>
                      <a:pt x="2" y="260"/>
                    </a:lnTo>
                    <a:lnTo>
                      <a:pt x="5" y="263"/>
                    </a:lnTo>
                    <a:lnTo>
                      <a:pt x="5" y="263"/>
                    </a:lnTo>
                    <a:lnTo>
                      <a:pt x="5" y="265"/>
                    </a:lnTo>
                    <a:lnTo>
                      <a:pt x="5" y="265"/>
                    </a:lnTo>
                    <a:lnTo>
                      <a:pt x="5" y="267"/>
                    </a:lnTo>
                    <a:lnTo>
                      <a:pt x="2" y="267"/>
                    </a:lnTo>
                    <a:lnTo>
                      <a:pt x="2" y="267"/>
                    </a:lnTo>
                    <a:lnTo>
                      <a:pt x="2" y="267"/>
                    </a:lnTo>
                    <a:lnTo>
                      <a:pt x="2" y="267"/>
                    </a:lnTo>
                    <a:lnTo>
                      <a:pt x="0" y="267"/>
                    </a:lnTo>
                    <a:lnTo>
                      <a:pt x="0" y="267"/>
                    </a:lnTo>
                    <a:lnTo>
                      <a:pt x="0" y="270"/>
                    </a:lnTo>
                    <a:lnTo>
                      <a:pt x="0" y="270"/>
                    </a:lnTo>
                    <a:lnTo>
                      <a:pt x="0" y="270"/>
                    </a:lnTo>
                    <a:lnTo>
                      <a:pt x="0" y="270"/>
                    </a:lnTo>
                    <a:lnTo>
                      <a:pt x="0" y="272"/>
                    </a:lnTo>
                    <a:lnTo>
                      <a:pt x="0" y="272"/>
                    </a:lnTo>
                    <a:lnTo>
                      <a:pt x="2" y="272"/>
                    </a:lnTo>
                    <a:lnTo>
                      <a:pt x="5" y="274"/>
                    </a:lnTo>
                    <a:lnTo>
                      <a:pt x="5" y="274"/>
                    </a:lnTo>
                    <a:lnTo>
                      <a:pt x="5" y="277"/>
                    </a:lnTo>
                    <a:lnTo>
                      <a:pt x="5" y="277"/>
                    </a:lnTo>
                    <a:lnTo>
                      <a:pt x="5" y="277"/>
                    </a:lnTo>
                    <a:lnTo>
                      <a:pt x="5" y="279"/>
                    </a:lnTo>
                    <a:lnTo>
                      <a:pt x="5" y="279"/>
                    </a:lnTo>
                    <a:lnTo>
                      <a:pt x="5" y="279"/>
                    </a:lnTo>
                    <a:lnTo>
                      <a:pt x="7" y="281"/>
                    </a:lnTo>
                    <a:lnTo>
                      <a:pt x="7" y="281"/>
                    </a:lnTo>
                    <a:lnTo>
                      <a:pt x="7" y="284"/>
                    </a:lnTo>
                    <a:lnTo>
                      <a:pt x="7" y="284"/>
                    </a:lnTo>
                    <a:lnTo>
                      <a:pt x="9" y="286"/>
                    </a:lnTo>
                    <a:lnTo>
                      <a:pt x="9" y="286"/>
                    </a:lnTo>
                    <a:lnTo>
                      <a:pt x="9" y="289"/>
                    </a:lnTo>
                    <a:lnTo>
                      <a:pt x="9" y="289"/>
                    </a:lnTo>
                    <a:lnTo>
                      <a:pt x="12" y="289"/>
                    </a:lnTo>
                    <a:lnTo>
                      <a:pt x="12" y="291"/>
                    </a:lnTo>
                    <a:lnTo>
                      <a:pt x="12" y="291"/>
                    </a:lnTo>
                    <a:lnTo>
                      <a:pt x="14" y="291"/>
                    </a:lnTo>
                    <a:lnTo>
                      <a:pt x="14" y="293"/>
                    </a:lnTo>
                    <a:lnTo>
                      <a:pt x="14" y="293"/>
                    </a:lnTo>
                    <a:lnTo>
                      <a:pt x="16" y="296"/>
                    </a:lnTo>
                    <a:lnTo>
                      <a:pt x="19" y="298"/>
                    </a:lnTo>
                    <a:lnTo>
                      <a:pt x="19" y="298"/>
                    </a:lnTo>
                    <a:lnTo>
                      <a:pt x="21" y="300"/>
                    </a:lnTo>
                    <a:lnTo>
                      <a:pt x="21" y="303"/>
                    </a:lnTo>
                    <a:lnTo>
                      <a:pt x="19" y="308"/>
                    </a:lnTo>
                    <a:lnTo>
                      <a:pt x="16" y="310"/>
                    </a:lnTo>
                    <a:lnTo>
                      <a:pt x="21" y="310"/>
                    </a:lnTo>
                    <a:lnTo>
                      <a:pt x="24" y="310"/>
                    </a:lnTo>
                    <a:lnTo>
                      <a:pt x="28" y="310"/>
                    </a:lnTo>
                    <a:lnTo>
                      <a:pt x="31" y="312"/>
                    </a:lnTo>
                    <a:lnTo>
                      <a:pt x="33" y="312"/>
                    </a:lnTo>
                    <a:lnTo>
                      <a:pt x="33" y="312"/>
                    </a:lnTo>
                    <a:lnTo>
                      <a:pt x="33" y="315"/>
                    </a:lnTo>
                    <a:lnTo>
                      <a:pt x="35" y="317"/>
                    </a:lnTo>
                    <a:lnTo>
                      <a:pt x="35" y="317"/>
                    </a:lnTo>
                    <a:lnTo>
                      <a:pt x="38" y="319"/>
                    </a:lnTo>
                    <a:lnTo>
                      <a:pt x="35" y="322"/>
                    </a:lnTo>
                    <a:lnTo>
                      <a:pt x="38" y="322"/>
                    </a:lnTo>
                    <a:lnTo>
                      <a:pt x="38" y="322"/>
                    </a:lnTo>
                    <a:lnTo>
                      <a:pt x="42" y="322"/>
                    </a:lnTo>
                    <a:lnTo>
                      <a:pt x="47" y="322"/>
                    </a:lnTo>
                    <a:lnTo>
                      <a:pt x="52" y="322"/>
                    </a:lnTo>
                    <a:lnTo>
                      <a:pt x="54" y="322"/>
                    </a:lnTo>
                    <a:lnTo>
                      <a:pt x="57" y="319"/>
                    </a:lnTo>
                    <a:lnTo>
                      <a:pt x="57" y="319"/>
                    </a:lnTo>
                    <a:lnTo>
                      <a:pt x="59" y="317"/>
                    </a:lnTo>
                    <a:lnTo>
                      <a:pt x="61" y="315"/>
                    </a:lnTo>
                    <a:lnTo>
                      <a:pt x="61" y="315"/>
                    </a:lnTo>
                    <a:lnTo>
                      <a:pt x="61" y="312"/>
                    </a:lnTo>
                    <a:lnTo>
                      <a:pt x="64" y="312"/>
                    </a:lnTo>
                    <a:lnTo>
                      <a:pt x="64" y="312"/>
                    </a:lnTo>
                    <a:lnTo>
                      <a:pt x="66" y="312"/>
                    </a:lnTo>
                    <a:lnTo>
                      <a:pt x="66" y="310"/>
                    </a:lnTo>
                    <a:lnTo>
                      <a:pt x="66" y="312"/>
                    </a:lnTo>
                    <a:lnTo>
                      <a:pt x="66" y="312"/>
                    </a:lnTo>
                    <a:lnTo>
                      <a:pt x="66" y="315"/>
                    </a:lnTo>
                    <a:lnTo>
                      <a:pt x="66" y="317"/>
                    </a:lnTo>
                    <a:lnTo>
                      <a:pt x="66" y="317"/>
                    </a:lnTo>
                    <a:lnTo>
                      <a:pt x="66" y="319"/>
                    </a:lnTo>
                    <a:lnTo>
                      <a:pt x="66" y="322"/>
                    </a:lnTo>
                    <a:lnTo>
                      <a:pt x="66" y="326"/>
                    </a:lnTo>
                    <a:lnTo>
                      <a:pt x="66" y="331"/>
                    </a:lnTo>
                    <a:lnTo>
                      <a:pt x="66" y="336"/>
                    </a:lnTo>
                    <a:lnTo>
                      <a:pt x="66" y="341"/>
                    </a:lnTo>
                    <a:lnTo>
                      <a:pt x="66" y="343"/>
                    </a:lnTo>
                    <a:lnTo>
                      <a:pt x="68" y="343"/>
                    </a:lnTo>
                    <a:lnTo>
                      <a:pt x="68" y="343"/>
                    </a:lnTo>
                    <a:lnTo>
                      <a:pt x="71" y="343"/>
                    </a:lnTo>
                    <a:lnTo>
                      <a:pt x="71" y="345"/>
                    </a:lnTo>
                    <a:lnTo>
                      <a:pt x="73" y="345"/>
                    </a:lnTo>
                    <a:lnTo>
                      <a:pt x="73" y="345"/>
                    </a:lnTo>
                    <a:lnTo>
                      <a:pt x="76" y="345"/>
                    </a:lnTo>
                    <a:lnTo>
                      <a:pt x="78" y="343"/>
                    </a:lnTo>
                    <a:lnTo>
                      <a:pt x="78" y="343"/>
                    </a:lnTo>
                    <a:lnTo>
                      <a:pt x="80" y="343"/>
                    </a:lnTo>
                    <a:lnTo>
                      <a:pt x="85" y="343"/>
                    </a:lnTo>
                    <a:lnTo>
                      <a:pt x="85" y="343"/>
                    </a:lnTo>
                    <a:lnTo>
                      <a:pt x="87" y="343"/>
                    </a:lnTo>
                    <a:lnTo>
                      <a:pt x="92" y="343"/>
                    </a:lnTo>
                    <a:lnTo>
                      <a:pt x="97" y="343"/>
                    </a:lnTo>
                    <a:lnTo>
                      <a:pt x="99" y="343"/>
                    </a:lnTo>
                    <a:lnTo>
                      <a:pt x="102" y="345"/>
                    </a:lnTo>
                    <a:lnTo>
                      <a:pt x="102" y="345"/>
                    </a:lnTo>
                    <a:lnTo>
                      <a:pt x="102" y="345"/>
                    </a:lnTo>
                    <a:lnTo>
                      <a:pt x="104" y="345"/>
                    </a:lnTo>
                    <a:lnTo>
                      <a:pt x="104" y="345"/>
                    </a:lnTo>
                    <a:lnTo>
                      <a:pt x="106" y="345"/>
                    </a:lnTo>
                    <a:lnTo>
                      <a:pt x="109" y="343"/>
                    </a:lnTo>
                    <a:lnTo>
                      <a:pt x="109" y="343"/>
                    </a:lnTo>
                    <a:lnTo>
                      <a:pt x="111" y="343"/>
                    </a:lnTo>
                    <a:lnTo>
                      <a:pt x="113" y="338"/>
                    </a:lnTo>
                    <a:lnTo>
                      <a:pt x="113" y="338"/>
                    </a:lnTo>
                    <a:lnTo>
                      <a:pt x="116" y="336"/>
                    </a:lnTo>
                    <a:lnTo>
                      <a:pt x="118" y="336"/>
                    </a:lnTo>
                    <a:lnTo>
                      <a:pt x="118" y="336"/>
                    </a:lnTo>
                    <a:lnTo>
                      <a:pt x="121" y="336"/>
                    </a:lnTo>
                    <a:lnTo>
                      <a:pt x="121" y="336"/>
                    </a:lnTo>
                    <a:lnTo>
                      <a:pt x="123" y="334"/>
                    </a:lnTo>
                    <a:lnTo>
                      <a:pt x="125" y="331"/>
                    </a:lnTo>
                    <a:lnTo>
                      <a:pt x="128" y="331"/>
                    </a:lnTo>
                    <a:lnTo>
                      <a:pt x="128" y="329"/>
                    </a:lnTo>
                    <a:lnTo>
                      <a:pt x="130" y="329"/>
                    </a:lnTo>
                    <a:lnTo>
                      <a:pt x="130" y="329"/>
                    </a:lnTo>
                    <a:lnTo>
                      <a:pt x="137" y="322"/>
                    </a:lnTo>
                    <a:lnTo>
                      <a:pt x="139" y="319"/>
                    </a:lnTo>
                    <a:lnTo>
                      <a:pt x="142" y="319"/>
                    </a:lnTo>
                    <a:lnTo>
                      <a:pt x="144" y="319"/>
                    </a:lnTo>
                    <a:lnTo>
                      <a:pt x="147" y="319"/>
                    </a:lnTo>
                    <a:lnTo>
                      <a:pt x="154" y="317"/>
                    </a:lnTo>
                    <a:lnTo>
                      <a:pt x="156" y="317"/>
                    </a:lnTo>
                    <a:lnTo>
                      <a:pt x="158" y="319"/>
                    </a:lnTo>
                    <a:lnTo>
                      <a:pt x="158" y="319"/>
                    </a:lnTo>
                    <a:lnTo>
                      <a:pt x="161" y="317"/>
                    </a:lnTo>
                    <a:lnTo>
                      <a:pt x="161" y="317"/>
                    </a:lnTo>
                    <a:lnTo>
                      <a:pt x="163" y="317"/>
                    </a:lnTo>
                    <a:lnTo>
                      <a:pt x="163" y="317"/>
                    </a:lnTo>
                    <a:lnTo>
                      <a:pt x="163" y="319"/>
                    </a:lnTo>
                    <a:lnTo>
                      <a:pt x="163" y="322"/>
                    </a:lnTo>
                    <a:lnTo>
                      <a:pt x="163" y="324"/>
                    </a:lnTo>
                    <a:lnTo>
                      <a:pt x="165" y="326"/>
                    </a:lnTo>
                    <a:lnTo>
                      <a:pt x="165" y="329"/>
                    </a:lnTo>
                    <a:lnTo>
                      <a:pt x="163" y="331"/>
                    </a:lnTo>
                    <a:lnTo>
                      <a:pt x="163" y="331"/>
                    </a:lnTo>
                    <a:lnTo>
                      <a:pt x="163" y="334"/>
                    </a:lnTo>
                    <a:lnTo>
                      <a:pt x="163" y="336"/>
                    </a:lnTo>
                    <a:lnTo>
                      <a:pt x="163" y="338"/>
                    </a:lnTo>
                    <a:lnTo>
                      <a:pt x="165" y="341"/>
                    </a:lnTo>
                    <a:lnTo>
                      <a:pt x="165" y="343"/>
                    </a:lnTo>
                    <a:lnTo>
                      <a:pt x="165" y="345"/>
                    </a:lnTo>
                    <a:lnTo>
                      <a:pt x="163" y="348"/>
                    </a:lnTo>
                    <a:lnTo>
                      <a:pt x="165" y="348"/>
                    </a:lnTo>
                    <a:lnTo>
                      <a:pt x="165" y="350"/>
                    </a:lnTo>
                    <a:lnTo>
                      <a:pt x="165" y="350"/>
                    </a:lnTo>
                    <a:lnTo>
                      <a:pt x="165" y="350"/>
                    </a:lnTo>
                    <a:lnTo>
                      <a:pt x="165" y="353"/>
                    </a:lnTo>
                    <a:lnTo>
                      <a:pt x="168" y="355"/>
                    </a:lnTo>
                    <a:lnTo>
                      <a:pt x="168" y="355"/>
                    </a:lnTo>
                    <a:lnTo>
                      <a:pt x="168" y="357"/>
                    </a:lnTo>
                    <a:lnTo>
                      <a:pt x="168" y="360"/>
                    </a:lnTo>
                    <a:lnTo>
                      <a:pt x="168" y="360"/>
                    </a:lnTo>
                    <a:lnTo>
                      <a:pt x="170" y="360"/>
                    </a:lnTo>
                    <a:lnTo>
                      <a:pt x="170" y="360"/>
                    </a:lnTo>
                    <a:lnTo>
                      <a:pt x="170" y="360"/>
                    </a:lnTo>
                    <a:lnTo>
                      <a:pt x="170" y="360"/>
                    </a:lnTo>
                    <a:lnTo>
                      <a:pt x="173" y="362"/>
                    </a:lnTo>
                    <a:lnTo>
                      <a:pt x="173" y="362"/>
                    </a:lnTo>
                    <a:lnTo>
                      <a:pt x="173" y="362"/>
                    </a:lnTo>
                    <a:lnTo>
                      <a:pt x="173" y="364"/>
                    </a:lnTo>
                    <a:lnTo>
                      <a:pt x="175" y="364"/>
                    </a:lnTo>
                    <a:lnTo>
                      <a:pt x="175" y="364"/>
                    </a:lnTo>
                    <a:lnTo>
                      <a:pt x="177" y="367"/>
                    </a:lnTo>
                    <a:lnTo>
                      <a:pt x="180" y="367"/>
                    </a:lnTo>
                    <a:lnTo>
                      <a:pt x="180" y="369"/>
                    </a:lnTo>
                    <a:lnTo>
                      <a:pt x="182" y="369"/>
                    </a:lnTo>
                    <a:lnTo>
                      <a:pt x="182" y="371"/>
                    </a:lnTo>
                    <a:lnTo>
                      <a:pt x="184" y="374"/>
                    </a:lnTo>
                    <a:lnTo>
                      <a:pt x="187" y="374"/>
                    </a:lnTo>
                    <a:lnTo>
                      <a:pt x="191" y="376"/>
                    </a:lnTo>
                    <a:lnTo>
                      <a:pt x="194" y="376"/>
                    </a:lnTo>
                    <a:lnTo>
                      <a:pt x="196" y="374"/>
                    </a:lnTo>
                    <a:lnTo>
                      <a:pt x="199" y="374"/>
                    </a:lnTo>
                    <a:lnTo>
                      <a:pt x="199" y="376"/>
                    </a:lnTo>
                    <a:lnTo>
                      <a:pt x="201" y="376"/>
                    </a:lnTo>
                    <a:lnTo>
                      <a:pt x="201" y="379"/>
                    </a:lnTo>
                    <a:lnTo>
                      <a:pt x="203" y="379"/>
                    </a:lnTo>
                    <a:lnTo>
                      <a:pt x="206" y="379"/>
                    </a:lnTo>
                    <a:lnTo>
                      <a:pt x="208" y="379"/>
                    </a:lnTo>
                    <a:lnTo>
                      <a:pt x="208" y="379"/>
                    </a:lnTo>
                    <a:lnTo>
                      <a:pt x="210" y="379"/>
                    </a:lnTo>
                    <a:lnTo>
                      <a:pt x="210" y="381"/>
                    </a:lnTo>
                    <a:lnTo>
                      <a:pt x="210" y="381"/>
                    </a:lnTo>
                    <a:lnTo>
                      <a:pt x="213" y="383"/>
                    </a:lnTo>
                    <a:lnTo>
                      <a:pt x="215" y="386"/>
                    </a:lnTo>
                    <a:lnTo>
                      <a:pt x="215" y="386"/>
                    </a:lnTo>
                    <a:lnTo>
                      <a:pt x="218" y="386"/>
                    </a:lnTo>
                    <a:lnTo>
                      <a:pt x="220" y="388"/>
                    </a:lnTo>
                    <a:lnTo>
                      <a:pt x="222" y="388"/>
                    </a:lnTo>
                    <a:lnTo>
                      <a:pt x="225" y="388"/>
                    </a:lnTo>
                    <a:lnTo>
                      <a:pt x="227" y="388"/>
                    </a:lnTo>
                    <a:lnTo>
                      <a:pt x="227" y="390"/>
                    </a:lnTo>
                    <a:lnTo>
                      <a:pt x="229" y="390"/>
                    </a:lnTo>
                    <a:lnTo>
                      <a:pt x="232" y="395"/>
                    </a:lnTo>
                    <a:lnTo>
                      <a:pt x="232" y="395"/>
                    </a:lnTo>
                    <a:lnTo>
                      <a:pt x="234" y="398"/>
                    </a:lnTo>
                    <a:lnTo>
                      <a:pt x="239" y="398"/>
                    </a:lnTo>
                    <a:lnTo>
                      <a:pt x="239" y="398"/>
                    </a:lnTo>
                    <a:lnTo>
                      <a:pt x="241" y="398"/>
                    </a:lnTo>
                    <a:lnTo>
                      <a:pt x="246" y="398"/>
                    </a:lnTo>
                    <a:lnTo>
                      <a:pt x="248" y="395"/>
                    </a:lnTo>
                    <a:lnTo>
                      <a:pt x="251" y="398"/>
                    </a:lnTo>
                    <a:lnTo>
                      <a:pt x="255" y="400"/>
                    </a:lnTo>
                    <a:lnTo>
                      <a:pt x="258" y="402"/>
                    </a:lnTo>
                    <a:lnTo>
                      <a:pt x="258" y="402"/>
                    </a:lnTo>
                    <a:lnTo>
                      <a:pt x="260" y="405"/>
                    </a:lnTo>
                    <a:lnTo>
                      <a:pt x="260" y="405"/>
                    </a:lnTo>
                    <a:lnTo>
                      <a:pt x="260" y="407"/>
                    </a:lnTo>
                    <a:lnTo>
                      <a:pt x="260" y="409"/>
                    </a:lnTo>
                    <a:lnTo>
                      <a:pt x="260" y="409"/>
                    </a:lnTo>
                    <a:lnTo>
                      <a:pt x="260" y="412"/>
                    </a:lnTo>
                    <a:lnTo>
                      <a:pt x="260" y="412"/>
                    </a:lnTo>
                    <a:lnTo>
                      <a:pt x="262" y="414"/>
                    </a:lnTo>
                    <a:lnTo>
                      <a:pt x="262" y="416"/>
                    </a:lnTo>
                    <a:lnTo>
                      <a:pt x="262" y="419"/>
                    </a:lnTo>
                    <a:lnTo>
                      <a:pt x="265" y="421"/>
                    </a:lnTo>
                    <a:lnTo>
                      <a:pt x="265" y="431"/>
                    </a:lnTo>
                    <a:lnTo>
                      <a:pt x="262" y="431"/>
                    </a:lnTo>
                    <a:lnTo>
                      <a:pt x="260" y="431"/>
                    </a:lnTo>
                    <a:lnTo>
                      <a:pt x="260" y="431"/>
                    </a:lnTo>
                    <a:lnTo>
                      <a:pt x="262" y="435"/>
                    </a:lnTo>
                    <a:lnTo>
                      <a:pt x="267" y="438"/>
                    </a:lnTo>
                    <a:lnTo>
                      <a:pt x="267" y="445"/>
                    </a:lnTo>
                    <a:lnTo>
                      <a:pt x="267" y="447"/>
                    </a:lnTo>
                    <a:lnTo>
                      <a:pt x="270" y="452"/>
                    </a:lnTo>
                    <a:lnTo>
                      <a:pt x="270" y="454"/>
                    </a:lnTo>
                    <a:lnTo>
                      <a:pt x="277" y="454"/>
                    </a:lnTo>
                    <a:lnTo>
                      <a:pt x="284" y="457"/>
                    </a:lnTo>
                    <a:lnTo>
                      <a:pt x="291" y="457"/>
                    </a:lnTo>
                    <a:lnTo>
                      <a:pt x="300" y="457"/>
                    </a:lnTo>
                    <a:lnTo>
                      <a:pt x="300" y="457"/>
                    </a:lnTo>
                    <a:lnTo>
                      <a:pt x="303" y="457"/>
                    </a:lnTo>
                    <a:lnTo>
                      <a:pt x="303" y="454"/>
                    </a:lnTo>
                    <a:lnTo>
                      <a:pt x="303" y="454"/>
                    </a:lnTo>
                    <a:lnTo>
                      <a:pt x="303" y="457"/>
                    </a:lnTo>
                    <a:lnTo>
                      <a:pt x="303" y="459"/>
                    </a:lnTo>
                    <a:lnTo>
                      <a:pt x="303" y="459"/>
                    </a:lnTo>
                    <a:lnTo>
                      <a:pt x="300" y="464"/>
                    </a:lnTo>
                    <a:lnTo>
                      <a:pt x="300" y="464"/>
                    </a:lnTo>
                    <a:lnTo>
                      <a:pt x="303" y="469"/>
                    </a:lnTo>
                    <a:lnTo>
                      <a:pt x="303" y="473"/>
                    </a:lnTo>
                    <a:lnTo>
                      <a:pt x="305" y="476"/>
                    </a:lnTo>
                    <a:lnTo>
                      <a:pt x="305" y="476"/>
                    </a:lnTo>
                    <a:lnTo>
                      <a:pt x="307" y="478"/>
                    </a:lnTo>
                    <a:lnTo>
                      <a:pt x="312" y="480"/>
                    </a:lnTo>
                    <a:lnTo>
                      <a:pt x="314" y="483"/>
                    </a:lnTo>
                    <a:lnTo>
                      <a:pt x="314" y="480"/>
                    </a:lnTo>
                    <a:lnTo>
                      <a:pt x="317" y="483"/>
                    </a:lnTo>
                    <a:lnTo>
                      <a:pt x="317" y="485"/>
                    </a:lnTo>
                    <a:lnTo>
                      <a:pt x="319" y="490"/>
                    </a:lnTo>
                    <a:lnTo>
                      <a:pt x="322" y="495"/>
                    </a:lnTo>
                    <a:lnTo>
                      <a:pt x="322" y="495"/>
                    </a:lnTo>
                    <a:lnTo>
                      <a:pt x="322" y="497"/>
                    </a:lnTo>
                    <a:lnTo>
                      <a:pt x="322" y="497"/>
                    </a:lnTo>
                    <a:lnTo>
                      <a:pt x="322" y="497"/>
                    </a:lnTo>
                    <a:lnTo>
                      <a:pt x="322" y="497"/>
                    </a:lnTo>
                    <a:lnTo>
                      <a:pt x="319" y="502"/>
                    </a:lnTo>
                    <a:lnTo>
                      <a:pt x="319" y="506"/>
                    </a:lnTo>
                    <a:lnTo>
                      <a:pt x="319" y="511"/>
                    </a:lnTo>
                    <a:lnTo>
                      <a:pt x="319" y="511"/>
                    </a:lnTo>
                    <a:lnTo>
                      <a:pt x="319" y="511"/>
                    </a:lnTo>
                    <a:lnTo>
                      <a:pt x="319" y="514"/>
                    </a:lnTo>
                    <a:lnTo>
                      <a:pt x="319" y="514"/>
                    </a:lnTo>
                    <a:lnTo>
                      <a:pt x="319" y="514"/>
                    </a:lnTo>
                    <a:lnTo>
                      <a:pt x="317" y="518"/>
                    </a:lnTo>
                    <a:lnTo>
                      <a:pt x="317" y="521"/>
                    </a:lnTo>
                    <a:lnTo>
                      <a:pt x="314" y="525"/>
                    </a:lnTo>
                    <a:lnTo>
                      <a:pt x="314" y="528"/>
                    </a:lnTo>
                    <a:lnTo>
                      <a:pt x="317" y="530"/>
                    </a:lnTo>
                    <a:lnTo>
                      <a:pt x="319" y="532"/>
                    </a:lnTo>
                    <a:lnTo>
                      <a:pt x="319" y="535"/>
                    </a:lnTo>
                    <a:lnTo>
                      <a:pt x="317" y="535"/>
                    </a:lnTo>
                    <a:lnTo>
                      <a:pt x="317" y="535"/>
                    </a:lnTo>
                    <a:lnTo>
                      <a:pt x="317" y="537"/>
                    </a:lnTo>
                    <a:lnTo>
                      <a:pt x="314" y="537"/>
                    </a:lnTo>
                    <a:lnTo>
                      <a:pt x="314" y="537"/>
                    </a:lnTo>
                    <a:lnTo>
                      <a:pt x="314" y="540"/>
                    </a:lnTo>
                    <a:lnTo>
                      <a:pt x="314" y="540"/>
                    </a:lnTo>
                    <a:lnTo>
                      <a:pt x="317" y="542"/>
                    </a:lnTo>
                    <a:lnTo>
                      <a:pt x="317" y="542"/>
                    </a:lnTo>
                    <a:lnTo>
                      <a:pt x="317" y="542"/>
                    </a:lnTo>
                    <a:lnTo>
                      <a:pt x="317" y="544"/>
                    </a:lnTo>
                    <a:lnTo>
                      <a:pt x="317" y="544"/>
                    </a:lnTo>
                    <a:lnTo>
                      <a:pt x="319" y="547"/>
                    </a:lnTo>
                    <a:lnTo>
                      <a:pt x="319" y="547"/>
                    </a:lnTo>
                    <a:lnTo>
                      <a:pt x="319" y="549"/>
                    </a:lnTo>
                    <a:lnTo>
                      <a:pt x="319" y="549"/>
                    </a:lnTo>
                    <a:lnTo>
                      <a:pt x="322" y="549"/>
                    </a:lnTo>
                    <a:lnTo>
                      <a:pt x="319" y="551"/>
                    </a:lnTo>
                    <a:lnTo>
                      <a:pt x="322" y="551"/>
                    </a:lnTo>
                    <a:lnTo>
                      <a:pt x="322" y="551"/>
                    </a:lnTo>
                    <a:lnTo>
                      <a:pt x="322" y="551"/>
                    </a:lnTo>
                    <a:lnTo>
                      <a:pt x="322" y="554"/>
                    </a:lnTo>
                    <a:lnTo>
                      <a:pt x="322" y="554"/>
                    </a:lnTo>
                    <a:lnTo>
                      <a:pt x="322" y="556"/>
                    </a:lnTo>
                    <a:lnTo>
                      <a:pt x="322" y="559"/>
                    </a:lnTo>
                    <a:lnTo>
                      <a:pt x="322" y="559"/>
                    </a:lnTo>
                    <a:lnTo>
                      <a:pt x="322" y="561"/>
                    </a:lnTo>
                    <a:lnTo>
                      <a:pt x="322" y="561"/>
                    </a:lnTo>
                    <a:lnTo>
                      <a:pt x="322" y="563"/>
                    </a:lnTo>
                    <a:lnTo>
                      <a:pt x="322" y="563"/>
                    </a:lnTo>
                    <a:lnTo>
                      <a:pt x="322" y="566"/>
                    </a:lnTo>
                    <a:lnTo>
                      <a:pt x="322" y="566"/>
                    </a:lnTo>
                    <a:lnTo>
                      <a:pt x="322" y="568"/>
                    </a:lnTo>
                    <a:lnTo>
                      <a:pt x="322" y="568"/>
                    </a:lnTo>
                    <a:lnTo>
                      <a:pt x="322" y="570"/>
                    </a:lnTo>
                    <a:lnTo>
                      <a:pt x="322" y="570"/>
                    </a:lnTo>
                    <a:lnTo>
                      <a:pt x="322" y="573"/>
                    </a:lnTo>
                    <a:lnTo>
                      <a:pt x="322" y="573"/>
                    </a:lnTo>
                    <a:lnTo>
                      <a:pt x="322" y="575"/>
                    </a:lnTo>
                    <a:lnTo>
                      <a:pt x="322" y="575"/>
                    </a:lnTo>
                    <a:lnTo>
                      <a:pt x="322" y="577"/>
                    </a:lnTo>
                    <a:lnTo>
                      <a:pt x="322" y="577"/>
                    </a:lnTo>
                    <a:lnTo>
                      <a:pt x="322" y="577"/>
                    </a:lnTo>
                    <a:lnTo>
                      <a:pt x="324" y="580"/>
                    </a:lnTo>
                    <a:lnTo>
                      <a:pt x="324" y="580"/>
                    </a:lnTo>
                    <a:lnTo>
                      <a:pt x="326" y="577"/>
                    </a:lnTo>
                    <a:lnTo>
                      <a:pt x="326" y="577"/>
                    </a:lnTo>
                    <a:lnTo>
                      <a:pt x="329" y="580"/>
                    </a:lnTo>
                    <a:lnTo>
                      <a:pt x="329" y="580"/>
                    </a:lnTo>
                    <a:lnTo>
                      <a:pt x="331" y="580"/>
                    </a:lnTo>
                    <a:lnTo>
                      <a:pt x="333" y="580"/>
                    </a:lnTo>
                    <a:lnTo>
                      <a:pt x="333" y="580"/>
                    </a:lnTo>
                    <a:lnTo>
                      <a:pt x="336" y="580"/>
                    </a:lnTo>
                    <a:lnTo>
                      <a:pt x="338" y="580"/>
                    </a:lnTo>
                    <a:lnTo>
                      <a:pt x="341" y="582"/>
                    </a:lnTo>
                    <a:lnTo>
                      <a:pt x="341" y="582"/>
                    </a:lnTo>
                    <a:lnTo>
                      <a:pt x="343" y="582"/>
                    </a:lnTo>
                    <a:lnTo>
                      <a:pt x="345" y="582"/>
                    </a:lnTo>
                    <a:lnTo>
                      <a:pt x="345" y="582"/>
                    </a:lnTo>
                    <a:lnTo>
                      <a:pt x="348" y="582"/>
                    </a:lnTo>
                    <a:lnTo>
                      <a:pt x="348" y="580"/>
                    </a:lnTo>
                    <a:lnTo>
                      <a:pt x="348" y="580"/>
                    </a:lnTo>
                    <a:lnTo>
                      <a:pt x="348" y="577"/>
                    </a:lnTo>
                    <a:lnTo>
                      <a:pt x="350" y="577"/>
                    </a:lnTo>
                    <a:lnTo>
                      <a:pt x="350" y="577"/>
                    </a:lnTo>
                    <a:lnTo>
                      <a:pt x="352" y="580"/>
                    </a:lnTo>
                    <a:lnTo>
                      <a:pt x="352" y="580"/>
                    </a:lnTo>
                    <a:lnTo>
                      <a:pt x="355" y="582"/>
                    </a:lnTo>
                    <a:lnTo>
                      <a:pt x="355" y="582"/>
                    </a:lnTo>
                    <a:lnTo>
                      <a:pt x="357" y="582"/>
                    </a:lnTo>
                    <a:lnTo>
                      <a:pt x="359" y="582"/>
                    </a:lnTo>
                    <a:lnTo>
                      <a:pt x="359" y="582"/>
                    </a:lnTo>
                    <a:lnTo>
                      <a:pt x="362" y="582"/>
                    </a:lnTo>
                    <a:lnTo>
                      <a:pt x="362" y="585"/>
                    </a:lnTo>
                    <a:lnTo>
                      <a:pt x="364" y="585"/>
                    </a:lnTo>
                    <a:lnTo>
                      <a:pt x="364" y="587"/>
                    </a:lnTo>
                    <a:lnTo>
                      <a:pt x="364" y="589"/>
                    </a:lnTo>
                    <a:lnTo>
                      <a:pt x="367" y="589"/>
                    </a:lnTo>
                    <a:lnTo>
                      <a:pt x="367" y="589"/>
                    </a:lnTo>
                    <a:lnTo>
                      <a:pt x="367" y="592"/>
                    </a:lnTo>
                    <a:lnTo>
                      <a:pt x="367" y="594"/>
                    </a:lnTo>
                    <a:lnTo>
                      <a:pt x="367" y="594"/>
                    </a:lnTo>
                    <a:lnTo>
                      <a:pt x="367" y="596"/>
                    </a:lnTo>
                    <a:lnTo>
                      <a:pt x="367" y="599"/>
                    </a:lnTo>
                    <a:lnTo>
                      <a:pt x="367" y="599"/>
                    </a:lnTo>
                    <a:lnTo>
                      <a:pt x="369" y="601"/>
                    </a:lnTo>
                    <a:lnTo>
                      <a:pt x="369" y="604"/>
                    </a:lnTo>
                    <a:lnTo>
                      <a:pt x="369" y="604"/>
                    </a:lnTo>
                    <a:lnTo>
                      <a:pt x="369" y="606"/>
                    </a:lnTo>
                    <a:lnTo>
                      <a:pt x="369" y="606"/>
                    </a:lnTo>
                    <a:lnTo>
                      <a:pt x="369" y="606"/>
                    </a:lnTo>
                    <a:lnTo>
                      <a:pt x="369" y="608"/>
                    </a:lnTo>
                    <a:lnTo>
                      <a:pt x="369" y="611"/>
                    </a:lnTo>
                    <a:lnTo>
                      <a:pt x="371" y="611"/>
                    </a:lnTo>
                    <a:lnTo>
                      <a:pt x="371" y="613"/>
                    </a:lnTo>
                    <a:lnTo>
                      <a:pt x="371" y="613"/>
                    </a:lnTo>
                    <a:lnTo>
                      <a:pt x="371" y="615"/>
                    </a:lnTo>
                    <a:lnTo>
                      <a:pt x="374" y="618"/>
                    </a:lnTo>
                    <a:lnTo>
                      <a:pt x="374" y="618"/>
                    </a:lnTo>
                    <a:lnTo>
                      <a:pt x="376" y="618"/>
                    </a:lnTo>
                    <a:lnTo>
                      <a:pt x="378" y="618"/>
                    </a:lnTo>
                    <a:lnTo>
                      <a:pt x="378" y="618"/>
                    </a:lnTo>
                    <a:lnTo>
                      <a:pt x="381" y="618"/>
                    </a:lnTo>
                    <a:lnTo>
                      <a:pt x="383" y="618"/>
                    </a:lnTo>
                    <a:lnTo>
                      <a:pt x="383" y="615"/>
                    </a:lnTo>
                    <a:lnTo>
                      <a:pt x="385" y="615"/>
                    </a:lnTo>
                    <a:lnTo>
                      <a:pt x="385" y="615"/>
                    </a:lnTo>
                    <a:lnTo>
                      <a:pt x="388" y="615"/>
                    </a:lnTo>
                    <a:lnTo>
                      <a:pt x="388" y="615"/>
                    </a:lnTo>
                    <a:lnTo>
                      <a:pt x="390" y="615"/>
                    </a:lnTo>
                    <a:lnTo>
                      <a:pt x="393" y="618"/>
                    </a:lnTo>
                    <a:lnTo>
                      <a:pt x="395" y="620"/>
                    </a:lnTo>
                    <a:lnTo>
                      <a:pt x="395" y="620"/>
                    </a:lnTo>
                    <a:lnTo>
                      <a:pt x="393" y="620"/>
                    </a:lnTo>
                    <a:lnTo>
                      <a:pt x="393" y="622"/>
                    </a:lnTo>
                    <a:lnTo>
                      <a:pt x="395" y="625"/>
                    </a:lnTo>
                    <a:lnTo>
                      <a:pt x="395" y="630"/>
                    </a:lnTo>
                    <a:lnTo>
                      <a:pt x="393" y="637"/>
                    </a:lnTo>
                    <a:lnTo>
                      <a:pt x="393" y="641"/>
                    </a:lnTo>
                    <a:lnTo>
                      <a:pt x="395" y="641"/>
                    </a:lnTo>
                    <a:lnTo>
                      <a:pt x="393" y="644"/>
                    </a:lnTo>
                    <a:lnTo>
                      <a:pt x="393" y="649"/>
                    </a:lnTo>
                    <a:lnTo>
                      <a:pt x="393" y="651"/>
                    </a:lnTo>
                    <a:lnTo>
                      <a:pt x="393" y="651"/>
                    </a:lnTo>
                    <a:lnTo>
                      <a:pt x="395" y="653"/>
                    </a:lnTo>
                    <a:lnTo>
                      <a:pt x="395" y="653"/>
                    </a:lnTo>
                    <a:lnTo>
                      <a:pt x="397" y="651"/>
                    </a:lnTo>
                    <a:lnTo>
                      <a:pt x="397" y="651"/>
                    </a:lnTo>
                    <a:lnTo>
                      <a:pt x="400" y="651"/>
                    </a:lnTo>
                    <a:lnTo>
                      <a:pt x="400" y="651"/>
                    </a:lnTo>
                    <a:lnTo>
                      <a:pt x="400" y="651"/>
                    </a:lnTo>
                    <a:lnTo>
                      <a:pt x="400" y="651"/>
                    </a:lnTo>
                    <a:lnTo>
                      <a:pt x="402" y="651"/>
                    </a:lnTo>
                    <a:lnTo>
                      <a:pt x="402" y="651"/>
                    </a:lnTo>
                    <a:lnTo>
                      <a:pt x="404" y="653"/>
                    </a:lnTo>
                    <a:lnTo>
                      <a:pt x="404" y="653"/>
                    </a:lnTo>
                    <a:lnTo>
                      <a:pt x="407" y="656"/>
                    </a:lnTo>
                    <a:lnTo>
                      <a:pt x="407" y="660"/>
                    </a:lnTo>
                    <a:lnTo>
                      <a:pt x="409" y="663"/>
                    </a:lnTo>
                    <a:lnTo>
                      <a:pt x="411" y="665"/>
                    </a:lnTo>
                    <a:lnTo>
                      <a:pt x="411" y="667"/>
                    </a:lnTo>
                    <a:lnTo>
                      <a:pt x="411" y="667"/>
                    </a:lnTo>
                    <a:lnTo>
                      <a:pt x="411" y="670"/>
                    </a:lnTo>
                    <a:lnTo>
                      <a:pt x="411" y="675"/>
                    </a:lnTo>
                    <a:lnTo>
                      <a:pt x="411" y="677"/>
                    </a:lnTo>
                    <a:lnTo>
                      <a:pt x="411" y="677"/>
                    </a:lnTo>
                    <a:lnTo>
                      <a:pt x="411" y="679"/>
                    </a:lnTo>
                    <a:lnTo>
                      <a:pt x="411" y="682"/>
                    </a:lnTo>
                    <a:lnTo>
                      <a:pt x="411" y="684"/>
                    </a:lnTo>
                    <a:lnTo>
                      <a:pt x="409" y="686"/>
                    </a:lnTo>
                    <a:lnTo>
                      <a:pt x="409" y="686"/>
                    </a:lnTo>
                    <a:lnTo>
                      <a:pt x="407" y="686"/>
                    </a:lnTo>
                    <a:lnTo>
                      <a:pt x="407" y="689"/>
                    </a:lnTo>
                    <a:lnTo>
                      <a:pt x="404" y="686"/>
                    </a:lnTo>
                    <a:lnTo>
                      <a:pt x="404" y="689"/>
                    </a:lnTo>
                    <a:lnTo>
                      <a:pt x="404" y="691"/>
                    </a:lnTo>
                    <a:lnTo>
                      <a:pt x="402" y="691"/>
                    </a:lnTo>
                    <a:lnTo>
                      <a:pt x="400" y="691"/>
                    </a:lnTo>
                    <a:lnTo>
                      <a:pt x="400" y="691"/>
                    </a:lnTo>
                    <a:lnTo>
                      <a:pt x="400" y="691"/>
                    </a:lnTo>
                    <a:lnTo>
                      <a:pt x="397" y="691"/>
                    </a:lnTo>
                    <a:lnTo>
                      <a:pt x="397" y="693"/>
                    </a:lnTo>
                    <a:lnTo>
                      <a:pt x="395" y="693"/>
                    </a:lnTo>
                    <a:lnTo>
                      <a:pt x="395" y="693"/>
                    </a:lnTo>
                    <a:lnTo>
                      <a:pt x="395" y="693"/>
                    </a:lnTo>
                    <a:lnTo>
                      <a:pt x="393" y="693"/>
                    </a:lnTo>
                    <a:lnTo>
                      <a:pt x="393" y="696"/>
                    </a:lnTo>
                    <a:lnTo>
                      <a:pt x="393" y="696"/>
                    </a:lnTo>
                    <a:lnTo>
                      <a:pt x="393" y="698"/>
                    </a:lnTo>
                    <a:lnTo>
                      <a:pt x="390" y="698"/>
                    </a:lnTo>
                    <a:lnTo>
                      <a:pt x="390" y="698"/>
                    </a:lnTo>
                    <a:lnTo>
                      <a:pt x="390" y="701"/>
                    </a:lnTo>
                    <a:lnTo>
                      <a:pt x="390" y="701"/>
                    </a:lnTo>
                    <a:lnTo>
                      <a:pt x="388" y="701"/>
                    </a:lnTo>
                    <a:lnTo>
                      <a:pt x="385" y="703"/>
                    </a:lnTo>
                    <a:lnTo>
                      <a:pt x="385" y="703"/>
                    </a:lnTo>
                    <a:lnTo>
                      <a:pt x="383" y="705"/>
                    </a:lnTo>
                    <a:lnTo>
                      <a:pt x="383" y="705"/>
                    </a:lnTo>
                    <a:lnTo>
                      <a:pt x="381" y="708"/>
                    </a:lnTo>
                    <a:lnTo>
                      <a:pt x="381" y="708"/>
                    </a:lnTo>
                    <a:lnTo>
                      <a:pt x="381" y="710"/>
                    </a:lnTo>
                    <a:lnTo>
                      <a:pt x="381" y="710"/>
                    </a:lnTo>
                    <a:lnTo>
                      <a:pt x="381" y="710"/>
                    </a:lnTo>
                    <a:lnTo>
                      <a:pt x="381" y="710"/>
                    </a:lnTo>
                    <a:lnTo>
                      <a:pt x="378" y="710"/>
                    </a:lnTo>
                    <a:lnTo>
                      <a:pt x="378" y="710"/>
                    </a:lnTo>
                    <a:lnTo>
                      <a:pt x="378" y="710"/>
                    </a:lnTo>
                    <a:lnTo>
                      <a:pt x="378" y="712"/>
                    </a:lnTo>
                    <a:lnTo>
                      <a:pt x="378" y="712"/>
                    </a:lnTo>
                    <a:lnTo>
                      <a:pt x="376" y="712"/>
                    </a:lnTo>
                    <a:lnTo>
                      <a:pt x="376" y="712"/>
                    </a:lnTo>
                    <a:lnTo>
                      <a:pt x="376" y="715"/>
                    </a:lnTo>
                    <a:lnTo>
                      <a:pt x="376" y="715"/>
                    </a:lnTo>
                    <a:lnTo>
                      <a:pt x="374" y="717"/>
                    </a:lnTo>
                    <a:lnTo>
                      <a:pt x="374" y="720"/>
                    </a:lnTo>
                    <a:lnTo>
                      <a:pt x="371" y="722"/>
                    </a:lnTo>
                    <a:lnTo>
                      <a:pt x="371" y="724"/>
                    </a:lnTo>
                    <a:lnTo>
                      <a:pt x="369" y="727"/>
                    </a:lnTo>
                    <a:lnTo>
                      <a:pt x="369" y="727"/>
                    </a:lnTo>
                    <a:lnTo>
                      <a:pt x="367" y="729"/>
                    </a:lnTo>
                    <a:lnTo>
                      <a:pt x="367" y="731"/>
                    </a:lnTo>
                    <a:lnTo>
                      <a:pt x="367" y="734"/>
                    </a:lnTo>
                    <a:lnTo>
                      <a:pt x="364" y="736"/>
                    </a:lnTo>
                    <a:lnTo>
                      <a:pt x="362" y="738"/>
                    </a:lnTo>
                    <a:lnTo>
                      <a:pt x="359" y="741"/>
                    </a:lnTo>
                    <a:lnTo>
                      <a:pt x="357" y="743"/>
                    </a:lnTo>
                    <a:lnTo>
                      <a:pt x="357" y="743"/>
                    </a:lnTo>
                    <a:lnTo>
                      <a:pt x="357" y="746"/>
                    </a:lnTo>
                    <a:lnTo>
                      <a:pt x="355" y="748"/>
                    </a:lnTo>
                    <a:lnTo>
                      <a:pt x="352" y="750"/>
                    </a:lnTo>
                    <a:lnTo>
                      <a:pt x="355" y="750"/>
                    </a:lnTo>
                    <a:lnTo>
                      <a:pt x="357" y="750"/>
                    </a:lnTo>
                    <a:lnTo>
                      <a:pt x="362" y="750"/>
                    </a:lnTo>
                    <a:lnTo>
                      <a:pt x="362" y="750"/>
                    </a:lnTo>
                    <a:lnTo>
                      <a:pt x="362" y="748"/>
                    </a:lnTo>
                    <a:lnTo>
                      <a:pt x="364" y="748"/>
                    </a:lnTo>
                    <a:lnTo>
                      <a:pt x="364" y="748"/>
                    </a:lnTo>
                    <a:lnTo>
                      <a:pt x="367" y="748"/>
                    </a:lnTo>
                    <a:lnTo>
                      <a:pt x="369" y="750"/>
                    </a:lnTo>
                    <a:lnTo>
                      <a:pt x="376" y="755"/>
                    </a:lnTo>
                    <a:lnTo>
                      <a:pt x="381" y="757"/>
                    </a:lnTo>
                    <a:lnTo>
                      <a:pt x="383" y="760"/>
                    </a:lnTo>
                    <a:lnTo>
                      <a:pt x="383" y="762"/>
                    </a:lnTo>
                    <a:lnTo>
                      <a:pt x="385" y="762"/>
                    </a:lnTo>
                    <a:lnTo>
                      <a:pt x="385" y="767"/>
                    </a:lnTo>
                    <a:lnTo>
                      <a:pt x="385" y="767"/>
                    </a:lnTo>
                    <a:lnTo>
                      <a:pt x="385" y="767"/>
                    </a:lnTo>
                    <a:lnTo>
                      <a:pt x="385" y="767"/>
                    </a:lnTo>
                    <a:lnTo>
                      <a:pt x="388" y="767"/>
                    </a:lnTo>
                    <a:lnTo>
                      <a:pt x="388" y="767"/>
                    </a:lnTo>
                    <a:lnTo>
                      <a:pt x="390" y="767"/>
                    </a:lnTo>
                    <a:lnTo>
                      <a:pt x="390" y="765"/>
                    </a:lnTo>
                    <a:lnTo>
                      <a:pt x="390" y="765"/>
                    </a:lnTo>
                    <a:lnTo>
                      <a:pt x="390" y="765"/>
                    </a:lnTo>
                    <a:lnTo>
                      <a:pt x="393" y="765"/>
                    </a:lnTo>
                    <a:lnTo>
                      <a:pt x="393" y="762"/>
                    </a:lnTo>
                    <a:lnTo>
                      <a:pt x="393" y="765"/>
                    </a:lnTo>
                    <a:lnTo>
                      <a:pt x="395" y="765"/>
                    </a:lnTo>
                    <a:lnTo>
                      <a:pt x="397" y="767"/>
                    </a:lnTo>
                    <a:lnTo>
                      <a:pt x="397" y="769"/>
                    </a:lnTo>
                    <a:lnTo>
                      <a:pt x="397" y="769"/>
                    </a:lnTo>
                    <a:lnTo>
                      <a:pt x="400" y="769"/>
                    </a:lnTo>
                    <a:lnTo>
                      <a:pt x="400" y="772"/>
                    </a:lnTo>
                    <a:lnTo>
                      <a:pt x="402" y="772"/>
                    </a:lnTo>
                    <a:lnTo>
                      <a:pt x="402" y="774"/>
                    </a:lnTo>
                    <a:lnTo>
                      <a:pt x="404" y="772"/>
                    </a:lnTo>
                    <a:lnTo>
                      <a:pt x="407" y="774"/>
                    </a:lnTo>
                    <a:lnTo>
                      <a:pt x="411" y="776"/>
                    </a:lnTo>
                    <a:lnTo>
                      <a:pt x="414" y="779"/>
                    </a:lnTo>
                    <a:lnTo>
                      <a:pt x="416" y="779"/>
                    </a:lnTo>
                    <a:lnTo>
                      <a:pt x="419" y="781"/>
                    </a:lnTo>
                    <a:lnTo>
                      <a:pt x="421" y="783"/>
                    </a:lnTo>
                    <a:lnTo>
                      <a:pt x="423" y="786"/>
                    </a:lnTo>
                    <a:lnTo>
                      <a:pt x="426" y="786"/>
                    </a:lnTo>
                    <a:lnTo>
                      <a:pt x="426" y="786"/>
                    </a:lnTo>
                    <a:lnTo>
                      <a:pt x="428" y="788"/>
                    </a:lnTo>
                    <a:lnTo>
                      <a:pt x="428" y="788"/>
                    </a:lnTo>
                    <a:lnTo>
                      <a:pt x="430" y="788"/>
                    </a:lnTo>
                    <a:lnTo>
                      <a:pt x="430" y="791"/>
                    </a:lnTo>
                    <a:lnTo>
                      <a:pt x="430" y="791"/>
                    </a:lnTo>
                    <a:lnTo>
                      <a:pt x="433" y="793"/>
                    </a:lnTo>
                    <a:lnTo>
                      <a:pt x="433" y="795"/>
                    </a:lnTo>
                    <a:lnTo>
                      <a:pt x="435" y="798"/>
                    </a:lnTo>
                    <a:lnTo>
                      <a:pt x="440" y="800"/>
                    </a:lnTo>
                    <a:lnTo>
                      <a:pt x="442" y="800"/>
                    </a:lnTo>
                    <a:lnTo>
                      <a:pt x="442" y="802"/>
                    </a:lnTo>
                    <a:lnTo>
                      <a:pt x="445" y="802"/>
                    </a:lnTo>
                    <a:lnTo>
                      <a:pt x="442" y="805"/>
                    </a:lnTo>
                    <a:lnTo>
                      <a:pt x="442" y="807"/>
                    </a:lnTo>
                    <a:lnTo>
                      <a:pt x="440" y="810"/>
                    </a:lnTo>
                    <a:lnTo>
                      <a:pt x="440" y="810"/>
                    </a:lnTo>
                    <a:lnTo>
                      <a:pt x="438" y="812"/>
                    </a:lnTo>
                    <a:lnTo>
                      <a:pt x="438" y="812"/>
                    </a:lnTo>
                    <a:lnTo>
                      <a:pt x="440" y="819"/>
                    </a:lnTo>
                    <a:lnTo>
                      <a:pt x="440" y="821"/>
                    </a:lnTo>
                    <a:lnTo>
                      <a:pt x="440" y="821"/>
                    </a:lnTo>
                    <a:lnTo>
                      <a:pt x="440" y="824"/>
                    </a:lnTo>
                    <a:lnTo>
                      <a:pt x="442" y="824"/>
                    </a:lnTo>
                    <a:lnTo>
                      <a:pt x="442" y="824"/>
                    </a:lnTo>
                    <a:lnTo>
                      <a:pt x="445" y="824"/>
                    </a:lnTo>
                    <a:lnTo>
                      <a:pt x="449" y="817"/>
                    </a:lnTo>
                    <a:lnTo>
                      <a:pt x="452" y="814"/>
                    </a:lnTo>
                    <a:lnTo>
                      <a:pt x="454" y="812"/>
                    </a:lnTo>
                    <a:lnTo>
                      <a:pt x="454" y="805"/>
                    </a:lnTo>
                    <a:lnTo>
                      <a:pt x="456" y="798"/>
                    </a:lnTo>
                    <a:lnTo>
                      <a:pt x="456" y="795"/>
                    </a:lnTo>
                    <a:lnTo>
                      <a:pt x="459" y="793"/>
                    </a:lnTo>
                    <a:lnTo>
                      <a:pt x="459" y="791"/>
                    </a:lnTo>
                    <a:lnTo>
                      <a:pt x="459" y="788"/>
                    </a:lnTo>
                    <a:lnTo>
                      <a:pt x="456" y="786"/>
                    </a:lnTo>
                    <a:lnTo>
                      <a:pt x="456" y="786"/>
                    </a:lnTo>
                    <a:lnTo>
                      <a:pt x="456" y="781"/>
                    </a:lnTo>
                    <a:lnTo>
                      <a:pt x="459" y="779"/>
                    </a:lnTo>
                    <a:lnTo>
                      <a:pt x="459" y="776"/>
                    </a:lnTo>
                    <a:lnTo>
                      <a:pt x="459" y="774"/>
                    </a:lnTo>
                    <a:lnTo>
                      <a:pt x="459" y="774"/>
                    </a:lnTo>
                    <a:lnTo>
                      <a:pt x="464" y="772"/>
                    </a:lnTo>
                    <a:lnTo>
                      <a:pt x="466" y="769"/>
                    </a:lnTo>
                    <a:lnTo>
                      <a:pt x="466" y="767"/>
                    </a:lnTo>
                    <a:lnTo>
                      <a:pt x="466" y="767"/>
                    </a:lnTo>
                    <a:lnTo>
                      <a:pt x="466" y="765"/>
                    </a:lnTo>
                    <a:lnTo>
                      <a:pt x="468" y="762"/>
                    </a:lnTo>
                    <a:lnTo>
                      <a:pt x="466" y="760"/>
                    </a:lnTo>
                    <a:lnTo>
                      <a:pt x="468" y="760"/>
                    </a:lnTo>
                    <a:lnTo>
                      <a:pt x="468" y="762"/>
                    </a:lnTo>
                    <a:lnTo>
                      <a:pt x="468" y="757"/>
                    </a:lnTo>
                    <a:lnTo>
                      <a:pt x="468" y="755"/>
                    </a:lnTo>
                    <a:lnTo>
                      <a:pt x="468" y="755"/>
                    </a:lnTo>
                    <a:lnTo>
                      <a:pt x="471" y="753"/>
                    </a:lnTo>
                    <a:lnTo>
                      <a:pt x="466" y="750"/>
                    </a:lnTo>
                    <a:lnTo>
                      <a:pt x="466" y="748"/>
                    </a:lnTo>
                    <a:lnTo>
                      <a:pt x="466" y="746"/>
                    </a:lnTo>
                    <a:lnTo>
                      <a:pt x="466" y="746"/>
                    </a:lnTo>
                    <a:lnTo>
                      <a:pt x="468" y="748"/>
                    </a:lnTo>
                    <a:lnTo>
                      <a:pt x="468" y="750"/>
                    </a:lnTo>
                    <a:lnTo>
                      <a:pt x="471" y="750"/>
                    </a:lnTo>
                    <a:lnTo>
                      <a:pt x="473" y="753"/>
                    </a:lnTo>
                    <a:lnTo>
                      <a:pt x="473" y="753"/>
                    </a:lnTo>
                    <a:lnTo>
                      <a:pt x="478" y="750"/>
                    </a:lnTo>
                    <a:lnTo>
                      <a:pt x="480" y="750"/>
                    </a:lnTo>
                    <a:lnTo>
                      <a:pt x="480" y="753"/>
                    </a:lnTo>
                    <a:lnTo>
                      <a:pt x="480" y="755"/>
                    </a:lnTo>
                    <a:lnTo>
                      <a:pt x="480" y="755"/>
                    </a:lnTo>
                    <a:lnTo>
                      <a:pt x="478" y="755"/>
                    </a:lnTo>
                    <a:lnTo>
                      <a:pt x="478" y="755"/>
                    </a:lnTo>
                    <a:lnTo>
                      <a:pt x="480" y="760"/>
                    </a:lnTo>
                    <a:lnTo>
                      <a:pt x="478" y="762"/>
                    </a:lnTo>
                    <a:lnTo>
                      <a:pt x="475" y="765"/>
                    </a:lnTo>
                    <a:lnTo>
                      <a:pt x="475" y="767"/>
                    </a:lnTo>
                    <a:lnTo>
                      <a:pt x="475" y="767"/>
                    </a:lnTo>
                    <a:lnTo>
                      <a:pt x="475" y="769"/>
                    </a:lnTo>
                    <a:lnTo>
                      <a:pt x="473" y="767"/>
                    </a:lnTo>
                    <a:lnTo>
                      <a:pt x="473" y="769"/>
                    </a:lnTo>
                    <a:lnTo>
                      <a:pt x="473" y="772"/>
                    </a:lnTo>
                    <a:lnTo>
                      <a:pt x="473" y="774"/>
                    </a:lnTo>
                    <a:lnTo>
                      <a:pt x="471" y="776"/>
                    </a:lnTo>
                    <a:lnTo>
                      <a:pt x="468" y="779"/>
                    </a:lnTo>
                    <a:lnTo>
                      <a:pt x="466" y="783"/>
                    </a:lnTo>
                    <a:lnTo>
                      <a:pt x="464" y="783"/>
                    </a:lnTo>
                    <a:lnTo>
                      <a:pt x="464" y="783"/>
                    </a:lnTo>
                    <a:lnTo>
                      <a:pt x="461" y="783"/>
                    </a:lnTo>
                    <a:lnTo>
                      <a:pt x="461" y="783"/>
                    </a:lnTo>
                    <a:lnTo>
                      <a:pt x="459" y="783"/>
                    </a:lnTo>
                    <a:lnTo>
                      <a:pt x="459" y="786"/>
                    </a:lnTo>
                    <a:lnTo>
                      <a:pt x="459" y="786"/>
                    </a:lnTo>
                    <a:lnTo>
                      <a:pt x="459" y="788"/>
                    </a:lnTo>
                    <a:lnTo>
                      <a:pt x="461" y="791"/>
                    </a:lnTo>
                    <a:lnTo>
                      <a:pt x="461" y="788"/>
                    </a:lnTo>
                    <a:lnTo>
                      <a:pt x="464" y="786"/>
                    </a:lnTo>
                    <a:lnTo>
                      <a:pt x="468" y="781"/>
                    </a:lnTo>
                    <a:lnTo>
                      <a:pt x="473" y="776"/>
                    </a:lnTo>
                    <a:lnTo>
                      <a:pt x="478" y="772"/>
                    </a:lnTo>
                    <a:lnTo>
                      <a:pt x="480" y="767"/>
                    </a:lnTo>
                    <a:lnTo>
                      <a:pt x="480" y="765"/>
                    </a:lnTo>
                    <a:lnTo>
                      <a:pt x="485" y="755"/>
                    </a:lnTo>
                    <a:lnTo>
                      <a:pt x="487" y="741"/>
                    </a:lnTo>
                    <a:lnTo>
                      <a:pt x="492" y="731"/>
                    </a:lnTo>
                    <a:lnTo>
                      <a:pt x="494" y="727"/>
                    </a:lnTo>
                    <a:lnTo>
                      <a:pt x="499" y="722"/>
                    </a:lnTo>
                    <a:lnTo>
                      <a:pt x="501" y="717"/>
                    </a:lnTo>
                    <a:lnTo>
                      <a:pt x="506" y="715"/>
                    </a:lnTo>
                    <a:lnTo>
                      <a:pt x="506" y="712"/>
                    </a:lnTo>
                    <a:lnTo>
                      <a:pt x="506" y="710"/>
                    </a:lnTo>
                    <a:lnTo>
                      <a:pt x="508" y="708"/>
                    </a:lnTo>
                    <a:lnTo>
                      <a:pt x="508" y="705"/>
                    </a:lnTo>
                    <a:lnTo>
                      <a:pt x="506" y="698"/>
                    </a:lnTo>
                    <a:lnTo>
                      <a:pt x="506" y="693"/>
                    </a:lnTo>
                    <a:lnTo>
                      <a:pt x="506" y="689"/>
                    </a:lnTo>
                    <a:lnTo>
                      <a:pt x="506" y="686"/>
                    </a:lnTo>
                    <a:lnTo>
                      <a:pt x="506" y="686"/>
                    </a:lnTo>
                    <a:lnTo>
                      <a:pt x="506" y="684"/>
                    </a:lnTo>
                    <a:lnTo>
                      <a:pt x="506" y="684"/>
                    </a:lnTo>
                    <a:lnTo>
                      <a:pt x="504" y="679"/>
                    </a:lnTo>
                    <a:lnTo>
                      <a:pt x="501" y="675"/>
                    </a:lnTo>
                    <a:lnTo>
                      <a:pt x="501" y="675"/>
                    </a:lnTo>
                    <a:lnTo>
                      <a:pt x="501" y="672"/>
                    </a:lnTo>
                    <a:lnTo>
                      <a:pt x="501" y="670"/>
                    </a:lnTo>
                    <a:lnTo>
                      <a:pt x="501" y="667"/>
                    </a:lnTo>
                    <a:lnTo>
                      <a:pt x="499" y="667"/>
                    </a:lnTo>
                    <a:lnTo>
                      <a:pt x="501" y="665"/>
                    </a:lnTo>
                    <a:lnTo>
                      <a:pt x="501" y="665"/>
                    </a:lnTo>
                    <a:lnTo>
                      <a:pt x="501" y="665"/>
                    </a:lnTo>
                    <a:lnTo>
                      <a:pt x="501" y="660"/>
                    </a:lnTo>
                    <a:lnTo>
                      <a:pt x="501" y="658"/>
                    </a:lnTo>
                    <a:lnTo>
                      <a:pt x="501" y="658"/>
                    </a:lnTo>
                    <a:lnTo>
                      <a:pt x="501" y="658"/>
                    </a:lnTo>
                    <a:lnTo>
                      <a:pt x="504" y="658"/>
                    </a:lnTo>
                    <a:lnTo>
                      <a:pt x="504" y="653"/>
                    </a:lnTo>
                    <a:lnTo>
                      <a:pt x="504" y="651"/>
                    </a:lnTo>
                    <a:lnTo>
                      <a:pt x="501" y="651"/>
                    </a:lnTo>
                    <a:lnTo>
                      <a:pt x="499" y="651"/>
                    </a:lnTo>
                    <a:lnTo>
                      <a:pt x="499" y="649"/>
                    </a:lnTo>
                    <a:lnTo>
                      <a:pt x="499" y="649"/>
                    </a:lnTo>
                    <a:lnTo>
                      <a:pt x="501" y="649"/>
                    </a:lnTo>
                    <a:lnTo>
                      <a:pt x="504" y="649"/>
                    </a:lnTo>
                    <a:lnTo>
                      <a:pt x="504" y="649"/>
                    </a:lnTo>
                    <a:lnTo>
                      <a:pt x="504" y="646"/>
                    </a:lnTo>
                    <a:lnTo>
                      <a:pt x="504" y="646"/>
                    </a:lnTo>
                    <a:lnTo>
                      <a:pt x="506" y="646"/>
                    </a:lnTo>
                    <a:lnTo>
                      <a:pt x="508" y="646"/>
                    </a:lnTo>
                    <a:lnTo>
                      <a:pt x="506" y="649"/>
                    </a:lnTo>
                    <a:lnTo>
                      <a:pt x="508" y="649"/>
                    </a:lnTo>
                    <a:lnTo>
                      <a:pt x="511" y="644"/>
                    </a:lnTo>
                    <a:lnTo>
                      <a:pt x="513" y="644"/>
                    </a:lnTo>
                    <a:lnTo>
                      <a:pt x="513" y="641"/>
                    </a:lnTo>
                    <a:lnTo>
                      <a:pt x="511" y="641"/>
                    </a:lnTo>
                    <a:lnTo>
                      <a:pt x="511" y="641"/>
                    </a:lnTo>
                    <a:lnTo>
                      <a:pt x="511" y="639"/>
                    </a:lnTo>
                    <a:lnTo>
                      <a:pt x="513" y="639"/>
                    </a:lnTo>
                    <a:lnTo>
                      <a:pt x="513" y="639"/>
                    </a:lnTo>
                    <a:lnTo>
                      <a:pt x="518" y="634"/>
                    </a:lnTo>
                    <a:lnTo>
                      <a:pt x="525" y="630"/>
                    </a:lnTo>
                    <a:lnTo>
                      <a:pt x="530" y="622"/>
                    </a:lnTo>
                    <a:lnTo>
                      <a:pt x="534" y="620"/>
                    </a:lnTo>
                    <a:lnTo>
                      <a:pt x="544" y="613"/>
                    </a:lnTo>
                    <a:lnTo>
                      <a:pt x="546" y="613"/>
                    </a:lnTo>
                    <a:lnTo>
                      <a:pt x="551" y="613"/>
                    </a:lnTo>
                    <a:lnTo>
                      <a:pt x="553" y="615"/>
                    </a:lnTo>
                    <a:lnTo>
                      <a:pt x="553" y="615"/>
                    </a:lnTo>
                    <a:lnTo>
                      <a:pt x="553" y="613"/>
                    </a:lnTo>
                    <a:lnTo>
                      <a:pt x="553" y="611"/>
                    </a:lnTo>
                    <a:lnTo>
                      <a:pt x="556" y="611"/>
                    </a:lnTo>
                    <a:lnTo>
                      <a:pt x="558" y="611"/>
                    </a:lnTo>
                    <a:lnTo>
                      <a:pt x="563" y="606"/>
                    </a:lnTo>
                    <a:lnTo>
                      <a:pt x="568" y="604"/>
                    </a:lnTo>
                    <a:lnTo>
                      <a:pt x="568" y="604"/>
                    </a:lnTo>
                    <a:lnTo>
                      <a:pt x="570" y="604"/>
                    </a:lnTo>
                    <a:lnTo>
                      <a:pt x="568" y="601"/>
                    </a:lnTo>
                    <a:lnTo>
                      <a:pt x="568" y="601"/>
                    </a:lnTo>
                    <a:lnTo>
                      <a:pt x="568" y="599"/>
                    </a:lnTo>
                    <a:lnTo>
                      <a:pt x="568" y="599"/>
                    </a:lnTo>
                    <a:lnTo>
                      <a:pt x="572" y="596"/>
                    </a:lnTo>
                    <a:lnTo>
                      <a:pt x="577" y="596"/>
                    </a:lnTo>
                    <a:lnTo>
                      <a:pt x="577" y="596"/>
                    </a:lnTo>
                    <a:lnTo>
                      <a:pt x="582" y="596"/>
                    </a:lnTo>
                    <a:lnTo>
                      <a:pt x="584" y="596"/>
                    </a:lnTo>
                    <a:lnTo>
                      <a:pt x="584" y="596"/>
                    </a:lnTo>
                    <a:lnTo>
                      <a:pt x="582" y="599"/>
                    </a:lnTo>
                    <a:lnTo>
                      <a:pt x="582" y="599"/>
                    </a:lnTo>
                    <a:lnTo>
                      <a:pt x="579" y="599"/>
                    </a:lnTo>
                    <a:lnTo>
                      <a:pt x="582" y="599"/>
                    </a:lnTo>
                    <a:lnTo>
                      <a:pt x="584" y="599"/>
                    </a:lnTo>
                    <a:lnTo>
                      <a:pt x="587" y="599"/>
                    </a:lnTo>
                    <a:lnTo>
                      <a:pt x="591" y="596"/>
                    </a:lnTo>
                    <a:lnTo>
                      <a:pt x="594" y="596"/>
                    </a:lnTo>
                    <a:lnTo>
                      <a:pt x="594" y="596"/>
                    </a:lnTo>
                    <a:lnTo>
                      <a:pt x="594" y="594"/>
                    </a:lnTo>
                    <a:lnTo>
                      <a:pt x="594" y="594"/>
                    </a:lnTo>
                    <a:lnTo>
                      <a:pt x="591" y="594"/>
                    </a:lnTo>
                    <a:lnTo>
                      <a:pt x="594" y="592"/>
                    </a:lnTo>
                    <a:lnTo>
                      <a:pt x="594" y="592"/>
                    </a:lnTo>
                    <a:lnTo>
                      <a:pt x="596" y="592"/>
                    </a:lnTo>
                    <a:lnTo>
                      <a:pt x="596" y="592"/>
                    </a:lnTo>
                    <a:lnTo>
                      <a:pt x="596" y="594"/>
                    </a:lnTo>
                    <a:lnTo>
                      <a:pt x="596" y="596"/>
                    </a:lnTo>
                    <a:lnTo>
                      <a:pt x="596" y="596"/>
                    </a:lnTo>
                    <a:lnTo>
                      <a:pt x="598" y="596"/>
                    </a:lnTo>
                    <a:lnTo>
                      <a:pt x="601" y="596"/>
                    </a:lnTo>
                    <a:lnTo>
                      <a:pt x="605" y="596"/>
                    </a:lnTo>
                    <a:lnTo>
                      <a:pt x="613" y="596"/>
                    </a:lnTo>
                    <a:lnTo>
                      <a:pt x="615" y="596"/>
                    </a:lnTo>
                    <a:lnTo>
                      <a:pt x="615" y="594"/>
                    </a:lnTo>
                    <a:lnTo>
                      <a:pt x="617" y="592"/>
                    </a:lnTo>
                    <a:lnTo>
                      <a:pt x="615" y="592"/>
                    </a:lnTo>
                    <a:lnTo>
                      <a:pt x="615" y="589"/>
                    </a:lnTo>
                    <a:lnTo>
                      <a:pt x="615" y="589"/>
                    </a:lnTo>
                    <a:lnTo>
                      <a:pt x="620" y="582"/>
                    </a:lnTo>
                    <a:lnTo>
                      <a:pt x="622" y="582"/>
                    </a:lnTo>
                    <a:lnTo>
                      <a:pt x="629" y="577"/>
                    </a:lnTo>
                    <a:lnTo>
                      <a:pt x="631" y="575"/>
                    </a:lnTo>
                    <a:lnTo>
                      <a:pt x="631" y="575"/>
                    </a:lnTo>
                    <a:lnTo>
                      <a:pt x="631" y="568"/>
                    </a:lnTo>
                    <a:lnTo>
                      <a:pt x="631" y="568"/>
                    </a:lnTo>
                    <a:lnTo>
                      <a:pt x="629" y="566"/>
                    </a:lnTo>
                    <a:lnTo>
                      <a:pt x="631" y="561"/>
                    </a:lnTo>
                    <a:lnTo>
                      <a:pt x="634" y="556"/>
                    </a:lnTo>
                    <a:lnTo>
                      <a:pt x="634" y="554"/>
                    </a:lnTo>
                    <a:lnTo>
                      <a:pt x="634" y="551"/>
                    </a:lnTo>
                    <a:lnTo>
                      <a:pt x="636" y="551"/>
                    </a:lnTo>
                    <a:lnTo>
                      <a:pt x="641" y="547"/>
                    </a:lnTo>
                    <a:lnTo>
                      <a:pt x="641" y="542"/>
                    </a:lnTo>
                    <a:lnTo>
                      <a:pt x="641" y="540"/>
                    </a:lnTo>
                    <a:lnTo>
                      <a:pt x="643" y="537"/>
                    </a:lnTo>
                    <a:lnTo>
                      <a:pt x="643" y="532"/>
                    </a:lnTo>
                    <a:lnTo>
                      <a:pt x="646" y="528"/>
                    </a:lnTo>
                    <a:lnTo>
                      <a:pt x="650" y="525"/>
                    </a:lnTo>
                    <a:lnTo>
                      <a:pt x="650" y="525"/>
                    </a:lnTo>
                    <a:lnTo>
                      <a:pt x="650" y="523"/>
                    </a:lnTo>
                    <a:lnTo>
                      <a:pt x="650" y="518"/>
                    </a:lnTo>
                    <a:lnTo>
                      <a:pt x="650" y="509"/>
                    </a:lnTo>
                    <a:lnTo>
                      <a:pt x="650" y="504"/>
                    </a:lnTo>
                    <a:lnTo>
                      <a:pt x="650" y="497"/>
                    </a:lnTo>
                    <a:lnTo>
                      <a:pt x="653" y="492"/>
                    </a:lnTo>
                    <a:lnTo>
                      <a:pt x="655" y="490"/>
                    </a:lnTo>
                    <a:lnTo>
                      <a:pt x="657" y="487"/>
                    </a:lnTo>
                    <a:lnTo>
                      <a:pt x="660" y="485"/>
                    </a:lnTo>
                    <a:lnTo>
                      <a:pt x="657" y="485"/>
                    </a:lnTo>
                    <a:lnTo>
                      <a:pt x="657" y="478"/>
                    </a:lnTo>
                    <a:lnTo>
                      <a:pt x="657" y="473"/>
                    </a:lnTo>
                    <a:lnTo>
                      <a:pt x="657" y="471"/>
                    </a:lnTo>
                    <a:lnTo>
                      <a:pt x="657" y="466"/>
                    </a:lnTo>
                    <a:lnTo>
                      <a:pt x="660" y="459"/>
                    </a:lnTo>
                    <a:lnTo>
                      <a:pt x="660" y="454"/>
                    </a:lnTo>
                    <a:lnTo>
                      <a:pt x="662" y="447"/>
                    </a:lnTo>
                    <a:lnTo>
                      <a:pt x="662" y="445"/>
                    </a:lnTo>
                    <a:lnTo>
                      <a:pt x="660" y="440"/>
                    </a:lnTo>
                    <a:lnTo>
                      <a:pt x="657" y="433"/>
                    </a:lnTo>
                    <a:lnTo>
                      <a:pt x="657" y="426"/>
                    </a:lnTo>
                    <a:lnTo>
                      <a:pt x="657" y="421"/>
                    </a:lnTo>
                    <a:lnTo>
                      <a:pt x="657" y="407"/>
                    </a:lnTo>
                    <a:lnTo>
                      <a:pt x="657" y="407"/>
                    </a:lnTo>
                    <a:lnTo>
                      <a:pt x="657" y="409"/>
                    </a:lnTo>
                    <a:lnTo>
                      <a:pt x="655" y="407"/>
                    </a:lnTo>
                    <a:lnTo>
                      <a:pt x="655" y="407"/>
                    </a:lnTo>
                    <a:lnTo>
                      <a:pt x="655" y="402"/>
                    </a:lnTo>
                    <a:lnTo>
                      <a:pt x="657" y="400"/>
                    </a:lnTo>
                    <a:lnTo>
                      <a:pt x="657" y="400"/>
                    </a:lnTo>
                    <a:lnTo>
                      <a:pt x="655" y="398"/>
                    </a:lnTo>
                    <a:lnTo>
                      <a:pt x="655" y="398"/>
                    </a:lnTo>
                    <a:lnTo>
                      <a:pt x="655" y="398"/>
                    </a:lnTo>
                    <a:lnTo>
                      <a:pt x="655" y="395"/>
                    </a:lnTo>
                    <a:lnTo>
                      <a:pt x="655" y="393"/>
                    </a:lnTo>
                    <a:lnTo>
                      <a:pt x="657" y="393"/>
                    </a:lnTo>
                    <a:lnTo>
                      <a:pt x="660" y="388"/>
                    </a:lnTo>
                    <a:lnTo>
                      <a:pt x="660" y="386"/>
                    </a:lnTo>
                    <a:lnTo>
                      <a:pt x="660" y="383"/>
                    </a:lnTo>
                    <a:lnTo>
                      <a:pt x="660" y="383"/>
                    </a:lnTo>
                    <a:lnTo>
                      <a:pt x="657" y="381"/>
                    </a:lnTo>
                    <a:lnTo>
                      <a:pt x="660" y="381"/>
                    </a:lnTo>
                    <a:lnTo>
                      <a:pt x="660" y="381"/>
                    </a:lnTo>
                    <a:lnTo>
                      <a:pt x="660" y="379"/>
                    </a:lnTo>
                    <a:lnTo>
                      <a:pt x="662" y="379"/>
                    </a:lnTo>
                    <a:lnTo>
                      <a:pt x="665" y="381"/>
                    </a:lnTo>
                    <a:lnTo>
                      <a:pt x="665" y="386"/>
                    </a:lnTo>
                    <a:lnTo>
                      <a:pt x="667" y="386"/>
                    </a:lnTo>
                    <a:lnTo>
                      <a:pt x="667" y="386"/>
                    </a:lnTo>
                    <a:lnTo>
                      <a:pt x="669" y="383"/>
                    </a:lnTo>
                    <a:lnTo>
                      <a:pt x="674" y="376"/>
                    </a:lnTo>
                    <a:lnTo>
                      <a:pt x="674" y="374"/>
                    </a:lnTo>
                    <a:lnTo>
                      <a:pt x="679" y="367"/>
                    </a:lnTo>
                    <a:lnTo>
                      <a:pt x="684" y="357"/>
                    </a:lnTo>
                    <a:lnTo>
                      <a:pt x="684" y="355"/>
                    </a:lnTo>
                    <a:lnTo>
                      <a:pt x="684" y="353"/>
                    </a:lnTo>
                    <a:lnTo>
                      <a:pt x="684" y="348"/>
                    </a:lnTo>
                    <a:lnTo>
                      <a:pt x="686" y="348"/>
                    </a:lnTo>
                    <a:lnTo>
                      <a:pt x="686" y="350"/>
                    </a:lnTo>
                    <a:lnTo>
                      <a:pt x="686" y="350"/>
                    </a:lnTo>
                    <a:lnTo>
                      <a:pt x="684" y="350"/>
                    </a:lnTo>
                    <a:lnTo>
                      <a:pt x="684" y="353"/>
                    </a:lnTo>
                    <a:lnTo>
                      <a:pt x="686" y="353"/>
                    </a:lnTo>
                    <a:lnTo>
                      <a:pt x="688" y="348"/>
                    </a:lnTo>
                    <a:lnTo>
                      <a:pt x="688" y="345"/>
                    </a:lnTo>
                    <a:lnTo>
                      <a:pt x="688" y="345"/>
                    </a:lnTo>
                    <a:lnTo>
                      <a:pt x="688" y="345"/>
                    </a:lnTo>
                    <a:lnTo>
                      <a:pt x="693" y="341"/>
                    </a:lnTo>
                    <a:lnTo>
                      <a:pt x="695" y="336"/>
                    </a:lnTo>
                    <a:lnTo>
                      <a:pt x="698" y="336"/>
                    </a:lnTo>
                    <a:lnTo>
                      <a:pt x="702" y="334"/>
                    </a:lnTo>
                    <a:lnTo>
                      <a:pt x="702" y="334"/>
                    </a:lnTo>
                    <a:lnTo>
                      <a:pt x="705" y="326"/>
                    </a:lnTo>
                    <a:lnTo>
                      <a:pt x="707" y="324"/>
                    </a:lnTo>
                    <a:lnTo>
                      <a:pt x="710" y="319"/>
                    </a:lnTo>
                    <a:lnTo>
                      <a:pt x="712" y="317"/>
                    </a:lnTo>
                    <a:lnTo>
                      <a:pt x="710" y="317"/>
                    </a:lnTo>
                    <a:lnTo>
                      <a:pt x="712" y="317"/>
                    </a:lnTo>
                    <a:lnTo>
                      <a:pt x="712" y="317"/>
                    </a:lnTo>
                    <a:lnTo>
                      <a:pt x="717" y="312"/>
                    </a:lnTo>
                    <a:lnTo>
                      <a:pt x="721" y="305"/>
                    </a:lnTo>
                    <a:lnTo>
                      <a:pt x="724" y="300"/>
                    </a:lnTo>
                    <a:lnTo>
                      <a:pt x="726" y="289"/>
                    </a:lnTo>
                    <a:lnTo>
                      <a:pt x="728" y="281"/>
                    </a:lnTo>
                    <a:lnTo>
                      <a:pt x="728" y="279"/>
                    </a:lnTo>
                    <a:lnTo>
                      <a:pt x="728" y="277"/>
                    </a:lnTo>
                    <a:lnTo>
                      <a:pt x="728" y="274"/>
                    </a:lnTo>
                    <a:lnTo>
                      <a:pt x="728" y="274"/>
                    </a:lnTo>
                    <a:lnTo>
                      <a:pt x="728" y="272"/>
                    </a:lnTo>
                    <a:lnTo>
                      <a:pt x="728" y="272"/>
                    </a:lnTo>
                    <a:lnTo>
                      <a:pt x="728" y="270"/>
                    </a:lnTo>
                    <a:lnTo>
                      <a:pt x="728" y="267"/>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4" name="Freeform 196"/>
              <p:cNvSpPr>
                <a:spLocks/>
              </p:cNvSpPr>
              <p:nvPr/>
            </p:nvSpPr>
            <p:spPr bwMode="auto">
              <a:xfrm>
                <a:off x="3118" y="3176"/>
                <a:ext cx="170" cy="192"/>
              </a:xfrm>
              <a:custGeom>
                <a:avLst/>
                <a:gdLst>
                  <a:gd name="T0" fmla="*/ 165 w 170"/>
                  <a:gd name="T1" fmla="*/ 90 h 192"/>
                  <a:gd name="T2" fmla="*/ 165 w 170"/>
                  <a:gd name="T3" fmla="*/ 86 h 192"/>
                  <a:gd name="T4" fmla="*/ 161 w 170"/>
                  <a:gd name="T5" fmla="*/ 83 h 192"/>
                  <a:gd name="T6" fmla="*/ 146 w 170"/>
                  <a:gd name="T7" fmla="*/ 79 h 192"/>
                  <a:gd name="T8" fmla="*/ 142 w 170"/>
                  <a:gd name="T9" fmla="*/ 72 h 192"/>
                  <a:gd name="T10" fmla="*/ 142 w 170"/>
                  <a:gd name="T11" fmla="*/ 62 h 192"/>
                  <a:gd name="T12" fmla="*/ 142 w 170"/>
                  <a:gd name="T13" fmla="*/ 57 h 192"/>
                  <a:gd name="T14" fmla="*/ 134 w 170"/>
                  <a:gd name="T15" fmla="*/ 55 h 192"/>
                  <a:gd name="T16" fmla="*/ 130 w 170"/>
                  <a:gd name="T17" fmla="*/ 48 h 192"/>
                  <a:gd name="T18" fmla="*/ 116 w 170"/>
                  <a:gd name="T19" fmla="*/ 38 h 192"/>
                  <a:gd name="T20" fmla="*/ 111 w 170"/>
                  <a:gd name="T21" fmla="*/ 27 h 192"/>
                  <a:gd name="T22" fmla="*/ 106 w 170"/>
                  <a:gd name="T23" fmla="*/ 19 h 192"/>
                  <a:gd name="T24" fmla="*/ 101 w 170"/>
                  <a:gd name="T25" fmla="*/ 8 h 192"/>
                  <a:gd name="T26" fmla="*/ 97 w 170"/>
                  <a:gd name="T27" fmla="*/ 3 h 192"/>
                  <a:gd name="T28" fmla="*/ 92 w 170"/>
                  <a:gd name="T29" fmla="*/ 0 h 192"/>
                  <a:gd name="T30" fmla="*/ 82 w 170"/>
                  <a:gd name="T31" fmla="*/ 5 h 192"/>
                  <a:gd name="T32" fmla="*/ 75 w 170"/>
                  <a:gd name="T33" fmla="*/ 8 h 192"/>
                  <a:gd name="T34" fmla="*/ 68 w 170"/>
                  <a:gd name="T35" fmla="*/ 15 h 192"/>
                  <a:gd name="T36" fmla="*/ 66 w 170"/>
                  <a:gd name="T37" fmla="*/ 10 h 192"/>
                  <a:gd name="T38" fmla="*/ 59 w 170"/>
                  <a:gd name="T39" fmla="*/ 5 h 192"/>
                  <a:gd name="T40" fmla="*/ 30 w 170"/>
                  <a:gd name="T41" fmla="*/ 10 h 192"/>
                  <a:gd name="T42" fmla="*/ 19 w 170"/>
                  <a:gd name="T43" fmla="*/ 24 h 192"/>
                  <a:gd name="T44" fmla="*/ 19 w 170"/>
                  <a:gd name="T45" fmla="*/ 60 h 192"/>
                  <a:gd name="T46" fmla="*/ 19 w 170"/>
                  <a:gd name="T47" fmla="*/ 88 h 192"/>
                  <a:gd name="T48" fmla="*/ 0 w 170"/>
                  <a:gd name="T49" fmla="*/ 100 h 192"/>
                  <a:gd name="T50" fmla="*/ 0 w 170"/>
                  <a:gd name="T51" fmla="*/ 124 h 192"/>
                  <a:gd name="T52" fmla="*/ 0 w 170"/>
                  <a:gd name="T53" fmla="*/ 147 h 192"/>
                  <a:gd name="T54" fmla="*/ 7 w 170"/>
                  <a:gd name="T55" fmla="*/ 157 h 192"/>
                  <a:gd name="T56" fmla="*/ 14 w 170"/>
                  <a:gd name="T57" fmla="*/ 171 h 192"/>
                  <a:gd name="T58" fmla="*/ 14 w 170"/>
                  <a:gd name="T59" fmla="*/ 178 h 192"/>
                  <a:gd name="T60" fmla="*/ 9 w 170"/>
                  <a:gd name="T61" fmla="*/ 185 h 192"/>
                  <a:gd name="T62" fmla="*/ 14 w 170"/>
                  <a:gd name="T63" fmla="*/ 190 h 192"/>
                  <a:gd name="T64" fmla="*/ 26 w 170"/>
                  <a:gd name="T65" fmla="*/ 192 h 192"/>
                  <a:gd name="T66" fmla="*/ 30 w 170"/>
                  <a:gd name="T67" fmla="*/ 190 h 192"/>
                  <a:gd name="T68" fmla="*/ 37 w 170"/>
                  <a:gd name="T69" fmla="*/ 185 h 192"/>
                  <a:gd name="T70" fmla="*/ 47 w 170"/>
                  <a:gd name="T71" fmla="*/ 176 h 192"/>
                  <a:gd name="T72" fmla="*/ 49 w 170"/>
                  <a:gd name="T73" fmla="*/ 166 h 192"/>
                  <a:gd name="T74" fmla="*/ 54 w 170"/>
                  <a:gd name="T75" fmla="*/ 159 h 192"/>
                  <a:gd name="T76" fmla="*/ 64 w 170"/>
                  <a:gd name="T77" fmla="*/ 159 h 192"/>
                  <a:gd name="T78" fmla="*/ 71 w 170"/>
                  <a:gd name="T79" fmla="*/ 166 h 192"/>
                  <a:gd name="T80" fmla="*/ 78 w 170"/>
                  <a:gd name="T81" fmla="*/ 169 h 192"/>
                  <a:gd name="T82" fmla="*/ 90 w 170"/>
                  <a:gd name="T83" fmla="*/ 169 h 192"/>
                  <a:gd name="T84" fmla="*/ 97 w 170"/>
                  <a:gd name="T85" fmla="*/ 169 h 192"/>
                  <a:gd name="T86" fmla="*/ 104 w 170"/>
                  <a:gd name="T87" fmla="*/ 159 h 192"/>
                  <a:gd name="T88" fmla="*/ 106 w 170"/>
                  <a:gd name="T89" fmla="*/ 147 h 192"/>
                  <a:gd name="T90" fmla="*/ 116 w 170"/>
                  <a:gd name="T91" fmla="*/ 145 h 192"/>
                  <a:gd name="T92" fmla="*/ 123 w 170"/>
                  <a:gd name="T93" fmla="*/ 135 h 192"/>
                  <a:gd name="T94" fmla="*/ 130 w 170"/>
                  <a:gd name="T95" fmla="*/ 121 h 192"/>
                  <a:gd name="T96" fmla="*/ 134 w 170"/>
                  <a:gd name="T97" fmla="*/ 119 h 192"/>
                  <a:gd name="T98" fmla="*/ 139 w 170"/>
                  <a:gd name="T99" fmla="*/ 114 h 192"/>
                  <a:gd name="T100" fmla="*/ 142 w 170"/>
                  <a:gd name="T101" fmla="*/ 112 h 192"/>
                  <a:gd name="T102" fmla="*/ 146 w 170"/>
                  <a:gd name="T103" fmla="*/ 107 h 192"/>
                  <a:gd name="T104" fmla="*/ 158 w 170"/>
                  <a:gd name="T105" fmla="*/ 100 h 192"/>
                  <a:gd name="T106" fmla="*/ 168 w 170"/>
                  <a:gd name="T107" fmla="*/ 93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0" h="192">
                    <a:moveTo>
                      <a:pt x="170" y="93"/>
                    </a:moveTo>
                    <a:lnTo>
                      <a:pt x="170" y="90"/>
                    </a:lnTo>
                    <a:lnTo>
                      <a:pt x="168" y="90"/>
                    </a:lnTo>
                    <a:lnTo>
                      <a:pt x="165" y="90"/>
                    </a:lnTo>
                    <a:lnTo>
                      <a:pt x="165" y="90"/>
                    </a:lnTo>
                    <a:lnTo>
                      <a:pt x="165" y="88"/>
                    </a:lnTo>
                    <a:lnTo>
                      <a:pt x="165" y="88"/>
                    </a:lnTo>
                    <a:lnTo>
                      <a:pt x="165" y="86"/>
                    </a:lnTo>
                    <a:lnTo>
                      <a:pt x="165" y="86"/>
                    </a:lnTo>
                    <a:lnTo>
                      <a:pt x="165" y="83"/>
                    </a:lnTo>
                    <a:lnTo>
                      <a:pt x="163" y="83"/>
                    </a:lnTo>
                    <a:lnTo>
                      <a:pt x="161" y="83"/>
                    </a:lnTo>
                    <a:lnTo>
                      <a:pt x="156" y="81"/>
                    </a:lnTo>
                    <a:lnTo>
                      <a:pt x="149" y="81"/>
                    </a:lnTo>
                    <a:lnTo>
                      <a:pt x="146" y="81"/>
                    </a:lnTo>
                    <a:lnTo>
                      <a:pt x="146" y="79"/>
                    </a:lnTo>
                    <a:lnTo>
                      <a:pt x="146" y="79"/>
                    </a:lnTo>
                    <a:lnTo>
                      <a:pt x="144" y="76"/>
                    </a:lnTo>
                    <a:lnTo>
                      <a:pt x="144" y="74"/>
                    </a:lnTo>
                    <a:lnTo>
                      <a:pt x="142" y="72"/>
                    </a:lnTo>
                    <a:lnTo>
                      <a:pt x="142" y="69"/>
                    </a:lnTo>
                    <a:lnTo>
                      <a:pt x="142" y="67"/>
                    </a:lnTo>
                    <a:lnTo>
                      <a:pt x="142" y="64"/>
                    </a:lnTo>
                    <a:lnTo>
                      <a:pt x="142" y="62"/>
                    </a:lnTo>
                    <a:lnTo>
                      <a:pt x="142" y="62"/>
                    </a:lnTo>
                    <a:lnTo>
                      <a:pt x="142" y="60"/>
                    </a:lnTo>
                    <a:lnTo>
                      <a:pt x="142" y="57"/>
                    </a:lnTo>
                    <a:lnTo>
                      <a:pt x="142" y="57"/>
                    </a:lnTo>
                    <a:lnTo>
                      <a:pt x="139" y="57"/>
                    </a:lnTo>
                    <a:lnTo>
                      <a:pt x="137" y="57"/>
                    </a:lnTo>
                    <a:lnTo>
                      <a:pt x="134" y="57"/>
                    </a:lnTo>
                    <a:lnTo>
                      <a:pt x="134" y="55"/>
                    </a:lnTo>
                    <a:lnTo>
                      <a:pt x="134" y="53"/>
                    </a:lnTo>
                    <a:lnTo>
                      <a:pt x="132" y="50"/>
                    </a:lnTo>
                    <a:lnTo>
                      <a:pt x="132" y="48"/>
                    </a:lnTo>
                    <a:lnTo>
                      <a:pt x="130" y="48"/>
                    </a:lnTo>
                    <a:lnTo>
                      <a:pt x="127" y="48"/>
                    </a:lnTo>
                    <a:lnTo>
                      <a:pt x="123" y="45"/>
                    </a:lnTo>
                    <a:lnTo>
                      <a:pt x="120" y="41"/>
                    </a:lnTo>
                    <a:lnTo>
                      <a:pt x="116" y="38"/>
                    </a:lnTo>
                    <a:lnTo>
                      <a:pt x="113" y="36"/>
                    </a:lnTo>
                    <a:lnTo>
                      <a:pt x="113" y="34"/>
                    </a:lnTo>
                    <a:lnTo>
                      <a:pt x="111" y="27"/>
                    </a:lnTo>
                    <a:lnTo>
                      <a:pt x="111" y="27"/>
                    </a:lnTo>
                    <a:lnTo>
                      <a:pt x="111" y="24"/>
                    </a:lnTo>
                    <a:lnTo>
                      <a:pt x="108" y="22"/>
                    </a:lnTo>
                    <a:lnTo>
                      <a:pt x="108" y="19"/>
                    </a:lnTo>
                    <a:lnTo>
                      <a:pt x="106" y="19"/>
                    </a:lnTo>
                    <a:lnTo>
                      <a:pt x="104" y="15"/>
                    </a:lnTo>
                    <a:lnTo>
                      <a:pt x="101" y="12"/>
                    </a:lnTo>
                    <a:lnTo>
                      <a:pt x="101" y="10"/>
                    </a:lnTo>
                    <a:lnTo>
                      <a:pt x="101" y="8"/>
                    </a:lnTo>
                    <a:lnTo>
                      <a:pt x="99" y="8"/>
                    </a:lnTo>
                    <a:lnTo>
                      <a:pt x="99" y="5"/>
                    </a:lnTo>
                    <a:lnTo>
                      <a:pt x="97" y="3"/>
                    </a:lnTo>
                    <a:lnTo>
                      <a:pt x="97" y="3"/>
                    </a:lnTo>
                    <a:lnTo>
                      <a:pt x="97" y="0"/>
                    </a:lnTo>
                    <a:lnTo>
                      <a:pt x="99" y="0"/>
                    </a:lnTo>
                    <a:lnTo>
                      <a:pt x="97" y="0"/>
                    </a:lnTo>
                    <a:lnTo>
                      <a:pt x="92" y="0"/>
                    </a:lnTo>
                    <a:lnTo>
                      <a:pt x="90" y="3"/>
                    </a:lnTo>
                    <a:lnTo>
                      <a:pt x="85" y="5"/>
                    </a:lnTo>
                    <a:lnTo>
                      <a:pt x="82" y="5"/>
                    </a:lnTo>
                    <a:lnTo>
                      <a:pt x="82" y="5"/>
                    </a:lnTo>
                    <a:lnTo>
                      <a:pt x="82" y="5"/>
                    </a:lnTo>
                    <a:lnTo>
                      <a:pt x="80" y="5"/>
                    </a:lnTo>
                    <a:lnTo>
                      <a:pt x="78" y="5"/>
                    </a:lnTo>
                    <a:lnTo>
                      <a:pt x="75" y="8"/>
                    </a:lnTo>
                    <a:lnTo>
                      <a:pt x="73" y="10"/>
                    </a:lnTo>
                    <a:lnTo>
                      <a:pt x="73" y="10"/>
                    </a:lnTo>
                    <a:lnTo>
                      <a:pt x="68" y="15"/>
                    </a:lnTo>
                    <a:lnTo>
                      <a:pt x="68" y="15"/>
                    </a:lnTo>
                    <a:lnTo>
                      <a:pt x="68" y="15"/>
                    </a:lnTo>
                    <a:lnTo>
                      <a:pt x="66" y="15"/>
                    </a:lnTo>
                    <a:lnTo>
                      <a:pt x="66" y="12"/>
                    </a:lnTo>
                    <a:lnTo>
                      <a:pt x="66" y="10"/>
                    </a:lnTo>
                    <a:lnTo>
                      <a:pt x="61" y="5"/>
                    </a:lnTo>
                    <a:lnTo>
                      <a:pt x="61" y="5"/>
                    </a:lnTo>
                    <a:lnTo>
                      <a:pt x="61" y="5"/>
                    </a:lnTo>
                    <a:lnTo>
                      <a:pt x="59" y="5"/>
                    </a:lnTo>
                    <a:lnTo>
                      <a:pt x="52" y="5"/>
                    </a:lnTo>
                    <a:lnTo>
                      <a:pt x="47" y="8"/>
                    </a:lnTo>
                    <a:lnTo>
                      <a:pt x="37" y="10"/>
                    </a:lnTo>
                    <a:lnTo>
                      <a:pt x="30" y="10"/>
                    </a:lnTo>
                    <a:lnTo>
                      <a:pt x="23" y="10"/>
                    </a:lnTo>
                    <a:lnTo>
                      <a:pt x="19" y="12"/>
                    </a:lnTo>
                    <a:lnTo>
                      <a:pt x="19" y="15"/>
                    </a:lnTo>
                    <a:lnTo>
                      <a:pt x="19" y="24"/>
                    </a:lnTo>
                    <a:lnTo>
                      <a:pt x="19" y="34"/>
                    </a:lnTo>
                    <a:lnTo>
                      <a:pt x="19" y="41"/>
                    </a:lnTo>
                    <a:lnTo>
                      <a:pt x="19" y="50"/>
                    </a:lnTo>
                    <a:lnTo>
                      <a:pt x="19" y="60"/>
                    </a:lnTo>
                    <a:lnTo>
                      <a:pt x="19" y="67"/>
                    </a:lnTo>
                    <a:lnTo>
                      <a:pt x="19" y="76"/>
                    </a:lnTo>
                    <a:lnTo>
                      <a:pt x="19" y="86"/>
                    </a:lnTo>
                    <a:lnTo>
                      <a:pt x="19" y="88"/>
                    </a:lnTo>
                    <a:lnTo>
                      <a:pt x="19" y="88"/>
                    </a:lnTo>
                    <a:lnTo>
                      <a:pt x="0" y="88"/>
                    </a:lnTo>
                    <a:lnTo>
                      <a:pt x="0" y="95"/>
                    </a:lnTo>
                    <a:lnTo>
                      <a:pt x="0" y="100"/>
                    </a:lnTo>
                    <a:lnTo>
                      <a:pt x="0" y="107"/>
                    </a:lnTo>
                    <a:lnTo>
                      <a:pt x="0" y="112"/>
                    </a:lnTo>
                    <a:lnTo>
                      <a:pt x="0" y="119"/>
                    </a:lnTo>
                    <a:lnTo>
                      <a:pt x="0" y="124"/>
                    </a:lnTo>
                    <a:lnTo>
                      <a:pt x="0" y="131"/>
                    </a:lnTo>
                    <a:lnTo>
                      <a:pt x="0" y="138"/>
                    </a:lnTo>
                    <a:lnTo>
                      <a:pt x="0" y="143"/>
                    </a:lnTo>
                    <a:lnTo>
                      <a:pt x="0" y="147"/>
                    </a:lnTo>
                    <a:lnTo>
                      <a:pt x="0" y="147"/>
                    </a:lnTo>
                    <a:lnTo>
                      <a:pt x="0" y="150"/>
                    </a:lnTo>
                    <a:lnTo>
                      <a:pt x="4" y="154"/>
                    </a:lnTo>
                    <a:lnTo>
                      <a:pt x="7" y="157"/>
                    </a:lnTo>
                    <a:lnTo>
                      <a:pt x="7" y="157"/>
                    </a:lnTo>
                    <a:lnTo>
                      <a:pt x="9" y="164"/>
                    </a:lnTo>
                    <a:lnTo>
                      <a:pt x="11" y="169"/>
                    </a:lnTo>
                    <a:lnTo>
                      <a:pt x="14" y="171"/>
                    </a:lnTo>
                    <a:lnTo>
                      <a:pt x="14" y="173"/>
                    </a:lnTo>
                    <a:lnTo>
                      <a:pt x="14" y="176"/>
                    </a:lnTo>
                    <a:lnTo>
                      <a:pt x="14" y="176"/>
                    </a:lnTo>
                    <a:lnTo>
                      <a:pt x="14" y="178"/>
                    </a:lnTo>
                    <a:lnTo>
                      <a:pt x="11" y="180"/>
                    </a:lnTo>
                    <a:lnTo>
                      <a:pt x="11" y="180"/>
                    </a:lnTo>
                    <a:lnTo>
                      <a:pt x="9" y="183"/>
                    </a:lnTo>
                    <a:lnTo>
                      <a:pt x="9" y="185"/>
                    </a:lnTo>
                    <a:lnTo>
                      <a:pt x="9" y="190"/>
                    </a:lnTo>
                    <a:lnTo>
                      <a:pt x="11" y="192"/>
                    </a:lnTo>
                    <a:lnTo>
                      <a:pt x="11" y="192"/>
                    </a:lnTo>
                    <a:lnTo>
                      <a:pt x="14" y="190"/>
                    </a:lnTo>
                    <a:lnTo>
                      <a:pt x="16" y="192"/>
                    </a:lnTo>
                    <a:lnTo>
                      <a:pt x="19" y="192"/>
                    </a:lnTo>
                    <a:lnTo>
                      <a:pt x="26" y="192"/>
                    </a:lnTo>
                    <a:lnTo>
                      <a:pt x="26" y="192"/>
                    </a:lnTo>
                    <a:lnTo>
                      <a:pt x="28" y="192"/>
                    </a:lnTo>
                    <a:lnTo>
                      <a:pt x="28" y="192"/>
                    </a:lnTo>
                    <a:lnTo>
                      <a:pt x="30" y="190"/>
                    </a:lnTo>
                    <a:lnTo>
                      <a:pt x="30" y="190"/>
                    </a:lnTo>
                    <a:lnTo>
                      <a:pt x="33" y="188"/>
                    </a:lnTo>
                    <a:lnTo>
                      <a:pt x="33" y="188"/>
                    </a:lnTo>
                    <a:lnTo>
                      <a:pt x="35" y="188"/>
                    </a:lnTo>
                    <a:lnTo>
                      <a:pt x="37" y="185"/>
                    </a:lnTo>
                    <a:lnTo>
                      <a:pt x="40" y="183"/>
                    </a:lnTo>
                    <a:lnTo>
                      <a:pt x="45" y="178"/>
                    </a:lnTo>
                    <a:lnTo>
                      <a:pt x="45" y="178"/>
                    </a:lnTo>
                    <a:lnTo>
                      <a:pt x="47" y="176"/>
                    </a:lnTo>
                    <a:lnTo>
                      <a:pt x="47" y="176"/>
                    </a:lnTo>
                    <a:lnTo>
                      <a:pt x="49" y="171"/>
                    </a:lnTo>
                    <a:lnTo>
                      <a:pt x="49" y="166"/>
                    </a:lnTo>
                    <a:lnTo>
                      <a:pt x="49" y="166"/>
                    </a:lnTo>
                    <a:lnTo>
                      <a:pt x="52" y="162"/>
                    </a:lnTo>
                    <a:lnTo>
                      <a:pt x="52" y="162"/>
                    </a:lnTo>
                    <a:lnTo>
                      <a:pt x="54" y="159"/>
                    </a:lnTo>
                    <a:lnTo>
                      <a:pt x="54" y="159"/>
                    </a:lnTo>
                    <a:lnTo>
                      <a:pt x="56" y="159"/>
                    </a:lnTo>
                    <a:lnTo>
                      <a:pt x="59" y="159"/>
                    </a:lnTo>
                    <a:lnTo>
                      <a:pt x="61" y="159"/>
                    </a:lnTo>
                    <a:lnTo>
                      <a:pt x="64" y="159"/>
                    </a:lnTo>
                    <a:lnTo>
                      <a:pt x="66" y="162"/>
                    </a:lnTo>
                    <a:lnTo>
                      <a:pt x="68" y="164"/>
                    </a:lnTo>
                    <a:lnTo>
                      <a:pt x="71" y="166"/>
                    </a:lnTo>
                    <a:lnTo>
                      <a:pt x="71" y="166"/>
                    </a:lnTo>
                    <a:lnTo>
                      <a:pt x="73" y="166"/>
                    </a:lnTo>
                    <a:lnTo>
                      <a:pt x="75" y="166"/>
                    </a:lnTo>
                    <a:lnTo>
                      <a:pt x="78" y="169"/>
                    </a:lnTo>
                    <a:lnTo>
                      <a:pt x="78" y="169"/>
                    </a:lnTo>
                    <a:lnTo>
                      <a:pt x="82" y="169"/>
                    </a:lnTo>
                    <a:lnTo>
                      <a:pt x="85" y="171"/>
                    </a:lnTo>
                    <a:lnTo>
                      <a:pt x="87" y="171"/>
                    </a:lnTo>
                    <a:lnTo>
                      <a:pt x="90" y="169"/>
                    </a:lnTo>
                    <a:lnTo>
                      <a:pt x="92" y="169"/>
                    </a:lnTo>
                    <a:lnTo>
                      <a:pt x="94" y="169"/>
                    </a:lnTo>
                    <a:lnTo>
                      <a:pt x="97" y="169"/>
                    </a:lnTo>
                    <a:lnTo>
                      <a:pt x="97" y="169"/>
                    </a:lnTo>
                    <a:lnTo>
                      <a:pt x="99" y="166"/>
                    </a:lnTo>
                    <a:lnTo>
                      <a:pt x="101" y="166"/>
                    </a:lnTo>
                    <a:lnTo>
                      <a:pt x="101" y="162"/>
                    </a:lnTo>
                    <a:lnTo>
                      <a:pt x="104" y="159"/>
                    </a:lnTo>
                    <a:lnTo>
                      <a:pt x="104" y="157"/>
                    </a:lnTo>
                    <a:lnTo>
                      <a:pt x="106" y="152"/>
                    </a:lnTo>
                    <a:lnTo>
                      <a:pt x="106" y="147"/>
                    </a:lnTo>
                    <a:lnTo>
                      <a:pt x="106" y="147"/>
                    </a:lnTo>
                    <a:lnTo>
                      <a:pt x="108" y="147"/>
                    </a:lnTo>
                    <a:lnTo>
                      <a:pt x="111" y="145"/>
                    </a:lnTo>
                    <a:lnTo>
                      <a:pt x="116" y="145"/>
                    </a:lnTo>
                    <a:lnTo>
                      <a:pt x="116" y="145"/>
                    </a:lnTo>
                    <a:lnTo>
                      <a:pt x="118" y="143"/>
                    </a:lnTo>
                    <a:lnTo>
                      <a:pt x="120" y="140"/>
                    </a:lnTo>
                    <a:lnTo>
                      <a:pt x="123" y="138"/>
                    </a:lnTo>
                    <a:lnTo>
                      <a:pt x="123" y="135"/>
                    </a:lnTo>
                    <a:lnTo>
                      <a:pt x="127" y="126"/>
                    </a:lnTo>
                    <a:lnTo>
                      <a:pt x="127" y="126"/>
                    </a:lnTo>
                    <a:lnTo>
                      <a:pt x="130" y="124"/>
                    </a:lnTo>
                    <a:lnTo>
                      <a:pt x="130" y="121"/>
                    </a:lnTo>
                    <a:lnTo>
                      <a:pt x="130" y="121"/>
                    </a:lnTo>
                    <a:lnTo>
                      <a:pt x="132" y="121"/>
                    </a:lnTo>
                    <a:lnTo>
                      <a:pt x="132" y="119"/>
                    </a:lnTo>
                    <a:lnTo>
                      <a:pt x="134" y="119"/>
                    </a:lnTo>
                    <a:lnTo>
                      <a:pt x="137" y="119"/>
                    </a:lnTo>
                    <a:lnTo>
                      <a:pt x="137" y="117"/>
                    </a:lnTo>
                    <a:lnTo>
                      <a:pt x="139" y="117"/>
                    </a:lnTo>
                    <a:lnTo>
                      <a:pt x="139" y="114"/>
                    </a:lnTo>
                    <a:lnTo>
                      <a:pt x="142" y="114"/>
                    </a:lnTo>
                    <a:lnTo>
                      <a:pt x="142" y="114"/>
                    </a:lnTo>
                    <a:lnTo>
                      <a:pt x="142" y="114"/>
                    </a:lnTo>
                    <a:lnTo>
                      <a:pt x="142" y="112"/>
                    </a:lnTo>
                    <a:lnTo>
                      <a:pt x="144" y="112"/>
                    </a:lnTo>
                    <a:lnTo>
                      <a:pt x="144" y="112"/>
                    </a:lnTo>
                    <a:lnTo>
                      <a:pt x="144" y="109"/>
                    </a:lnTo>
                    <a:lnTo>
                      <a:pt x="146" y="107"/>
                    </a:lnTo>
                    <a:lnTo>
                      <a:pt x="149" y="105"/>
                    </a:lnTo>
                    <a:lnTo>
                      <a:pt x="153" y="102"/>
                    </a:lnTo>
                    <a:lnTo>
                      <a:pt x="156" y="102"/>
                    </a:lnTo>
                    <a:lnTo>
                      <a:pt x="158" y="100"/>
                    </a:lnTo>
                    <a:lnTo>
                      <a:pt x="161" y="100"/>
                    </a:lnTo>
                    <a:lnTo>
                      <a:pt x="163" y="98"/>
                    </a:lnTo>
                    <a:lnTo>
                      <a:pt x="165" y="95"/>
                    </a:lnTo>
                    <a:lnTo>
                      <a:pt x="168" y="93"/>
                    </a:lnTo>
                    <a:lnTo>
                      <a:pt x="170" y="93"/>
                    </a:lnTo>
                    <a:lnTo>
                      <a:pt x="170" y="93"/>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5" name="Freeform 197"/>
              <p:cNvSpPr>
                <a:spLocks/>
              </p:cNvSpPr>
              <p:nvPr/>
            </p:nvSpPr>
            <p:spPr bwMode="auto">
              <a:xfrm>
                <a:off x="3032" y="1846"/>
                <a:ext cx="67" cy="57"/>
              </a:xfrm>
              <a:custGeom>
                <a:avLst/>
                <a:gdLst>
                  <a:gd name="T0" fmla="*/ 64 w 67"/>
                  <a:gd name="T1" fmla="*/ 26 h 57"/>
                  <a:gd name="T2" fmla="*/ 67 w 67"/>
                  <a:gd name="T3" fmla="*/ 26 h 57"/>
                  <a:gd name="T4" fmla="*/ 62 w 67"/>
                  <a:gd name="T5" fmla="*/ 21 h 57"/>
                  <a:gd name="T6" fmla="*/ 57 w 67"/>
                  <a:gd name="T7" fmla="*/ 19 h 57"/>
                  <a:gd name="T8" fmla="*/ 57 w 67"/>
                  <a:gd name="T9" fmla="*/ 16 h 57"/>
                  <a:gd name="T10" fmla="*/ 60 w 67"/>
                  <a:gd name="T11" fmla="*/ 12 h 57"/>
                  <a:gd name="T12" fmla="*/ 62 w 67"/>
                  <a:gd name="T13" fmla="*/ 9 h 57"/>
                  <a:gd name="T14" fmla="*/ 57 w 67"/>
                  <a:gd name="T15" fmla="*/ 7 h 57"/>
                  <a:gd name="T16" fmla="*/ 55 w 67"/>
                  <a:gd name="T17" fmla="*/ 9 h 57"/>
                  <a:gd name="T18" fmla="*/ 53 w 67"/>
                  <a:gd name="T19" fmla="*/ 7 h 57"/>
                  <a:gd name="T20" fmla="*/ 50 w 67"/>
                  <a:gd name="T21" fmla="*/ 2 h 57"/>
                  <a:gd name="T22" fmla="*/ 45 w 67"/>
                  <a:gd name="T23" fmla="*/ 2 h 57"/>
                  <a:gd name="T24" fmla="*/ 41 w 67"/>
                  <a:gd name="T25" fmla="*/ 2 h 57"/>
                  <a:gd name="T26" fmla="*/ 36 w 67"/>
                  <a:gd name="T27" fmla="*/ 2 h 57"/>
                  <a:gd name="T28" fmla="*/ 34 w 67"/>
                  <a:gd name="T29" fmla="*/ 0 h 57"/>
                  <a:gd name="T30" fmla="*/ 29 w 67"/>
                  <a:gd name="T31" fmla="*/ 2 h 57"/>
                  <a:gd name="T32" fmla="*/ 27 w 67"/>
                  <a:gd name="T33" fmla="*/ 2 h 57"/>
                  <a:gd name="T34" fmla="*/ 19 w 67"/>
                  <a:gd name="T35" fmla="*/ 0 h 57"/>
                  <a:gd name="T36" fmla="*/ 12 w 67"/>
                  <a:gd name="T37" fmla="*/ 2 h 57"/>
                  <a:gd name="T38" fmla="*/ 8 w 67"/>
                  <a:gd name="T39" fmla="*/ 2 h 57"/>
                  <a:gd name="T40" fmla="*/ 3 w 67"/>
                  <a:gd name="T41" fmla="*/ 0 h 57"/>
                  <a:gd name="T42" fmla="*/ 0 w 67"/>
                  <a:gd name="T43" fmla="*/ 5 h 57"/>
                  <a:gd name="T44" fmla="*/ 3 w 67"/>
                  <a:gd name="T45" fmla="*/ 12 h 57"/>
                  <a:gd name="T46" fmla="*/ 8 w 67"/>
                  <a:gd name="T47" fmla="*/ 16 h 57"/>
                  <a:gd name="T48" fmla="*/ 10 w 67"/>
                  <a:gd name="T49" fmla="*/ 23 h 57"/>
                  <a:gd name="T50" fmla="*/ 17 w 67"/>
                  <a:gd name="T51" fmla="*/ 28 h 57"/>
                  <a:gd name="T52" fmla="*/ 22 w 67"/>
                  <a:gd name="T53" fmla="*/ 33 h 57"/>
                  <a:gd name="T54" fmla="*/ 27 w 67"/>
                  <a:gd name="T55" fmla="*/ 38 h 57"/>
                  <a:gd name="T56" fmla="*/ 29 w 67"/>
                  <a:gd name="T57" fmla="*/ 42 h 57"/>
                  <a:gd name="T58" fmla="*/ 34 w 67"/>
                  <a:gd name="T59" fmla="*/ 47 h 57"/>
                  <a:gd name="T60" fmla="*/ 34 w 67"/>
                  <a:gd name="T61" fmla="*/ 50 h 57"/>
                  <a:gd name="T62" fmla="*/ 38 w 67"/>
                  <a:gd name="T63" fmla="*/ 50 h 57"/>
                  <a:gd name="T64" fmla="*/ 43 w 67"/>
                  <a:gd name="T65" fmla="*/ 54 h 57"/>
                  <a:gd name="T66" fmla="*/ 48 w 67"/>
                  <a:gd name="T67" fmla="*/ 57 h 57"/>
                  <a:gd name="T68" fmla="*/ 50 w 67"/>
                  <a:gd name="T69" fmla="*/ 54 h 57"/>
                  <a:gd name="T70" fmla="*/ 48 w 67"/>
                  <a:gd name="T71" fmla="*/ 52 h 57"/>
                  <a:gd name="T72" fmla="*/ 48 w 67"/>
                  <a:gd name="T73" fmla="*/ 47 h 57"/>
                  <a:gd name="T74" fmla="*/ 50 w 67"/>
                  <a:gd name="T75" fmla="*/ 45 h 57"/>
                  <a:gd name="T76" fmla="*/ 53 w 67"/>
                  <a:gd name="T77" fmla="*/ 42 h 57"/>
                  <a:gd name="T78" fmla="*/ 55 w 67"/>
                  <a:gd name="T79" fmla="*/ 40 h 57"/>
                  <a:gd name="T80" fmla="*/ 57 w 67"/>
                  <a:gd name="T81" fmla="*/ 40 h 57"/>
                  <a:gd name="T82" fmla="*/ 55 w 67"/>
                  <a:gd name="T83" fmla="*/ 38 h 57"/>
                  <a:gd name="T84" fmla="*/ 57 w 67"/>
                  <a:gd name="T85" fmla="*/ 35 h 57"/>
                  <a:gd name="T86" fmla="*/ 60 w 67"/>
                  <a:gd name="T87" fmla="*/ 35 h 57"/>
                  <a:gd name="T88" fmla="*/ 62 w 67"/>
                  <a:gd name="T89" fmla="*/ 35 h 57"/>
                  <a:gd name="T90" fmla="*/ 64 w 67"/>
                  <a:gd name="T91" fmla="*/ 35 h 57"/>
                  <a:gd name="T92" fmla="*/ 64 w 67"/>
                  <a:gd name="T93" fmla="*/ 33 h 57"/>
                  <a:gd name="T94" fmla="*/ 60 w 67"/>
                  <a:gd name="T95" fmla="*/ 2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7" h="57">
                    <a:moveTo>
                      <a:pt x="62" y="26"/>
                    </a:moveTo>
                    <a:lnTo>
                      <a:pt x="62" y="26"/>
                    </a:lnTo>
                    <a:lnTo>
                      <a:pt x="64" y="26"/>
                    </a:lnTo>
                    <a:lnTo>
                      <a:pt x="67" y="26"/>
                    </a:lnTo>
                    <a:lnTo>
                      <a:pt x="67" y="26"/>
                    </a:lnTo>
                    <a:lnTo>
                      <a:pt x="67" y="26"/>
                    </a:lnTo>
                    <a:lnTo>
                      <a:pt x="64" y="26"/>
                    </a:lnTo>
                    <a:lnTo>
                      <a:pt x="64" y="23"/>
                    </a:lnTo>
                    <a:lnTo>
                      <a:pt x="62" y="21"/>
                    </a:lnTo>
                    <a:lnTo>
                      <a:pt x="60" y="21"/>
                    </a:lnTo>
                    <a:lnTo>
                      <a:pt x="60" y="21"/>
                    </a:lnTo>
                    <a:lnTo>
                      <a:pt x="57" y="19"/>
                    </a:lnTo>
                    <a:lnTo>
                      <a:pt x="57" y="19"/>
                    </a:lnTo>
                    <a:lnTo>
                      <a:pt x="57" y="19"/>
                    </a:lnTo>
                    <a:lnTo>
                      <a:pt x="57" y="16"/>
                    </a:lnTo>
                    <a:lnTo>
                      <a:pt x="60" y="16"/>
                    </a:lnTo>
                    <a:lnTo>
                      <a:pt x="60" y="14"/>
                    </a:lnTo>
                    <a:lnTo>
                      <a:pt x="60" y="12"/>
                    </a:lnTo>
                    <a:lnTo>
                      <a:pt x="62" y="12"/>
                    </a:lnTo>
                    <a:lnTo>
                      <a:pt x="62" y="9"/>
                    </a:lnTo>
                    <a:lnTo>
                      <a:pt x="62" y="9"/>
                    </a:lnTo>
                    <a:lnTo>
                      <a:pt x="62" y="9"/>
                    </a:lnTo>
                    <a:lnTo>
                      <a:pt x="60" y="7"/>
                    </a:lnTo>
                    <a:lnTo>
                      <a:pt x="57" y="7"/>
                    </a:lnTo>
                    <a:lnTo>
                      <a:pt x="57" y="9"/>
                    </a:lnTo>
                    <a:lnTo>
                      <a:pt x="55" y="9"/>
                    </a:lnTo>
                    <a:lnTo>
                      <a:pt x="55" y="9"/>
                    </a:lnTo>
                    <a:lnTo>
                      <a:pt x="53" y="9"/>
                    </a:lnTo>
                    <a:lnTo>
                      <a:pt x="53" y="7"/>
                    </a:lnTo>
                    <a:lnTo>
                      <a:pt x="53" y="7"/>
                    </a:lnTo>
                    <a:lnTo>
                      <a:pt x="53" y="7"/>
                    </a:lnTo>
                    <a:lnTo>
                      <a:pt x="50" y="5"/>
                    </a:lnTo>
                    <a:lnTo>
                      <a:pt x="50" y="2"/>
                    </a:lnTo>
                    <a:lnTo>
                      <a:pt x="48" y="2"/>
                    </a:lnTo>
                    <a:lnTo>
                      <a:pt x="45" y="2"/>
                    </a:lnTo>
                    <a:lnTo>
                      <a:pt x="45" y="2"/>
                    </a:lnTo>
                    <a:lnTo>
                      <a:pt x="43" y="2"/>
                    </a:lnTo>
                    <a:lnTo>
                      <a:pt x="43" y="2"/>
                    </a:lnTo>
                    <a:lnTo>
                      <a:pt x="41" y="2"/>
                    </a:lnTo>
                    <a:lnTo>
                      <a:pt x="38" y="2"/>
                    </a:lnTo>
                    <a:lnTo>
                      <a:pt x="38" y="2"/>
                    </a:lnTo>
                    <a:lnTo>
                      <a:pt x="36" y="2"/>
                    </a:lnTo>
                    <a:lnTo>
                      <a:pt x="36" y="2"/>
                    </a:lnTo>
                    <a:lnTo>
                      <a:pt x="34" y="2"/>
                    </a:lnTo>
                    <a:lnTo>
                      <a:pt x="34" y="0"/>
                    </a:lnTo>
                    <a:lnTo>
                      <a:pt x="31" y="2"/>
                    </a:lnTo>
                    <a:lnTo>
                      <a:pt x="31" y="2"/>
                    </a:lnTo>
                    <a:lnTo>
                      <a:pt x="29" y="2"/>
                    </a:lnTo>
                    <a:lnTo>
                      <a:pt x="27" y="0"/>
                    </a:lnTo>
                    <a:lnTo>
                      <a:pt x="27" y="0"/>
                    </a:lnTo>
                    <a:lnTo>
                      <a:pt x="27" y="2"/>
                    </a:lnTo>
                    <a:lnTo>
                      <a:pt x="24" y="0"/>
                    </a:lnTo>
                    <a:lnTo>
                      <a:pt x="19" y="0"/>
                    </a:lnTo>
                    <a:lnTo>
                      <a:pt x="19" y="0"/>
                    </a:lnTo>
                    <a:lnTo>
                      <a:pt x="15" y="0"/>
                    </a:lnTo>
                    <a:lnTo>
                      <a:pt x="12" y="0"/>
                    </a:lnTo>
                    <a:lnTo>
                      <a:pt x="12" y="2"/>
                    </a:lnTo>
                    <a:lnTo>
                      <a:pt x="10" y="5"/>
                    </a:lnTo>
                    <a:lnTo>
                      <a:pt x="10" y="5"/>
                    </a:lnTo>
                    <a:lnTo>
                      <a:pt x="8" y="2"/>
                    </a:lnTo>
                    <a:lnTo>
                      <a:pt x="5" y="0"/>
                    </a:lnTo>
                    <a:lnTo>
                      <a:pt x="5" y="0"/>
                    </a:lnTo>
                    <a:lnTo>
                      <a:pt x="3" y="0"/>
                    </a:lnTo>
                    <a:lnTo>
                      <a:pt x="3" y="0"/>
                    </a:lnTo>
                    <a:lnTo>
                      <a:pt x="3" y="0"/>
                    </a:lnTo>
                    <a:lnTo>
                      <a:pt x="0" y="5"/>
                    </a:lnTo>
                    <a:lnTo>
                      <a:pt x="0" y="9"/>
                    </a:lnTo>
                    <a:lnTo>
                      <a:pt x="0" y="12"/>
                    </a:lnTo>
                    <a:lnTo>
                      <a:pt x="3" y="12"/>
                    </a:lnTo>
                    <a:lnTo>
                      <a:pt x="8" y="16"/>
                    </a:lnTo>
                    <a:lnTo>
                      <a:pt x="8" y="16"/>
                    </a:lnTo>
                    <a:lnTo>
                      <a:pt x="8" y="16"/>
                    </a:lnTo>
                    <a:lnTo>
                      <a:pt x="8" y="19"/>
                    </a:lnTo>
                    <a:lnTo>
                      <a:pt x="10" y="21"/>
                    </a:lnTo>
                    <a:lnTo>
                      <a:pt x="10" y="23"/>
                    </a:lnTo>
                    <a:lnTo>
                      <a:pt x="12" y="26"/>
                    </a:lnTo>
                    <a:lnTo>
                      <a:pt x="15" y="26"/>
                    </a:lnTo>
                    <a:lnTo>
                      <a:pt x="17" y="28"/>
                    </a:lnTo>
                    <a:lnTo>
                      <a:pt x="17" y="31"/>
                    </a:lnTo>
                    <a:lnTo>
                      <a:pt x="17" y="31"/>
                    </a:lnTo>
                    <a:lnTo>
                      <a:pt x="22" y="33"/>
                    </a:lnTo>
                    <a:lnTo>
                      <a:pt x="24" y="35"/>
                    </a:lnTo>
                    <a:lnTo>
                      <a:pt x="27" y="38"/>
                    </a:lnTo>
                    <a:lnTo>
                      <a:pt x="27" y="38"/>
                    </a:lnTo>
                    <a:lnTo>
                      <a:pt x="29" y="40"/>
                    </a:lnTo>
                    <a:lnTo>
                      <a:pt x="29" y="40"/>
                    </a:lnTo>
                    <a:lnTo>
                      <a:pt x="29" y="42"/>
                    </a:lnTo>
                    <a:lnTo>
                      <a:pt x="34" y="47"/>
                    </a:lnTo>
                    <a:lnTo>
                      <a:pt x="34" y="47"/>
                    </a:lnTo>
                    <a:lnTo>
                      <a:pt x="34" y="47"/>
                    </a:lnTo>
                    <a:lnTo>
                      <a:pt x="34" y="47"/>
                    </a:lnTo>
                    <a:lnTo>
                      <a:pt x="34" y="47"/>
                    </a:lnTo>
                    <a:lnTo>
                      <a:pt x="34" y="50"/>
                    </a:lnTo>
                    <a:lnTo>
                      <a:pt x="36" y="50"/>
                    </a:lnTo>
                    <a:lnTo>
                      <a:pt x="36" y="50"/>
                    </a:lnTo>
                    <a:lnTo>
                      <a:pt x="38" y="50"/>
                    </a:lnTo>
                    <a:lnTo>
                      <a:pt x="38" y="52"/>
                    </a:lnTo>
                    <a:lnTo>
                      <a:pt x="41" y="52"/>
                    </a:lnTo>
                    <a:lnTo>
                      <a:pt x="43" y="54"/>
                    </a:lnTo>
                    <a:lnTo>
                      <a:pt x="45" y="54"/>
                    </a:lnTo>
                    <a:lnTo>
                      <a:pt x="45" y="54"/>
                    </a:lnTo>
                    <a:lnTo>
                      <a:pt x="48" y="57"/>
                    </a:lnTo>
                    <a:lnTo>
                      <a:pt x="48" y="57"/>
                    </a:lnTo>
                    <a:lnTo>
                      <a:pt x="48" y="57"/>
                    </a:lnTo>
                    <a:lnTo>
                      <a:pt x="50" y="54"/>
                    </a:lnTo>
                    <a:lnTo>
                      <a:pt x="50" y="54"/>
                    </a:lnTo>
                    <a:lnTo>
                      <a:pt x="50" y="54"/>
                    </a:lnTo>
                    <a:lnTo>
                      <a:pt x="48" y="52"/>
                    </a:lnTo>
                    <a:lnTo>
                      <a:pt x="48" y="50"/>
                    </a:lnTo>
                    <a:lnTo>
                      <a:pt x="48" y="47"/>
                    </a:lnTo>
                    <a:lnTo>
                      <a:pt x="48" y="47"/>
                    </a:lnTo>
                    <a:lnTo>
                      <a:pt x="48" y="47"/>
                    </a:lnTo>
                    <a:lnTo>
                      <a:pt x="50" y="47"/>
                    </a:lnTo>
                    <a:lnTo>
                      <a:pt x="50" y="45"/>
                    </a:lnTo>
                    <a:lnTo>
                      <a:pt x="50" y="45"/>
                    </a:lnTo>
                    <a:lnTo>
                      <a:pt x="50" y="42"/>
                    </a:lnTo>
                    <a:lnTo>
                      <a:pt x="53" y="42"/>
                    </a:lnTo>
                    <a:lnTo>
                      <a:pt x="53" y="40"/>
                    </a:lnTo>
                    <a:lnTo>
                      <a:pt x="55" y="40"/>
                    </a:lnTo>
                    <a:lnTo>
                      <a:pt x="55" y="40"/>
                    </a:lnTo>
                    <a:lnTo>
                      <a:pt x="55" y="40"/>
                    </a:lnTo>
                    <a:lnTo>
                      <a:pt x="57" y="40"/>
                    </a:lnTo>
                    <a:lnTo>
                      <a:pt x="57" y="40"/>
                    </a:lnTo>
                    <a:lnTo>
                      <a:pt x="57" y="40"/>
                    </a:lnTo>
                    <a:lnTo>
                      <a:pt x="57" y="38"/>
                    </a:lnTo>
                    <a:lnTo>
                      <a:pt x="55" y="38"/>
                    </a:lnTo>
                    <a:lnTo>
                      <a:pt x="55" y="35"/>
                    </a:lnTo>
                    <a:lnTo>
                      <a:pt x="57" y="35"/>
                    </a:lnTo>
                    <a:lnTo>
                      <a:pt x="57" y="35"/>
                    </a:lnTo>
                    <a:lnTo>
                      <a:pt x="57" y="35"/>
                    </a:lnTo>
                    <a:lnTo>
                      <a:pt x="60" y="35"/>
                    </a:lnTo>
                    <a:lnTo>
                      <a:pt x="60" y="35"/>
                    </a:lnTo>
                    <a:lnTo>
                      <a:pt x="60" y="35"/>
                    </a:lnTo>
                    <a:lnTo>
                      <a:pt x="62" y="35"/>
                    </a:lnTo>
                    <a:lnTo>
                      <a:pt x="62" y="35"/>
                    </a:lnTo>
                    <a:lnTo>
                      <a:pt x="62" y="35"/>
                    </a:lnTo>
                    <a:lnTo>
                      <a:pt x="64" y="35"/>
                    </a:lnTo>
                    <a:lnTo>
                      <a:pt x="64" y="35"/>
                    </a:lnTo>
                    <a:lnTo>
                      <a:pt x="64" y="35"/>
                    </a:lnTo>
                    <a:lnTo>
                      <a:pt x="64" y="33"/>
                    </a:lnTo>
                    <a:lnTo>
                      <a:pt x="64" y="33"/>
                    </a:lnTo>
                    <a:lnTo>
                      <a:pt x="62" y="31"/>
                    </a:lnTo>
                    <a:lnTo>
                      <a:pt x="60" y="28"/>
                    </a:lnTo>
                    <a:lnTo>
                      <a:pt x="60" y="28"/>
                    </a:lnTo>
                    <a:lnTo>
                      <a:pt x="62" y="26"/>
                    </a:lnTo>
                    <a:lnTo>
                      <a:pt x="62" y="26"/>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Freeform 198"/>
              <p:cNvSpPr>
                <a:spLocks/>
              </p:cNvSpPr>
              <p:nvPr/>
            </p:nvSpPr>
            <p:spPr bwMode="auto">
              <a:xfrm>
                <a:off x="1483" y="2540"/>
                <a:ext cx="2" cy="7"/>
              </a:xfrm>
              <a:custGeom>
                <a:avLst/>
                <a:gdLst>
                  <a:gd name="T0" fmla="*/ 2 w 2"/>
                  <a:gd name="T1" fmla="*/ 2 h 7"/>
                  <a:gd name="T2" fmla="*/ 0 w 2"/>
                  <a:gd name="T3" fmla="*/ 0 h 7"/>
                  <a:gd name="T4" fmla="*/ 0 w 2"/>
                  <a:gd name="T5" fmla="*/ 2 h 7"/>
                  <a:gd name="T6" fmla="*/ 0 w 2"/>
                  <a:gd name="T7" fmla="*/ 2 h 7"/>
                  <a:gd name="T8" fmla="*/ 0 w 2"/>
                  <a:gd name="T9" fmla="*/ 2 h 7"/>
                  <a:gd name="T10" fmla="*/ 0 w 2"/>
                  <a:gd name="T11" fmla="*/ 2 h 7"/>
                  <a:gd name="T12" fmla="*/ 0 w 2"/>
                  <a:gd name="T13" fmla="*/ 4 h 7"/>
                  <a:gd name="T14" fmla="*/ 2 w 2"/>
                  <a:gd name="T15" fmla="*/ 7 h 7"/>
                  <a:gd name="T16" fmla="*/ 2 w 2"/>
                  <a:gd name="T17" fmla="*/ 4 h 7"/>
                  <a:gd name="T18" fmla="*/ 2 w 2"/>
                  <a:gd name="T19"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7">
                    <a:moveTo>
                      <a:pt x="2" y="2"/>
                    </a:moveTo>
                    <a:lnTo>
                      <a:pt x="0" y="0"/>
                    </a:lnTo>
                    <a:lnTo>
                      <a:pt x="0" y="2"/>
                    </a:lnTo>
                    <a:lnTo>
                      <a:pt x="0" y="2"/>
                    </a:lnTo>
                    <a:lnTo>
                      <a:pt x="0" y="2"/>
                    </a:lnTo>
                    <a:lnTo>
                      <a:pt x="0" y="2"/>
                    </a:lnTo>
                    <a:lnTo>
                      <a:pt x="0" y="4"/>
                    </a:lnTo>
                    <a:lnTo>
                      <a:pt x="2" y="7"/>
                    </a:lnTo>
                    <a:lnTo>
                      <a:pt x="2" y="4"/>
                    </a:lnTo>
                    <a:lnTo>
                      <a:pt x="2" y="2"/>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Freeform 199"/>
              <p:cNvSpPr>
                <a:spLocks/>
              </p:cNvSpPr>
              <p:nvPr/>
            </p:nvSpPr>
            <p:spPr bwMode="auto">
              <a:xfrm>
                <a:off x="1457" y="3006"/>
                <a:ext cx="237" cy="277"/>
              </a:xfrm>
              <a:custGeom>
                <a:avLst/>
                <a:gdLst>
                  <a:gd name="T0" fmla="*/ 229 w 237"/>
                  <a:gd name="T1" fmla="*/ 166 h 277"/>
                  <a:gd name="T2" fmla="*/ 215 w 237"/>
                  <a:gd name="T3" fmla="*/ 147 h 277"/>
                  <a:gd name="T4" fmla="*/ 218 w 237"/>
                  <a:gd name="T5" fmla="*/ 140 h 277"/>
                  <a:gd name="T6" fmla="*/ 185 w 237"/>
                  <a:gd name="T7" fmla="*/ 135 h 277"/>
                  <a:gd name="T8" fmla="*/ 177 w 237"/>
                  <a:gd name="T9" fmla="*/ 114 h 277"/>
                  <a:gd name="T10" fmla="*/ 175 w 237"/>
                  <a:gd name="T11" fmla="*/ 95 h 277"/>
                  <a:gd name="T12" fmla="*/ 173 w 237"/>
                  <a:gd name="T13" fmla="*/ 85 h 277"/>
                  <a:gd name="T14" fmla="*/ 154 w 237"/>
                  <a:gd name="T15" fmla="*/ 81 h 277"/>
                  <a:gd name="T16" fmla="*/ 140 w 237"/>
                  <a:gd name="T17" fmla="*/ 71 h 277"/>
                  <a:gd name="T18" fmla="*/ 125 w 237"/>
                  <a:gd name="T19" fmla="*/ 64 h 277"/>
                  <a:gd name="T20" fmla="*/ 116 w 237"/>
                  <a:gd name="T21" fmla="*/ 62 h 277"/>
                  <a:gd name="T22" fmla="*/ 102 w 237"/>
                  <a:gd name="T23" fmla="*/ 57 h 277"/>
                  <a:gd name="T24" fmla="*/ 90 w 237"/>
                  <a:gd name="T25" fmla="*/ 47 h 277"/>
                  <a:gd name="T26" fmla="*/ 85 w 237"/>
                  <a:gd name="T27" fmla="*/ 43 h 277"/>
                  <a:gd name="T28" fmla="*/ 83 w 237"/>
                  <a:gd name="T29" fmla="*/ 38 h 277"/>
                  <a:gd name="T30" fmla="*/ 80 w 237"/>
                  <a:gd name="T31" fmla="*/ 28 h 277"/>
                  <a:gd name="T32" fmla="*/ 78 w 237"/>
                  <a:gd name="T33" fmla="*/ 14 h 277"/>
                  <a:gd name="T34" fmla="*/ 78 w 237"/>
                  <a:gd name="T35" fmla="*/ 0 h 277"/>
                  <a:gd name="T36" fmla="*/ 62 w 237"/>
                  <a:gd name="T37" fmla="*/ 2 h 277"/>
                  <a:gd name="T38" fmla="*/ 43 w 237"/>
                  <a:gd name="T39" fmla="*/ 12 h 277"/>
                  <a:gd name="T40" fmla="*/ 33 w 237"/>
                  <a:gd name="T41" fmla="*/ 19 h 277"/>
                  <a:gd name="T42" fmla="*/ 21 w 237"/>
                  <a:gd name="T43" fmla="*/ 28 h 277"/>
                  <a:gd name="T44" fmla="*/ 12 w 237"/>
                  <a:gd name="T45" fmla="*/ 26 h 277"/>
                  <a:gd name="T46" fmla="*/ 10 w 237"/>
                  <a:gd name="T47" fmla="*/ 40 h 277"/>
                  <a:gd name="T48" fmla="*/ 19 w 237"/>
                  <a:gd name="T49" fmla="*/ 62 h 277"/>
                  <a:gd name="T50" fmla="*/ 17 w 237"/>
                  <a:gd name="T51" fmla="*/ 81 h 277"/>
                  <a:gd name="T52" fmla="*/ 19 w 237"/>
                  <a:gd name="T53" fmla="*/ 92 h 277"/>
                  <a:gd name="T54" fmla="*/ 17 w 237"/>
                  <a:gd name="T55" fmla="*/ 99 h 277"/>
                  <a:gd name="T56" fmla="*/ 12 w 237"/>
                  <a:gd name="T57" fmla="*/ 109 h 277"/>
                  <a:gd name="T58" fmla="*/ 12 w 237"/>
                  <a:gd name="T59" fmla="*/ 123 h 277"/>
                  <a:gd name="T60" fmla="*/ 24 w 237"/>
                  <a:gd name="T61" fmla="*/ 137 h 277"/>
                  <a:gd name="T62" fmla="*/ 21 w 237"/>
                  <a:gd name="T63" fmla="*/ 144 h 277"/>
                  <a:gd name="T64" fmla="*/ 17 w 237"/>
                  <a:gd name="T65" fmla="*/ 154 h 277"/>
                  <a:gd name="T66" fmla="*/ 14 w 237"/>
                  <a:gd name="T67" fmla="*/ 161 h 277"/>
                  <a:gd name="T68" fmla="*/ 21 w 237"/>
                  <a:gd name="T69" fmla="*/ 173 h 277"/>
                  <a:gd name="T70" fmla="*/ 24 w 237"/>
                  <a:gd name="T71" fmla="*/ 182 h 277"/>
                  <a:gd name="T72" fmla="*/ 28 w 237"/>
                  <a:gd name="T73" fmla="*/ 197 h 277"/>
                  <a:gd name="T74" fmla="*/ 38 w 237"/>
                  <a:gd name="T75" fmla="*/ 204 h 277"/>
                  <a:gd name="T76" fmla="*/ 38 w 237"/>
                  <a:gd name="T77" fmla="*/ 215 h 277"/>
                  <a:gd name="T78" fmla="*/ 36 w 237"/>
                  <a:gd name="T79" fmla="*/ 223 h 277"/>
                  <a:gd name="T80" fmla="*/ 40 w 237"/>
                  <a:gd name="T81" fmla="*/ 230 h 277"/>
                  <a:gd name="T82" fmla="*/ 40 w 237"/>
                  <a:gd name="T83" fmla="*/ 237 h 277"/>
                  <a:gd name="T84" fmla="*/ 52 w 237"/>
                  <a:gd name="T85" fmla="*/ 256 h 277"/>
                  <a:gd name="T86" fmla="*/ 57 w 237"/>
                  <a:gd name="T87" fmla="*/ 272 h 277"/>
                  <a:gd name="T88" fmla="*/ 64 w 237"/>
                  <a:gd name="T89" fmla="*/ 277 h 277"/>
                  <a:gd name="T90" fmla="*/ 76 w 237"/>
                  <a:gd name="T91" fmla="*/ 268 h 277"/>
                  <a:gd name="T92" fmla="*/ 85 w 237"/>
                  <a:gd name="T93" fmla="*/ 260 h 277"/>
                  <a:gd name="T94" fmla="*/ 92 w 237"/>
                  <a:gd name="T95" fmla="*/ 260 h 277"/>
                  <a:gd name="T96" fmla="*/ 111 w 237"/>
                  <a:gd name="T97" fmla="*/ 263 h 277"/>
                  <a:gd name="T98" fmla="*/ 123 w 237"/>
                  <a:gd name="T99" fmla="*/ 275 h 277"/>
                  <a:gd name="T100" fmla="*/ 128 w 237"/>
                  <a:gd name="T101" fmla="*/ 260 h 277"/>
                  <a:gd name="T102" fmla="*/ 149 w 237"/>
                  <a:gd name="T103" fmla="*/ 258 h 277"/>
                  <a:gd name="T104" fmla="*/ 154 w 237"/>
                  <a:gd name="T105" fmla="*/ 258 h 277"/>
                  <a:gd name="T106" fmla="*/ 159 w 237"/>
                  <a:gd name="T107" fmla="*/ 220 h 277"/>
                  <a:gd name="T108" fmla="*/ 185 w 237"/>
                  <a:gd name="T109" fmla="*/ 204 h 277"/>
                  <a:gd name="T110" fmla="*/ 229 w 237"/>
                  <a:gd name="T111" fmla="*/ 213 h 277"/>
                  <a:gd name="T112" fmla="*/ 234 w 237"/>
                  <a:gd name="T113" fmla="*/ 218 h 277"/>
                  <a:gd name="T114" fmla="*/ 234 w 237"/>
                  <a:gd name="T115" fmla="*/ 197 h 277"/>
                  <a:gd name="T116" fmla="*/ 234 w 237"/>
                  <a:gd name="T117" fmla="*/ 185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7" h="277">
                    <a:moveTo>
                      <a:pt x="237" y="178"/>
                    </a:moveTo>
                    <a:lnTo>
                      <a:pt x="237" y="178"/>
                    </a:lnTo>
                    <a:lnTo>
                      <a:pt x="234" y="173"/>
                    </a:lnTo>
                    <a:lnTo>
                      <a:pt x="232" y="168"/>
                    </a:lnTo>
                    <a:lnTo>
                      <a:pt x="232" y="166"/>
                    </a:lnTo>
                    <a:lnTo>
                      <a:pt x="229" y="163"/>
                    </a:lnTo>
                    <a:lnTo>
                      <a:pt x="229" y="166"/>
                    </a:lnTo>
                    <a:lnTo>
                      <a:pt x="227" y="163"/>
                    </a:lnTo>
                    <a:lnTo>
                      <a:pt x="222" y="161"/>
                    </a:lnTo>
                    <a:lnTo>
                      <a:pt x="220" y="159"/>
                    </a:lnTo>
                    <a:lnTo>
                      <a:pt x="220" y="159"/>
                    </a:lnTo>
                    <a:lnTo>
                      <a:pt x="218" y="156"/>
                    </a:lnTo>
                    <a:lnTo>
                      <a:pt x="218" y="152"/>
                    </a:lnTo>
                    <a:lnTo>
                      <a:pt x="215" y="147"/>
                    </a:lnTo>
                    <a:lnTo>
                      <a:pt x="215" y="147"/>
                    </a:lnTo>
                    <a:lnTo>
                      <a:pt x="218" y="142"/>
                    </a:lnTo>
                    <a:lnTo>
                      <a:pt x="218" y="142"/>
                    </a:lnTo>
                    <a:lnTo>
                      <a:pt x="218" y="140"/>
                    </a:lnTo>
                    <a:lnTo>
                      <a:pt x="218" y="137"/>
                    </a:lnTo>
                    <a:lnTo>
                      <a:pt x="218" y="137"/>
                    </a:lnTo>
                    <a:lnTo>
                      <a:pt x="218" y="140"/>
                    </a:lnTo>
                    <a:lnTo>
                      <a:pt x="215" y="140"/>
                    </a:lnTo>
                    <a:lnTo>
                      <a:pt x="215" y="140"/>
                    </a:lnTo>
                    <a:lnTo>
                      <a:pt x="206" y="140"/>
                    </a:lnTo>
                    <a:lnTo>
                      <a:pt x="199" y="140"/>
                    </a:lnTo>
                    <a:lnTo>
                      <a:pt x="192" y="137"/>
                    </a:lnTo>
                    <a:lnTo>
                      <a:pt x="185" y="137"/>
                    </a:lnTo>
                    <a:lnTo>
                      <a:pt x="185" y="135"/>
                    </a:lnTo>
                    <a:lnTo>
                      <a:pt x="182" y="130"/>
                    </a:lnTo>
                    <a:lnTo>
                      <a:pt x="182" y="128"/>
                    </a:lnTo>
                    <a:lnTo>
                      <a:pt x="182" y="121"/>
                    </a:lnTo>
                    <a:lnTo>
                      <a:pt x="177" y="118"/>
                    </a:lnTo>
                    <a:lnTo>
                      <a:pt x="175" y="114"/>
                    </a:lnTo>
                    <a:lnTo>
                      <a:pt x="175" y="114"/>
                    </a:lnTo>
                    <a:lnTo>
                      <a:pt x="177" y="114"/>
                    </a:lnTo>
                    <a:lnTo>
                      <a:pt x="180" y="114"/>
                    </a:lnTo>
                    <a:lnTo>
                      <a:pt x="180" y="104"/>
                    </a:lnTo>
                    <a:lnTo>
                      <a:pt x="177" y="102"/>
                    </a:lnTo>
                    <a:lnTo>
                      <a:pt x="177" y="99"/>
                    </a:lnTo>
                    <a:lnTo>
                      <a:pt x="177" y="97"/>
                    </a:lnTo>
                    <a:lnTo>
                      <a:pt x="175" y="95"/>
                    </a:lnTo>
                    <a:lnTo>
                      <a:pt x="175" y="95"/>
                    </a:lnTo>
                    <a:lnTo>
                      <a:pt x="175" y="92"/>
                    </a:lnTo>
                    <a:lnTo>
                      <a:pt x="175" y="92"/>
                    </a:lnTo>
                    <a:lnTo>
                      <a:pt x="175" y="90"/>
                    </a:lnTo>
                    <a:lnTo>
                      <a:pt x="175" y="88"/>
                    </a:lnTo>
                    <a:lnTo>
                      <a:pt x="175" y="88"/>
                    </a:lnTo>
                    <a:lnTo>
                      <a:pt x="173" y="85"/>
                    </a:lnTo>
                    <a:lnTo>
                      <a:pt x="173" y="85"/>
                    </a:lnTo>
                    <a:lnTo>
                      <a:pt x="170" y="83"/>
                    </a:lnTo>
                    <a:lnTo>
                      <a:pt x="166" y="81"/>
                    </a:lnTo>
                    <a:lnTo>
                      <a:pt x="163" y="78"/>
                    </a:lnTo>
                    <a:lnTo>
                      <a:pt x="161" y="81"/>
                    </a:lnTo>
                    <a:lnTo>
                      <a:pt x="156" y="81"/>
                    </a:lnTo>
                    <a:lnTo>
                      <a:pt x="154" y="81"/>
                    </a:lnTo>
                    <a:lnTo>
                      <a:pt x="154" y="81"/>
                    </a:lnTo>
                    <a:lnTo>
                      <a:pt x="149" y="81"/>
                    </a:lnTo>
                    <a:lnTo>
                      <a:pt x="147" y="78"/>
                    </a:lnTo>
                    <a:lnTo>
                      <a:pt x="147" y="78"/>
                    </a:lnTo>
                    <a:lnTo>
                      <a:pt x="144" y="73"/>
                    </a:lnTo>
                    <a:lnTo>
                      <a:pt x="142" y="73"/>
                    </a:lnTo>
                    <a:lnTo>
                      <a:pt x="142" y="71"/>
                    </a:lnTo>
                    <a:lnTo>
                      <a:pt x="140" y="71"/>
                    </a:lnTo>
                    <a:lnTo>
                      <a:pt x="137" y="71"/>
                    </a:lnTo>
                    <a:lnTo>
                      <a:pt x="135" y="71"/>
                    </a:lnTo>
                    <a:lnTo>
                      <a:pt x="133" y="69"/>
                    </a:lnTo>
                    <a:lnTo>
                      <a:pt x="130" y="69"/>
                    </a:lnTo>
                    <a:lnTo>
                      <a:pt x="130" y="69"/>
                    </a:lnTo>
                    <a:lnTo>
                      <a:pt x="128" y="66"/>
                    </a:lnTo>
                    <a:lnTo>
                      <a:pt x="125" y="64"/>
                    </a:lnTo>
                    <a:lnTo>
                      <a:pt x="125" y="64"/>
                    </a:lnTo>
                    <a:lnTo>
                      <a:pt x="125" y="62"/>
                    </a:lnTo>
                    <a:lnTo>
                      <a:pt x="123" y="62"/>
                    </a:lnTo>
                    <a:lnTo>
                      <a:pt x="123" y="62"/>
                    </a:lnTo>
                    <a:lnTo>
                      <a:pt x="121" y="62"/>
                    </a:lnTo>
                    <a:lnTo>
                      <a:pt x="118" y="62"/>
                    </a:lnTo>
                    <a:lnTo>
                      <a:pt x="116" y="62"/>
                    </a:lnTo>
                    <a:lnTo>
                      <a:pt x="116" y="59"/>
                    </a:lnTo>
                    <a:lnTo>
                      <a:pt x="114" y="59"/>
                    </a:lnTo>
                    <a:lnTo>
                      <a:pt x="114" y="57"/>
                    </a:lnTo>
                    <a:lnTo>
                      <a:pt x="111" y="57"/>
                    </a:lnTo>
                    <a:lnTo>
                      <a:pt x="109" y="59"/>
                    </a:lnTo>
                    <a:lnTo>
                      <a:pt x="106" y="59"/>
                    </a:lnTo>
                    <a:lnTo>
                      <a:pt x="102" y="57"/>
                    </a:lnTo>
                    <a:lnTo>
                      <a:pt x="99" y="57"/>
                    </a:lnTo>
                    <a:lnTo>
                      <a:pt x="97" y="54"/>
                    </a:lnTo>
                    <a:lnTo>
                      <a:pt x="97" y="52"/>
                    </a:lnTo>
                    <a:lnTo>
                      <a:pt x="95" y="52"/>
                    </a:lnTo>
                    <a:lnTo>
                      <a:pt x="95" y="50"/>
                    </a:lnTo>
                    <a:lnTo>
                      <a:pt x="92" y="50"/>
                    </a:lnTo>
                    <a:lnTo>
                      <a:pt x="90" y="47"/>
                    </a:lnTo>
                    <a:lnTo>
                      <a:pt x="90" y="47"/>
                    </a:lnTo>
                    <a:lnTo>
                      <a:pt x="88" y="47"/>
                    </a:lnTo>
                    <a:lnTo>
                      <a:pt x="88" y="45"/>
                    </a:lnTo>
                    <a:lnTo>
                      <a:pt x="88" y="45"/>
                    </a:lnTo>
                    <a:lnTo>
                      <a:pt x="88" y="45"/>
                    </a:lnTo>
                    <a:lnTo>
                      <a:pt x="85" y="43"/>
                    </a:lnTo>
                    <a:lnTo>
                      <a:pt x="85" y="43"/>
                    </a:lnTo>
                    <a:lnTo>
                      <a:pt x="85" y="43"/>
                    </a:lnTo>
                    <a:lnTo>
                      <a:pt x="85" y="43"/>
                    </a:lnTo>
                    <a:lnTo>
                      <a:pt x="83" y="43"/>
                    </a:lnTo>
                    <a:lnTo>
                      <a:pt x="83" y="43"/>
                    </a:lnTo>
                    <a:lnTo>
                      <a:pt x="83" y="40"/>
                    </a:lnTo>
                    <a:lnTo>
                      <a:pt x="83" y="38"/>
                    </a:lnTo>
                    <a:lnTo>
                      <a:pt x="83" y="38"/>
                    </a:lnTo>
                    <a:lnTo>
                      <a:pt x="80" y="36"/>
                    </a:lnTo>
                    <a:lnTo>
                      <a:pt x="80" y="33"/>
                    </a:lnTo>
                    <a:lnTo>
                      <a:pt x="80" y="33"/>
                    </a:lnTo>
                    <a:lnTo>
                      <a:pt x="80" y="33"/>
                    </a:lnTo>
                    <a:lnTo>
                      <a:pt x="80" y="31"/>
                    </a:lnTo>
                    <a:lnTo>
                      <a:pt x="78" y="31"/>
                    </a:lnTo>
                    <a:lnTo>
                      <a:pt x="80" y="28"/>
                    </a:lnTo>
                    <a:lnTo>
                      <a:pt x="80" y="26"/>
                    </a:lnTo>
                    <a:lnTo>
                      <a:pt x="80" y="24"/>
                    </a:lnTo>
                    <a:lnTo>
                      <a:pt x="78" y="21"/>
                    </a:lnTo>
                    <a:lnTo>
                      <a:pt x="78" y="19"/>
                    </a:lnTo>
                    <a:lnTo>
                      <a:pt x="78" y="17"/>
                    </a:lnTo>
                    <a:lnTo>
                      <a:pt x="78" y="14"/>
                    </a:lnTo>
                    <a:lnTo>
                      <a:pt x="78" y="14"/>
                    </a:lnTo>
                    <a:lnTo>
                      <a:pt x="80" y="12"/>
                    </a:lnTo>
                    <a:lnTo>
                      <a:pt x="80" y="9"/>
                    </a:lnTo>
                    <a:lnTo>
                      <a:pt x="78" y="7"/>
                    </a:lnTo>
                    <a:lnTo>
                      <a:pt x="78" y="5"/>
                    </a:lnTo>
                    <a:lnTo>
                      <a:pt x="78" y="2"/>
                    </a:lnTo>
                    <a:lnTo>
                      <a:pt x="78" y="0"/>
                    </a:lnTo>
                    <a:lnTo>
                      <a:pt x="78" y="0"/>
                    </a:lnTo>
                    <a:lnTo>
                      <a:pt x="76" y="0"/>
                    </a:lnTo>
                    <a:lnTo>
                      <a:pt x="76" y="0"/>
                    </a:lnTo>
                    <a:lnTo>
                      <a:pt x="73" y="2"/>
                    </a:lnTo>
                    <a:lnTo>
                      <a:pt x="73" y="2"/>
                    </a:lnTo>
                    <a:lnTo>
                      <a:pt x="71" y="0"/>
                    </a:lnTo>
                    <a:lnTo>
                      <a:pt x="69" y="0"/>
                    </a:lnTo>
                    <a:lnTo>
                      <a:pt x="62" y="2"/>
                    </a:lnTo>
                    <a:lnTo>
                      <a:pt x="59" y="2"/>
                    </a:lnTo>
                    <a:lnTo>
                      <a:pt x="57" y="2"/>
                    </a:lnTo>
                    <a:lnTo>
                      <a:pt x="54" y="2"/>
                    </a:lnTo>
                    <a:lnTo>
                      <a:pt x="52" y="5"/>
                    </a:lnTo>
                    <a:lnTo>
                      <a:pt x="45" y="12"/>
                    </a:lnTo>
                    <a:lnTo>
                      <a:pt x="45" y="12"/>
                    </a:lnTo>
                    <a:lnTo>
                      <a:pt x="43" y="12"/>
                    </a:lnTo>
                    <a:lnTo>
                      <a:pt x="43" y="14"/>
                    </a:lnTo>
                    <a:lnTo>
                      <a:pt x="40" y="14"/>
                    </a:lnTo>
                    <a:lnTo>
                      <a:pt x="38" y="17"/>
                    </a:lnTo>
                    <a:lnTo>
                      <a:pt x="36" y="19"/>
                    </a:lnTo>
                    <a:lnTo>
                      <a:pt x="36" y="19"/>
                    </a:lnTo>
                    <a:lnTo>
                      <a:pt x="33" y="19"/>
                    </a:lnTo>
                    <a:lnTo>
                      <a:pt x="33" y="19"/>
                    </a:lnTo>
                    <a:lnTo>
                      <a:pt x="31" y="19"/>
                    </a:lnTo>
                    <a:lnTo>
                      <a:pt x="28" y="21"/>
                    </a:lnTo>
                    <a:lnTo>
                      <a:pt x="28" y="21"/>
                    </a:lnTo>
                    <a:lnTo>
                      <a:pt x="26" y="26"/>
                    </a:lnTo>
                    <a:lnTo>
                      <a:pt x="24" y="26"/>
                    </a:lnTo>
                    <a:lnTo>
                      <a:pt x="24" y="26"/>
                    </a:lnTo>
                    <a:lnTo>
                      <a:pt x="21" y="28"/>
                    </a:lnTo>
                    <a:lnTo>
                      <a:pt x="19" y="28"/>
                    </a:lnTo>
                    <a:lnTo>
                      <a:pt x="19" y="28"/>
                    </a:lnTo>
                    <a:lnTo>
                      <a:pt x="17" y="28"/>
                    </a:lnTo>
                    <a:lnTo>
                      <a:pt x="17" y="28"/>
                    </a:lnTo>
                    <a:lnTo>
                      <a:pt x="17" y="28"/>
                    </a:lnTo>
                    <a:lnTo>
                      <a:pt x="14" y="26"/>
                    </a:lnTo>
                    <a:lnTo>
                      <a:pt x="12" y="26"/>
                    </a:lnTo>
                    <a:lnTo>
                      <a:pt x="7" y="26"/>
                    </a:lnTo>
                    <a:lnTo>
                      <a:pt x="2" y="26"/>
                    </a:lnTo>
                    <a:lnTo>
                      <a:pt x="0" y="26"/>
                    </a:lnTo>
                    <a:lnTo>
                      <a:pt x="5" y="31"/>
                    </a:lnTo>
                    <a:lnTo>
                      <a:pt x="5" y="33"/>
                    </a:lnTo>
                    <a:lnTo>
                      <a:pt x="7" y="38"/>
                    </a:lnTo>
                    <a:lnTo>
                      <a:pt x="10" y="40"/>
                    </a:lnTo>
                    <a:lnTo>
                      <a:pt x="12" y="45"/>
                    </a:lnTo>
                    <a:lnTo>
                      <a:pt x="14" y="50"/>
                    </a:lnTo>
                    <a:lnTo>
                      <a:pt x="17" y="54"/>
                    </a:lnTo>
                    <a:lnTo>
                      <a:pt x="19" y="59"/>
                    </a:lnTo>
                    <a:lnTo>
                      <a:pt x="19" y="59"/>
                    </a:lnTo>
                    <a:lnTo>
                      <a:pt x="19" y="62"/>
                    </a:lnTo>
                    <a:lnTo>
                      <a:pt x="19" y="62"/>
                    </a:lnTo>
                    <a:lnTo>
                      <a:pt x="19" y="64"/>
                    </a:lnTo>
                    <a:lnTo>
                      <a:pt x="17" y="64"/>
                    </a:lnTo>
                    <a:lnTo>
                      <a:pt x="17" y="66"/>
                    </a:lnTo>
                    <a:lnTo>
                      <a:pt x="14" y="66"/>
                    </a:lnTo>
                    <a:lnTo>
                      <a:pt x="14" y="69"/>
                    </a:lnTo>
                    <a:lnTo>
                      <a:pt x="17" y="78"/>
                    </a:lnTo>
                    <a:lnTo>
                      <a:pt x="17" y="81"/>
                    </a:lnTo>
                    <a:lnTo>
                      <a:pt x="17" y="81"/>
                    </a:lnTo>
                    <a:lnTo>
                      <a:pt x="14" y="83"/>
                    </a:lnTo>
                    <a:lnTo>
                      <a:pt x="14" y="83"/>
                    </a:lnTo>
                    <a:lnTo>
                      <a:pt x="17" y="85"/>
                    </a:lnTo>
                    <a:lnTo>
                      <a:pt x="17" y="90"/>
                    </a:lnTo>
                    <a:lnTo>
                      <a:pt x="19" y="90"/>
                    </a:lnTo>
                    <a:lnTo>
                      <a:pt x="19" y="92"/>
                    </a:lnTo>
                    <a:lnTo>
                      <a:pt x="19" y="95"/>
                    </a:lnTo>
                    <a:lnTo>
                      <a:pt x="19" y="95"/>
                    </a:lnTo>
                    <a:lnTo>
                      <a:pt x="19" y="95"/>
                    </a:lnTo>
                    <a:lnTo>
                      <a:pt x="17" y="95"/>
                    </a:lnTo>
                    <a:lnTo>
                      <a:pt x="17" y="97"/>
                    </a:lnTo>
                    <a:lnTo>
                      <a:pt x="17" y="99"/>
                    </a:lnTo>
                    <a:lnTo>
                      <a:pt x="17" y="99"/>
                    </a:lnTo>
                    <a:lnTo>
                      <a:pt x="14" y="102"/>
                    </a:lnTo>
                    <a:lnTo>
                      <a:pt x="14" y="102"/>
                    </a:lnTo>
                    <a:lnTo>
                      <a:pt x="14" y="102"/>
                    </a:lnTo>
                    <a:lnTo>
                      <a:pt x="14" y="104"/>
                    </a:lnTo>
                    <a:lnTo>
                      <a:pt x="14" y="107"/>
                    </a:lnTo>
                    <a:lnTo>
                      <a:pt x="12" y="107"/>
                    </a:lnTo>
                    <a:lnTo>
                      <a:pt x="12" y="109"/>
                    </a:lnTo>
                    <a:lnTo>
                      <a:pt x="12" y="111"/>
                    </a:lnTo>
                    <a:lnTo>
                      <a:pt x="12" y="111"/>
                    </a:lnTo>
                    <a:lnTo>
                      <a:pt x="17" y="116"/>
                    </a:lnTo>
                    <a:lnTo>
                      <a:pt x="17" y="116"/>
                    </a:lnTo>
                    <a:lnTo>
                      <a:pt x="14" y="118"/>
                    </a:lnTo>
                    <a:lnTo>
                      <a:pt x="14" y="121"/>
                    </a:lnTo>
                    <a:lnTo>
                      <a:pt x="12" y="123"/>
                    </a:lnTo>
                    <a:lnTo>
                      <a:pt x="12" y="126"/>
                    </a:lnTo>
                    <a:lnTo>
                      <a:pt x="14" y="128"/>
                    </a:lnTo>
                    <a:lnTo>
                      <a:pt x="17" y="135"/>
                    </a:lnTo>
                    <a:lnTo>
                      <a:pt x="19" y="137"/>
                    </a:lnTo>
                    <a:lnTo>
                      <a:pt x="19" y="137"/>
                    </a:lnTo>
                    <a:lnTo>
                      <a:pt x="21" y="137"/>
                    </a:lnTo>
                    <a:lnTo>
                      <a:pt x="24" y="137"/>
                    </a:lnTo>
                    <a:lnTo>
                      <a:pt x="24" y="140"/>
                    </a:lnTo>
                    <a:lnTo>
                      <a:pt x="24" y="140"/>
                    </a:lnTo>
                    <a:lnTo>
                      <a:pt x="24" y="140"/>
                    </a:lnTo>
                    <a:lnTo>
                      <a:pt x="24" y="140"/>
                    </a:lnTo>
                    <a:lnTo>
                      <a:pt x="21" y="142"/>
                    </a:lnTo>
                    <a:lnTo>
                      <a:pt x="21" y="142"/>
                    </a:lnTo>
                    <a:lnTo>
                      <a:pt x="21" y="144"/>
                    </a:lnTo>
                    <a:lnTo>
                      <a:pt x="21" y="147"/>
                    </a:lnTo>
                    <a:lnTo>
                      <a:pt x="21" y="147"/>
                    </a:lnTo>
                    <a:lnTo>
                      <a:pt x="19" y="147"/>
                    </a:lnTo>
                    <a:lnTo>
                      <a:pt x="19" y="149"/>
                    </a:lnTo>
                    <a:lnTo>
                      <a:pt x="19" y="152"/>
                    </a:lnTo>
                    <a:lnTo>
                      <a:pt x="17" y="154"/>
                    </a:lnTo>
                    <a:lnTo>
                      <a:pt x="17" y="154"/>
                    </a:lnTo>
                    <a:lnTo>
                      <a:pt x="14" y="156"/>
                    </a:lnTo>
                    <a:lnTo>
                      <a:pt x="14" y="156"/>
                    </a:lnTo>
                    <a:lnTo>
                      <a:pt x="12" y="159"/>
                    </a:lnTo>
                    <a:lnTo>
                      <a:pt x="12" y="159"/>
                    </a:lnTo>
                    <a:lnTo>
                      <a:pt x="12" y="159"/>
                    </a:lnTo>
                    <a:lnTo>
                      <a:pt x="14" y="161"/>
                    </a:lnTo>
                    <a:lnTo>
                      <a:pt x="14" y="161"/>
                    </a:lnTo>
                    <a:lnTo>
                      <a:pt x="14" y="163"/>
                    </a:lnTo>
                    <a:lnTo>
                      <a:pt x="14" y="163"/>
                    </a:lnTo>
                    <a:lnTo>
                      <a:pt x="14" y="163"/>
                    </a:lnTo>
                    <a:lnTo>
                      <a:pt x="17" y="166"/>
                    </a:lnTo>
                    <a:lnTo>
                      <a:pt x="19" y="170"/>
                    </a:lnTo>
                    <a:lnTo>
                      <a:pt x="19" y="173"/>
                    </a:lnTo>
                    <a:lnTo>
                      <a:pt x="21" y="173"/>
                    </a:lnTo>
                    <a:lnTo>
                      <a:pt x="24" y="175"/>
                    </a:lnTo>
                    <a:lnTo>
                      <a:pt x="24" y="175"/>
                    </a:lnTo>
                    <a:lnTo>
                      <a:pt x="24" y="178"/>
                    </a:lnTo>
                    <a:lnTo>
                      <a:pt x="24" y="178"/>
                    </a:lnTo>
                    <a:lnTo>
                      <a:pt x="24" y="180"/>
                    </a:lnTo>
                    <a:lnTo>
                      <a:pt x="24" y="180"/>
                    </a:lnTo>
                    <a:lnTo>
                      <a:pt x="24" y="182"/>
                    </a:lnTo>
                    <a:lnTo>
                      <a:pt x="26" y="185"/>
                    </a:lnTo>
                    <a:lnTo>
                      <a:pt x="26" y="187"/>
                    </a:lnTo>
                    <a:lnTo>
                      <a:pt x="26" y="189"/>
                    </a:lnTo>
                    <a:lnTo>
                      <a:pt x="28" y="192"/>
                    </a:lnTo>
                    <a:lnTo>
                      <a:pt x="28" y="194"/>
                    </a:lnTo>
                    <a:lnTo>
                      <a:pt x="28" y="194"/>
                    </a:lnTo>
                    <a:lnTo>
                      <a:pt x="28" y="197"/>
                    </a:lnTo>
                    <a:lnTo>
                      <a:pt x="31" y="199"/>
                    </a:lnTo>
                    <a:lnTo>
                      <a:pt x="33" y="199"/>
                    </a:lnTo>
                    <a:lnTo>
                      <a:pt x="36" y="201"/>
                    </a:lnTo>
                    <a:lnTo>
                      <a:pt x="36" y="201"/>
                    </a:lnTo>
                    <a:lnTo>
                      <a:pt x="38" y="204"/>
                    </a:lnTo>
                    <a:lnTo>
                      <a:pt x="38" y="204"/>
                    </a:lnTo>
                    <a:lnTo>
                      <a:pt x="38" y="204"/>
                    </a:lnTo>
                    <a:lnTo>
                      <a:pt x="38" y="206"/>
                    </a:lnTo>
                    <a:lnTo>
                      <a:pt x="38" y="206"/>
                    </a:lnTo>
                    <a:lnTo>
                      <a:pt x="38" y="208"/>
                    </a:lnTo>
                    <a:lnTo>
                      <a:pt x="36" y="211"/>
                    </a:lnTo>
                    <a:lnTo>
                      <a:pt x="36" y="211"/>
                    </a:lnTo>
                    <a:lnTo>
                      <a:pt x="38" y="213"/>
                    </a:lnTo>
                    <a:lnTo>
                      <a:pt x="38" y="215"/>
                    </a:lnTo>
                    <a:lnTo>
                      <a:pt x="38" y="215"/>
                    </a:lnTo>
                    <a:lnTo>
                      <a:pt x="38" y="218"/>
                    </a:lnTo>
                    <a:lnTo>
                      <a:pt x="36" y="218"/>
                    </a:lnTo>
                    <a:lnTo>
                      <a:pt x="36" y="218"/>
                    </a:lnTo>
                    <a:lnTo>
                      <a:pt x="36" y="220"/>
                    </a:lnTo>
                    <a:lnTo>
                      <a:pt x="36" y="220"/>
                    </a:lnTo>
                    <a:lnTo>
                      <a:pt x="36" y="223"/>
                    </a:lnTo>
                    <a:lnTo>
                      <a:pt x="38" y="223"/>
                    </a:lnTo>
                    <a:lnTo>
                      <a:pt x="36" y="225"/>
                    </a:lnTo>
                    <a:lnTo>
                      <a:pt x="36" y="225"/>
                    </a:lnTo>
                    <a:lnTo>
                      <a:pt x="36" y="225"/>
                    </a:lnTo>
                    <a:lnTo>
                      <a:pt x="36" y="227"/>
                    </a:lnTo>
                    <a:lnTo>
                      <a:pt x="38" y="227"/>
                    </a:lnTo>
                    <a:lnTo>
                      <a:pt x="40" y="230"/>
                    </a:lnTo>
                    <a:lnTo>
                      <a:pt x="40" y="230"/>
                    </a:lnTo>
                    <a:lnTo>
                      <a:pt x="40" y="230"/>
                    </a:lnTo>
                    <a:lnTo>
                      <a:pt x="40" y="232"/>
                    </a:lnTo>
                    <a:lnTo>
                      <a:pt x="40" y="232"/>
                    </a:lnTo>
                    <a:lnTo>
                      <a:pt x="40" y="234"/>
                    </a:lnTo>
                    <a:lnTo>
                      <a:pt x="40" y="237"/>
                    </a:lnTo>
                    <a:lnTo>
                      <a:pt x="40" y="237"/>
                    </a:lnTo>
                    <a:lnTo>
                      <a:pt x="43" y="237"/>
                    </a:lnTo>
                    <a:lnTo>
                      <a:pt x="45" y="242"/>
                    </a:lnTo>
                    <a:lnTo>
                      <a:pt x="47" y="244"/>
                    </a:lnTo>
                    <a:lnTo>
                      <a:pt x="50" y="249"/>
                    </a:lnTo>
                    <a:lnTo>
                      <a:pt x="50" y="251"/>
                    </a:lnTo>
                    <a:lnTo>
                      <a:pt x="52" y="253"/>
                    </a:lnTo>
                    <a:lnTo>
                      <a:pt x="52" y="256"/>
                    </a:lnTo>
                    <a:lnTo>
                      <a:pt x="52" y="258"/>
                    </a:lnTo>
                    <a:lnTo>
                      <a:pt x="54" y="260"/>
                    </a:lnTo>
                    <a:lnTo>
                      <a:pt x="54" y="263"/>
                    </a:lnTo>
                    <a:lnTo>
                      <a:pt x="54" y="265"/>
                    </a:lnTo>
                    <a:lnTo>
                      <a:pt x="54" y="265"/>
                    </a:lnTo>
                    <a:lnTo>
                      <a:pt x="57" y="270"/>
                    </a:lnTo>
                    <a:lnTo>
                      <a:pt x="57" y="272"/>
                    </a:lnTo>
                    <a:lnTo>
                      <a:pt x="57" y="275"/>
                    </a:lnTo>
                    <a:lnTo>
                      <a:pt x="57" y="275"/>
                    </a:lnTo>
                    <a:lnTo>
                      <a:pt x="59" y="277"/>
                    </a:lnTo>
                    <a:lnTo>
                      <a:pt x="59" y="277"/>
                    </a:lnTo>
                    <a:lnTo>
                      <a:pt x="59" y="277"/>
                    </a:lnTo>
                    <a:lnTo>
                      <a:pt x="62" y="277"/>
                    </a:lnTo>
                    <a:lnTo>
                      <a:pt x="64" y="277"/>
                    </a:lnTo>
                    <a:lnTo>
                      <a:pt x="69" y="277"/>
                    </a:lnTo>
                    <a:lnTo>
                      <a:pt x="71" y="277"/>
                    </a:lnTo>
                    <a:lnTo>
                      <a:pt x="71" y="275"/>
                    </a:lnTo>
                    <a:lnTo>
                      <a:pt x="73" y="272"/>
                    </a:lnTo>
                    <a:lnTo>
                      <a:pt x="73" y="270"/>
                    </a:lnTo>
                    <a:lnTo>
                      <a:pt x="73" y="270"/>
                    </a:lnTo>
                    <a:lnTo>
                      <a:pt x="76" y="268"/>
                    </a:lnTo>
                    <a:lnTo>
                      <a:pt x="78" y="268"/>
                    </a:lnTo>
                    <a:lnTo>
                      <a:pt x="78" y="265"/>
                    </a:lnTo>
                    <a:lnTo>
                      <a:pt x="78" y="263"/>
                    </a:lnTo>
                    <a:lnTo>
                      <a:pt x="78" y="263"/>
                    </a:lnTo>
                    <a:lnTo>
                      <a:pt x="80" y="263"/>
                    </a:lnTo>
                    <a:lnTo>
                      <a:pt x="83" y="260"/>
                    </a:lnTo>
                    <a:lnTo>
                      <a:pt x="85" y="260"/>
                    </a:lnTo>
                    <a:lnTo>
                      <a:pt x="85" y="258"/>
                    </a:lnTo>
                    <a:lnTo>
                      <a:pt x="85" y="256"/>
                    </a:lnTo>
                    <a:lnTo>
                      <a:pt x="85" y="256"/>
                    </a:lnTo>
                    <a:lnTo>
                      <a:pt x="88" y="256"/>
                    </a:lnTo>
                    <a:lnTo>
                      <a:pt x="88" y="256"/>
                    </a:lnTo>
                    <a:lnTo>
                      <a:pt x="90" y="256"/>
                    </a:lnTo>
                    <a:lnTo>
                      <a:pt x="92" y="260"/>
                    </a:lnTo>
                    <a:lnTo>
                      <a:pt x="95" y="260"/>
                    </a:lnTo>
                    <a:lnTo>
                      <a:pt x="97" y="260"/>
                    </a:lnTo>
                    <a:lnTo>
                      <a:pt x="99" y="260"/>
                    </a:lnTo>
                    <a:lnTo>
                      <a:pt x="99" y="260"/>
                    </a:lnTo>
                    <a:lnTo>
                      <a:pt x="109" y="260"/>
                    </a:lnTo>
                    <a:lnTo>
                      <a:pt x="109" y="260"/>
                    </a:lnTo>
                    <a:lnTo>
                      <a:pt x="111" y="263"/>
                    </a:lnTo>
                    <a:lnTo>
                      <a:pt x="114" y="263"/>
                    </a:lnTo>
                    <a:lnTo>
                      <a:pt x="114" y="263"/>
                    </a:lnTo>
                    <a:lnTo>
                      <a:pt x="116" y="263"/>
                    </a:lnTo>
                    <a:lnTo>
                      <a:pt x="118" y="268"/>
                    </a:lnTo>
                    <a:lnTo>
                      <a:pt x="118" y="270"/>
                    </a:lnTo>
                    <a:lnTo>
                      <a:pt x="121" y="272"/>
                    </a:lnTo>
                    <a:lnTo>
                      <a:pt x="123" y="275"/>
                    </a:lnTo>
                    <a:lnTo>
                      <a:pt x="123" y="277"/>
                    </a:lnTo>
                    <a:lnTo>
                      <a:pt x="123" y="277"/>
                    </a:lnTo>
                    <a:lnTo>
                      <a:pt x="123" y="272"/>
                    </a:lnTo>
                    <a:lnTo>
                      <a:pt x="125" y="270"/>
                    </a:lnTo>
                    <a:lnTo>
                      <a:pt x="125" y="268"/>
                    </a:lnTo>
                    <a:lnTo>
                      <a:pt x="128" y="260"/>
                    </a:lnTo>
                    <a:lnTo>
                      <a:pt x="128" y="260"/>
                    </a:lnTo>
                    <a:lnTo>
                      <a:pt x="130" y="260"/>
                    </a:lnTo>
                    <a:lnTo>
                      <a:pt x="130" y="258"/>
                    </a:lnTo>
                    <a:lnTo>
                      <a:pt x="130" y="260"/>
                    </a:lnTo>
                    <a:lnTo>
                      <a:pt x="133" y="260"/>
                    </a:lnTo>
                    <a:lnTo>
                      <a:pt x="133" y="258"/>
                    </a:lnTo>
                    <a:lnTo>
                      <a:pt x="140" y="258"/>
                    </a:lnTo>
                    <a:lnTo>
                      <a:pt x="149" y="258"/>
                    </a:lnTo>
                    <a:lnTo>
                      <a:pt x="149" y="258"/>
                    </a:lnTo>
                    <a:lnTo>
                      <a:pt x="149" y="260"/>
                    </a:lnTo>
                    <a:lnTo>
                      <a:pt x="149" y="263"/>
                    </a:lnTo>
                    <a:lnTo>
                      <a:pt x="151" y="263"/>
                    </a:lnTo>
                    <a:lnTo>
                      <a:pt x="151" y="265"/>
                    </a:lnTo>
                    <a:lnTo>
                      <a:pt x="151" y="263"/>
                    </a:lnTo>
                    <a:lnTo>
                      <a:pt x="154" y="258"/>
                    </a:lnTo>
                    <a:lnTo>
                      <a:pt x="154" y="253"/>
                    </a:lnTo>
                    <a:lnTo>
                      <a:pt x="154" y="246"/>
                    </a:lnTo>
                    <a:lnTo>
                      <a:pt x="156" y="239"/>
                    </a:lnTo>
                    <a:lnTo>
                      <a:pt x="156" y="234"/>
                    </a:lnTo>
                    <a:lnTo>
                      <a:pt x="154" y="230"/>
                    </a:lnTo>
                    <a:lnTo>
                      <a:pt x="156" y="225"/>
                    </a:lnTo>
                    <a:lnTo>
                      <a:pt x="159" y="220"/>
                    </a:lnTo>
                    <a:lnTo>
                      <a:pt x="161" y="218"/>
                    </a:lnTo>
                    <a:lnTo>
                      <a:pt x="161" y="213"/>
                    </a:lnTo>
                    <a:lnTo>
                      <a:pt x="163" y="208"/>
                    </a:lnTo>
                    <a:lnTo>
                      <a:pt x="166" y="208"/>
                    </a:lnTo>
                    <a:lnTo>
                      <a:pt x="175" y="206"/>
                    </a:lnTo>
                    <a:lnTo>
                      <a:pt x="177" y="206"/>
                    </a:lnTo>
                    <a:lnTo>
                      <a:pt x="185" y="204"/>
                    </a:lnTo>
                    <a:lnTo>
                      <a:pt x="194" y="201"/>
                    </a:lnTo>
                    <a:lnTo>
                      <a:pt x="201" y="201"/>
                    </a:lnTo>
                    <a:lnTo>
                      <a:pt x="211" y="201"/>
                    </a:lnTo>
                    <a:lnTo>
                      <a:pt x="218" y="206"/>
                    </a:lnTo>
                    <a:lnTo>
                      <a:pt x="222" y="208"/>
                    </a:lnTo>
                    <a:lnTo>
                      <a:pt x="229" y="213"/>
                    </a:lnTo>
                    <a:lnTo>
                      <a:pt x="229" y="213"/>
                    </a:lnTo>
                    <a:lnTo>
                      <a:pt x="229" y="218"/>
                    </a:lnTo>
                    <a:lnTo>
                      <a:pt x="229" y="220"/>
                    </a:lnTo>
                    <a:lnTo>
                      <a:pt x="229" y="220"/>
                    </a:lnTo>
                    <a:lnTo>
                      <a:pt x="232" y="220"/>
                    </a:lnTo>
                    <a:lnTo>
                      <a:pt x="232" y="218"/>
                    </a:lnTo>
                    <a:lnTo>
                      <a:pt x="232" y="218"/>
                    </a:lnTo>
                    <a:lnTo>
                      <a:pt x="234" y="218"/>
                    </a:lnTo>
                    <a:lnTo>
                      <a:pt x="234" y="215"/>
                    </a:lnTo>
                    <a:lnTo>
                      <a:pt x="232" y="213"/>
                    </a:lnTo>
                    <a:lnTo>
                      <a:pt x="229" y="211"/>
                    </a:lnTo>
                    <a:lnTo>
                      <a:pt x="229" y="208"/>
                    </a:lnTo>
                    <a:lnTo>
                      <a:pt x="232" y="204"/>
                    </a:lnTo>
                    <a:lnTo>
                      <a:pt x="232" y="201"/>
                    </a:lnTo>
                    <a:lnTo>
                      <a:pt x="234" y="197"/>
                    </a:lnTo>
                    <a:lnTo>
                      <a:pt x="234" y="197"/>
                    </a:lnTo>
                    <a:lnTo>
                      <a:pt x="234" y="197"/>
                    </a:lnTo>
                    <a:lnTo>
                      <a:pt x="234" y="194"/>
                    </a:lnTo>
                    <a:lnTo>
                      <a:pt x="234" y="194"/>
                    </a:lnTo>
                    <a:lnTo>
                      <a:pt x="234" y="194"/>
                    </a:lnTo>
                    <a:lnTo>
                      <a:pt x="234" y="189"/>
                    </a:lnTo>
                    <a:lnTo>
                      <a:pt x="234" y="185"/>
                    </a:lnTo>
                    <a:lnTo>
                      <a:pt x="237" y="180"/>
                    </a:lnTo>
                    <a:lnTo>
                      <a:pt x="237" y="180"/>
                    </a:lnTo>
                    <a:lnTo>
                      <a:pt x="237" y="180"/>
                    </a:lnTo>
                    <a:lnTo>
                      <a:pt x="237" y="180"/>
                    </a:lnTo>
                    <a:lnTo>
                      <a:pt x="237" y="178"/>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Freeform 200"/>
              <p:cNvSpPr>
                <a:spLocks/>
              </p:cNvSpPr>
              <p:nvPr/>
            </p:nvSpPr>
            <p:spPr bwMode="auto">
              <a:xfrm>
                <a:off x="4357" y="2201"/>
                <a:ext cx="62" cy="35"/>
              </a:xfrm>
              <a:custGeom>
                <a:avLst/>
                <a:gdLst>
                  <a:gd name="T0" fmla="*/ 62 w 62"/>
                  <a:gd name="T1" fmla="*/ 28 h 35"/>
                  <a:gd name="T2" fmla="*/ 59 w 62"/>
                  <a:gd name="T3" fmla="*/ 26 h 35"/>
                  <a:gd name="T4" fmla="*/ 59 w 62"/>
                  <a:gd name="T5" fmla="*/ 24 h 35"/>
                  <a:gd name="T6" fmla="*/ 59 w 62"/>
                  <a:gd name="T7" fmla="*/ 21 h 35"/>
                  <a:gd name="T8" fmla="*/ 57 w 62"/>
                  <a:gd name="T9" fmla="*/ 19 h 35"/>
                  <a:gd name="T10" fmla="*/ 55 w 62"/>
                  <a:gd name="T11" fmla="*/ 19 h 35"/>
                  <a:gd name="T12" fmla="*/ 50 w 62"/>
                  <a:gd name="T13" fmla="*/ 17 h 35"/>
                  <a:gd name="T14" fmla="*/ 50 w 62"/>
                  <a:gd name="T15" fmla="*/ 14 h 35"/>
                  <a:gd name="T16" fmla="*/ 50 w 62"/>
                  <a:gd name="T17" fmla="*/ 12 h 35"/>
                  <a:gd name="T18" fmla="*/ 50 w 62"/>
                  <a:gd name="T19" fmla="*/ 9 h 35"/>
                  <a:gd name="T20" fmla="*/ 47 w 62"/>
                  <a:gd name="T21" fmla="*/ 7 h 35"/>
                  <a:gd name="T22" fmla="*/ 43 w 62"/>
                  <a:gd name="T23" fmla="*/ 5 h 35"/>
                  <a:gd name="T24" fmla="*/ 43 w 62"/>
                  <a:gd name="T25" fmla="*/ 5 h 35"/>
                  <a:gd name="T26" fmla="*/ 40 w 62"/>
                  <a:gd name="T27" fmla="*/ 7 h 35"/>
                  <a:gd name="T28" fmla="*/ 38 w 62"/>
                  <a:gd name="T29" fmla="*/ 7 h 35"/>
                  <a:gd name="T30" fmla="*/ 33 w 62"/>
                  <a:gd name="T31" fmla="*/ 5 h 35"/>
                  <a:gd name="T32" fmla="*/ 29 w 62"/>
                  <a:gd name="T33" fmla="*/ 5 h 35"/>
                  <a:gd name="T34" fmla="*/ 26 w 62"/>
                  <a:gd name="T35" fmla="*/ 5 h 35"/>
                  <a:gd name="T36" fmla="*/ 26 w 62"/>
                  <a:gd name="T37" fmla="*/ 5 h 35"/>
                  <a:gd name="T38" fmla="*/ 26 w 62"/>
                  <a:gd name="T39" fmla="*/ 2 h 35"/>
                  <a:gd name="T40" fmla="*/ 21 w 62"/>
                  <a:gd name="T41" fmla="*/ 0 h 35"/>
                  <a:gd name="T42" fmla="*/ 17 w 62"/>
                  <a:gd name="T43" fmla="*/ 0 h 35"/>
                  <a:gd name="T44" fmla="*/ 14 w 62"/>
                  <a:gd name="T45" fmla="*/ 2 h 35"/>
                  <a:gd name="T46" fmla="*/ 12 w 62"/>
                  <a:gd name="T47" fmla="*/ 5 h 35"/>
                  <a:gd name="T48" fmla="*/ 10 w 62"/>
                  <a:gd name="T49" fmla="*/ 7 h 35"/>
                  <a:gd name="T50" fmla="*/ 7 w 62"/>
                  <a:gd name="T51" fmla="*/ 14 h 35"/>
                  <a:gd name="T52" fmla="*/ 5 w 62"/>
                  <a:gd name="T53" fmla="*/ 17 h 35"/>
                  <a:gd name="T54" fmla="*/ 3 w 62"/>
                  <a:gd name="T55" fmla="*/ 21 h 35"/>
                  <a:gd name="T56" fmla="*/ 0 w 62"/>
                  <a:gd name="T57" fmla="*/ 24 h 35"/>
                  <a:gd name="T58" fmla="*/ 3 w 62"/>
                  <a:gd name="T59" fmla="*/ 26 h 35"/>
                  <a:gd name="T60" fmla="*/ 3 w 62"/>
                  <a:gd name="T61" fmla="*/ 26 h 35"/>
                  <a:gd name="T62" fmla="*/ 5 w 62"/>
                  <a:gd name="T63" fmla="*/ 31 h 35"/>
                  <a:gd name="T64" fmla="*/ 10 w 62"/>
                  <a:gd name="T65" fmla="*/ 33 h 35"/>
                  <a:gd name="T66" fmla="*/ 14 w 62"/>
                  <a:gd name="T67" fmla="*/ 31 h 35"/>
                  <a:gd name="T68" fmla="*/ 17 w 62"/>
                  <a:gd name="T69" fmla="*/ 33 h 35"/>
                  <a:gd name="T70" fmla="*/ 19 w 62"/>
                  <a:gd name="T71" fmla="*/ 33 h 35"/>
                  <a:gd name="T72" fmla="*/ 19 w 62"/>
                  <a:gd name="T73" fmla="*/ 33 h 35"/>
                  <a:gd name="T74" fmla="*/ 21 w 62"/>
                  <a:gd name="T75" fmla="*/ 35 h 35"/>
                  <a:gd name="T76" fmla="*/ 29 w 62"/>
                  <a:gd name="T77" fmla="*/ 33 h 35"/>
                  <a:gd name="T78" fmla="*/ 29 w 62"/>
                  <a:gd name="T79" fmla="*/ 31 h 35"/>
                  <a:gd name="T80" fmla="*/ 33 w 62"/>
                  <a:gd name="T81" fmla="*/ 31 h 35"/>
                  <a:gd name="T82" fmla="*/ 36 w 62"/>
                  <a:gd name="T83" fmla="*/ 33 h 35"/>
                  <a:gd name="T84" fmla="*/ 40 w 62"/>
                  <a:gd name="T85" fmla="*/ 33 h 35"/>
                  <a:gd name="T86" fmla="*/ 47 w 62"/>
                  <a:gd name="T87" fmla="*/ 33 h 35"/>
                  <a:gd name="T88" fmla="*/ 52 w 62"/>
                  <a:gd name="T89" fmla="*/ 31 h 35"/>
                  <a:gd name="T90" fmla="*/ 55 w 62"/>
                  <a:gd name="T91" fmla="*/ 33 h 35"/>
                  <a:gd name="T92" fmla="*/ 59 w 62"/>
                  <a:gd name="T93" fmla="*/ 31 h 35"/>
                  <a:gd name="T94" fmla="*/ 59 w 62"/>
                  <a:gd name="T95" fmla="*/ 31 h 35"/>
                  <a:gd name="T96" fmla="*/ 62 w 62"/>
                  <a:gd name="T97" fmla="*/ 31 h 35"/>
                  <a:gd name="T98" fmla="*/ 62 w 62"/>
                  <a:gd name="T99" fmla="*/ 28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2" h="35">
                    <a:moveTo>
                      <a:pt x="62" y="28"/>
                    </a:moveTo>
                    <a:lnTo>
                      <a:pt x="62" y="28"/>
                    </a:lnTo>
                    <a:lnTo>
                      <a:pt x="59" y="26"/>
                    </a:lnTo>
                    <a:lnTo>
                      <a:pt x="59" y="26"/>
                    </a:lnTo>
                    <a:lnTo>
                      <a:pt x="59" y="26"/>
                    </a:lnTo>
                    <a:lnTo>
                      <a:pt x="59" y="24"/>
                    </a:lnTo>
                    <a:lnTo>
                      <a:pt x="62" y="21"/>
                    </a:lnTo>
                    <a:lnTo>
                      <a:pt x="59" y="21"/>
                    </a:lnTo>
                    <a:lnTo>
                      <a:pt x="59" y="19"/>
                    </a:lnTo>
                    <a:lnTo>
                      <a:pt x="57" y="19"/>
                    </a:lnTo>
                    <a:lnTo>
                      <a:pt x="57" y="19"/>
                    </a:lnTo>
                    <a:lnTo>
                      <a:pt x="55" y="19"/>
                    </a:lnTo>
                    <a:lnTo>
                      <a:pt x="52" y="19"/>
                    </a:lnTo>
                    <a:lnTo>
                      <a:pt x="50" y="17"/>
                    </a:lnTo>
                    <a:lnTo>
                      <a:pt x="50" y="14"/>
                    </a:lnTo>
                    <a:lnTo>
                      <a:pt x="50" y="14"/>
                    </a:lnTo>
                    <a:lnTo>
                      <a:pt x="50" y="12"/>
                    </a:lnTo>
                    <a:lnTo>
                      <a:pt x="50" y="12"/>
                    </a:lnTo>
                    <a:lnTo>
                      <a:pt x="50" y="12"/>
                    </a:lnTo>
                    <a:lnTo>
                      <a:pt x="50" y="9"/>
                    </a:lnTo>
                    <a:lnTo>
                      <a:pt x="50" y="7"/>
                    </a:lnTo>
                    <a:lnTo>
                      <a:pt x="47" y="7"/>
                    </a:lnTo>
                    <a:lnTo>
                      <a:pt x="45" y="7"/>
                    </a:lnTo>
                    <a:lnTo>
                      <a:pt x="43" y="5"/>
                    </a:lnTo>
                    <a:lnTo>
                      <a:pt x="43" y="5"/>
                    </a:lnTo>
                    <a:lnTo>
                      <a:pt x="43" y="5"/>
                    </a:lnTo>
                    <a:lnTo>
                      <a:pt x="40" y="7"/>
                    </a:lnTo>
                    <a:lnTo>
                      <a:pt x="40" y="7"/>
                    </a:lnTo>
                    <a:lnTo>
                      <a:pt x="38" y="7"/>
                    </a:lnTo>
                    <a:lnTo>
                      <a:pt x="38" y="7"/>
                    </a:lnTo>
                    <a:lnTo>
                      <a:pt x="36" y="7"/>
                    </a:lnTo>
                    <a:lnTo>
                      <a:pt x="33" y="5"/>
                    </a:lnTo>
                    <a:lnTo>
                      <a:pt x="31" y="5"/>
                    </a:lnTo>
                    <a:lnTo>
                      <a:pt x="29" y="5"/>
                    </a:lnTo>
                    <a:lnTo>
                      <a:pt x="26" y="5"/>
                    </a:lnTo>
                    <a:lnTo>
                      <a:pt x="26" y="5"/>
                    </a:lnTo>
                    <a:lnTo>
                      <a:pt x="26" y="5"/>
                    </a:lnTo>
                    <a:lnTo>
                      <a:pt x="26" y="5"/>
                    </a:lnTo>
                    <a:lnTo>
                      <a:pt x="26" y="2"/>
                    </a:lnTo>
                    <a:lnTo>
                      <a:pt x="26" y="2"/>
                    </a:lnTo>
                    <a:lnTo>
                      <a:pt x="24" y="2"/>
                    </a:lnTo>
                    <a:lnTo>
                      <a:pt x="21" y="0"/>
                    </a:lnTo>
                    <a:lnTo>
                      <a:pt x="19" y="0"/>
                    </a:lnTo>
                    <a:lnTo>
                      <a:pt x="17" y="0"/>
                    </a:lnTo>
                    <a:lnTo>
                      <a:pt x="17" y="2"/>
                    </a:lnTo>
                    <a:lnTo>
                      <a:pt x="14" y="2"/>
                    </a:lnTo>
                    <a:lnTo>
                      <a:pt x="14" y="5"/>
                    </a:lnTo>
                    <a:lnTo>
                      <a:pt x="12" y="5"/>
                    </a:lnTo>
                    <a:lnTo>
                      <a:pt x="12" y="5"/>
                    </a:lnTo>
                    <a:lnTo>
                      <a:pt x="10" y="7"/>
                    </a:lnTo>
                    <a:lnTo>
                      <a:pt x="7" y="12"/>
                    </a:lnTo>
                    <a:lnTo>
                      <a:pt x="7" y="14"/>
                    </a:lnTo>
                    <a:lnTo>
                      <a:pt x="5" y="17"/>
                    </a:lnTo>
                    <a:lnTo>
                      <a:pt x="5" y="17"/>
                    </a:lnTo>
                    <a:lnTo>
                      <a:pt x="3" y="19"/>
                    </a:lnTo>
                    <a:lnTo>
                      <a:pt x="3" y="21"/>
                    </a:lnTo>
                    <a:lnTo>
                      <a:pt x="3" y="21"/>
                    </a:lnTo>
                    <a:lnTo>
                      <a:pt x="0" y="24"/>
                    </a:lnTo>
                    <a:lnTo>
                      <a:pt x="0" y="24"/>
                    </a:lnTo>
                    <a:lnTo>
                      <a:pt x="3" y="26"/>
                    </a:lnTo>
                    <a:lnTo>
                      <a:pt x="3" y="26"/>
                    </a:lnTo>
                    <a:lnTo>
                      <a:pt x="3" y="26"/>
                    </a:lnTo>
                    <a:lnTo>
                      <a:pt x="5" y="28"/>
                    </a:lnTo>
                    <a:lnTo>
                      <a:pt x="5" y="31"/>
                    </a:lnTo>
                    <a:lnTo>
                      <a:pt x="7" y="31"/>
                    </a:lnTo>
                    <a:lnTo>
                      <a:pt x="10" y="33"/>
                    </a:lnTo>
                    <a:lnTo>
                      <a:pt x="12" y="31"/>
                    </a:lnTo>
                    <a:lnTo>
                      <a:pt x="14" y="31"/>
                    </a:lnTo>
                    <a:lnTo>
                      <a:pt x="17" y="33"/>
                    </a:lnTo>
                    <a:lnTo>
                      <a:pt x="17" y="33"/>
                    </a:lnTo>
                    <a:lnTo>
                      <a:pt x="17" y="33"/>
                    </a:lnTo>
                    <a:lnTo>
                      <a:pt x="19" y="33"/>
                    </a:lnTo>
                    <a:lnTo>
                      <a:pt x="19" y="33"/>
                    </a:lnTo>
                    <a:lnTo>
                      <a:pt x="19" y="33"/>
                    </a:lnTo>
                    <a:lnTo>
                      <a:pt x="19" y="35"/>
                    </a:lnTo>
                    <a:lnTo>
                      <a:pt x="21" y="35"/>
                    </a:lnTo>
                    <a:lnTo>
                      <a:pt x="24" y="33"/>
                    </a:lnTo>
                    <a:lnTo>
                      <a:pt x="29" y="33"/>
                    </a:lnTo>
                    <a:lnTo>
                      <a:pt x="29" y="31"/>
                    </a:lnTo>
                    <a:lnTo>
                      <a:pt x="29" y="31"/>
                    </a:lnTo>
                    <a:lnTo>
                      <a:pt x="31" y="31"/>
                    </a:lnTo>
                    <a:lnTo>
                      <a:pt x="33" y="31"/>
                    </a:lnTo>
                    <a:lnTo>
                      <a:pt x="36" y="33"/>
                    </a:lnTo>
                    <a:lnTo>
                      <a:pt x="36" y="33"/>
                    </a:lnTo>
                    <a:lnTo>
                      <a:pt x="38" y="33"/>
                    </a:lnTo>
                    <a:lnTo>
                      <a:pt x="40" y="33"/>
                    </a:lnTo>
                    <a:lnTo>
                      <a:pt x="45" y="33"/>
                    </a:lnTo>
                    <a:lnTo>
                      <a:pt x="47" y="33"/>
                    </a:lnTo>
                    <a:lnTo>
                      <a:pt x="50" y="31"/>
                    </a:lnTo>
                    <a:lnTo>
                      <a:pt x="52" y="31"/>
                    </a:lnTo>
                    <a:lnTo>
                      <a:pt x="52" y="33"/>
                    </a:lnTo>
                    <a:lnTo>
                      <a:pt x="55" y="33"/>
                    </a:lnTo>
                    <a:lnTo>
                      <a:pt x="57" y="31"/>
                    </a:lnTo>
                    <a:lnTo>
                      <a:pt x="59" y="31"/>
                    </a:lnTo>
                    <a:lnTo>
                      <a:pt x="59" y="31"/>
                    </a:lnTo>
                    <a:lnTo>
                      <a:pt x="59" y="31"/>
                    </a:lnTo>
                    <a:lnTo>
                      <a:pt x="62" y="31"/>
                    </a:lnTo>
                    <a:lnTo>
                      <a:pt x="62" y="31"/>
                    </a:lnTo>
                    <a:lnTo>
                      <a:pt x="62" y="31"/>
                    </a:lnTo>
                    <a:lnTo>
                      <a:pt x="62" y="28"/>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9" name="Freeform 201"/>
              <p:cNvSpPr>
                <a:spLocks/>
              </p:cNvSpPr>
              <p:nvPr/>
            </p:nvSpPr>
            <p:spPr bwMode="auto">
              <a:xfrm>
                <a:off x="2763" y="2537"/>
                <a:ext cx="57" cy="133"/>
              </a:xfrm>
              <a:custGeom>
                <a:avLst/>
                <a:gdLst>
                  <a:gd name="T0" fmla="*/ 57 w 57"/>
                  <a:gd name="T1" fmla="*/ 33 h 133"/>
                  <a:gd name="T2" fmla="*/ 54 w 57"/>
                  <a:gd name="T3" fmla="*/ 29 h 133"/>
                  <a:gd name="T4" fmla="*/ 52 w 57"/>
                  <a:gd name="T5" fmla="*/ 22 h 133"/>
                  <a:gd name="T6" fmla="*/ 54 w 57"/>
                  <a:gd name="T7" fmla="*/ 17 h 133"/>
                  <a:gd name="T8" fmla="*/ 49 w 57"/>
                  <a:gd name="T9" fmla="*/ 12 h 133"/>
                  <a:gd name="T10" fmla="*/ 45 w 57"/>
                  <a:gd name="T11" fmla="*/ 7 h 133"/>
                  <a:gd name="T12" fmla="*/ 40 w 57"/>
                  <a:gd name="T13" fmla="*/ 0 h 133"/>
                  <a:gd name="T14" fmla="*/ 35 w 57"/>
                  <a:gd name="T15" fmla="*/ 3 h 133"/>
                  <a:gd name="T16" fmla="*/ 31 w 57"/>
                  <a:gd name="T17" fmla="*/ 5 h 133"/>
                  <a:gd name="T18" fmla="*/ 31 w 57"/>
                  <a:gd name="T19" fmla="*/ 12 h 133"/>
                  <a:gd name="T20" fmla="*/ 28 w 57"/>
                  <a:gd name="T21" fmla="*/ 17 h 133"/>
                  <a:gd name="T22" fmla="*/ 16 w 57"/>
                  <a:gd name="T23" fmla="*/ 22 h 133"/>
                  <a:gd name="T24" fmla="*/ 14 w 57"/>
                  <a:gd name="T25" fmla="*/ 22 h 133"/>
                  <a:gd name="T26" fmla="*/ 12 w 57"/>
                  <a:gd name="T27" fmla="*/ 22 h 133"/>
                  <a:gd name="T28" fmla="*/ 9 w 57"/>
                  <a:gd name="T29" fmla="*/ 24 h 133"/>
                  <a:gd name="T30" fmla="*/ 7 w 57"/>
                  <a:gd name="T31" fmla="*/ 26 h 133"/>
                  <a:gd name="T32" fmla="*/ 7 w 57"/>
                  <a:gd name="T33" fmla="*/ 29 h 133"/>
                  <a:gd name="T34" fmla="*/ 5 w 57"/>
                  <a:gd name="T35" fmla="*/ 29 h 133"/>
                  <a:gd name="T36" fmla="*/ 5 w 57"/>
                  <a:gd name="T37" fmla="*/ 31 h 133"/>
                  <a:gd name="T38" fmla="*/ 2 w 57"/>
                  <a:gd name="T39" fmla="*/ 36 h 133"/>
                  <a:gd name="T40" fmla="*/ 0 w 57"/>
                  <a:gd name="T41" fmla="*/ 45 h 133"/>
                  <a:gd name="T42" fmla="*/ 9 w 57"/>
                  <a:gd name="T43" fmla="*/ 50 h 133"/>
                  <a:gd name="T44" fmla="*/ 12 w 57"/>
                  <a:gd name="T45" fmla="*/ 57 h 133"/>
                  <a:gd name="T46" fmla="*/ 12 w 57"/>
                  <a:gd name="T47" fmla="*/ 64 h 133"/>
                  <a:gd name="T48" fmla="*/ 16 w 57"/>
                  <a:gd name="T49" fmla="*/ 71 h 133"/>
                  <a:gd name="T50" fmla="*/ 16 w 57"/>
                  <a:gd name="T51" fmla="*/ 88 h 133"/>
                  <a:gd name="T52" fmla="*/ 16 w 57"/>
                  <a:gd name="T53" fmla="*/ 107 h 133"/>
                  <a:gd name="T54" fmla="*/ 16 w 57"/>
                  <a:gd name="T55" fmla="*/ 119 h 133"/>
                  <a:gd name="T56" fmla="*/ 16 w 57"/>
                  <a:gd name="T57" fmla="*/ 121 h 133"/>
                  <a:gd name="T58" fmla="*/ 19 w 57"/>
                  <a:gd name="T59" fmla="*/ 128 h 133"/>
                  <a:gd name="T60" fmla="*/ 16 w 57"/>
                  <a:gd name="T61" fmla="*/ 133 h 133"/>
                  <a:gd name="T62" fmla="*/ 35 w 57"/>
                  <a:gd name="T63" fmla="*/ 128 h 133"/>
                  <a:gd name="T64" fmla="*/ 38 w 57"/>
                  <a:gd name="T65" fmla="*/ 123 h 133"/>
                  <a:gd name="T66" fmla="*/ 38 w 57"/>
                  <a:gd name="T67" fmla="*/ 119 h 133"/>
                  <a:gd name="T68" fmla="*/ 38 w 57"/>
                  <a:gd name="T69" fmla="*/ 114 h 133"/>
                  <a:gd name="T70" fmla="*/ 38 w 57"/>
                  <a:gd name="T71" fmla="*/ 107 h 133"/>
                  <a:gd name="T72" fmla="*/ 38 w 57"/>
                  <a:gd name="T73" fmla="*/ 104 h 133"/>
                  <a:gd name="T74" fmla="*/ 35 w 57"/>
                  <a:gd name="T75" fmla="*/ 97 h 133"/>
                  <a:gd name="T76" fmla="*/ 38 w 57"/>
                  <a:gd name="T77" fmla="*/ 88 h 133"/>
                  <a:gd name="T78" fmla="*/ 38 w 57"/>
                  <a:gd name="T79" fmla="*/ 81 h 133"/>
                  <a:gd name="T80" fmla="*/ 40 w 57"/>
                  <a:gd name="T81" fmla="*/ 71 h 133"/>
                  <a:gd name="T82" fmla="*/ 45 w 57"/>
                  <a:gd name="T83" fmla="*/ 66 h 133"/>
                  <a:gd name="T84" fmla="*/ 47 w 57"/>
                  <a:gd name="T85" fmla="*/ 62 h 133"/>
                  <a:gd name="T86" fmla="*/ 49 w 57"/>
                  <a:gd name="T87" fmla="*/ 55 h 133"/>
                  <a:gd name="T88" fmla="*/ 52 w 57"/>
                  <a:gd name="T89" fmla="*/ 55 h 133"/>
                  <a:gd name="T90" fmla="*/ 52 w 57"/>
                  <a:gd name="T91" fmla="*/ 45 h 133"/>
                  <a:gd name="T92" fmla="*/ 54 w 57"/>
                  <a:gd name="T93" fmla="*/ 43 h 133"/>
                  <a:gd name="T94" fmla="*/ 57 w 57"/>
                  <a:gd name="T95" fmla="*/ 43 h 133"/>
                  <a:gd name="T96" fmla="*/ 57 w 57"/>
                  <a:gd name="T97" fmla="*/ 38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7" h="133">
                    <a:moveTo>
                      <a:pt x="57" y="38"/>
                    </a:moveTo>
                    <a:lnTo>
                      <a:pt x="57" y="36"/>
                    </a:lnTo>
                    <a:lnTo>
                      <a:pt x="57" y="33"/>
                    </a:lnTo>
                    <a:lnTo>
                      <a:pt x="57" y="31"/>
                    </a:lnTo>
                    <a:lnTo>
                      <a:pt x="57" y="29"/>
                    </a:lnTo>
                    <a:lnTo>
                      <a:pt x="54" y="29"/>
                    </a:lnTo>
                    <a:lnTo>
                      <a:pt x="54" y="26"/>
                    </a:lnTo>
                    <a:lnTo>
                      <a:pt x="54" y="26"/>
                    </a:lnTo>
                    <a:lnTo>
                      <a:pt x="52" y="22"/>
                    </a:lnTo>
                    <a:lnTo>
                      <a:pt x="52" y="19"/>
                    </a:lnTo>
                    <a:lnTo>
                      <a:pt x="52" y="17"/>
                    </a:lnTo>
                    <a:lnTo>
                      <a:pt x="54" y="17"/>
                    </a:lnTo>
                    <a:lnTo>
                      <a:pt x="52" y="14"/>
                    </a:lnTo>
                    <a:lnTo>
                      <a:pt x="52" y="12"/>
                    </a:lnTo>
                    <a:lnTo>
                      <a:pt x="49" y="12"/>
                    </a:lnTo>
                    <a:lnTo>
                      <a:pt x="47" y="12"/>
                    </a:lnTo>
                    <a:lnTo>
                      <a:pt x="47" y="10"/>
                    </a:lnTo>
                    <a:lnTo>
                      <a:pt x="45" y="7"/>
                    </a:lnTo>
                    <a:lnTo>
                      <a:pt x="40" y="3"/>
                    </a:lnTo>
                    <a:lnTo>
                      <a:pt x="40" y="3"/>
                    </a:lnTo>
                    <a:lnTo>
                      <a:pt x="40" y="0"/>
                    </a:lnTo>
                    <a:lnTo>
                      <a:pt x="38" y="3"/>
                    </a:lnTo>
                    <a:lnTo>
                      <a:pt x="38" y="3"/>
                    </a:lnTo>
                    <a:lnTo>
                      <a:pt x="35" y="3"/>
                    </a:lnTo>
                    <a:lnTo>
                      <a:pt x="35" y="3"/>
                    </a:lnTo>
                    <a:lnTo>
                      <a:pt x="33" y="5"/>
                    </a:lnTo>
                    <a:lnTo>
                      <a:pt x="31" y="5"/>
                    </a:lnTo>
                    <a:lnTo>
                      <a:pt x="31" y="5"/>
                    </a:lnTo>
                    <a:lnTo>
                      <a:pt x="31" y="10"/>
                    </a:lnTo>
                    <a:lnTo>
                      <a:pt x="31" y="12"/>
                    </a:lnTo>
                    <a:lnTo>
                      <a:pt x="31" y="12"/>
                    </a:lnTo>
                    <a:lnTo>
                      <a:pt x="28" y="17"/>
                    </a:lnTo>
                    <a:lnTo>
                      <a:pt x="28" y="17"/>
                    </a:lnTo>
                    <a:lnTo>
                      <a:pt x="23" y="22"/>
                    </a:lnTo>
                    <a:lnTo>
                      <a:pt x="21" y="22"/>
                    </a:lnTo>
                    <a:lnTo>
                      <a:pt x="16" y="22"/>
                    </a:lnTo>
                    <a:lnTo>
                      <a:pt x="16" y="22"/>
                    </a:lnTo>
                    <a:lnTo>
                      <a:pt x="14" y="22"/>
                    </a:lnTo>
                    <a:lnTo>
                      <a:pt x="14" y="22"/>
                    </a:lnTo>
                    <a:lnTo>
                      <a:pt x="12" y="22"/>
                    </a:lnTo>
                    <a:lnTo>
                      <a:pt x="12" y="22"/>
                    </a:lnTo>
                    <a:lnTo>
                      <a:pt x="12" y="22"/>
                    </a:lnTo>
                    <a:lnTo>
                      <a:pt x="12" y="24"/>
                    </a:lnTo>
                    <a:lnTo>
                      <a:pt x="9" y="24"/>
                    </a:lnTo>
                    <a:lnTo>
                      <a:pt x="9" y="24"/>
                    </a:lnTo>
                    <a:lnTo>
                      <a:pt x="9" y="24"/>
                    </a:lnTo>
                    <a:lnTo>
                      <a:pt x="7" y="26"/>
                    </a:lnTo>
                    <a:lnTo>
                      <a:pt x="7" y="26"/>
                    </a:lnTo>
                    <a:lnTo>
                      <a:pt x="7" y="26"/>
                    </a:lnTo>
                    <a:lnTo>
                      <a:pt x="7" y="26"/>
                    </a:lnTo>
                    <a:lnTo>
                      <a:pt x="7" y="29"/>
                    </a:lnTo>
                    <a:lnTo>
                      <a:pt x="7" y="29"/>
                    </a:lnTo>
                    <a:lnTo>
                      <a:pt x="7" y="29"/>
                    </a:lnTo>
                    <a:lnTo>
                      <a:pt x="5" y="29"/>
                    </a:lnTo>
                    <a:lnTo>
                      <a:pt x="5" y="29"/>
                    </a:lnTo>
                    <a:lnTo>
                      <a:pt x="5" y="31"/>
                    </a:lnTo>
                    <a:lnTo>
                      <a:pt x="5" y="31"/>
                    </a:lnTo>
                    <a:lnTo>
                      <a:pt x="2" y="31"/>
                    </a:lnTo>
                    <a:lnTo>
                      <a:pt x="2" y="33"/>
                    </a:lnTo>
                    <a:lnTo>
                      <a:pt x="2" y="36"/>
                    </a:lnTo>
                    <a:lnTo>
                      <a:pt x="2" y="36"/>
                    </a:lnTo>
                    <a:lnTo>
                      <a:pt x="0" y="43"/>
                    </a:lnTo>
                    <a:lnTo>
                      <a:pt x="0" y="45"/>
                    </a:lnTo>
                    <a:lnTo>
                      <a:pt x="2" y="45"/>
                    </a:lnTo>
                    <a:lnTo>
                      <a:pt x="5" y="48"/>
                    </a:lnTo>
                    <a:lnTo>
                      <a:pt x="9" y="50"/>
                    </a:lnTo>
                    <a:lnTo>
                      <a:pt x="12" y="52"/>
                    </a:lnTo>
                    <a:lnTo>
                      <a:pt x="12" y="52"/>
                    </a:lnTo>
                    <a:lnTo>
                      <a:pt x="12" y="57"/>
                    </a:lnTo>
                    <a:lnTo>
                      <a:pt x="12" y="62"/>
                    </a:lnTo>
                    <a:lnTo>
                      <a:pt x="12" y="64"/>
                    </a:lnTo>
                    <a:lnTo>
                      <a:pt x="12" y="64"/>
                    </a:lnTo>
                    <a:lnTo>
                      <a:pt x="12" y="66"/>
                    </a:lnTo>
                    <a:lnTo>
                      <a:pt x="16" y="69"/>
                    </a:lnTo>
                    <a:lnTo>
                      <a:pt x="16" y="71"/>
                    </a:lnTo>
                    <a:lnTo>
                      <a:pt x="16" y="78"/>
                    </a:lnTo>
                    <a:lnTo>
                      <a:pt x="16" y="83"/>
                    </a:lnTo>
                    <a:lnTo>
                      <a:pt x="16" y="88"/>
                    </a:lnTo>
                    <a:lnTo>
                      <a:pt x="16" y="93"/>
                    </a:lnTo>
                    <a:lnTo>
                      <a:pt x="16" y="100"/>
                    </a:lnTo>
                    <a:lnTo>
                      <a:pt x="16" y="107"/>
                    </a:lnTo>
                    <a:lnTo>
                      <a:pt x="16" y="116"/>
                    </a:lnTo>
                    <a:lnTo>
                      <a:pt x="14" y="116"/>
                    </a:lnTo>
                    <a:lnTo>
                      <a:pt x="16" y="119"/>
                    </a:lnTo>
                    <a:lnTo>
                      <a:pt x="16" y="121"/>
                    </a:lnTo>
                    <a:lnTo>
                      <a:pt x="16" y="121"/>
                    </a:lnTo>
                    <a:lnTo>
                      <a:pt x="16" y="121"/>
                    </a:lnTo>
                    <a:lnTo>
                      <a:pt x="16" y="123"/>
                    </a:lnTo>
                    <a:lnTo>
                      <a:pt x="16" y="123"/>
                    </a:lnTo>
                    <a:lnTo>
                      <a:pt x="19" y="128"/>
                    </a:lnTo>
                    <a:lnTo>
                      <a:pt x="19" y="130"/>
                    </a:lnTo>
                    <a:lnTo>
                      <a:pt x="16" y="130"/>
                    </a:lnTo>
                    <a:lnTo>
                      <a:pt x="16" y="133"/>
                    </a:lnTo>
                    <a:lnTo>
                      <a:pt x="19" y="130"/>
                    </a:lnTo>
                    <a:lnTo>
                      <a:pt x="28" y="130"/>
                    </a:lnTo>
                    <a:lnTo>
                      <a:pt x="35" y="128"/>
                    </a:lnTo>
                    <a:lnTo>
                      <a:pt x="35" y="128"/>
                    </a:lnTo>
                    <a:lnTo>
                      <a:pt x="38" y="123"/>
                    </a:lnTo>
                    <a:lnTo>
                      <a:pt x="38" y="123"/>
                    </a:lnTo>
                    <a:lnTo>
                      <a:pt x="38" y="121"/>
                    </a:lnTo>
                    <a:lnTo>
                      <a:pt x="38" y="121"/>
                    </a:lnTo>
                    <a:lnTo>
                      <a:pt x="38" y="119"/>
                    </a:lnTo>
                    <a:lnTo>
                      <a:pt x="38" y="116"/>
                    </a:lnTo>
                    <a:lnTo>
                      <a:pt x="38" y="114"/>
                    </a:lnTo>
                    <a:lnTo>
                      <a:pt x="38" y="114"/>
                    </a:lnTo>
                    <a:lnTo>
                      <a:pt x="38" y="111"/>
                    </a:lnTo>
                    <a:lnTo>
                      <a:pt x="38" y="107"/>
                    </a:lnTo>
                    <a:lnTo>
                      <a:pt x="38" y="107"/>
                    </a:lnTo>
                    <a:lnTo>
                      <a:pt x="38" y="107"/>
                    </a:lnTo>
                    <a:lnTo>
                      <a:pt x="38" y="104"/>
                    </a:lnTo>
                    <a:lnTo>
                      <a:pt x="38" y="104"/>
                    </a:lnTo>
                    <a:lnTo>
                      <a:pt x="38" y="102"/>
                    </a:lnTo>
                    <a:lnTo>
                      <a:pt x="38" y="100"/>
                    </a:lnTo>
                    <a:lnTo>
                      <a:pt x="35" y="97"/>
                    </a:lnTo>
                    <a:lnTo>
                      <a:pt x="35" y="97"/>
                    </a:lnTo>
                    <a:lnTo>
                      <a:pt x="35" y="93"/>
                    </a:lnTo>
                    <a:lnTo>
                      <a:pt x="38" y="88"/>
                    </a:lnTo>
                    <a:lnTo>
                      <a:pt x="35" y="85"/>
                    </a:lnTo>
                    <a:lnTo>
                      <a:pt x="38" y="85"/>
                    </a:lnTo>
                    <a:lnTo>
                      <a:pt x="38" y="81"/>
                    </a:lnTo>
                    <a:lnTo>
                      <a:pt x="38" y="78"/>
                    </a:lnTo>
                    <a:lnTo>
                      <a:pt x="38" y="71"/>
                    </a:lnTo>
                    <a:lnTo>
                      <a:pt x="40" y="71"/>
                    </a:lnTo>
                    <a:lnTo>
                      <a:pt x="42" y="71"/>
                    </a:lnTo>
                    <a:lnTo>
                      <a:pt x="45" y="69"/>
                    </a:lnTo>
                    <a:lnTo>
                      <a:pt x="45" y="66"/>
                    </a:lnTo>
                    <a:lnTo>
                      <a:pt x="45" y="64"/>
                    </a:lnTo>
                    <a:lnTo>
                      <a:pt x="45" y="62"/>
                    </a:lnTo>
                    <a:lnTo>
                      <a:pt x="47" y="62"/>
                    </a:lnTo>
                    <a:lnTo>
                      <a:pt x="47" y="59"/>
                    </a:lnTo>
                    <a:lnTo>
                      <a:pt x="47" y="57"/>
                    </a:lnTo>
                    <a:lnTo>
                      <a:pt x="49" y="55"/>
                    </a:lnTo>
                    <a:lnTo>
                      <a:pt x="49" y="55"/>
                    </a:lnTo>
                    <a:lnTo>
                      <a:pt x="52" y="55"/>
                    </a:lnTo>
                    <a:lnTo>
                      <a:pt x="52" y="55"/>
                    </a:lnTo>
                    <a:lnTo>
                      <a:pt x="54" y="52"/>
                    </a:lnTo>
                    <a:lnTo>
                      <a:pt x="54" y="48"/>
                    </a:lnTo>
                    <a:lnTo>
                      <a:pt x="52" y="45"/>
                    </a:lnTo>
                    <a:lnTo>
                      <a:pt x="52" y="45"/>
                    </a:lnTo>
                    <a:lnTo>
                      <a:pt x="54" y="45"/>
                    </a:lnTo>
                    <a:lnTo>
                      <a:pt x="54" y="43"/>
                    </a:lnTo>
                    <a:lnTo>
                      <a:pt x="54" y="43"/>
                    </a:lnTo>
                    <a:lnTo>
                      <a:pt x="57" y="43"/>
                    </a:lnTo>
                    <a:lnTo>
                      <a:pt x="57" y="43"/>
                    </a:lnTo>
                    <a:lnTo>
                      <a:pt x="57" y="43"/>
                    </a:lnTo>
                    <a:lnTo>
                      <a:pt x="57" y="38"/>
                    </a:lnTo>
                    <a:lnTo>
                      <a:pt x="57" y="38"/>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 name="Freeform 202"/>
              <p:cNvSpPr>
                <a:spLocks noEditPoints="1"/>
              </p:cNvSpPr>
              <p:nvPr/>
            </p:nvSpPr>
            <p:spPr bwMode="auto">
              <a:xfrm>
                <a:off x="1105" y="2409"/>
                <a:ext cx="30" cy="55"/>
              </a:xfrm>
              <a:custGeom>
                <a:avLst/>
                <a:gdLst>
                  <a:gd name="T0" fmla="*/ 28 w 30"/>
                  <a:gd name="T1" fmla="*/ 22 h 55"/>
                  <a:gd name="T2" fmla="*/ 28 w 30"/>
                  <a:gd name="T3" fmla="*/ 24 h 55"/>
                  <a:gd name="T4" fmla="*/ 28 w 30"/>
                  <a:gd name="T5" fmla="*/ 22 h 55"/>
                  <a:gd name="T6" fmla="*/ 30 w 30"/>
                  <a:gd name="T7" fmla="*/ 22 h 55"/>
                  <a:gd name="T8" fmla="*/ 30 w 30"/>
                  <a:gd name="T9" fmla="*/ 22 h 55"/>
                  <a:gd name="T10" fmla="*/ 30 w 30"/>
                  <a:gd name="T11" fmla="*/ 7 h 55"/>
                  <a:gd name="T12" fmla="*/ 28 w 30"/>
                  <a:gd name="T13" fmla="*/ 10 h 55"/>
                  <a:gd name="T14" fmla="*/ 28 w 30"/>
                  <a:gd name="T15" fmla="*/ 12 h 55"/>
                  <a:gd name="T16" fmla="*/ 30 w 30"/>
                  <a:gd name="T17" fmla="*/ 7 h 55"/>
                  <a:gd name="T18" fmla="*/ 23 w 30"/>
                  <a:gd name="T19" fmla="*/ 3 h 55"/>
                  <a:gd name="T20" fmla="*/ 23 w 30"/>
                  <a:gd name="T21" fmla="*/ 0 h 55"/>
                  <a:gd name="T22" fmla="*/ 21 w 30"/>
                  <a:gd name="T23" fmla="*/ 0 h 55"/>
                  <a:gd name="T24" fmla="*/ 18 w 30"/>
                  <a:gd name="T25" fmla="*/ 5 h 55"/>
                  <a:gd name="T26" fmla="*/ 14 w 30"/>
                  <a:gd name="T27" fmla="*/ 12 h 55"/>
                  <a:gd name="T28" fmla="*/ 11 w 30"/>
                  <a:gd name="T29" fmla="*/ 12 h 55"/>
                  <a:gd name="T30" fmla="*/ 9 w 30"/>
                  <a:gd name="T31" fmla="*/ 10 h 55"/>
                  <a:gd name="T32" fmla="*/ 7 w 30"/>
                  <a:gd name="T33" fmla="*/ 12 h 55"/>
                  <a:gd name="T34" fmla="*/ 4 w 30"/>
                  <a:gd name="T35" fmla="*/ 19 h 55"/>
                  <a:gd name="T36" fmla="*/ 4 w 30"/>
                  <a:gd name="T37" fmla="*/ 29 h 55"/>
                  <a:gd name="T38" fmla="*/ 2 w 30"/>
                  <a:gd name="T39" fmla="*/ 41 h 55"/>
                  <a:gd name="T40" fmla="*/ 0 w 30"/>
                  <a:gd name="T41" fmla="*/ 55 h 55"/>
                  <a:gd name="T42" fmla="*/ 2 w 30"/>
                  <a:gd name="T43" fmla="*/ 55 h 55"/>
                  <a:gd name="T44" fmla="*/ 7 w 30"/>
                  <a:gd name="T45" fmla="*/ 55 h 55"/>
                  <a:gd name="T46" fmla="*/ 7 w 30"/>
                  <a:gd name="T47" fmla="*/ 52 h 55"/>
                  <a:gd name="T48" fmla="*/ 14 w 30"/>
                  <a:gd name="T49" fmla="*/ 48 h 55"/>
                  <a:gd name="T50" fmla="*/ 16 w 30"/>
                  <a:gd name="T51" fmla="*/ 43 h 55"/>
                  <a:gd name="T52" fmla="*/ 21 w 30"/>
                  <a:gd name="T53" fmla="*/ 33 h 55"/>
                  <a:gd name="T54" fmla="*/ 21 w 30"/>
                  <a:gd name="T55" fmla="*/ 24 h 55"/>
                  <a:gd name="T56" fmla="*/ 23 w 30"/>
                  <a:gd name="T57" fmla="*/ 22 h 55"/>
                  <a:gd name="T58" fmla="*/ 23 w 30"/>
                  <a:gd name="T59" fmla="*/ 17 h 55"/>
                  <a:gd name="T60" fmla="*/ 26 w 30"/>
                  <a:gd name="T61" fmla="*/ 7 h 55"/>
                  <a:gd name="T62" fmla="*/ 26 w 30"/>
                  <a:gd name="T63" fmla="*/ 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 h="55">
                    <a:moveTo>
                      <a:pt x="30" y="22"/>
                    </a:moveTo>
                    <a:lnTo>
                      <a:pt x="28" y="22"/>
                    </a:lnTo>
                    <a:lnTo>
                      <a:pt x="28" y="22"/>
                    </a:lnTo>
                    <a:lnTo>
                      <a:pt x="28" y="24"/>
                    </a:lnTo>
                    <a:lnTo>
                      <a:pt x="28" y="26"/>
                    </a:lnTo>
                    <a:lnTo>
                      <a:pt x="28" y="22"/>
                    </a:lnTo>
                    <a:lnTo>
                      <a:pt x="30" y="22"/>
                    </a:lnTo>
                    <a:lnTo>
                      <a:pt x="30" y="22"/>
                    </a:lnTo>
                    <a:lnTo>
                      <a:pt x="30" y="19"/>
                    </a:lnTo>
                    <a:lnTo>
                      <a:pt x="30" y="22"/>
                    </a:lnTo>
                    <a:close/>
                    <a:moveTo>
                      <a:pt x="30" y="7"/>
                    </a:moveTo>
                    <a:lnTo>
                      <a:pt x="30" y="7"/>
                    </a:lnTo>
                    <a:lnTo>
                      <a:pt x="30" y="7"/>
                    </a:lnTo>
                    <a:lnTo>
                      <a:pt x="28" y="10"/>
                    </a:lnTo>
                    <a:lnTo>
                      <a:pt x="28" y="12"/>
                    </a:lnTo>
                    <a:lnTo>
                      <a:pt x="28" y="12"/>
                    </a:lnTo>
                    <a:lnTo>
                      <a:pt x="28" y="12"/>
                    </a:lnTo>
                    <a:lnTo>
                      <a:pt x="30" y="7"/>
                    </a:lnTo>
                    <a:close/>
                    <a:moveTo>
                      <a:pt x="26" y="3"/>
                    </a:moveTo>
                    <a:lnTo>
                      <a:pt x="23" y="3"/>
                    </a:lnTo>
                    <a:lnTo>
                      <a:pt x="23" y="3"/>
                    </a:lnTo>
                    <a:lnTo>
                      <a:pt x="23" y="0"/>
                    </a:lnTo>
                    <a:lnTo>
                      <a:pt x="23" y="0"/>
                    </a:lnTo>
                    <a:lnTo>
                      <a:pt x="21" y="0"/>
                    </a:lnTo>
                    <a:lnTo>
                      <a:pt x="21" y="0"/>
                    </a:lnTo>
                    <a:lnTo>
                      <a:pt x="18" y="5"/>
                    </a:lnTo>
                    <a:lnTo>
                      <a:pt x="14" y="10"/>
                    </a:lnTo>
                    <a:lnTo>
                      <a:pt x="14" y="12"/>
                    </a:lnTo>
                    <a:lnTo>
                      <a:pt x="11" y="12"/>
                    </a:lnTo>
                    <a:lnTo>
                      <a:pt x="11" y="12"/>
                    </a:lnTo>
                    <a:lnTo>
                      <a:pt x="11" y="12"/>
                    </a:lnTo>
                    <a:lnTo>
                      <a:pt x="9" y="10"/>
                    </a:lnTo>
                    <a:lnTo>
                      <a:pt x="7" y="12"/>
                    </a:lnTo>
                    <a:lnTo>
                      <a:pt x="7" y="12"/>
                    </a:lnTo>
                    <a:lnTo>
                      <a:pt x="7" y="15"/>
                    </a:lnTo>
                    <a:lnTo>
                      <a:pt x="4" y="19"/>
                    </a:lnTo>
                    <a:lnTo>
                      <a:pt x="4" y="26"/>
                    </a:lnTo>
                    <a:lnTo>
                      <a:pt x="4" y="29"/>
                    </a:lnTo>
                    <a:lnTo>
                      <a:pt x="2" y="36"/>
                    </a:lnTo>
                    <a:lnTo>
                      <a:pt x="2" y="41"/>
                    </a:lnTo>
                    <a:lnTo>
                      <a:pt x="0" y="50"/>
                    </a:lnTo>
                    <a:lnTo>
                      <a:pt x="0" y="55"/>
                    </a:lnTo>
                    <a:lnTo>
                      <a:pt x="0" y="55"/>
                    </a:lnTo>
                    <a:lnTo>
                      <a:pt x="2" y="55"/>
                    </a:lnTo>
                    <a:lnTo>
                      <a:pt x="4" y="55"/>
                    </a:lnTo>
                    <a:lnTo>
                      <a:pt x="7" y="55"/>
                    </a:lnTo>
                    <a:lnTo>
                      <a:pt x="4" y="55"/>
                    </a:lnTo>
                    <a:lnTo>
                      <a:pt x="7" y="52"/>
                    </a:lnTo>
                    <a:lnTo>
                      <a:pt x="9" y="48"/>
                    </a:lnTo>
                    <a:lnTo>
                      <a:pt x="14" y="48"/>
                    </a:lnTo>
                    <a:lnTo>
                      <a:pt x="16" y="43"/>
                    </a:lnTo>
                    <a:lnTo>
                      <a:pt x="16" y="43"/>
                    </a:lnTo>
                    <a:lnTo>
                      <a:pt x="18" y="41"/>
                    </a:lnTo>
                    <a:lnTo>
                      <a:pt x="21" y="33"/>
                    </a:lnTo>
                    <a:lnTo>
                      <a:pt x="21" y="29"/>
                    </a:lnTo>
                    <a:lnTo>
                      <a:pt x="21" y="24"/>
                    </a:lnTo>
                    <a:lnTo>
                      <a:pt x="21" y="24"/>
                    </a:lnTo>
                    <a:lnTo>
                      <a:pt x="23" y="22"/>
                    </a:lnTo>
                    <a:lnTo>
                      <a:pt x="21" y="19"/>
                    </a:lnTo>
                    <a:lnTo>
                      <a:pt x="23" y="17"/>
                    </a:lnTo>
                    <a:lnTo>
                      <a:pt x="23" y="15"/>
                    </a:lnTo>
                    <a:lnTo>
                      <a:pt x="26" y="7"/>
                    </a:lnTo>
                    <a:lnTo>
                      <a:pt x="28" y="5"/>
                    </a:lnTo>
                    <a:lnTo>
                      <a:pt x="26" y="3"/>
                    </a:lnTo>
                    <a:lnTo>
                      <a:pt x="26" y="3"/>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1" name="Freeform 203"/>
              <p:cNvSpPr>
                <a:spLocks/>
              </p:cNvSpPr>
              <p:nvPr/>
            </p:nvSpPr>
            <p:spPr bwMode="auto">
              <a:xfrm>
                <a:off x="2817" y="1716"/>
                <a:ext cx="62" cy="42"/>
              </a:xfrm>
              <a:custGeom>
                <a:avLst/>
                <a:gdLst>
                  <a:gd name="T0" fmla="*/ 62 w 62"/>
                  <a:gd name="T1" fmla="*/ 21 h 42"/>
                  <a:gd name="T2" fmla="*/ 59 w 62"/>
                  <a:gd name="T3" fmla="*/ 21 h 42"/>
                  <a:gd name="T4" fmla="*/ 57 w 62"/>
                  <a:gd name="T5" fmla="*/ 16 h 42"/>
                  <a:gd name="T6" fmla="*/ 55 w 62"/>
                  <a:gd name="T7" fmla="*/ 16 h 42"/>
                  <a:gd name="T8" fmla="*/ 52 w 62"/>
                  <a:gd name="T9" fmla="*/ 16 h 42"/>
                  <a:gd name="T10" fmla="*/ 50 w 62"/>
                  <a:gd name="T11" fmla="*/ 14 h 42"/>
                  <a:gd name="T12" fmla="*/ 52 w 62"/>
                  <a:gd name="T13" fmla="*/ 11 h 42"/>
                  <a:gd name="T14" fmla="*/ 55 w 62"/>
                  <a:gd name="T15" fmla="*/ 9 h 42"/>
                  <a:gd name="T16" fmla="*/ 50 w 62"/>
                  <a:gd name="T17" fmla="*/ 7 h 42"/>
                  <a:gd name="T18" fmla="*/ 48 w 62"/>
                  <a:gd name="T19" fmla="*/ 4 h 42"/>
                  <a:gd name="T20" fmla="*/ 43 w 62"/>
                  <a:gd name="T21" fmla="*/ 4 h 42"/>
                  <a:gd name="T22" fmla="*/ 40 w 62"/>
                  <a:gd name="T23" fmla="*/ 2 h 42"/>
                  <a:gd name="T24" fmla="*/ 40 w 62"/>
                  <a:gd name="T25" fmla="*/ 2 h 42"/>
                  <a:gd name="T26" fmla="*/ 38 w 62"/>
                  <a:gd name="T27" fmla="*/ 2 h 42"/>
                  <a:gd name="T28" fmla="*/ 36 w 62"/>
                  <a:gd name="T29" fmla="*/ 0 h 42"/>
                  <a:gd name="T30" fmla="*/ 33 w 62"/>
                  <a:gd name="T31" fmla="*/ 2 h 42"/>
                  <a:gd name="T32" fmla="*/ 31 w 62"/>
                  <a:gd name="T33" fmla="*/ 2 h 42"/>
                  <a:gd name="T34" fmla="*/ 29 w 62"/>
                  <a:gd name="T35" fmla="*/ 4 h 42"/>
                  <a:gd name="T36" fmla="*/ 26 w 62"/>
                  <a:gd name="T37" fmla="*/ 4 h 42"/>
                  <a:gd name="T38" fmla="*/ 22 w 62"/>
                  <a:gd name="T39" fmla="*/ 7 h 42"/>
                  <a:gd name="T40" fmla="*/ 19 w 62"/>
                  <a:gd name="T41" fmla="*/ 4 h 42"/>
                  <a:gd name="T42" fmla="*/ 17 w 62"/>
                  <a:gd name="T43" fmla="*/ 7 h 42"/>
                  <a:gd name="T44" fmla="*/ 14 w 62"/>
                  <a:gd name="T45" fmla="*/ 4 h 42"/>
                  <a:gd name="T46" fmla="*/ 7 w 62"/>
                  <a:gd name="T47" fmla="*/ 4 h 42"/>
                  <a:gd name="T48" fmla="*/ 0 w 62"/>
                  <a:gd name="T49" fmla="*/ 11 h 42"/>
                  <a:gd name="T50" fmla="*/ 3 w 62"/>
                  <a:gd name="T51" fmla="*/ 14 h 42"/>
                  <a:gd name="T52" fmla="*/ 5 w 62"/>
                  <a:gd name="T53" fmla="*/ 16 h 42"/>
                  <a:gd name="T54" fmla="*/ 7 w 62"/>
                  <a:gd name="T55" fmla="*/ 16 h 42"/>
                  <a:gd name="T56" fmla="*/ 10 w 62"/>
                  <a:gd name="T57" fmla="*/ 16 h 42"/>
                  <a:gd name="T58" fmla="*/ 12 w 62"/>
                  <a:gd name="T59" fmla="*/ 21 h 42"/>
                  <a:gd name="T60" fmla="*/ 17 w 62"/>
                  <a:gd name="T61" fmla="*/ 21 h 42"/>
                  <a:gd name="T62" fmla="*/ 19 w 62"/>
                  <a:gd name="T63" fmla="*/ 26 h 42"/>
                  <a:gd name="T64" fmla="*/ 19 w 62"/>
                  <a:gd name="T65" fmla="*/ 23 h 42"/>
                  <a:gd name="T66" fmla="*/ 24 w 62"/>
                  <a:gd name="T67" fmla="*/ 26 h 42"/>
                  <a:gd name="T68" fmla="*/ 26 w 62"/>
                  <a:gd name="T69" fmla="*/ 28 h 42"/>
                  <a:gd name="T70" fmla="*/ 26 w 62"/>
                  <a:gd name="T71" fmla="*/ 30 h 42"/>
                  <a:gd name="T72" fmla="*/ 26 w 62"/>
                  <a:gd name="T73" fmla="*/ 30 h 42"/>
                  <a:gd name="T74" fmla="*/ 26 w 62"/>
                  <a:gd name="T75" fmla="*/ 33 h 42"/>
                  <a:gd name="T76" fmla="*/ 33 w 62"/>
                  <a:gd name="T77" fmla="*/ 30 h 42"/>
                  <a:gd name="T78" fmla="*/ 36 w 62"/>
                  <a:gd name="T79" fmla="*/ 28 h 42"/>
                  <a:gd name="T80" fmla="*/ 36 w 62"/>
                  <a:gd name="T81" fmla="*/ 33 h 42"/>
                  <a:gd name="T82" fmla="*/ 38 w 62"/>
                  <a:gd name="T83" fmla="*/ 35 h 42"/>
                  <a:gd name="T84" fmla="*/ 40 w 62"/>
                  <a:gd name="T85" fmla="*/ 35 h 42"/>
                  <a:gd name="T86" fmla="*/ 43 w 62"/>
                  <a:gd name="T87" fmla="*/ 37 h 42"/>
                  <a:gd name="T88" fmla="*/ 45 w 62"/>
                  <a:gd name="T89" fmla="*/ 40 h 42"/>
                  <a:gd name="T90" fmla="*/ 50 w 62"/>
                  <a:gd name="T91" fmla="*/ 40 h 42"/>
                  <a:gd name="T92" fmla="*/ 52 w 62"/>
                  <a:gd name="T93" fmla="*/ 40 h 42"/>
                  <a:gd name="T94" fmla="*/ 55 w 62"/>
                  <a:gd name="T95" fmla="*/ 37 h 42"/>
                  <a:gd name="T96" fmla="*/ 52 w 62"/>
                  <a:gd name="T97" fmla="*/ 35 h 42"/>
                  <a:gd name="T98" fmla="*/ 52 w 62"/>
                  <a:gd name="T99" fmla="*/ 33 h 42"/>
                  <a:gd name="T100" fmla="*/ 52 w 62"/>
                  <a:gd name="T101" fmla="*/ 30 h 42"/>
                  <a:gd name="T102" fmla="*/ 57 w 62"/>
                  <a:gd name="T103" fmla="*/ 28 h 42"/>
                  <a:gd name="T104" fmla="*/ 57 w 62"/>
                  <a:gd name="T105" fmla="*/ 28 h 42"/>
                  <a:gd name="T106" fmla="*/ 62 w 62"/>
                  <a:gd name="T107" fmla="*/ 2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2" h="42">
                    <a:moveTo>
                      <a:pt x="62" y="23"/>
                    </a:moveTo>
                    <a:lnTo>
                      <a:pt x="62" y="21"/>
                    </a:lnTo>
                    <a:lnTo>
                      <a:pt x="62" y="21"/>
                    </a:lnTo>
                    <a:lnTo>
                      <a:pt x="59" y="21"/>
                    </a:lnTo>
                    <a:lnTo>
                      <a:pt x="59" y="21"/>
                    </a:lnTo>
                    <a:lnTo>
                      <a:pt x="59" y="21"/>
                    </a:lnTo>
                    <a:lnTo>
                      <a:pt x="59" y="19"/>
                    </a:lnTo>
                    <a:lnTo>
                      <a:pt x="59" y="19"/>
                    </a:lnTo>
                    <a:lnTo>
                      <a:pt x="57" y="16"/>
                    </a:lnTo>
                    <a:lnTo>
                      <a:pt x="57" y="16"/>
                    </a:lnTo>
                    <a:lnTo>
                      <a:pt x="57" y="16"/>
                    </a:lnTo>
                    <a:lnTo>
                      <a:pt x="55" y="16"/>
                    </a:lnTo>
                    <a:lnTo>
                      <a:pt x="55" y="14"/>
                    </a:lnTo>
                    <a:lnTo>
                      <a:pt x="52" y="16"/>
                    </a:lnTo>
                    <a:lnTo>
                      <a:pt x="52" y="16"/>
                    </a:lnTo>
                    <a:lnTo>
                      <a:pt x="50" y="14"/>
                    </a:lnTo>
                    <a:lnTo>
                      <a:pt x="50" y="14"/>
                    </a:lnTo>
                    <a:lnTo>
                      <a:pt x="50" y="14"/>
                    </a:lnTo>
                    <a:lnTo>
                      <a:pt x="52" y="11"/>
                    </a:lnTo>
                    <a:lnTo>
                      <a:pt x="52" y="11"/>
                    </a:lnTo>
                    <a:lnTo>
                      <a:pt x="52" y="11"/>
                    </a:lnTo>
                    <a:lnTo>
                      <a:pt x="52" y="11"/>
                    </a:lnTo>
                    <a:lnTo>
                      <a:pt x="55" y="9"/>
                    </a:lnTo>
                    <a:lnTo>
                      <a:pt x="55" y="9"/>
                    </a:lnTo>
                    <a:lnTo>
                      <a:pt x="52" y="7"/>
                    </a:lnTo>
                    <a:lnTo>
                      <a:pt x="52" y="7"/>
                    </a:lnTo>
                    <a:lnTo>
                      <a:pt x="50" y="7"/>
                    </a:lnTo>
                    <a:lnTo>
                      <a:pt x="50" y="7"/>
                    </a:lnTo>
                    <a:lnTo>
                      <a:pt x="48" y="4"/>
                    </a:lnTo>
                    <a:lnTo>
                      <a:pt x="48" y="4"/>
                    </a:lnTo>
                    <a:lnTo>
                      <a:pt x="48" y="4"/>
                    </a:lnTo>
                    <a:lnTo>
                      <a:pt x="45" y="4"/>
                    </a:lnTo>
                    <a:lnTo>
                      <a:pt x="43" y="4"/>
                    </a:lnTo>
                    <a:lnTo>
                      <a:pt x="43" y="4"/>
                    </a:lnTo>
                    <a:lnTo>
                      <a:pt x="43" y="2"/>
                    </a:lnTo>
                    <a:lnTo>
                      <a:pt x="40" y="2"/>
                    </a:lnTo>
                    <a:lnTo>
                      <a:pt x="40" y="2"/>
                    </a:lnTo>
                    <a:lnTo>
                      <a:pt x="40" y="2"/>
                    </a:lnTo>
                    <a:lnTo>
                      <a:pt x="40" y="2"/>
                    </a:lnTo>
                    <a:lnTo>
                      <a:pt x="38" y="2"/>
                    </a:lnTo>
                    <a:lnTo>
                      <a:pt x="38" y="2"/>
                    </a:lnTo>
                    <a:lnTo>
                      <a:pt x="38" y="2"/>
                    </a:lnTo>
                    <a:lnTo>
                      <a:pt x="38" y="2"/>
                    </a:lnTo>
                    <a:lnTo>
                      <a:pt x="38" y="2"/>
                    </a:lnTo>
                    <a:lnTo>
                      <a:pt x="36" y="0"/>
                    </a:lnTo>
                    <a:lnTo>
                      <a:pt x="36" y="2"/>
                    </a:lnTo>
                    <a:lnTo>
                      <a:pt x="33" y="2"/>
                    </a:lnTo>
                    <a:lnTo>
                      <a:pt x="33" y="2"/>
                    </a:lnTo>
                    <a:lnTo>
                      <a:pt x="33" y="2"/>
                    </a:lnTo>
                    <a:lnTo>
                      <a:pt x="31" y="2"/>
                    </a:lnTo>
                    <a:lnTo>
                      <a:pt x="31" y="2"/>
                    </a:lnTo>
                    <a:lnTo>
                      <a:pt x="31" y="4"/>
                    </a:lnTo>
                    <a:lnTo>
                      <a:pt x="31" y="4"/>
                    </a:lnTo>
                    <a:lnTo>
                      <a:pt x="29" y="4"/>
                    </a:lnTo>
                    <a:lnTo>
                      <a:pt x="29" y="2"/>
                    </a:lnTo>
                    <a:lnTo>
                      <a:pt x="29" y="4"/>
                    </a:lnTo>
                    <a:lnTo>
                      <a:pt x="26" y="4"/>
                    </a:lnTo>
                    <a:lnTo>
                      <a:pt x="24" y="7"/>
                    </a:lnTo>
                    <a:lnTo>
                      <a:pt x="24" y="7"/>
                    </a:lnTo>
                    <a:lnTo>
                      <a:pt x="22" y="7"/>
                    </a:lnTo>
                    <a:lnTo>
                      <a:pt x="22" y="7"/>
                    </a:lnTo>
                    <a:lnTo>
                      <a:pt x="22" y="7"/>
                    </a:lnTo>
                    <a:lnTo>
                      <a:pt x="19" y="4"/>
                    </a:lnTo>
                    <a:lnTo>
                      <a:pt x="17" y="4"/>
                    </a:lnTo>
                    <a:lnTo>
                      <a:pt x="17" y="4"/>
                    </a:lnTo>
                    <a:lnTo>
                      <a:pt x="17" y="7"/>
                    </a:lnTo>
                    <a:lnTo>
                      <a:pt x="14" y="7"/>
                    </a:lnTo>
                    <a:lnTo>
                      <a:pt x="14" y="4"/>
                    </a:lnTo>
                    <a:lnTo>
                      <a:pt x="14" y="4"/>
                    </a:lnTo>
                    <a:lnTo>
                      <a:pt x="14" y="2"/>
                    </a:lnTo>
                    <a:lnTo>
                      <a:pt x="12" y="4"/>
                    </a:lnTo>
                    <a:lnTo>
                      <a:pt x="7" y="4"/>
                    </a:lnTo>
                    <a:lnTo>
                      <a:pt x="0" y="9"/>
                    </a:lnTo>
                    <a:lnTo>
                      <a:pt x="0" y="9"/>
                    </a:lnTo>
                    <a:lnTo>
                      <a:pt x="0" y="11"/>
                    </a:lnTo>
                    <a:lnTo>
                      <a:pt x="3" y="11"/>
                    </a:lnTo>
                    <a:lnTo>
                      <a:pt x="0" y="11"/>
                    </a:lnTo>
                    <a:lnTo>
                      <a:pt x="3" y="14"/>
                    </a:lnTo>
                    <a:lnTo>
                      <a:pt x="3" y="14"/>
                    </a:lnTo>
                    <a:lnTo>
                      <a:pt x="5" y="16"/>
                    </a:lnTo>
                    <a:lnTo>
                      <a:pt x="5" y="16"/>
                    </a:lnTo>
                    <a:lnTo>
                      <a:pt x="5" y="16"/>
                    </a:lnTo>
                    <a:lnTo>
                      <a:pt x="7" y="16"/>
                    </a:lnTo>
                    <a:lnTo>
                      <a:pt x="7" y="16"/>
                    </a:lnTo>
                    <a:lnTo>
                      <a:pt x="10" y="16"/>
                    </a:lnTo>
                    <a:lnTo>
                      <a:pt x="10" y="16"/>
                    </a:lnTo>
                    <a:lnTo>
                      <a:pt x="10" y="16"/>
                    </a:lnTo>
                    <a:lnTo>
                      <a:pt x="12" y="19"/>
                    </a:lnTo>
                    <a:lnTo>
                      <a:pt x="12" y="19"/>
                    </a:lnTo>
                    <a:lnTo>
                      <a:pt x="12" y="21"/>
                    </a:lnTo>
                    <a:lnTo>
                      <a:pt x="12" y="21"/>
                    </a:lnTo>
                    <a:lnTo>
                      <a:pt x="14" y="21"/>
                    </a:lnTo>
                    <a:lnTo>
                      <a:pt x="17" y="21"/>
                    </a:lnTo>
                    <a:lnTo>
                      <a:pt x="17" y="21"/>
                    </a:lnTo>
                    <a:lnTo>
                      <a:pt x="19" y="26"/>
                    </a:lnTo>
                    <a:lnTo>
                      <a:pt x="19" y="26"/>
                    </a:lnTo>
                    <a:lnTo>
                      <a:pt x="19" y="26"/>
                    </a:lnTo>
                    <a:lnTo>
                      <a:pt x="19" y="23"/>
                    </a:lnTo>
                    <a:lnTo>
                      <a:pt x="19" y="23"/>
                    </a:lnTo>
                    <a:lnTo>
                      <a:pt x="22" y="23"/>
                    </a:lnTo>
                    <a:lnTo>
                      <a:pt x="24" y="23"/>
                    </a:lnTo>
                    <a:lnTo>
                      <a:pt x="24" y="26"/>
                    </a:lnTo>
                    <a:lnTo>
                      <a:pt x="26" y="26"/>
                    </a:lnTo>
                    <a:lnTo>
                      <a:pt x="26" y="26"/>
                    </a:lnTo>
                    <a:lnTo>
                      <a:pt x="26" y="28"/>
                    </a:lnTo>
                    <a:lnTo>
                      <a:pt x="26" y="28"/>
                    </a:lnTo>
                    <a:lnTo>
                      <a:pt x="26" y="28"/>
                    </a:lnTo>
                    <a:lnTo>
                      <a:pt x="26" y="30"/>
                    </a:lnTo>
                    <a:lnTo>
                      <a:pt x="26" y="30"/>
                    </a:lnTo>
                    <a:lnTo>
                      <a:pt x="26" y="30"/>
                    </a:lnTo>
                    <a:lnTo>
                      <a:pt x="26" y="30"/>
                    </a:lnTo>
                    <a:lnTo>
                      <a:pt x="26" y="30"/>
                    </a:lnTo>
                    <a:lnTo>
                      <a:pt x="26" y="33"/>
                    </a:lnTo>
                    <a:lnTo>
                      <a:pt x="26" y="33"/>
                    </a:lnTo>
                    <a:lnTo>
                      <a:pt x="29" y="33"/>
                    </a:lnTo>
                    <a:lnTo>
                      <a:pt x="33" y="33"/>
                    </a:lnTo>
                    <a:lnTo>
                      <a:pt x="33" y="30"/>
                    </a:lnTo>
                    <a:lnTo>
                      <a:pt x="33" y="30"/>
                    </a:lnTo>
                    <a:lnTo>
                      <a:pt x="36" y="30"/>
                    </a:lnTo>
                    <a:lnTo>
                      <a:pt x="36" y="28"/>
                    </a:lnTo>
                    <a:lnTo>
                      <a:pt x="36" y="28"/>
                    </a:lnTo>
                    <a:lnTo>
                      <a:pt x="38" y="28"/>
                    </a:lnTo>
                    <a:lnTo>
                      <a:pt x="36" y="33"/>
                    </a:lnTo>
                    <a:lnTo>
                      <a:pt x="38" y="33"/>
                    </a:lnTo>
                    <a:lnTo>
                      <a:pt x="38" y="35"/>
                    </a:lnTo>
                    <a:lnTo>
                      <a:pt x="38" y="35"/>
                    </a:lnTo>
                    <a:lnTo>
                      <a:pt x="38" y="35"/>
                    </a:lnTo>
                    <a:lnTo>
                      <a:pt x="40" y="35"/>
                    </a:lnTo>
                    <a:lnTo>
                      <a:pt x="40" y="35"/>
                    </a:lnTo>
                    <a:lnTo>
                      <a:pt x="40" y="37"/>
                    </a:lnTo>
                    <a:lnTo>
                      <a:pt x="43" y="37"/>
                    </a:lnTo>
                    <a:lnTo>
                      <a:pt x="43" y="37"/>
                    </a:lnTo>
                    <a:lnTo>
                      <a:pt x="45" y="37"/>
                    </a:lnTo>
                    <a:lnTo>
                      <a:pt x="45" y="40"/>
                    </a:lnTo>
                    <a:lnTo>
                      <a:pt x="45" y="40"/>
                    </a:lnTo>
                    <a:lnTo>
                      <a:pt x="48" y="42"/>
                    </a:lnTo>
                    <a:lnTo>
                      <a:pt x="48" y="42"/>
                    </a:lnTo>
                    <a:lnTo>
                      <a:pt x="50" y="40"/>
                    </a:lnTo>
                    <a:lnTo>
                      <a:pt x="50" y="40"/>
                    </a:lnTo>
                    <a:lnTo>
                      <a:pt x="52" y="40"/>
                    </a:lnTo>
                    <a:lnTo>
                      <a:pt x="52" y="40"/>
                    </a:lnTo>
                    <a:lnTo>
                      <a:pt x="52" y="40"/>
                    </a:lnTo>
                    <a:lnTo>
                      <a:pt x="52" y="40"/>
                    </a:lnTo>
                    <a:lnTo>
                      <a:pt x="55" y="37"/>
                    </a:lnTo>
                    <a:lnTo>
                      <a:pt x="52" y="37"/>
                    </a:lnTo>
                    <a:lnTo>
                      <a:pt x="52" y="35"/>
                    </a:lnTo>
                    <a:lnTo>
                      <a:pt x="52" y="35"/>
                    </a:lnTo>
                    <a:lnTo>
                      <a:pt x="52" y="35"/>
                    </a:lnTo>
                    <a:lnTo>
                      <a:pt x="52" y="35"/>
                    </a:lnTo>
                    <a:lnTo>
                      <a:pt x="52" y="33"/>
                    </a:lnTo>
                    <a:lnTo>
                      <a:pt x="52" y="33"/>
                    </a:lnTo>
                    <a:lnTo>
                      <a:pt x="52" y="33"/>
                    </a:lnTo>
                    <a:lnTo>
                      <a:pt x="52" y="30"/>
                    </a:lnTo>
                    <a:lnTo>
                      <a:pt x="55" y="30"/>
                    </a:lnTo>
                    <a:lnTo>
                      <a:pt x="55" y="28"/>
                    </a:lnTo>
                    <a:lnTo>
                      <a:pt x="57" y="28"/>
                    </a:lnTo>
                    <a:lnTo>
                      <a:pt x="57" y="28"/>
                    </a:lnTo>
                    <a:lnTo>
                      <a:pt x="57" y="28"/>
                    </a:lnTo>
                    <a:lnTo>
                      <a:pt x="57" y="28"/>
                    </a:lnTo>
                    <a:lnTo>
                      <a:pt x="57" y="28"/>
                    </a:lnTo>
                    <a:lnTo>
                      <a:pt x="59" y="26"/>
                    </a:lnTo>
                    <a:lnTo>
                      <a:pt x="62" y="26"/>
                    </a:lnTo>
                    <a:lnTo>
                      <a:pt x="62" y="23"/>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2" name="Freeform 204"/>
              <p:cNvSpPr>
                <a:spLocks/>
              </p:cNvSpPr>
              <p:nvPr/>
            </p:nvSpPr>
            <p:spPr bwMode="auto">
              <a:xfrm>
                <a:off x="3148" y="1623"/>
                <a:ext cx="149" cy="97"/>
              </a:xfrm>
              <a:custGeom>
                <a:avLst/>
                <a:gdLst>
                  <a:gd name="T0" fmla="*/ 142 w 149"/>
                  <a:gd name="T1" fmla="*/ 50 h 97"/>
                  <a:gd name="T2" fmla="*/ 133 w 149"/>
                  <a:gd name="T3" fmla="*/ 48 h 97"/>
                  <a:gd name="T4" fmla="*/ 131 w 149"/>
                  <a:gd name="T5" fmla="*/ 40 h 97"/>
                  <a:gd name="T6" fmla="*/ 121 w 149"/>
                  <a:gd name="T7" fmla="*/ 33 h 97"/>
                  <a:gd name="T8" fmla="*/ 114 w 149"/>
                  <a:gd name="T9" fmla="*/ 26 h 97"/>
                  <a:gd name="T10" fmla="*/ 116 w 149"/>
                  <a:gd name="T11" fmla="*/ 19 h 97"/>
                  <a:gd name="T12" fmla="*/ 114 w 149"/>
                  <a:gd name="T13" fmla="*/ 14 h 97"/>
                  <a:gd name="T14" fmla="*/ 112 w 149"/>
                  <a:gd name="T15" fmla="*/ 10 h 97"/>
                  <a:gd name="T16" fmla="*/ 104 w 149"/>
                  <a:gd name="T17" fmla="*/ 7 h 97"/>
                  <a:gd name="T18" fmla="*/ 95 w 149"/>
                  <a:gd name="T19" fmla="*/ 7 h 97"/>
                  <a:gd name="T20" fmla="*/ 90 w 149"/>
                  <a:gd name="T21" fmla="*/ 5 h 97"/>
                  <a:gd name="T22" fmla="*/ 83 w 149"/>
                  <a:gd name="T23" fmla="*/ 3 h 97"/>
                  <a:gd name="T24" fmla="*/ 74 w 149"/>
                  <a:gd name="T25" fmla="*/ 0 h 97"/>
                  <a:gd name="T26" fmla="*/ 69 w 149"/>
                  <a:gd name="T27" fmla="*/ 0 h 97"/>
                  <a:gd name="T28" fmla="*/ 60 w 149"/>
                  <a:gd name="T29" fmla="*/ 7 h 97"/>
                  <a:gd name="T30" fmla="*/ 50 w 149"/>
                  <a:gd name="T31" fmla="*/ 10 h 97"/>
                  <a:gd name="T32" fmla="*/ 45 w 149"/>
                  <a:gd name="T33" fmla="*/ 17 h 97"/>
                  <a:gd name="T34" fmla="*/ 50 w 149"/>
                  <a:gd name="T35" fmla="*/ 19 h 97"/>
                  <a:gd name="T36" fmla="*/ 43 w 149"/>
                  <a:gd name="T37" fmla="*/ 22 h 97"/>
                  <a:gd name="T38" fmla="*/ 36 w 149"/>
                  <a:gd name="T39" fmla="*/ 26 h 97"/>
                  <a:gd name="T40" fmla="*/ 34 w 149"/>
                  <a:gd name="T41" fmla="*/ 33 h 97"/>
                  <a:gd name="T42" fmla="*/ 36 w 149"/>
                  <a:gd name="T43" fmla="*/ 38 h 97"/>
                  <a:gd name="T44" fmla="*/ 34 w 149"/>
                  <a:gd name="T45" fmla="*/ 40 h 97"/>
                  <a:gd name="T46" fmla="*/ 29 w 149"/>
                  <a:gd name="T47" fmla="*/ 38 h 97"/>
                  <a:gd name="T48" fmla="*/ 22 w 149"/>
                  <a:gd name="T49" fmla="*/ 43 h 97"/>
                  <a:gd name="T50" fmla="*/ 12 w 149"/>
                  <a:gd name="T51" fmla="*/ 45 h 97"/>
                  <a:gd name="T52" fmla="*/ 3 w 149"/>
                  <a:gd name="T53" fmla="*/ 45 h 97"/>
                  <a:gd name="T54" fmla="*/ 10 w 149"/>
                  <a:gd name="T55" fmla="*/ 64 h 97"/>
                  <a:gd name="T56" fmla="*/ 3 w 149"/>
                  <a:gd name="T57" fmla="*/ 74 h 97"/>
                  <a:gd name="T58" fmla="*/ 3 w 149"/>
                  <a:gd name="T59" fmla="*/ 78 h 97"/>
                  <a:gd name="T60" fmla="*/ 7 w 149"/>
                  <a:gd name="T61" fmla="*/ 83 h 97"/>
                  <a:gd name="T62" fmla="*/ 7 w 149"/>
                  <a:gd name="T63" fmla="*/ 93 h 97"/>
                  <a:gd name="T64" fmla="*/ 12 w 149"/>
                  <a:gd name="T65" fmla="*/ 90 h 97"/>
                  <a:gd name="T66" fmla="*/ 19 w 149"/>
                  <a:gd name="T67" fmla="*/ 85 h 97"/>
                  <a:gd name="T68" fmla="*/ 31 w 149"/>
                  <a:gd name="T69" fmla="*/ 85 h 97"/>
                  <a:gd name="T70" fmla="*/ 52 w 149"/>
                  <a:gd name="T71" fmla="*/ 85 h 97"/>
                  <a:gd name="T72" fmla="*/ 64 w 149"/>
                  <a:gd name="T73" fmla="*/ 88 h 97"/>
                  <a:gd name="T74" fmla="*/ 74 w 149"/>
                  <a:gd name="T75" fmla="*/ 93 h 97"/>
                  <a:gd name="T76" fmla="*/ 76 w 149"/>
                  <a:gd name="T77" fmla="*/ 93 h 97"/>
                  <a:gd name="T78" fmla="*/ 86 w 149"/>
                  <a:gd name="T79" fmla="*/ 93 h 97"/>
                  <a:gd name="T80" fmla="*/ 90 w 149"/>
                  <a:gd name="T81" fmla="*/ 93 h 97"/>
                  <a:gd name="T82" fmla="*/ 95 w 149"/>
                  <a:gd name="T83" fmla="*/ 90 h 97"/>
                  <a:gd name="T84" fmla="*/ 102 w 149"/>
                  <a:gd name="T85" fmla="*/ 95 h 97"/>
                  <a:gd name="T86" fmla="*/ 114 w 149"/>
                  <a:gd name="T87" fmla="*/ 95 h 97"/>
                  <a:gd name="T88" fmla="*/ 121 w 149"/>
                  <a:gd name="T89" fmla="*/ 97 h 97"/>
                  <a:gd name="T90" fmla="*/ 119 w 149"/>
                  <a:gd name="T91" fmla="*/ 88 h 97"/>
                  <a:gd name="T92" fmla="*/ 128 w 149"/>
                  <a:gd name="T93" fmla="*/ 83 h 97"/>
                  <a:gd name="T94" fmla="*/ 135 w 149"/>
                  <a:gd name="T95" fmla="*/ 78 h 97"/>
                  <a:gd name="T96" fmla="*/ 133 w 149"/>
                  <a:gd name="T97" fmla="*/ 71 h 97"/>
                  <a:gd name="T98" fmla="*/ 131 w 149"/>
                  <a:gd name="T99" fmla="*/ 67 h 97"/>
                  <a:gd name="T100" fmla="*/ 128 w 149"/>
                  <a:gd name="T101" fmla="*/ 59 h 97"/>
                  <a:gd name="T102" fmla="*/ 135 w 149"/>
                  <a:gd name="T103" fmla="*/ 62 h 97"/>
                  <a:gd name="T104" fmla="*/ 147 w 149"/>
                  <a:gd name="T105" fmla="*/ 5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9" h="97">
                    <a:moveTo>
                      <a:pt x="149" y="55"/>
                    </a:moveTo>
                    <a:lnTo>
                      <a:pt x="149" y="55"/>
                    </a:lnTo>
                    <a:lnTo>
                      <a:pt x="147" y="55"/>
                    </a:lnTo>
                    <a:lnTo>
                      <a:pt x="145" y="52"/>
                    </a:lnTo>
                    <a:lnTo>
                      <a:pt x="145" y="52"/>
                    </a:lnTo>
                    <a:lnTo>
                      <a:pt x="142" y="50"/>
                    </a:lnTo>
                    <a:lnTo>
                      <a:pt x="145" y="50"/>
                    </a:lnTo>
                    <a:lnTo>
                      <a:pt x="145" y="50"/>
                    </a:lnTo>
                    <a:lnTo>
                      <a:pt x="140" y="48"/>
                    </a:lnTo>
                    <a:lnTo>
                      <a:pt x="135" y="48"/>
                    </a:lnTo>
                    <a:lnTo>
                      <a:pt x="133" y="48"/>
                    </a:lnTo>
                    <a:lnTo>
                      <a:pt x="133" y="48"/>
                    </a:lnTo>
                    <a:lnTo>
                      <a:pt x="133" y="45"/>
                    </a:lnTo>
                    <a:lnTo>
                      <a:pt x="133" y="45"/>
                    </a:lnTo>
                    <a:lnTo>
                      <a:pt x="133" y="43"/>
                    </a:lnTo>
                    <a:lnTo>
                      <a:pt x="133" y="43"/>
                    </a:lnTo>
                    <a:lnTo>
                      <a:pt x="133" y="43"/>
                    </a:lnTo>
                    <a:lnTo>
                      <a:pt x="131" y="40"/>
                    </a:lnTo>
                    <a:lnTo>
                      <a:pt x="126" y="38"/>
                    </a:lnTo>
                    <a:lnTo>
                      <a:pt x="123" y="38"/>
                    </a:lnTo>
                    <a:lnTo>
                      <a:pt x="123" y="36"/>
                    </a:lnTo>
                    <a:lnTo>
                      <a:pt x="121" y="33"/>
                    </a:lnTo>
                    <a:lnTo>
                      <a:pt x="121" y="33"/>
                    </a:lnTo>
                    <a:lnTo>
                      <a:pt x="121" y="33"/>
                    </a:lnTo>
                    <a:lnTo>
                      <a:pt x="121" y="31"/>
                    </a:lnTo>
                    <a:lnTo>
                      <a:pt x="121" y="31"/>
                    </a:lnTo>
                    <a:lnTo>
                      <a:pt x="121" y="31"/>
                    </a:lnTo>
                    <a:lnTo>
                      <a:pt x="119" y="29"/>
                    </a:lnTo>
                    <a:lnTo>
                      <a:pt x="114" y="26"/>
                    </a:lnTo>
                    <a:lnTo>
                      <a:pt x="114" y="26"/>
                    </a:lnTo>
                    <a:lnTo>
                      <a:pt x="114" y="26"/>
                    </a:lnTo>
                    <a:lnTo>
                      <a:pt x="114" y="24"/>
                    </a:lnTo>
                    <a:lnTo>
                      <a:pt x="116" y="24"/>
                    </a:lnTo>
                    <a:lnTo>
                      <a:pt x="116" y="22"/>
                    </a:lnTo>
                    <a:lnTo>
                      <a:pt x="116" y="22"/>
                    </a:lnTo>
                    <a:lnTo>
                      <a:pt x="116" y="19"/>
                    </a:lnTo>
                    <a:lnTo>
                      <a:pt x="114" y="19"/>
                    </a:lnTo>
                    <a:lnTo>
                      <a:pt x="114" y="17"/>
                    </a:lnTo>
                    <a:lnTo>
                      <a:pt x="114" y="17"/>
                    </a:lnTo>
                    <a:lnTo>
                      <a:pt x="114" y="17"/>
                    </a:lnTo>
                    <a:lnTo>
                      <a:pt x="114" y="17"/>
                    </a:lnTo>
                    <a:lnTo>
                      <a:pt x="114" y="14"/>
                    </a:lnTo>
                    <a:lnTo>
                      <a:pt x="114" y="12"/>
                    </a:lnTo>
                    <a:lnTo>
                      <a:pt x="114" y="12"/>
                    </a:lnTo>
                    <a:lnTo>
                      <a:pt x="114" y="12"/>
                    </a:lnTo>
                    <a:lnTo>
                      <a:pt x="114" y="12"/>
                    </a:lnTo>
                    <a:lnTo>
                      <a:pt x="112" y="12"/>
                    </a:lnTo>
                    <a:lnTo>
                      <a:pt x="112" y="10"/>
                    </a:lnTo>
                    <a:lnTo>
                      <a:pt x="112" y="10"/>
                    </a:lnTo>
                    <a:lnTo>
                      <a:pt x="109" y="10"/>
                    </a:lnTo>
                    <a:lnTo>
                      <a:pt x="109" y="10"/>
                    </a:lnTo>
                    <a:lnTo>
                      <a:pt x="107" y="7"/>
                    </a:lnTo>
                    <a:lnTo>
                      <a:pt x="107" y="7"/>
                    </a:lnTo>
                    <a:lnTo>
                      <a:pt x="104" y="7"/>
                    </a:lnTo>
                    <a:lnTo>
                      <a:pt x="100" y="7"/>
                    </a:lnTo>
                    <a:lnTo>
                      <a:pt x="100" y="7"/>
                    </a:lnTo>
                    <a:lnTo>
                      <a:pt x="97" y="7"/>
                    </a:lnTo>
                    <a:lnTo>
                      <a:pt x="97" y="7"/>
                    </a:lnTo>
                    <a:lnTo>
                      <a:pt x="95" y="7"/>
                    </a:lnTo>
                    <a:lnTo>
                      <a:pt x="95" y="7"/>
                    </a:lnTo>
                    <a:lnTo>
                      <a:pt x="95" y="7"/>
                    </a:lnTo>
                    <a:lnTo>
                      <a:pt x="93" y="10"/>
                    </a:lnTo>
                    <a:lnTo>
                      <a:pt x="90" y="10"/>
                    </a:lnTo>
                    <a:lnTo>
                      <a:pt x="90" y="7"/>
                    </a:lnTo>
                    <a:lnTo>
                      <a:pt x="90" y="7"/>
                    </a:lnTo>
                    <a:lnTo>
                      <a:pt x="90" y="5"/>
                    </a:lnTo>
                    <a:lnTo>
                      <a:pt x="90" y="5"/>
                    </a:lnTo>
                    <a:lnTo>
                      <a:pt x="90" y="5"/>
                    </a:lnTo>
                    <a:lnTo>
                      <a:pt x="88" y="5"/>
                    </a:lnTo>
                    <a:lnTo>
                      <a:pt x="86" y="3"/>
                    </a:lnTo>
                    <a:lnTo>
                      <a:pt x="83" y="3"/>
                    </a:lnTo>
                    <a:lnTo>
                      <a:pt x="83" y="3"/>
                    </a:lnTo>
                    <a:lnTo>
                      <a:pt x="81" y="5"/>
                    </a:lnTo>
                    <a:lnTo>
                      <a:pt x="81" y="5"/>
                    </a:lnTo>
                    <a:lnTo>
                      <a:pt x="78" y="3"/>
                    </a:lnTo>
                    <a:lnTo>
                      <a:pt x="78" y="3"/>
                    </a:lnTo>
                    <a:lnTo>
                      <a:pt x="76" y="0"/>
                    </a:lnTo>
                    <a:lnTo>
                      <a:pt x="74" y="0"/>
                    </a:lnTo>
                    <a:lnTo>
                      <a:pt x="74" y="3"/>
                    </a:lnTo>
                    <a:lnTo>
                      <a:pt x="74" y="3"/>
                    </a:lnTo>
                    <a:lnTo>
                      <a:pt x="74" y="3"/>
                    </a:lnTo>
                    <a:lnTo>
                      <a:pt x="71" y="0"/>
                    </a:lnTo>
                    <a:lnTo>
                      <a:pt x="69" y="0"/>
                    </a:lnTo>
                    <a:lnTo>
                      <a:pt x="69" y="0"/>
                    </a:lnTo>
                    <a:lnTo>
                      <a:pt x="67" y="3"/>
                    </a:lnTo>
                    <a:lnTo>
                      <a:pt x="64" y="5"/>
                    </a:lnTo>
                    <a:lnTo>
                      <a:pt x="64" y="5"/>
                    </a:lnTo>
                    <a:lnTo>
                      <a:pt x="62" y="7"/>
                    </a:lnTo>
                    <a:lnTo>
                      <a:pt x="62" y="7"/>
                    </a:lnTo>
                    <a:lnTo>
                      <a:pt x="60" y="7"/>
                    </a:lnTo>
                    <a:lnTo>
                      <a:pt x="60" y="7"/>
                    </a:lnTo>
                    <a:lnTo>
                      <a:pt x="57" y="7"/>
                    </a:lnTo>
                    <a:lnTo>
                      <a:pt x="55" y="7"/>
                    </a:lnTo>
                    <a:lnTo>
                      <a:pt x="52" y="7"/>
                    </a:lnTo>
                    <a:lnTo>
                      <a:pt x="50" y="10"/>
                    </a:lnTo>
                    <a:lnTo>
                      <a:pt x="50" y="10"/>
                    </a:lnTo>
                    <a:lnTo>
                      <a:pt x="48" y="10"/>
                    </a:lnTo>
                    <a:lnTo>
                      <a:pt x="48" y="10"/>
                    </a:lnTo>
                    <a:lnTo>
                      <a:pt x="48" y="10"/>
                    </a:lnTo>
                    <a:lnTo>
                      <a:pt x="48" y="12"/>
                    </a:lnTo>
                    <a:lnTo>
                      <a:pt x="48" y="14"/>
                    </a:lnTo>
                    <a:lnTo>
                      <a:pt x="45" y="17"/>
                    </a:lnTo>
                    <a:lnTo>
                      <a:pt x="45" y="17"/>
                    </a:lnTo>
                    <a:lnTo>
                      <a:pt x="48" y="17"/>
                    </a:lnTo>
                    <a:lnTo>
                      <a:pt x="50" y="17"/>
                    </a:lnTo>
                    <a:lnTo>
                      <a:pt x="50" y="17"/>
                    </a:lnTo>
                    <a:lnTo>
                      <a:pt x="50" y="17"/>
                    </a:lnTo>
                    <a:lnTo>
                      <a:pt x="50" y="19"/>
                    </a:lnTo>
                    <a:lnTo>
                      <a:pt x="50" y="19"/>
                    </a:lnTo>
                    <a:lnTo>
                      <a:pt x="50" y="19"/>
                    </a:lnTo>
                    <a:lnTo>
                      <a:pt x="48" y="22"/>
                    </a:lnTo>
                    <a:lnTo>
                      <a:pt x="43" y="19"/>
                    </a:lnTo>
                    <a:lnTo>
                      <a:pt x="43" y="22"/>
                    </a:lnTo>
                    <a:lnTo>
                      <a:pt x="43" y="22"/>
                    </a:lnTo>
                    <a:lnTo>
                      <a:pt x="43" y="22"/>
                    </a:lnTo>
                    <a:lnTo>
                      <a:pt x="43" y="24"/>
                    </a:lnTo>
                    <a:lnTo>
                      <a:pt x="41" y="24"/>
                    </a:lnTo>
                    <a:lnTo>
                      <a:pt x="38" y="24"/>
                    </a:lnTo>
                    <a:lnTo>
                      <a:pt x="38" y="24"/>
                    </a:lnTo>
                    <a:lnTo>
                      <a:pt x="36" y="26"/>
                    </a:lnTo>
                    <a:lnTo>
                      <a:pt x="36" y="29"/>
                    </a:lnTo>
                    <a:lnTo>
                      <a:pt x="36" y="31"/>
                    </a:lnTo>
                    <a:lnTo>
                      <a:pt x="36" y="31"/>
                    </a:lnTo>
                    <a:lnTo>
                      <a:pt x="36" y="31"/>
                    </a:lnTo>
                    <a:lnTo>
                      <a:pt x="36" y="33"/>
                    </a:lnTo>
                    <a:lnTo>
                      <a:pt x="34" y="33"/>
                    </a:lnTo>
                    <a:lnTo>
                      <a:pt x="34" y="36"/>
                    </a:lnTo>
                    <a:lnTo>
                      <a:pt x="34" y="36"/>
                    </a:lnTo>
                    <a:lnTo>
                      <a:pt x="34" y="36"/>
                    </a:lnTo>
                    <a:lnTo>
                      <a:pt x="36" y="36"/>
                    </a:lnTo>
                    <a:lnTo>
                      <a:pt x="36" y="38"/>
                    </a:lnTo>
                    <a:lnTo>
                      <a:pt x="36" y="38"/>
                    </a:lnTo>
                    <a:lnTo>
                      <a:pt x="38" y="38"/>
                    </a:lnTo>
                    <a:lnTo>
                      <a:pt x="38" y="40"/>
                    </a:lnTo>
                    <a:lnTo>
                      <a:pt x="38" y="40"/>
                    </a:lnTo>
                    <a:lnTo>
                      <a:pt x="36" y="40"/>
                    </a:lnTo>
                    <a:lnTo>
                      <a:pt x="34" y="40"/>
                    </a:lnTo>
                    <a:lnTo>
                      <a:pt x="34" y="40"/>
                    </a:lnTo>
                    <a:lnTo>
                      <a:pt x="34" y="40"/>
                    </a:lnTo>
                    <a:lnTo>
                      <a:pt x="34" y="38"/>
                    </a:lnTo>
                    <a:lnTo>
                      <a:pt x="34" y="38"/>
                    </a:lnTo>
                    <a:lnTo>
                      <a:pt x="34" y="38"/>
                    </a:lnTo>
                    <a:lnTo>
                      <a:pt x="31" y="38"/>
                    </a:lnTo>
                    <a:lnTo>
                      <a:pt x="29" y="38"/>
                    </a:lnTo>
                    <a:lnTo>
                      <a:pt x="29" y="38"/>
                    </a:lnTo>
                    <a:lnTo>
                      <a:pt x="26" y="40"/>
                    </a:lnTo>
                    <a:lnTo>
                      <a:pt x="26" y="40"/>
                    </a:lnTo>
                    <a:lnTo>
                      <a:pt x="24" y="40"/>
                    </a:lnTo>
                    <a:lnTo>
                      <a:pt x="22" y="40"/>
                    </a:lnTo>
                    <a:lnTo>
                      <a:pt x="22" y="43"/>
                    </a:lnTo>
                    <a:lnTo>
                      <a:pt x="22" y="43"/>
                    </a:lnTo>
                    <a:lnTo>
                      <a:pt x="19" y="43"/>
                    </a:lnTo>
                    <a:lnTo>
                      <a:pt x="17" y="45"/>
                    </a:lnTo>
                    <a:lnTo>
                      <a:pt x="15" y="45"/>
                    </a:lnTo>
                    <a:lnTo>
                      <a:pt x="15" y="45"/>
                    </a:lnTo>
                    <a:lnTo>
                      <a:pt x="12" y="45"/>
                    </a:lnTo>
                    <a:lnTo>
                      <a:pt x="12" y="45"/>
                    </a:lnTo>
                    <a:lnTo>
                      <a:pt x="10" y="45"/>
                    </a:lnTo>
                    <a:lnTo>
                      <a:pt x="10" y="45"/>
                    </a:lnTo>
                    <a:lnTo>
                      <a:pt x="7" y="45"/>
                    </a:lnTo>
                    <a:lnTo>
                      <a:pt x="5" y="45"/>
                    </a:lnTo>
                    <a:lnTo>
                      <a:pt x="3" y="45"/>
                    </a:lnTo>
                    <a:lnTo>
                      <a:pt x="3" y="45"/>
                    </a:lnTo>
                    <a:lnTo>
                      <a:pt x="5" y="50"/>
                    </a:lnTo>
                    <a:lnTo>
                      <a:pt x="7" y="57"/>
                    </a:lnTo>
                    <a:lnTo>
                      <a:pt x="10" y="62"/>
                    </a:lnTo>
                    <a:lnTo>
                      <a:pt x="10" y="62"/>
                    </a:lnTo>
                    <a:lnTo>
                      <a:pt x="10" y="64"/>
                    </a:lnTo>
                    <a:lnTo>
                      <a:pt x="10" y="67"/>
                    </a:lnTo>
                    <a:lnTo>
                      <a:pt x="10" y="69"/>
                    </a:lnTo>
                    <a:lnTo>
                      <a:pt x="10" y="69"/>
                    </a:lnTo>
                    <a:lnTo>
                      <a:pt x="10" y="69"/>
                    </a:lnTo>
                    <a:lnTo>
                      <a:pt x="5" y="71"/>
                    </a:lnTo>
                    <a:lnTo>
                      <a:pt x="3" y="74"/>
                    </a:lnTo>
                    <a:lnTo>
                      <a:pt x="0" y="74"/>
                    </a:lnTo>
                    <a:lnTo>
                      <a:pt x="0" y="76"/>
                    </a:lnTo>
                    <a:lnTo>
                      <a:pt x="0" y="76"/>
                    </a:lnTo>
                    <a:lnTo>
                      <a:pt x="0" y="78"/>
                    </a:lnTo>
                    <a:lnTo>
                      <a:pt x="0" y="78"/>
                    </a:lnTo>
                    <a:lnTo>
                      <a:pt x="3" y="78"/>
                    </a:lnTo>
                    <a:lnTo>
                      <a:pt x="5" y="81"/>
                    </a:lnTo>
                    <a:lnTo>
                      <a:pt x="5" y="81"/>
                    </a:lnTo>
                    <a:lnTo>
                      <a:pt x="7" y="81"/>
                    </a:lnTo>
                    <a:lnTo>
                      <a:pt x="7" y="83"/>
                    </a:lnTo>
                    <a:lnTo>
                      <a:pt x="7" y="83"/>
                    </a:lnTo>
                    <a:lnTo>
                      <a:pt x="7" y="83"/>
                    </a:lnTo>
                    <a:lnTo>
                      <a:pt x="7" y="85"/>
                    </a:lnTo>
                    <a:lnTo>
                      <a:pt x="7" y="88"/>
                    </a:lnTo>
                    <a:lnTo>
                      <a:pt x="7" y="88"/>
                    </a:lnTo>
                    <a:lnTo>
                      <a:pt x="7" y="90"/>
                    </a:lnTo>
                    <a:lnTo>
                      <a:pt x="7" y="90"/>
                    </a:lnTo>
                    <a:lnTo>
                      <a:pt x="7" y="93"/>
                    </a:lnTo>
                    <a:lnTo>
                      <a:pt x="7" y="93"/>
                    </a:lnTo>
                    <a:lnTo>
                      <a:pt x="7" y="90"/>
                    </a:lnTo>
                    <a:lnTo>
                      <a:pt x="7" y="90"/>
                    </a:lnTo>
                    <a:lnTo>
                      <a:pt x="10" y="90"/>
                    </a:lnTo>
                    <a:lnTo>
                      <a:pt x="10" y="90"/>
                    </a:lnTo>
                    <a:lnTo>
                      <a:pt x="12" y="90"/>
                    </a:lnTo>
                    <a:lnTo>
                      <a:pt x="12" y="93"/>
                    </a:lnTo>
                    <a:lnTo>
                      <a:pt x="15" y="93"/>
                    </a:lnTo>
                    <a:lnTo>
                      <a:pt x="17" y="90"/>
                    </a:lnTo>
                    <a:lnTo>
                      <a:pt x="17" y="88"/>
                    </a:lnTo>
                    <a:lnTo>
                      <a:pt x="19" y="85"/>
                    </a:lnTo>
                    <a:lnTo>
                      <a:pt x="19" y="85"/>
                    </a:lnTo>
                    <a:lnTo>
                      <a:pt x="22" y="85"/>
                    </a:lnTo>
                    <a:lnTo>
                      <a:pt x="24" y="85"/>
                    </a:lnTo>
                    <a:lnTo>
                      <a:pt x="24" y="85"/>
                    </a:lnTo>
                    <a:lnTo>
                      <a:pt x="26" y="85"/>
                    </a:lnTo>
                    <a:lnTo>
                      <a:pt x="29" y="85"/>
                    </a:lnTo>
                    <a:lnTo>
                      <a:pt x="31" y="85"/>
                    </a:lnTo>
                    <a:lnTo>
                      <a:pt x="34" y="85"/>
                    </a:lnTo>
                    <a:lnTo>
                      <a:pt x="38" y="85"/>
                    </a:lnTo>
                    <a:lnTo>
                      <a:pt x="43" y="85"/>
                    </a:lnTo>
                    <a:lnTo>
                      <a:pt x="43" y="85"/>
                    </a:lnTo>
                    <a:lnTo>
                      <a:pt x="50" y="85"/>
                    </a:lnTo>
                    <a:lnTo>
                      <a:pt x="52" y="85"/>
                    </a:lnTo>
                    <a:lnTo>
                      <a:pt x="52" y="88"/>
                    </a:lnTo>
                    <a:lnTo>
                      <a:pt x="55" y="88"/>
                    </a:lnTo>
                    <a:lnTo>
                      <a:pt x="57" y="88"/>
                    </a:lnTo>
                    <a:lnTo>
                      <a:pt x="62" y="88"/>
                    </a:lnTo>
                    <a:lnTo>
                      <a:pt x="62" y="88"/>
                    </a:lnTo>
                    <a:lnTo>
                      <a:pt x="64" y="88"/>
                    </a:lnTo>
                    <a:lnTo>
                      <a:pt x="67" y="90"/>
                    </a:lnTo>
                    <a:lnTo>
                      <a:pt x="67" y="93"/>
                    </a:lnTo>
                    <a:lnTo>
                      <a:pt x="67" y="93"/>
                    </a:lnTo>
                    <a:lnTo>
                      <a:pt x="69" y="90"/>
                    </a:lnTo>
                    <a:lnTo>
                      <a:pt x="71" y="93"/>
                    </a:lnTo>
                    <a:lnTo>
                      <a:pt x="74" y="93"/>
                    </a:lnTo>
                    <a:lnTo>
                      <a:pt x="74" y="93"/>
                    </a:lnTo>
                    <a:lnTo>
                      <a:pt x="74" y="95"/>
                    </a:lnTo>
                    <a:lnTo>
                      <a:pt x="74" y="95"/>
                    </a:lnTo>
                    <a:lnTo>
                      <a:pt x="74" y="93"/>
                    </a:lnTo>
                    <a:lnTo>
                      <a:pt x="76" y="93"/>
                    </a:lnTo>
                    <a:lnTo>
                      <a:pt x="76" y="93"/>
                    </a:lnTo>
                    <a:lnTo>
                      <a:pt x="78" y="93"/>
                    </a:lnTo>
                    <a:lnTo>
                      <a:pt x="78" y="93"/>
                    </a:lnTo>
                    <a:lnTo>
                      <a:pt x="81" y="93"/>
                    </a:lnTo>
                    <a:lnTo>
                      <a:pt x="81" y="90"/>
                    </a:lnTo>
                    <a:lnTo>
                      <a:pt x="83" y="93"/>
                    </a:lnTo>
                    <a:lnTo>
                      <a:pt x="86" y="93"/>
                    </a:lnTo>
                    <a:lnTo>
                      <a:pt x="86" y="93"/>
                    </a:lnTo>
                    <a:lnTo>
                      <a:pt x="88" y="93"/>
                    </a:lnTo>
                    <a:lnTo>
                      <a:pt x="88" y="95"/>
                    </a:lnTo>
                    <a:lnTo>
                      <a:pt x="90" y="95"/>
                    </a:lnTo>
                    <a:lnTo>
                      <a:pt x="90" y="95"/>
                    </a:lnTo>
                    <a:lnTo>
                      <a:pt x="90" y="93"/>
                    </a:lnTo>
                    <a:lnTo>
                      <a:pt x="93" y="93"/>
                    </a:lnTo>
                    <a:lnTo>
                      <a:pt x="93" y="93"/>
                    </a:lnTo>
                    <a:lnTo>
                      <a:pt x="93" y="93"/>
                    </a:lnTo>
                    <a:lnTo>
                      <a:pt x="95" y="93"/>
                    </a:lnTo>
                    <a:lnTo>
                      <a:pt x="95" y="90"/>
                    </a:lnTo>
                    <a:lnTo>
                      <a:pt x="95" y="90"/>
                    </a:lnTo>
                    <a:lnTo>
                      <a:pt x="95" y="90"/>
                    </a:lnTo>
                    <a:lnTo>
                      <a:pt x="97" y="93"/>
                    </a:lnTo>
                    <a:lnTo>
                      <a:pt x="97" y="93"/>
                    </a:lnTo>
                    <a:lnTo>
                      <a:pt x="100" y="95"/>
                    </a:lnTo>
                    <a:lnTo>
                      <a:pt x="100" y="95"/>
                    </a:lnTo>
                    <a:lnTo>
                      <a:pt x="102" y="95"/>
                    </a:lnTo>
                    <a:lnTo>
                      <a:pt x="102" y="95"/>
                    </a:lnTo>
                    <a:lnTo>
                      <a:pt x="104" y="95"/>
                    </a:lnTo>
                    <a:lnTo>
                      <a:pt x="109" y="95"/>
                    </a:lnTo>
                    <a:lnTo>
                      <a:pt x="112" y="95"/>
                    </a:lnTo>
                    <a:lnTo>
                      <a:pt x="114" y="95"/>
                    </a:lnTo>
                    <a:lnTo>
                      <a:pt x="114" y="95"/>
                    </a:lnTo>
                    <a:lnTo>
                      <a:pt x="116" y="95"/>
                    </a:lnTo>
                    <a:lnTo>
                      <a:pt x="116" y="97"/>
                    </a:lnTo>
                    <a:lnTo>
                      <a:pt x="119" y="97"/>
                    </a:lnTo>
                    <a:lnTo>
                      <a:pt x="119" y="97"/>
                    </a:lnTo>
                    <a:lnTo>
                      <a:pt x="119" y="97"/>
                    </a:lnTo>
                    <a:lnTo>
                      <a:pt x="121" y="97"/>
                    </a:lnTo>
                    <a:lnTo>
                      <a:pt x="121" y="95"/>
                    </a:lnTo>
                    <a:lnTo>
                      <a:pt x="121" y="95"/>
                    </a:lnTo>
                    <a:lnTo>
                      <a:pt x="119" y="93"/>
                    </a:lnTo>
                    <a:lnTo>
                      <a:pt x="119" y="93"/>
                    </a:lnTo>
                    <a:lnTo>
                      <a:pt x="119" y="90"/>
                    </a:lnTo>
                    <a:lnTo>
                      <a:pt x="119" y="88"/>
                    </a:lnTo>
                    <a:lnTo>
                      <a:pt x="121" y="88"/>
                    </a:lnTo>
                    <a:lnTo>
                      <a:pt x="121" y="85"/>
                    </a:lnTo>
                    <a:lnTo>
                      <a:pt x="123" y="85"/>
                    </a:lnTo>
                    <a:lnTo>
                      <a:pt x="123" y="83"/>
                    </a:lnTo>
                    <a:lnTo>
                      <a:pt x="126" y="81"/>
                    </a:lnTo>
                    <a:lnTo>
                      <a:pt x="128" y="83"/>
                    </a:lnTo>
                    <a:lnTo>
                      <a:pt x="128" y="83"/>
                    </a:lnTo>
                    <a:lnTo>
                      <a:pt x="131" y="81"/>
                    </a:lnTo>
                    <a:lnTo>
                      <a:pt x="133" y="81"/>
                    </a:lnTo>
                    <a:lnTo>
                      <a:pt x="138" y="81"/>
                    </a:lnTo>
                    <a:lnTo>
                      <a:pt x="138" y="81"/>
                    </a:lnTo>
                    <a:lnTo>
                      <a:pt x="135" y="78"/>
                    </a:lnTo>
                    <a:lnTo>
                      <a:pt x="135" y="78"/>
                    </a:lnTo>
                    <a:lnTo>
                      <a:pt x="133" y="78"/>
                    </a:lnTo>
                    <a:lnTo>
                      <a:pt x="133" y="76"/>
                    </a:lnTo>
                    <a:lnTo>
                      <a:pt x="133" y="74"/>
                    </a:lnTo>
                    <a:lnTo>
                      <a:pt x="133" y="74"/>
                    </a:lnTo>
                    <a:lnTo>
                      <a:pt x="133" y="71"/>
                    </a:lnTo>
                    <a:lnTo>
                      <a:pt x="133" y="71"/>
                    </a:lnTo>
                    <a:lnTo>
                      <a:pt x="131" y="69"/>
                    </a:lnTo>
                    <a:lnTo>
                      <a:pt x="133" y="69"/>
                    </a:lnTo>
                    <a:lnTo>
                      <a:pt x="133" y="69"/>
                    </a:lnTo>
                    <a:lnTo>
                      <a:pt x="131" y="67"/>
                    </a:lnTo>
                    <a:lnTo>
                      <a:pt x="131" y="67"/>
                    </a:lnTo>
                    <a:lnTo>
                      <a:pt x="128" y="64"/>
                    </a:lnTo>
                    <a:lnTo>
                      <a:pt x="128" y="64"/>
                    </a:lnTo>
                    <a:lnTo>
                      <a:pt x="126" y="62"/>
                    </a:lnTo>
                    <a:lnTo>
                      <a:pt x="128" y="62"/>
                    </a:lnTo>
                    <a:lnTo>
                      <a:pt x="128" y="59"/>
                    </a:lnTo>
                    <a:lnTo>
                      <a:pt x="128" y="59"/>
                    </a:lnTo>
                    <a:lnTo>
                      <a:pt x="128" y="59"/>
                    </a:lnTo>
                    <a:lnTo>
                      <a:pt x="131" y="59"/>
                    </a:lnTo>
                    <a:lnTo>
                      <a:pt x="133" y="59"/>
                    </a:lnTo>
                    <a:lnTo>
                      <a:pt x="133" y="59"/>
                    </a:lnTo>
                    <a:lnTo>
                      <a:pt x="135" y="59"/>
                    </a:lnTo>
                    <a:lnTo>
                      <a:pt x="135" y="62"/>
                    </a:lnTo>
                    <a:lnTo>
                      <a:pt x="140" y="62"/>
                    </a:lnTo>
                    <a:lnTo>
                      <a:pt x="140" y="62"/>
                    </a:lnTo>
                    <a:lnTo>
                      <a:pt x="142" y="59"/>
                    </a:lnTo>
                    <a:lnTo>
                      <a:pt x="145" y="59"/>
                    </a:lnTo>
                    <a:lnTo>
                      <a:pt x="145" y="57"/>
                    </a:lnTo>
                    <a:lnTo>
                      <a:pt x="147" y="57"/>
                    </a:lnTo>
                    <a:lnTo>
                      <a:pt x="147" y="57"/>
                    </a:lnTo>
                    <a:lnTo>
                      <a:pt x="149" y="57"/>
                    </a:lnTo>
                    <a:lnTo>
                      <a:pt x="149" y="55"/>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15" name="Freeform 206"/>
            <p:cNvSpPr>
              <a:spLocks/>
            </p:cNvSpPr>
            <p:nvPr/>
          </p:nvSpPr>
          <p:spPr bwMode="auto">
            <a:xfrm>
              <a:off x="1646" y="2518"/>
              <a:ext cx="3" cy="5"/>
            </a:xfrm>
            <a:custGeom>
              <a:avLst/>
              <a:gdLst>
                <a:gd name="T0" fmla="*/ 3 w 3"/>
                <a:gd name="T1" fmla="*/ 3 h 5"/>
                <a:gd name="T2" fmla="*/ 0 w 3"/>
                <a:gd name="T3" fmla="*/ 0 h 5"/>
                <a:gd name="T4" fmla="*/ 0 w 3"/>
                <a:gd name="T5" fmla="*/ 0 h 5"/>
                <a:gd name="T6" fmla="*/ 0 w 3"/>
                <a:gd name="T7" fmla="*/ 5 h 5"/>
                <a:gd name="T8" fmla="*/ 0 w 3"/>
                <a:gd name="T9" fmla="*/ 5 h 5"/>
                <a:gd name="T10" fmla="*/ 3 w 3"/>
                <a:gd name="T11" fmla="*/ 5 h 5"/>
                <a:gd name="T12" fmla="*/ 3 w 3"/>
                <a:gd name="T13" fmla="*/ 5 h 5"/>
                <a:gd name="T14" fmla="*/ 3 w 3"/>
                <a:gd name="T15" fmla="*/ 5 h 5"/>
                <a:gd name="T16" fmla="*/ 3 w 3"/>
                <a:gd name="T17"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5">
                  <a:moveTo>
                    <a:pt x="3" y="3"/>
                  </a:moveTo>
                  <a:lnTo>
                    <a:pt x="0" y="0"/>
                  </a:lnTo>
                  <a:lnTo>
                    <a:pt x="0" y="0"/>
                  </a:lnTo>
                  <a:lnTo>
                    <a:pt x="0" y="5"/>
                  </a:lnTo>
                  <a:lnTo>
                    <a:pt x="0" y="5"/>
                  </a:lnTo>
                  <a:lnTo>
                    <a:pt x="3" y="5"/>
                  </a:lnTo>
                  <a:lnTo>
                    <a:pt x="3" y="5"/>
                  </a:lnTo>
                  <a:lnTo>
                    <a:pt x="3" y="5"/>
                  </a:lnTo>
                  <a:lnTo>
                    <a:pt x="3" y="3"/>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 name="Freeform 207"/>
            <p:cNvSpPr>
              <a:spLocks noEditPoints="1"/>
            </p:cNvSpPr>
            <p:nvPr/>
          </p:nvSpPr>
          <p:spPr bwMode="auto">
            <a:xfrm>
              <a:off x="4350" y="2239"/>
              <a:ext cx="97" cy="121"/>
            </a:xfrm>
            <a:custGeom>
              <a:avLst/>
              <a:gdLst>
                <a:gd name="T0" fmla="*/ 83 w 97"/>
                <a:gd name="T1" fmla="*/ 106 h 121"/>
                <a:gd name="T2" fmla="*/ 81 w 97"/>
                <a:gd name="T3" fmla="*/ 99 h 121"/>
                <a:gd name="T4" fmla="*/ 66 w 97"/>
                <a:gd name="T5" fmla="*/ 92 h 121"/>
                <a:gd name="T6" fmla="*/ 71 w 97"/>
                <a:gd name="T7" fmla="*/ 83 h 121"/>
                <a:gd name="T8" fmla="*/ 59 w 97"/>
                <a:gd name="T9" fmla="*/ 83 h 121"/>
                <a:gd name="T10" fmla="*/ 54 w 97"/>
                <a:gd name="T11" fmla="*/ 83 h 121"/>
                <a:gd name="T12" fmla="*/ 62 w 97"/>
                <a:gd name="T13" fmla="*/ 95 h 121"/>
                <a:gd name="T14" fmla="*/ 54 w 97"/>
                <a:gd name="T15" fmla="*/ 76 h 121"/>
                <a:gd name="T16" fmla="*/ 95 w 97"/>
                <a:gd name="T17" fmla="*/ 104 h 121"/>
                <a:gd name="T18" fmla="*/ 90 w 97"/>
                <a:gd name="T19" fmla="*/ 80 h 121"/>
                <a:gd name="T20" fmla="*/ 85 w 97"/>
                <a:gd name="T21" fmla="*/ 64 h 121"/>
                <a:gd name="T22" fmla="*/ 78 w 97"/>
                <a:gd name="T23" fmla="*/ 61 h 121"/>
                <a:gd name="T24" fmla="*/ 76 w 97"/>
                <a:gd name="T25" fmla="*/ 73 h 121"/>
                <a:gd name="T26" fmla="*/ 69 w 97"/>
                <a:gd name="T27" fmla="*/ 71 h 121"/>
                <a:gd name="T28" fmla="*/ 69 w 97"/>
                <a:gd name="T29" fmla="*/ 73 h 121"/>
                <a:gd name="T30" fmla="*/ 66 w 97"/>
                <a:gd name="T31" fmla="*/ 52 h 121"/>
                <a:gd name="T32" fmla="*/ 71 w 97"/>
                <a:gd name="T33" fmla="*/ 50 h 121"/>
                <a:gd name="T34" fmla="*/ 76 w 97"/>
                <a:gd name="T35" fmla="*/ 45 h 121"/>
                <a:gd name="T36" fmla="*/ 81 w 97"/>
                <a:gd name="T37" fmla="*/ 38 h 121"/>
                <a:gd name="T38" fmla="*/ 83 w 97"/>
                <a:gd name="T39" fmla="*/ 33 h 121"/>
                <a:gd name="T40" fmla="*/ 62 w 97"/>
                <a:gd name="T41" fmla="*/ 28 h 121"/>
                <a:gd name="T42" fmla="*/ 40 w 97"/>
                <a:gd name="T43" fmla="*/ 28 h 121"/>
                <a:gd name="T44" fmla="*/ 33 w 97"/>
                <a:gd name="T45" fmla="*/ 21 h 121"/>
                <a:gd name="T46" fmla="*/ 26 w 97"/>
                <a:gd name="T47" fmla="*/ 9 h 121"/>
                <a:gd name="T48" fmla="*/ 19 w 97"/>
                <a:gd name="T49" fmla="*/ 7 h 121"/>
                <a:gd name="T50" fmla="*/ 14 w 97"/>
                <a:gd name="T51" fmla="*/ 5 h 121"/>
                <a:gd name="T52" fmla="*/ 12 w 97"/>
                <a:gd name="T53" fmla="*/ 5 h 121"/>
                <a:gd name="T54" fmla="*/ 2 w 97"/>
                <a:gd name="T55" fmla="*/ 0 h 121"/>
                <a:gd name="T56" fmla="*/ 5 w 97"/>
                <a:gd name="T57" fmla="*/ 7 h 121"/>
                <a:gd name="T58" fmla="*/ 2 w 97"/>
                <a:gd name="T59" fmla="*/ 16 h 121"/>
                <a:gd name="T60" fmla="*/ 14 w 97"/>
                <a:gd name="T61" fmla="*/ 24 h 121"/>
                <a:gd name="T62" fmla="*/ 17 w 97"/>
                <a:gd name="T63" fmla="*/ 28 h 121"/>
                <a:gd name="T64" fmla="*/ 7 w 97"/>
                <a:gd name="T65" fmla="*/ 35 h 121"/>
                <a:gd name="T66" fmla="*/ 7 w 97"/>
                <a:gd name="T67" fmla="*/ 42 h 121"/>
                <a:gd name="T68" fmla="*/ 17 w 97"/>
                <a:gd name="T69" fmla="*/ 47 h 121"/>
                <a:gd name="T70" fmla="*/ 17 w 97"/>
                <a:gd name="T71" fmla="*/ 61 h 121"/>
                <a:gd name="T72" fmla="*/ 21 w 97"/>
                <a:gd name="T73" fmla="*/ 71 h 121"/>
                <a:gd name="T74" fmla="*/ 26 w 97"/>
                <a:gd name="T75" fmla="*/ 83 h 121"/>
                <a:gd name="T76" fmla="*/ 31 w 97"/>
                <a:gd name="T77" fmla="*/ 99 h 121"/>
                <a:gd name="T78" fmla="*/ 38 w 97"/>
                <a:gd name="T79" fmla="*/ 95 h 121"/>
                <a:gd name="T80" fmla="*/ 40 w 97"/>
                <a:gd name="T81" fmla="*/ 99 h 121"/>
                <a:gd name="T82" fmla="*/ 45 w 97"/>
                <a:gd name="T83" fmla="*/ 85 h 121"/>
                <a:gd name="T84" fmla="*/ 50 w 97"/>
                <a:gd name="T85" fmla="*/ 92 h 121"/>
                <a:gd name="T86" fmla="*/ 52 w 97"/>
                <a:gd name="T87" fmla="*/ 99 h 121"/>
                <a:gd name="T88" fmla="*/ 54 w 97"/>
                <a:gd name="T89" fmla="*/ 85 h 121"/>
                <a:gd name="T90" fmla="*/ 54 w 97"/>
                <a:gd name="T91" fmla="*/ 78 h 121"/>
                <a:gd name="T92" fmla="*/ 52 w 97"/>
                <a:gd name="T93" fmla="*/ 69 h 121"/>
                <a:gd name="T94" fmla="*/ 52 w 97"/>
                <a:gd name="T95" fmla="*/ 64 h 121"/>
                <a:gd name="T96" fmla="*/ 59 w 97"/>
                <a:gd name="T97" fmla="*/ 80 h 121"/>
                <a:gd name="T98" fmla="*/ 71 w 97"/>
                <a:gd name="T99" fmla="*/ 78 h 121"/>
                <a:gd name="T100" fmla="*/ 81 w 97"/>
                <a:gd name="T101" fmla="*/ 90 h 121"/>
                <a:gd name="T102" fmla="*/ 90 w 97"/>
                <a:gd name="T103" fmla="*/ 118 h 121"/>
                <a:gd name="T104" fmla="*/ 90 w 97"/>
                <a:gd name="T105" fmla="*/ 116 h 121"/>
                <a:gd name="T106" fmla="*/ 92 w 97"/>
                <a:gd name="T107" fmla="*/ 109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7" h="121">
                  <a:moveTo>
                    <a:pt x="83" y="102"/>
                  </a:moveTo>
                  <a:lnTo>
                    <a:pt x="83" y="102"/>
                  </a:lnTo>
                  <a:lnTo>
                    <a:pt x="83" y="102"/>
                  </a:lnTo>
                  <a:lnTo>
                    <a:pt x="81" y="102"/>
                  </a:lnTo>
                  <a:lnTo>
                    <a:pt x="83" y="104"/>
                  </a:lnTo>
                  <a:lnTo>
                    <a:pt x="83" y="106"/>
                  </a:lnTo>
                  <a:lnTo>
                    <a:pt x="83" y="106"/>
                  </a:lnTo>
                  <a:lnTo>
                    <a:pt x="83" y="106"/>
                  </a:lnTo>
                  <a:lnTo>
                    <a:pt x="83" y="104"/>
                  </a:lnTo>
                  <a:lnTo>
                    <a:pt x="83" y="102"/>
                  </a:lnTo>
                  <a:close/>
                  <a:moveTo>
                    <a:pt x="81" y="97"/>
                  </a:moveTo>
                  <a:lnTo>
                    <a:pt x="81" y="97"/>
                  </a:lnTo>
                  <a:lnTo>
                    <a:pt x="81" y="99"/>
                  </a:lnTo>
                  <a:lnTo>
                    <a:pt x="81" y="99"/>
                  </a:lnTo>
                  <a:lnTo>
                    <a:pt x="81" y="102"/>
                  </a:lnTo>
                  <a:lnTo>
                    <a:pt x="81" y="99"/>
                  </a:lnTo>
                  <a:lnTo>
                    <a:pt x="81" y="99"/>
                  </a:lnTo>
                  <a:lnTo>
                    <a:pt x="81" y="97"/>
                  </a:lnTo>
                  <a:close/>
                  <a:moveTo>
                    <a:pt x="64" y="85"/>
                  </a:moveTo>
                  <a:lnTo>
                    <a:pt x="66" y="95"/>
                  </a:lnTo>
                  <a:lnTo>
                    <a:pt x="66" y="92"/>
                  </a:lnTo>
                  <a:lnTo>
                    <a:pt x="69" y="90"/>
                  </a:lnTo>
                  <a:lnTo>
                    <a:pt x="66" y="87"/>
                  </a:lnTo>
                  <a:lnTo>
                    <a:pt x="64" y="85"/>
                  </a:lnTo>
                  <a:close/>
                  <a:moveTo>
                    <a:pt x="73" y="85"/>
                  </a:moveTo>
                  <a:lnTo>
                    <a:pt x="73" y="83"/>
                  </a:lnTo>
                  <a:lnTo>
                    <a:pt x="71" y="83"/>
                  </a:lnTo>
                  <a:lnTo>
                    <a:pt x="71" y="83"/>
                  </a:lnTo>
                  <a:lnTo>
                    <a:pt x="71" y="85"/>
                  </a:lnTo>
                  <a:lnTo>
                    <a:pt x="73" y="87"/>
                  </a:lnTo>
                  <a:lnTo>
                    <a:pt x="73" y="87"/>
                  </a:lnTo>
                  <a:lnTo>
                    <a:pt x="73" y="87"/>
                  </a:lnTo>
                  <a:lnTo>
                    <a:pt x="73" y="87"/>
                  </a:lnTo>
                  <a:lnTo>
                    <a:pt x="73" y="85"/>
                  </a:lnTo>
                  <a:close/>
                  <a:moveTo>
                    <a:pt x="59" y="83"/>
                  </a:moveTo>
                  <a:lnTo>
                    <a:pt x="57" y="80"/>
                  </a:lnTo>
                  <a:lnTo>
                    <a:pt x="57" y="80"/>
                  </a:lnTo>
                  <a:lnTo>
                    <a:pt x="57" y="78"/>
                  </a:lnTo>
                  <a:lnTo>
                    <a:pt x="54" y="78"/>
                  </a:lnTo>
                  <a:lnTo>
                    <a:pt x="54" y="78"/>
                  </a:lnTo>
                  <a:lnTo>
                    <a:pt x="54" y="80"/>
                  </a:lnTo>
                  <a:lnTo>
                    <a:pt x="54" y="83"/>
                  </a:lnTo>
                  <a:lnTo>
                    <a:pt x="54" y="83"/>
                  </a:lnTo>
                  <a:lnTo>
                    <a:pt x="57" y="85"/>
                  </a:lnTo>
                  <a:lnTo>
                    <a:pt x="57" y="87"/>
                  </a:lnTo>
                  <a:lnTo>
                    <a:pt x="59" y="90"/>
                  </a:lnTo>
                  <a:lnTo>
                    <a:pt x="57" y="95"/>
                  </a:lnTo>
                  <a:lnTo>
                    <a:pt x="57" y="95"/>
                  </a:lnTo>
                  <a:lnTo>
                    <a:pt x="62" y="95"/>
                  </a:lnTo>
                  <a:lnTo>
                    <a:pt x="62" y="92"/>
                  </a:lnTo>
                  <a:lnTo>
                    <a:pt x="62" y="87"/>
                  </a:lnTo>
                  <a:lnTo>
                    <a:pt x="62" y="85"/>
                  </a:lnTo>
                  <a:lnTo>
                    <a:pt x="59" y="83"/>
                  </a:lnTo>
                  <a:close/>
                  <a:moveTo>
                    <a:pt x="57" y="76"/>
                  </a:moveTo>
                  <a:lnTo>
                    <a:pt x="54" y="73"/>
                  </a:lnTo>
                  <a:lnTo>
                    <a:pt x="54" y="76"/>
                  </a:lnTo>
                  <a:lnTo>
                    <a:pt x="54" y="76"/>
                  </a:lnTo>
                  <a:lnTo>
                    <a:pt x="54" y="76"/>
                  </a:lnTo>
                  <a:lnTo>
                    <a:pt x="57" y="76"/>
                  </a:lnTo>
                  <a:lnTo>
                    <a:pt x="57" y="76"/>
                  </a:lnTo>
                  <a:close/>
                  <a:moveTo>
                    <a:pt x="97" y="109"/>
                  </a:moveTo>
                  <a:lnTo>
                    <a:pt x="95" y="106"/>
                  </a:lnTo>
                  <a:lnTo>
                    <a:pt x="95" y="104"/>
                  </a:lnTo>
                  <a:lnTo>
                    <a:pt x="95" y="97"/>
                  </a:lnTo>
                  <a:lnTo>
                    <a:pt x="95" y="97"/>
                  </a:lnTo>
                  <a:lnTo>
                    <a:pt x="92" y="95"/>
                  </a:lnTo>
                  <a:lnTo>
                    <a:pt x="92" y="87"/>
                  </a:lnTo>
                  <a:lnTo>
                    <a:pt x="92" y="85"/>
                  </a:lnTo>
                  <a:lnTo>
                    <a:pt x="90" y="80"/>
                  </a:lnTo>
                  <a:lnTo>
                    <a:pt x="90" y="80"/>
                  </a:lnTo>
                  <a:lnTo>
                    <a:pt x="90" y="78"/>
                  </a:lnTo>
                  <a:lnTo>
                    <a:pt x="88" y="78"/>
                  </a:lnTo>
                  <a:lnTo>
                    <a:pt x="88" y="76"/>
                  </a:lnTo>
                  <a:lnTo>
                    <a:pt x="88" y="73"/>
                  </a:lnTo>
                  <a:lnTo>
                    <a:pt x="85" y="71"/>
                  </a:lnTo>
                  <a:lnTo>
                    <a:pt x="85" y="69"/>
                  </a:lnTo>
                  <a:lnTo>
                    <a:pt x="85" y="64"/>
                  </a:lnTo>
                  <a:lnTo>
                    <a:pt x="83" y="61"/>
                  </a:lnTo>
                  <a:lnTo>
                    <a:pt x="83" y="61"/>
                  </a:lnTo>
                  <a:lnTo>
                    <a:pt x="81" y="59"/>
                  </a:lnTo>
                  <a:lnTo>
                    <a:pt x="81" y="59"/>
                  </a:lnTo>
                  <a:lnTo>
                    <a:pt x="81" y="61"/>
                  </a:lnTo>
                  <a:lnTo>
                    <a:pt x="78" y="61"/>
                  </a:lnTo>
                  <a:lnTo>
                    <a:pt x="78" y="61"/>
                  </a:lnTo>
                  <a:lnTo>
                    <a:pt x="78" y="61"/>
                  </a:lnTo>
                  <a:lnTo>
                    <a:pt x="78" y="64"/>
                  </a:lnTo>
                  <a:lnTo>
                    <a:pt x="78" y="64"/>
                  </a:lnTo>
                  <a:lnTo>
                    <a:pt x="76" y="66"/>
                  </a:lnTo>
                  <a:lnTo>
                    <a:pt x="76" y="69"/>
                  </a:lnTo>
                  <a:lnTo>
                    <a:pt x="76" y="71"/>
                  </a:lnTo>
                  <a:lnTo>
                    <a:pt x="76" y="73"/>
                  </a:lnTo>
                  <a:lnTo>
                    <a:pt x="76" y="73"/>
                  </a:lnTo>
                  <a:lnTo>
                    <a:pt x="76" y="76"/>
                  </a:lnTo>
                  <a:lnTo>
                    <a:pt x="73" y="76"/>
                  </a:lnTo>
                  <a:lnTo>
                    <a:pt x="73" y="76"/>
                  </a:lnTo>
                  <a:lnTo>
                    <a:pt x="71" y="73"/>
                  </a:lnTo>
                  <a:lnTo>
                    <a:pt x="71" y="71"/>
                  </a:lnTo>
                  <a:lnTo>
                    <a:pt x="69" y="71"/>
                  </a:lnTo>
                  <a:lnTo>
                    <a:pt x="69" y="71"/>
                  </a:lnTo>
                  <a:lnTo>
                    <a:pt x="69" y="71"/>
                  </a:lnTo>
                  <a:lnTo>
                    <a:pt x="69" y="73"/>
                  </a:lnTo>
                  <a:lnTo>
                    <a:pt x="69" y="73"/>
                  </a:lnTo>
                  <a:lnTo>
                    <a:pt x="69" y="73"/>
                  </a:lnTo>
                  <a:lnTo>
                    <a:pt x="69" y="73"/>
                  </a:lnTo>
                  <a:lnTo>
                    <a:pt x="69" y="73"/>
                  </a:lnTo>
                  <a:lnTo>
                    <a:pt x="66" y="66"/>
                  </a:lnTo>
                  <a:lnTo>
                    <a:pt x="64" y="61"/>
                  </a:lnTo>
                  <a:lnTo>
                    <a:pt x="64" y="61"/>
                  </a:lnTo>
                  <a:lnTo>
                    <a:pt x="64" y="59"/>
                  </a:lnTo>
                  <a:lnTo>
                    <a:pt x="64" y="54"/>
                  </a:lnTo>
                  <a:lnTo>
                    <a:pt x="66" y="54"/>
                  </a:lnTo>
                  <a:lnTo>
                    <a:pt x="66" y="52"/>
                  </a:lnTo>
                  <a:lnTo>
                    <a:pt x="66" y="52"/>
                  </a:lnTo>
                  <a:lnTo>
                    <a:pt x="66" y="52"/>
                  </a:lnTo>
                  <a:lnTo>
                    <a:pt x="69" y="52"/>
                  </a:lnTo>
                  <a:lnTo>
                    <a:pt x="69" y="52"/>
                  </a:lnTo>
                  <a:lnTo>
                    <a:pt x="71" y="50"/>
                  </a:lnTo>
                  <a:lnTo>
                    <a:pt x="71" y="50"/>
                  </a:lnTo>
                  <a:lnTo>
                    <a:pt x="71" y="50"/>
                  </a:lnTo>
                  <a:lnTo>
                    <a:pt x="73" y="50"/>
                  </a:lnTo>
                  <a:lnTo>
                    <a:pt x="73" y="50"/>
                  </a:lnTo>
                  <a:lnTo>
                    <a:pt x="76" y="50"/>
                  </a:lnTo>
                  <a:lnTo>
                    <a:pt x="76" y="47"/>
                  </a:lnTo>
                  <a:lnTo>
                    <a:pt x="76" y="47"/>
                  </a:lnTo>
                  <a:lnTo>
                    <a:pt x="76" y="47"/>
                  </a:lnTo>
                  <a:lnTo>
                    <a:pt x="76" y="45"/>
                  </a:lnTo>
                  <a:lnTo>
                    <a:pt x="78" y="45"/>
                  </a:lnTo>
                  <a:lnTo>
                    <a:pt x="78" y="45"/>
                  </a:lnTo>
                  <a:lnTo>
                    <a:pt x="78" y="45"/>
                  </a:lnTo>
                  <a:lnTo>
                    <a:pt x="78" y="42"/>
                  </a:lnTo>
                  <a:lnTo>
                    <a:pt x="78" y="40"/>
                  </a:lnTo>
                  <a:lnTo>
                    <a:pt x="81" y="38"/>
                  </a:lnTo>
                  <a:lnTo>
                    <a:pt x="81" y="38"/>
                  </a:lnTo>
                  <a:lnTo>
                    <a:pt x="78" y="35"/>
                  </a:lnTo>
                  <a:lnTo>
                    <a:pt x="81" y="35"/>
                  </a:lnTo>
                  <a:lnTo>
                    <a:pt x="83" y="35"/>
                  </a:lnTo>
                  <a:lnTo>
                    <a:pt x="83" y="35"/>
                  </a:lnTo>
                  <a:lnTo>
                    <a:pt x="83" y="35"/>
                  </a:lnTo>
                  <a:lnTo>
                    <a:pt x="83" y="35"/>
                  </a:lnTo>
                  <a:lnTo>
                    <a:pt x="83" y="33"/>
                  </a:lnTo>
                  <a:lnTo>
                    <a:pt x="81" y="33"/>
                  </a:lnTo>
                  <a:lnTo>
                    <a:pt x="78" y="31"/>
                  </a:lnTo>
                  <a:lnTo>
                    <a:pt x="76" y="28"/>
                  </a:lnTo>
                  <a:lnTo>
                    <a:pt x="69" y="28"/>
                  </a:lnTo>
                  <a:lnTo>
                    <a:pt x="64" y="31"/>
                  </a:lnTo>
                  <a:lnTo>
                    <a:pt x="64" y="28"/>
                  </a:lnTo>
                  <a:lnTo>
                    <a:pt x="62" y="28"/>
                  </a:lnTo>
                  <a:lnTo>
                    <a:pt x="57" y="28"/>
                  </a:lnTo>
                  <a:lnTo>
                    <a:pt x="52" y="28"/>
                  </a:lnTo>
                  <a:lnTo>
                    <a:pt x="50" y="28"/>
                  </a:lnTo>
                  <a:lnTo>
                    <a:pt x="47" y="28"/>
                  </a:lnTo>
                  <a:lnTo>
                    <a:pt x="45" y="28"/>
                  </a:lnTo>
                  <a:lnTo>
                    <a:pt x="43" y="28"/>
                  </a:lnTo>
                  <a:lnTo>
                    <a:pt x="40" y="28"/>
                  </a:lnTo>
                  <a:lnTo>
                    <a:pt x="38" y="28"/>
                  </a:lnTo>
                  <a:lnTo>
                    <a:pt x="36" y="26"/>
                  </a:lnTo>
                  <a:lnTo>
                    <a:pt x="33" y="26"/>
                  </a:lnTo>
                  <a:lnTo>
                    <a:pt x="33" y="26"/>
                  </a:lnTo>
                  <a:lnTo>
                    <a:pt x="33" y="26"/>
                  </a:lnTo>
                  <a:lnTo>
                    <a:pt x="33" y="24"/>
                  </a:lnTo>
                  <a:lnTo>
                    <a:pt x="33" y="21"/>
                  </a:lnTo>
                  <a:lnTo>
                    <a:pt x="31" y="14"/>
                  </a:lnTo>
                  <a:lnTo>
                    <a:pt x="31" y="12"/>
                  </a:lnTo>
                  <a:lnTo>
                    <a:pt x="28" y="7"/>
                  </a:lnTo>
                  <a:lnTo>
                    <a:pt x="28" y="7"/>
                  </a:lnTo>
                  <a:lnTo>
                    <a:pt x="26" y="7"/>
                  </a:lnTo>
                  <a:lnTo>
                    <a:pt x="26" y="7"/>
                  </a:lnTo>
                  <a:lnTo>
                    <a:pt x="26" y="9"/>
                  </a:lnTo>
                  <a:lnTo>
                    <a:pt x="26" y="9"/>
                  </a:lnTo>
                  <a:lnTo>
                    <a:pt x="26" y="12"/>
                  </a:lnTo>
                  <a:lnTo>
                    <a:pt x="26" y="12"/>
                  </a:lnTo>
                  <a:lnTo>
                    <a:pt x="24" y="12"/>
                  </a:lnTo>
                  <a:lnTo>
                    <a:pt x="21" y="12"/>
                  </a:lnTo>
                  <a:lnTo>
                    <a:pt x="19" y="9"/>
                  </a:lnTo>
                  <a:lnTo>
                    <a:pt x="19" y="7"/>
                  </a:lnTo>
                  <a:lnTo>
                    <a:pt x="17" y="5"/>
                  </a:lnTo>
                  <a:lnTo>
                    <a:pt x="17" y="5"/>
                  </a:lnTo>
                  <a:lnTo>
                    <a:pt x="17" y="2"/>
                  </a:lnTo>
                  <a:lnTo>
                    <a:pt x="14" y="2"/>
                  </a:lnTo>
                  <a:lnTo>
                    <a:pt x="14" y="2"/>
                  </a:lnTo>
                  <a:lnTo>
                    <a:pt x="14" y="5"/>
                  </a:lnTo>
                  <a:lnTo>
                    <a:pt x="14" y="5"/>
                  </a:lnTo>
                  <a:lnTo>
                    <a:pt x="17" y="5"/>
                  </a:lnTo>
                  <a:lnTo>
                    <a:pt x="14" y="7"/>
                  </a:lnTo>
                  <a:lnTo>
                    <a:pt x="14" y="7"/>
                  </a:lnTo>
                  <a:lnTo>
                    <a:pt x="14" y="7"/>
                  </a:lnTo>
                  <a:lnTo>
                    <a:pt x="12" y="7"/>
                  </a:lnTo>
                  <a:lnTo>
                    <a:pt x="12" y="5"/>
                  </a:lnTo>
                  <a:lnTo>
                    <a:pt x="12" y="5"/>
                  </a:lnTo>
                  <a:lnTo>
                    <a:pt x="10" y="5"/>
                  </a:lnTo>
                  <a:lnTo>
                    <a:pt x="10" y="5"/>
                  </a:lnTo>
                  <a:lnTo>
                    <a:pt x="10" y="2"/>
                  </a:lnTo>
                  <a:lnTo>
                    <a:pt x="7" y="0"/>
                  </a:lnTo>
                  <a:lnTo>
                    <a:pt x="5" y="0"/>
                  </a:lnTo>
                  <a:lnTo>
                    <a:pt x="2" y="0"/>
                  </a:lnTo>
                  <a:lnTo>
                    <a:pt x="2" y="0"/>
                  </a:lnTo>
                  <a:lnTo>
                    <a:pt x="2" y="2"/>
                  </a:lnTo>
                  <a:lnTo>
                    <a:pt x="5" y="2"/>
                  </a:lnTo>
                  <a:lnTo>
                    <a:pt x="5" y="2"/>
                  </a:lnTo>
                  <a:lnTo>
                    <a:pt x="5" y="2"/>
                  </a:lnTo>
                  <a:lnTo>
                    <a:pt x="5" y="5"/>
                  </a:lnTo>
                  <a:lnTo>
                    <a:pt x="5" y="5"/>
                  </a:lnTo>
                  <a:lnTo>
                    <a:pt x="5" y="7"/>
                  </a:lnTo>
                  <a:lnTo>
                    <a:pt x="2" y="7"/>
                  </a:lnTo>
                  <a:lnTo>
                    <a:pt x="0" y="9"/>
                  </a:lnTo>
                  <a:lnTo>
                    <a:pt x="0" y="12"/>
                  </a:lnTo>
                  <a:lnTo>
                    <a:pt x="0" y="12"/>
                  </a:lnTo>
                  <a:lnTo>
                    <a:pt x="0" y="14"/>
                  </a:lnTo>
                  <a:lnTo>
                    <a:pt x="0" y="14"/>
                  </a:lnTo>
                  <a:lnTo>
                    <a:pt x="2" y="16"/>
                  </a:lnTo>
                  <a:lnTo>
                    <a:pt x="5" y="16"/>
                  </a:lnTo>
                  <a:lnTo>
                    <a:pt x="7" y="19"/>
                  </a:lnTo>
                  <a:lnTo>
                    <a:pt x="7" y="21"/>
                  </a:lnTo>
                  <a:lnTo>
                    <a:pt x="10" y="21"/>
                  </a:lnTo>
                  <a:lnTo>
                    <a:pt x="12" y="21"/>
                  </a:lnTo>
                  <a:lnTo>
                    <a:pt x="14" y="21"/>
                  </a:lnTo>
                  <a:lnTo>
                    <a:pt x="14" y="24"/>
                  </a:lnTo>
                  <a:lnTo>
                    <a:pt x="17" y="26"/>
                  </a:lnTo>
                  <a:lnTo>
                    <a:pt x="17" y="26"/>
                  </a:lnTo>
                  <a:lnTo>
                    <a:pt x="19" y="26"/>
                  </a:lnTo>
                  <a:lnTo>
                    <a:pt x="19" y="28"/>
                  </a:lnTo>
                  <a:lnTo>
                    <a:pt x="19" y="28"/>
                  </a:lnTo>
                  <a:lnTo>
                    <a:pt x="17" y="28"/>
                  </a:lnTo>
                  <a:lnTo>
                    <a:pt x="17" y="28"/>
                  </a:lnTo>
                  <a:lnTo>
                    <a:pt x="14" y="28"/>
                  </a:lnTo>
                  <a:lnTo>
                    <a:pt x="14" y="28"/>
                  </a:lnTo>
                  <a:lnTo>
                    <a:pt x="12" y="28"/>
                  </a:lnTo>
                  <a:lnTo>
                    <a:pt x="10" y="28"/>
                  </a:lnTo>
                  <a:lnTo>
                    <a:pt x="10" y="33"/>
                  </a:lnTo>
                  <a:lnTo>
                    <a:pt x="7" y="35"/>
                  </a:lnTo>
                  <a:lnTo>
                    <a:pt x="7" y="35"/>
                  </a:lnTo>
                  <a:lnTo>
                    <a:pt x="5" y="35"/>
                  </a:lnTo>
                  <a:lnTo>
                    <a:pt x="5" y="35"/>
                  </a:lnTo>
                  <a:lnTo>
                    <a:pt x="2" y="38"/>
                  </a:lnTo>
                  <a:lnTo>
                    <a:pt x="2" y="40"/>
                  </a:lnTo>
                  <a:lnTo>
                    <a:pt x="2" y="40"/>
                  </a:lnTo>
                  <a:lnTo>
                    <a:pt x="5" y="42"/>
                  </a:lnTo>
                  <a:lnTo>
                    <a:pt x="7" y="42"/>
                  </a:lnTo>
                  <a:lnTo>
                    <a:pt x="7" y="45"/>
                  </a:lnTo>
                  <a:lnTo>
                    <a:pt x="10" y="42"/>
                  </a:lnTo>
                  <a:lnTo>
                    <a:pt x="10" y="45"/>
                  </a:lnTo>
                  <a:lnTo>
                    <a:pt x="12" y="45"/>
                  </a:lnTo>
                  <a:lnTo>
                    <a:pt x="12" y="47"/>
                  </a:lnTo>
                  <a:lnTo>
                    <a:pt x="17" y="47"/>
                  </a:lnTo>
                  <a:lnTo>
                    <a:pt x="17" y="47"/>
                  </a:lnTo>
                  <a:lnTo>
                    <a:pt x="17" y="50"/>
                  </a:lnTo>
                  <a:lnTo>
                    <a:pt x="17" y="50"/>
                  </a:lnTo>
                  <a:lnTo>
                    <a:pt x="17" y="52"/>
                  </a:lnTo>
                  <a:lnTo>
                    <a:pt x="17" y="54"/>
                  </a:lnTo>
                  <a:lnTo>
                    <a:pt x="17" y="57"/>
                  </a:lnTo>
                  <a:lnTo>
                    <a:pt x="17" y="61"/>
                  </a:lnTo>
                  <a:lnTo>
                    <a:pt x="17" y="61"/>
                  </a:lnTo>
                  <a:lnTo>
                    <a:pt x="17" y="64"/>
                  </a:lnTo>
                  <a:lnTo>
                    <a:pt x="17" y="64"/>
                  </a:lnTo>
                  <a:lnTo>
                    <a:pt x="19" y="64"/>
                  </a:lnTo>
                  <a:lnTo>
                    <a:pt x="19" y="66"/>
                  </a:lnTo>
                  <a:lnTo>
                    <a:pt x="19" y="69"/>
                  </a:lnTo>
                  <a:lnTo>
                    <a:pt x="19" y="69"/>
                  </a:lnTo>
                  <a:lnTo>
                    <a:pt x="21" y="71"/>
                  </a:lnTo>
                  <a:lnTo>
                    <a:pt x="24" y="71"/>
                  </a:lnTo>
                  <a:lnTo>
                    <a:pt x="24" y="71"/>
                  </a:lnTo>
                  <a:lnTo>
                    <a:pt x="24" y="73"/>
                  </a:lnTo>
                  <a:lnTo>
                    <a:pt x="24" y="76"/>
                  </a:lnTo>
                  <a:lnTo>
                    <a:pt x="24" y="78"/>
                  </a:lnTo>
                  <a:lnTo>
                    <a:pt x="26" y="80"/>
                  </a:lnTo>
                  <a:lnTo>
                    <a:pt x="26" y="83"/>
                  </a:lnTo>
                  <a:lnTo>
                    <a:pt x="26" y="83"/>
                  </a:lnTo>
                  <a:lnTo>
                    <a:pt x="26" y="85"/>
                  </a:lnTo>
                  <a:lnTo>
                    <a:pt x="28" y="90"/>
                  </a:lnTo>
                  <a:lnTo>
                    <a:pt x="28" y="92"/>
                  </a:lnTo>
                  <a:lnTo>
                    <a:pt x="28" y="95"/>
                  </a:lnTo>
                  <a:lnTo>
                    <a:pt x="31" y="95"/>
                  </a:lnTo>
                  <a:lnTo>
                    <a:pt x="31" y="99"/>
                  </a:lnTo>
                  <a:lnTo>
                    <a:pt x="33" y="102"/>
                  </a:lnTo>
                  <a:lnTo>
                    <a:pt x="33" y="102"/>
                  </a:lnTo>
                  <a:lnTo>
                    <a:pt x="33" y="102"/>
                  </a:lnTo>
                  <a:lnTo>
                    <a:pt x="36" y="102"/>
                  </a:lnTo>
                  <a:lnTo>
                    <a:pt x="38" y="99"/>
                  </a:lnTo>
                  <a:lnTo>
                    <a:pt x="38" y="97"/>
                  </a:lnTo>
                  <a:lnTo>
                    <a:pt x="38" y="95"/>
                  </a:lnTo>
                  <a:lnTo>
                    <a:pt x="36" y="92"/>
                  </a:lnTo>
                  <a:lnTo>
                    <a:pt x="36" y="90"/>
                  </a:lnTo>
                  <a:lnTo>
                    <a:pt x="38" y="97"/>
                  </a:lnTo>
                  <a:lnTo>
                    <a:pt x="40" y="99"/>
                  </a:lnTo>
                  <a:lnTo>
                    <a:pt x="40" y="102"/>
                  </a:lnTo>
                  <a:lnTo>
                    <a:pt x="40" y="99"/>
                  </a:lnTo>
                  <a:lnTo>
                    <a:pt x="40" y="99"/>
                  </a:lnTo>
                  <a:lnTo>
                    <a:pt x="43" y="97"/>
                  </a:lnTo>
                  <a:lnTo>
                    <a:pt x="43" y="97"/>
                  </a:lnTo>
                  <a:lnTo>
                    <a:pt x="43" y="95"/>
                  </a:lnTo>
                  <a:lnTo>
                    <a:pt x="45" y="92"/>
                  </a:lnTo>
                  <a:lnTo>
                    <a:pt x="43" y="90"/>
                  </a:lnTo>
                  <a:lnTo>
                    <a:pt x="43" y="87"/>
                  </a:lnTo>
                  <a:lnTo>
                    <a:pt x="45" y="85"/>
                  </a:lnTo>
                  <a:lnTo>
                    <a:pt x="45" y="90"/>
                  </a:lnTo>
                  <a:lnTo>
                    <a:pt x="45" y="92"/>
                  </a:lnTo>
                  <a:lnTo>
                    <a:pt x="45" y="95"/>
                  </a:lnTo>
                  <a:lnTo>
                    <a:pt x="45" y="95"/>
                  </a:lnTo>
                  <a:lnTo>
                    <a:pt x="47" y="95"/>
                  </a:lnTo>
                  <a:lnTo>
                    <a:pt x="50" y="92"/>
                  </a:lnTo>
                  <a:lnTo>
                    <a:pt x="50" y="92"/>
                  </a:lnTo>
                  <a:lnTo>
                    <a:pt x="47" y="95"/>
                  </a:lnTo>
                  <a:lnTo>
                    <a:pt x="47" y="97"/>
                  </a:lnTo>
                  <a:lnTo>
                    <a:pt x="47" y="99"/>
                  </a:lnTo>
                  <a:lnTo>
                    <a:pt x="50" y="99"/>
                  </a:lnTo>
                  <a:lnTo>
                    <a:pt x="50" y="99"/>
                  </a:lnTo>
                  <a:lnTo>
                    <a:pt x="52" y="99"/>
                  </a:lnTo>
                  <a:lnTo>
                    <a:pt x="52" y="99"/>
                  </a:lnTo>
                  <a:lnTo>
                    <a:pt x="52" y="95"/>
                  </a:lnTo>
                  <a:lnTo>
                    <a:pt x="54" y="92"/>
                  </a:lnTo>
                  <a:lnTo>
                    <a:pt x="57" y="92"/>
                  </a:lnTo>
                  <a:lnTo>
                    <a:pt x="57" y="90"/>
                  </a:lnTo>
                  <a:lnTo>
                    <a:pt x="57" y="87"/>
                  </a:lnTo>
                  <a:lnTo>
                    <a:pt x="57" y="87"/>
                  </a:lnTo>
                  <a:lnTo>
                    <a:pt x="54" y="85"/>
                  </a:lnTo>
                  <a:lnTo>
                    <a:pt x="54" y="83"/>
                  </a:lnTo>
                  <a:lnTo>
                    <a:pt x="54" y="83"/>
                  </a:lnTo>
                  <a:lnTo>
                    <a:pt x="54" y="80"/>
                  </a:lnTo>
                  <a:lnTo>
                    <a:pt x="52" y="80"/>
                  </a:lnTo>
                  <a:lnTo>
                    <a:pt x="52" y="78"/>
                  </a:lnTo>
                  <a:lnTo>
                    <a:pt x="52" y="78"/>
                  </a:lnTo>
                  <a:lnTo>
                    <a:pt x="54" y="78"/>
                  </a:lnTo>
                  <a:lnTo>
                    <a:pt x="52" y="76"/>
                  </a:lnTo>
                  <a:lnTo>
                    <a:pt x="52" y="73"/>
                  </a:lnTo>
                  <a:lnTo>
                    <a:pt x="54" y="73"/>
                  </a:lnTo>
                  <a:lnTo>
                    <a:pt x="54" y="71"/>
                  </a:lnTo>
                  <a:lnTo>
                    <a:pt x="54" y="71"/>
                  </a:lnTo>
                  <a:lnTo>
                    <a:pt x="54" y="69"/>
                  </a:lnTo>
                  <a:lnTo>
                    <a:pt x="52" y="69"/>
                  </a:lnTo>
                  <a:lnTo>
                    <a:pt x="50" y="66"/>
                  </a:lnTo>
                  <a:lnTo>
                    <a:pt x="47" y="66"/>
                  </a:lnTo>
                  <a:lnTo>
                    <a:pt x="50" y="66"/>
                  </a:lnTo>
                  <a:lnTo>
                    <a:pt x="52" y="66"/>
                  </a:lnTo>
                  <a:lnTo>
                    <a:pt x="52" y="64"/>
                  </a:lnTo>
                  <a:lnTo>
                    <a:pt x="52" y="64"/>
                  </a:lnTo>
                  <a:lnTo>
                    <a:pt x="52" y="64"/>
                  </a:lnTo>
                  <a:lnTo>
                    <a:pt x="54" y="61"/>
                  </a:lnTo>
                  <a:lnTo>
                    <a:pt x="54" y="64"/>
                  </a:lnTo>
                  <a:lnTo>
                    <a:pt x="54" y="66"/>
                  </a:lnTo>
                  <a:lnTo>
                    <a:pt x="54" y="69"/>
                  </a:lnTo>
                  <a:lnTo>
                    <a:pt x="54" y="73"/>
                  </a:lnTo>
                  <a:lnTo>
                    <a:pt x="57" y="73"/>
                  </a:lnTo>
                  <a:lnTo>
                    <a:pt x="59" y="80"/>
                  </a:lnTo>
                  <a:lnTo>
                    <a:pt x="62" y="83"/>
                  </a:lnTo>
                  <a:lnTo>
                    <a:pt x="66" y="83"/>
                  </a:lnTo>
                  <a:lnTo>
                    <a:pt x="66" y="83"/>
                  </a:lnTo>
                  <a:lnTo>
                    <a:pt x="69" y="80"/>
                  </a:lnTo>
                  <a:lnTo>
                    <a:pt x="71" y="78"/>
                  </a:lnTo>
                  <a:lnTo>
                    <a:pt x="71" y="78"/>
                  </a:lnTo>
                  <a:lnTo>
                    <a:pt x="71" y="78"/>
                  </a:lnTo>
                  <a:lnTo>
                    <a:pt x="73" y="80"/>
                  </a:lnTo>
                  <a:lnTo>
                    <a:pt x="76" y="85"/>
                  </a:lnTo>
                  <a:lnTo>
                    <a:pt x="78" y="87"/>
                  </a:lnTo>
                  <a:lnTo>
                    <a:pt x="78" y="90"/>
                  </a:lnTo>
                  <a:lnTo>
                    <a:pt x="81" y="90"/>
                  </a:lnTo>
                  <a:lnTo>
                    <a:pt x="81" y="87"/>
                  </a:lnTo>
                  <a:lnTo>
                    <a:pt x="81" y="90"/>
                  </a:lnTo>
                  <a:lnTo>
                    <a:pt x="81" y="92"/>
                  </a:lnTo>
                  <a:lnTo>
                    <a:pt x="81" y="92"/>
                  </a:lnTo>
                  <a:lnTo>
                    <a:pt x="83" y="99"/>
                  </a:lnTo>
                  <a:lnTo>
                    <a:pt x="85" y="102"/>
                  </a:lnTo>
                  <a:lnTo>
                    <a:pt x="85" y="106"/>
                  </a:lnTo>
                  <a:lnTo>
                    <a:pt x="88" y="114"/>
                  </a:lnTo>
                  <a:lnTo>
                    <a:pt x="90" y="118"/>
                  </a:lnTo>
                  <a:lnTo>
                    <a:pt x="90" y="121"/>
                  </a:lnTo>
                  <a:lnTo>
                    <a:pt x="92" y="121"/>
                  </a:lnTo>
                  <a:lnTo>
                    <a:pt x="92" y="121"/>
                  </a:lnTo>
                  <a:lnTo>
                    <a:pt x="92" y="121"/>
                  </a:lnTo>
                  <a:lnTo>
                    <a:pt x="92" y="118"/>
                  </a:lnTo>
                  <a:lnTo>
                    <a:pt x="90" y="116"/>
                  </a:lnTo>
                  <a:lnTo>
                    <a:pt x="90" y="116"/>
                  </a:lnTo>
                  <a:lnTo>
                    <a:pt x="90" y="116"/>
                  </a:lnTo>
                  <a:lnTo>
                    <a:pt x="90" y="114"/>
                  </a:lnTo>
                  <a:lnTo>
                    <a:pt x="88" y="111"/>
                  </a:lnTo>
                  <a:lnTo>
                    <a:pt x="88" y="109"/>
                  </a:lnTo>
                  <a:lnTo>
                    <a:pt x="90" y="109"/>
                  </a:lnTo>
                  <a:lnTo>
                    <a:pt x="90" y="109"/>
                  </a:lnTo>
                  <a:lnTo>
                    <a:pt x="92" y="109"/>
                  </a:lnTo>
                  <a:lnTo>
                    <a:pt x="95" y="109"/>
                  </a:lnTo>
                  <a:lnTo>
                    <a:pt x="95" y="111"/>
                  </a:lnTo>
                  <a:lnTo>
                    <a:pt x="95" y="111"/>
                  </a:lnTo>
                  <a:lnTo>
                    <a:pt x="97" y="111"/>
                  </a:lnTo>
                  <a:lnTo>
                    <a:pt x="97" y="111"/>
                  </a:lnTo>
                  <a:lnTo>
                    <a:pt x="97" y="109"/>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 name="Freeform 208"/>
            <p:cNvSpPr>
              <a:spLocks/>
            </p:cNvSpPr>
            <p:nvPr/>
          </p:nvSpPr>
          <p:spPr bwMode="auto">
            <a:xfrm>
              <a:off x="3669" y="2246"/>
              <a:ext cx="2" cy="9"/>
            </a:xfrm>
            <a:custGeom>
              <a:avLst/>
              <a:gdLst>
                <a:gd name="T0" fmla="*/ 2 w 2"/>
                <a:gd name="T1" fmla="*/ 5 h 9"/>
                <a:gd name="T2" fmla="*/ 2 w 2"/>
                <a:gd name="T3" fmla="*/ 2 h 9"/>
                <a:gd name="T4" fmla="*/ 2 w 2"/>
                <a:gd name="T5" fmla="*/ 0 h 9"/>
                <a:gd name="T6" fmla="*/ 2 w 2"/>
                <a:gd name="T7" fmla="*/ 0 h 9"/>
                <a:gd name="T8" fmla="*/ 2 w 2"/>
                <a:gd name="T9" fmla="*/ 0 h 9"/>
                <a:gd name="T10" fmla="*/ 0 w 2"/>
                <a:gd name="T11" fmla="*/ 0 h 9"/>
                <a:gd name="T12" fmla="*/ 0 w 2"/>
                <a:gd name="T13" fmla="*/ 0 h 9"/>
                <a:gd name="T14" fmla="*/ 0 w 2"/>
                <a:gd name="T15" fmla="*/ 2 h 9"/>
                <a:gd name="T16" fmla="*/ 0 w 2"/>
                <a:gd name="T17" fmla="*/ 5 h 9"/>
                <a:gd name="T18" fmla="*/ 2 w 2"/>
                <a:gd name="T19" fmla="*/ 7 h 9"/>
                <a:gd name="T20" fmla="*/ 2 w 2"/>
                <a:gd name="T21" fmla="*/ 9 h 9"/>
                <a:gd name="T22" fmla="*/ 2 w 2"/>
                <a:gd name="T23" fmla="*/ 7 h 9"/>
                <a:gd name="T24" fmla="*/ 2 w 2"/>
                <a:gd name="T25"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 h="9">
                  <a:moveTo>
                    <a:pt x="2" y="5"/>
                  </a:moveTo>
                  <a:lnTo>
                    <a:pt x="2" y="2"/>
                  </a:lnTo>
                  <a:lnTo>
                    <a:pt x="2" y="0"/>
                  </a:lnTo>
                  <a:lnTo>
                    <a:pt x="2" y="0"/>
                  </a:lnTo>
                  <a:lnTo>
                    <a:pt x="2" y="0"/>
                  </a:lnTo>
                  <a:lnTo>
                    <a:pt x="0" y="0"/>
                  </a:lnTo>
                  <a:lnTo>
                    <a:pt x="0" y="0"/>
                  </a:lnTo>
                  <a:lnTo>
                    <a:pt x="0" y="2"/>
                  </a:lnTo>
                  <a:lnTo>
                    <a:pt x="0" y="5"/>
                  </a:lnTo>
                  <a:lnTo>
                    <a:pt x="2" y="7"/>
                  </a:lnTo>
                  <a:lnTo>
                    <a:pt x="2" y="9"/>
                  </a:lnTo>
                  <a:lnTo>
                    <a:pt x="2" y="7"/>
                  </a:lnTo>
                  <a:lnTo>
                    <a:pt x="2" y="5"/>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 name="Freeform 209"/>
            <p:cNvSpPr>
              <a:spLocks noEditPoints="1"/>
            </p:cNvSpPr>
            <p:nvPr/>
          </p:nvSpPr>
          <p:spPr bwMode="auto">
            <a:xfrm>
              <a:off x="1327" y="2229"/>
              <a:ext cx="97" cy="128"/>
            </a:xfrm>
            <a:custGeom>
              <a:avLst/>
              <a:gdLst>
                <a:gd name="T0" fmla="*/ 80 w 97"/>
                <a:gd name="T1" fmla="*/ 124 h 128"/>
                <a:gd name="T2" fmla="*/ 78 w 97"/>
                <a:gd name="T3" fmla="*/ 126 h 128"/>
                <a:gd name="T4" fmla="*/ 90 w 97"/>
                <a:gd name="T5" fmla="*/ 124 h 128"/>
                <a:gd name="T6" fmla="*/ 90 w 97"/>
                <a:gd name="T7" fmla="*/ 116 h 128"/>
                <a:gd name="T8" fmla="*/ 97 w 97"/>
                <a:gd name="T9" fmla="*/ 100 h 128"/>
                <a:gd name="T10" fmla="*/ 92 w 97"/>
                <a:gd name="T11" fmla="*/ 97 h 128"/>
                <a:gd name="T12" fmla="*/ 97 w 97"/>
                <a:gd name="T13" fmla="*/ 100 h 128"/>
                <a:gd name="T14" fmla="*/ 78 w 97"/>
                <a:gd name="T15" fmla="*/ 90 h 128"/>
                <a:gd name="T16" fmla="*/ 76 w 97"/>
                <a:gd name="T17" fmla="*/ 95 h 128"/>
                <a:gd name="T18" fmla="*/ 71 w 97"/>
                <a:gd name="T19" fmla="*/ 102 h 128"/>
                <a:gd name="T20" fmla="*/ 78 w 97"/>
                <a:gd name="T21" fmla="*/ 95 h 128"/>
                <a:gd name="T22" fmla="*/ 71 w 97"/>
                <a:gd name="T23" fmla="*/ 90 h 128"/>
                <a:gd name="T24" fmla="*/ 73 w 97"/>
                <a:gd name="T25" fmla="*/ 90 h 128"/>
                <a:gd name="T26" fmla="*/ 57 w 97"/>
                <a:gd name="T27" fmla="*/ 76 h 128"/>
                <a:gd name="T28" fmla="*/ 57 w 97"/>
                <a:gd name="T29" fmla="*/ 74 h 128"/>
                <a:gd name="T30" fmla="*/ 54 w 97"/>
                <a:gd name="T31" fmla="*/ 81 h 128"/>
                <a:gd name="T32" fmla="*/ 61 w 97"/>
                <a:gd name="T33" fmla="*/ 86 h 128"/>
                <a:gd name="T34" fmla="*/ 43 w 97"/>
                <a:gd name="T35" fmla="*/ 71 h 128"/>
                <a:gd name="T36" fmla="*/ 47 w 97"/>
                <a:gd name="T37" fmla="*/ 76 h 128"/>
                <a:gd name="T38" fmla="*/ 71 w 97"/>
                <a:gd name="T39" fmla="*/ 62 h 128"/>
                <a:gd name="T40" fmla="*/ 16 w 97"/>
                <a:gd name="T41" fmla="*/ 62 h 128"/>
                <a:gd name="T42" fmla="*/ 14 w 97"/>
                <a:gd name="T43" fmla="*/ 60 h 128"/>
                <a:gd name="T44" fmla="*/ 9 w 97"/>
                <a:gd name="T45" fmla="*/ 57 h 128"/>
                <a:gd name="T46" fmla="*/ 12 w 97"/>
                <a:gd name="T47" fmla="*/ 67 h 128"/>
                <a:gd name="T48" fmla="*/ 16 w 97"/>
                <a:gd name="T49" fmla="*/ 64 h 128"/>
                <a:gd name="T50" fmla="*/ 57 w 97"/>
                <a:gd name="T51" fmla="*/ 60 h 128"/>
                <a:gd name="T52" fmla="*/ 52 w 97"/>
                <a:gd name="T53" fmla="*/ 50 h 128"/>
                <a:gd name="T54" fmla="*/ 54 w 97"/>
                <a:gd name="T55" fmla="*/ 57 h 128"/>
                <a:gd name="T56" fmla="*/ 54 w 97"/>
                <a:gd name="T57" fmla="*/ 62 h 128"/>
                <a:gd name="T58" fmla="*/ 19 w 97"/>
                <a:gd name="T59" fmla="*/ 41 h 128"/>
                <a:gd name="T60" fmla="*/ 24 w 97"/>
                <a:gd name="T61" fmla="*/ 41 h 128"/>
                <a:gd name="T62" fmla="*/ 14 w 97"/>
                <a:gd name="T63" fmla="*/ 55 h 128"/>
                <a:gd name="T64" fmla="*/ 12 w 97"/>
                <a:gd name="T65" fmla="*/ 43 h 128"/>
                <a:gd name="T66" fmla="*/ 7 w 97"/>
                <a:gd name="T67" fmla="*/ 38 h 128"/>
                <a:gd name="T68" fmla="*/ 5 w 97"/>
                <a:gd name="T69" fmla="*/ 50 h 128"/>
                <a:gd name="T70" fmla="*/ 2 w 97"/>
                <a:gd name="T71" fmla="*/ 52 h 128"/>
                <a:gd name="T72" fmla="*/ 7 w 97"/>
                <a:gd name="T73" fmla="*/ 55 h 128"/>
                <a:gd name="T74" fmla="*/ 43 w 97"/>
                <a:gd name="T75" fmla="*/ 50 h 128"/>
                <a:gd name="T76" fmla="*/ 45 w 97"/>
                <a:gd name="T77" fmla="*/ 38 h 128"/>
                <a:gd name="T78" fmla="*/ 35 w 97"/>
                <a:gd name="T79" fmla="*/ 31 h 128"/>
                <a:gd name="T80" fmla="*/ 40 w 97"/>
                <a:gd name="T81" fmla="*/ 36 h 128"/>
                <a:gd name="T82" fmla="*/ 43 w 97"/>
                <a:gd name="T83" fmla="*/ 43 h 128"/>
                <a:gd name="T84" fmla="*/ 43 w 97"/>
                <a:gd name="T85" fmla="*/ 50 h 128"/>
                <a:gd name="T86" fmla="*/ 9 w 97"/>
                <a:gd name="T87" fmla="*/ 5 h 128"/>
                <a:gd name="T88" fmla="*/ 5 w 97"/>
                <a:gd name="T89" fmla="*/ 10 h 128"/>
                <a:gd name="T90" fmla="*/ 2 w 97"/>
                <a:gd name="T91" fmla="*/ 10 h 128"/>
                <a:gd name="T92" fmla="*/ 19 w 97"/>
                <a:gd name="T93" fmla="*/ 7 h 128"/>
                <a:gd name="T94" fmla="*/ 31 w 97"/>
                <a:gd name="T95" fmla="*/ 7 h 128"/>
                <a:gd name="T96" fmla="*/ 24 w 97"/>
                <a:gd name="T97" fmla="*/ 3 h 128"/>
                <a:gd name="T98" fmla="*/ 26 w 97"/>
                <a:gd name="T99" fmla="*/ 3 h 128"/>
                <a:gd name="T100" fmla="*/ 31 w 97"/>
                <a:gd name="T101" fmla="*/ 15 h 128"/>
                <a:gd name="T102" fmla="*/ 26 w 97"/>
                <a:gd name="T103" fmla="*/ 22 h 128"/>
                <a:gd name="T104" fmla="*/ 33 w 97"/>
                <a:gd name="T105" fmla="*/ 15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7" h="128">
                  <a:moveTo>
                    <a:pt x="87" y="124"/>
                  </a:moveTo>
                  <a:lnTo>
                    <a:pt x="85" y="124"/>
                  </a:lnTo>
                  <a:lnTo>
                    <a:pt x="85" y="124"/>
                  </a:lnTo>
                  <a:lnTo>
                    <a:pt x="83" y="124"/>
                  </a:lnTo>
                  <a:lnTo>
                    <a:pt x="80" y="124"/>
                  </a:lnTo>
                  <a:lnTo>
                    <a:pt x="80" y="124"/>
                  </a:lnTo>
                  <a:lnTo>
                    <a:pt x="78" y="126"/>
                  </a:lnTo>
                  <a:lnTo>
                    <a:pt x="78" y="126"/>
                  </a:lnTo>
                  <a:lnTo>
                    <a:pt x="78" y="126"/>
                  </a:lnTo>
                  <a:lnTo>
                    <a:pt x="78" y="126"/>
                  </a:lnTo>
                  <a:lnTo>
                    <a:pt x="78" y="128"/>
                  </a:lnTo>
                  <a:lnTo>
                    <a:pt x="78" y="128"/>
                  </a:lnTo>
                  <a:lnTo>
                    <a:pt x="83" y="128"/>
                  </a:lnTo>
                  <a:lnTo>
                    <a:pt x="87" y="128"/>
                  </a:lnTo>
                  <a:lnTo>
                    <a:pt x="90" y="124"/>
                  </a:lnTo>
                  <a:lnTo>
                    <a:pt x="90" y="124"/>
                  </a:lnTo>
                  <a:lnTo>
                    <a:pt x="90" y="121"/>
                  </a:lnTo>
                  <a:lnTo>
                    <a:pt x="90" y="121"/>
                  </a:lnTo>
                  <a:lnTo>
                    <a:pt x="87" y="124"/>
                  </a:lnTo>
                  <a:close/>
                  <a:moveTo>
                    <a:pt x="90" y="116"/>
                  </a:moveTo>
                  <a:lnTo>
                    <a:pt x="90" y="116"/>
                  </a:lnTo>
                  <a:lnTo>
                    <a:pt x="92" y="116"/>
                  </a:lnTo>
                  <a:lnTo>
                    <a:pt x="92" y="116"/>
                  </a:lnTo>
                  <a:lnTo>
                    <a:pt x="90" y="116"/>
                  </a:lnTo>
                  <a:close/>
                  <a:moveTo>
                    <a:pt x="97" y="100"/>
                  </a:moveTo>
                  <a:lnTo>
                    <a:pt x="97" y="97"/>
                  </a:lnTo>
                  <a:lnTo>
                    <a:pt x="95" y="97"/>
                  </a:lnTo>
                  <a:lnTo>
                    <a:pt x="95" y="97"/>
                  </a:lnTo>
                  <a:lnTo>
                    <a:pt x="92" y="97"/>
                  </a:lnTo>
                  <a:lnTo>
                    <a:pt x="92" y="97"/>
                  </a:lnTo>
                  <a:lnTo>
                    <a:pt x="90" y="97"/>
                  </a:lnTo>
                  <a:lnTo>
                    <a:pt x="92" y="97"/>
                  </a:lnTo>
                  <a:lnTo>
                    <a:pt x="95" y="97"/>
                  </a:lnTo>
                  <a:lnTo>
                    <a:pt x="95" y="97"/>
                  </a:lnTo>
                  <a:lnTo>
                    <a:pt x="97" y="100"/>
                  </a:lnTo>
                  <a:lnTo>
                    <a:pt x="97" y="100"/>
                  </a:lnTo>
                  <a:lnTo>
                    <a:pt x="97" y="100"/>
                  </a:lnTo>
                  <a:close/>
                  <a:moveTo>
                    <a:pt x="78" y="93"/>
                  </a:moveTo>
                  <a:lnTo>
                    <a:pt x="78" y="90"/>
                  </a:lnTo>
                  <a:lnTo>
                    <a:pt x="78" y="90"/>
                  </a:lnTo>
                  <a:lnTo>
                    <a:pt x="76" y="93"/>
                  </a:lnTo>
                  <a:lnTo>
                    <a:pt x="76" y="93"/>
                  </a:lnTo>
                  <a:lnTo>
                    <a:pt x="78" y="95"/>
                  </a:lnTo>
                  <a:lnTo>
                    <a:pt x="78" y="95"/>
                  </a:lnTo>
                  <a:lnTo>
                    <a:pt x="76" y="95"/>
                  </a:lnTo>
                  <a:lnTo>
                    <a:pt x="76" y="97"/>
                  </a:lnTo>
                  <a:lnTo>
                    <a:pt x="76" y="97"/>
                  </a:lnTo>
                  <a:lnTo>
                    <a:pt x="73" y="97"/>
                  </a:lnTo>
                  <a:lnTo>
                    <a:pt x="73" y="100"/>
                  </a:lnTo>
                  <a:lnTo>
                    <a:pt x="71" y="102"/>
                  </a:lnTo>
                  <a:lnTo>
                    <a:pt x="69" y="102"/>
                  </a:lnTo>
                  <a:lnTo>
                    <a:pt x="71" y="102"/>
                  </a:lnTo>
                  <a:lnTo>
                    <a:pt x="73" y="100"/>
                  </a:lnTo>
                  <a:lnTo>
                    <a:pt x="76" y="97"/>
                  </a:lnTo>
                  <a:lnTo>
                    <a:pt x="78" y="95"/>
                  </a:lnTo>
                  <a:lnTo>
                    <a:pt x="78" y="93"/>
                  </a:lnTo>
                  <a:close/>
                  <a:moveTo>
                    <a:pt x="71" y="88"/>
                  </a:moveTo>
                  <a:lnTo>
                    <a:pt x="71" y="88"/>
                  </a:lnTo>
                  <a:lnTo>
                    <a:pt x="71" y="90"/>
                  </a:lnTo>
                  <a:lnTo>
                    <a:pt x="71" y="90"/>
                  </a:lnTo>
                  <a:lnTo>
                    <a:pt x="71" y="90"/>
                  </a:lnTo>
                  <a:lnTo>
                    <a:pt x="73" y="93"/>
                  </a:lnTo>
                  <a:lnTo>
                    <a:pt x="76" y="90"/>
                  </a:lnTo>
                  <a:lnTo>
                    <a:pt x="76" y="90"/>
                  </a:lnTo>
                  <a:lnTo>
                    <a:pt x="73" y="90"/>
                  </a:lnTo>
                  <a:lnTo>
                    <a:pt x="73" y="88"/>
                  </a:lnTo>
                  <a:lnTo>
                    <a:pt x="71" y="88"/>
                  </a:lnTo>
                  <a:close/>
                  <a:moveTo>
                    <a:pt x="59" y="81"/>
                  </a:moveTo>
                  <a:lnTo>
                    <a:pt x="57" y="79"/>
                  </a:lnTo>
                  <a:lnTo>
                    <a:pt x="57" y="76"/>
                  </a:lnTo>
                  <a:lnTo>
                    <a:pt x="57" y="74"/>
                  </a:lnTo>
                  <a:lnTo>
                    <a:pt x="54" y="71"/>
                  </a:lnTo>
                  <a:lnTo>
                    <a:pt x="54" y="71"/>
                  </a:lnTo>
                  <a:lnTo>
                    <a:pt x="54" y="74"/>
                  </a:lnTo>
                  <a:lnTo>
                    <a:pt x="57" y="74"/>
                  </a:lnTo>
                  <a:lnTo>
                    <a:pt x="57" y="79"/>
                  </a:lnTo>
                  <a:lnTo>
                    <a:pt x="57" y="79"/>
                  </a:lnTo>
                  <a:lnTo>
                    <a:pt x="57" y="81"/>
                  </a:lnTo>
                  <a:lnTo>
                    <a:pt x="57" y="81"/>
                  </a:lnTo>
                  <a:lnTo>
                    <a:pt x="54" y="81"/>
                  </a:lnTo>
                  <a:lnTo>
                    <a:pt x="57" y="83"/>
                  </a:lnTo>
                  <a:lnTo>
                    <a:pt x="59" y="83"/>
                  </a:lnTo>
                  <a:lnTo>
                    <a:pt x="61" y="88"/>
                  </a:lnTo>
                  <a:lnTo>
                    <a:pt x="61" y="88"/>
                  </a:lnTo>
                  <a:lnTo>
                    <a:pt x="61" y="86"/>
                  </a:lnTo>
                  <a:lnTo>
                    <a:pt x="59" y="83"/>
                  </a:lnTo>
                  <a:lnTo>
                    <a:pt x="59" y="81"/>
                  </a:lnTo>
                  <a:close/>
                  <a:moveTo>
                    <a:pt x="45" y="74"/>
                  </a:moveTo>
                  <a:lnTo>
                    <a:pt x="43" y="71"/>
                  </a:lnTo>
                  <a:lnTo>
                    <a:pt x="43" y="71"/>
                  </a:lnTo>
                  <a:lnTo>
                    <a:pt x="43" y="71"/>
                  </a:lnTo>
                  <a:lnTo>
                    <a:pt x="43" y="71"/>
                  </a:lnTo>
                  <a:lnTo>
                    <a:pt x="45" y="74"/>
                  </a:lnTo>
                  <a:lnTo>
                    <a:pt x="47" y="76"/>
                  </a:lnTo>
                  <a:lnTo>
                    <a:pt x="47" y="76"/>
                  </a:lnTo>
                  <a:lnTo>
                    <a:pt x="47" y="74"/>
                  </a:lnTo>
                  <a:lnTo>
                    <a:pt x="45" y="74"/>
                  </a:lnTo>
                  <a:close/>
                  <a:moveTo>
                    <a:pt x="73" y="62"/>
                  </a:moveTo>
                  <a:lnTo>
                    <a:pt x="73" y="62"/>
                  </a:lnTo>
                  <a:lnTo>
                    <a:pt x="71" y="62"/>
                  </a:lnTo>
                  <a:lnTo>
                    <a:pt x="71" y="62"/>
                  </a:lnTo>
                  <a:lnTo>
                    <a:pt x="71" y="64"/>
                  </a:lnTo>
                  <a:lnTo>
                    <a:pt x="71" y="64"/>
                  </a:lnTo>
                  <a:lnTo>
                    <a:pt x="73" y="62"/>
                  </a:lnTo>
                  <a:close/>
                  <a:moveTo>
                    <a:pt x="16" y="62"/>
                  </a:moveTo>
                  <a:lnTo>
                    <a:pt x="14" y="60"/>
                  </a:lnTo>
                  <a:lnTo>
                    <a:pt x="14" y="62"/>
                  </a:lnTo>
                  <a:lnTo>
                    <a:pt x="12" y="60"/>
                  </a:lnTo>
                  <a:lnTo>
                    <a:pt x="14" y="60"/>
                  </a:lnTo>
                  <a:lnTo>
                    <a:pt x="14" y="60"/>
                  </a:lnTo>
                  <a:lnTo>
                    <a:pt x="14" y="57"/>
                  </a:lnTo>
                  <a:lnTo>
                    <a:pt x="12" y="57"/>
                  </a:lnTo>
                  <a:lnTo>
                    <a:pt x="12" y="57"/>
                  </a:lnTo>
                  <a:lnTo>
                    <a:pt x="9" y="60"/>
                  </a:lnTo>
                  <a:lnTo>
                    <a:pt x="9" y="57"/>
                  </a:lnTo>
                  <a:lnTo>
                    <a:pt x="7" y="60"/>
                  </a:lnTo>
                  <a:lnTo>
                    <a:pt x="9" y="62"/>
                  </a:lnTo>
                  <a:lnTo>
                    <a:pt x="9" y="62"/>
                  </a:lnTo>
                  <a:lnTo>
                    <a:pt x="9" y="67"/>
                  </a:lnTo>
                  <a:lnTo>
                    <a:pt x="12" y="67"/>
                  </a:lnTo>
                  <a:lnTo>
                    <a:pt x="12" y="69"/>
                  </a:lnTo>
                  <a:lnTo>
                    <a:pt x="14" y="69"/>
                  </a:lnTo>
                  <a:lnTo>
                    <a:pt x="16" y="67"/>
                  </a:lnTo>
                  <a:lnTo>
                    <a:pt x="16" y="67"/>
                  </a:lnTo>
                  <a:lnTo>
                    <a:pt x="16" y="64"/>
                  </a:lnTo>
                  <a:lnTo>
                    <a:pt x="16" y="64"/>
                  </a:lnTo>
                  <a:lnTo>
                    <a:pt x="16" y="64"/>
                  </a:lnTo>
                  <a:lnTo>
                    <a:pt x="16" y="62"/>
                  </a:lnTo>
                  <a:close/>
                  <a:moveTo>
                    <a:pt x="57" y="60"/>
                  </a:moveTo>
                  <a:lnTo>
                    <a:pt x="57" y="60"/>
                  </a:lnTo>
                  <a:lnTo>
                    <a:pt x="54" y="55"/>
                  </a:lnTo>
                  <a:lnTo>
                    <a:pt x="54" y="55"/>
                  </a:lnTo>
                  <a:lnTo>
                    <a:pt x="52" y="50"/>
                  </a:lnTo>
                  <a:lnTo>
                    <a:pt x="52" y="50"/>
                  </a:lnTo>
                  <a:lnTo>
                    <a:pt x="52" y="50"/>
                  </a:lnTo>
                  <a:lnTo>
                    <a:pt x="50" y="50"/>
                  </a:lnTo>
                  <a:lnTo>
                    <a:pt x="52" y="50"/>
                  </a:lnTo>
                  <a:lnTo>
                    <a:pt x="52" y="52"/>
                  </a:lnTo>
                  <a:lnTo>
                    <a:pt x="52" y="52"/>
                  </a:lnTo>
                  <a:lnTo>
                    <a:pt x="54" y="57"/>
                  </a:lnTo>
                  <a:lnTo>
                    <a:pt x="54" y="57"/>
                  </a:lnTo>
                  <a:lnTo>
                    <a:pt x="54" y="60"/>
                  </a:lnTo>
                  <a:lnTo>
                    <a:pt x="54" y="60"/>
                  </a:lnTo>
                  <a:lnTo>
                    <a:pt x="54" y="62"/>
                  </a:lnTo>
                  <a:lnTo>
                    <a:pt x="54" y="62"/>
                  </a:lnTo>
                  <a:lnTo>
                    <a:pt x="57" y="60"/>
                  </a:lnTo>
                  <a:lnTo>
                    <a:pt x="57" y="60"/>
                  </a:lnTo>
                  <a:close/>
                  <a:moveTo>
                    <a:pt x="24" y="41"/>
                  </a:moveTo>
                  <a:lnTo>
                    <a:pt x="21" y="41"/>
                  </a:lnTo>
                  <a:lnTo>
                    <a:pt x="19" y="41"/>
                  </a:lnTo>
                  <a:lnTo>
                    <a:pt x="19" y="43"/>
                  </a:lnTo>
                  <a:lnTo>
                    <a:pt x="19" y="43"/>
                  </a:lnTo>
                  <a:lnTo>
                    <a:pt x="21" y="43"/>
                  </a:lnTo>
                  <a:lnTo>
                    <a:pt x="24" y="43"/>
                  </a:lnTo>
                  <a:lnTo>
                    <a:pt x="24" y="41"/>
                  </a:lnTo>
                  <a:lnTo>
                    <a:pt x="24" y="41"/>
                  </a:lnTo>
                  <a:lnTo>
                    <a:pt x="24" y="41"/>
                  </a:lnTo>
                  <a:close/>
                  <a:moveTo>
                    <a:pt x="12" y="55"/>
                  </a:moveTo>
                  <a:lnTo>
                    <a:pt x="12" y="55"/>
                  </a:lnTo>
                  <a:lnTo>
                    <a:pt x="14" y="55"/>
                  </a:lnTo>
                  <a:lnTo>
                    <a:pt x="14" y="52"/>
                  </a:lnTo>
                  <a:lnTo>
                    <a:pt x="14" y="52"/>
                  </a:lnTo>
                  <a:lnTo>
                    <a:pt x="14" y="48"/>
                  </a:lnTo>
                  <a:lnTo>
                    <a:pt x="12" y="48"/>
                  </a:lnTo>
                  <a:lnTo>
                    <a:pt x="12" y="43"/>
                  </a:lnTo>
                  <a:lnTo>
                    <a:pt x="12" y="43"/>
                  </a:lnTo>
                  <a:lnTo>
                    <a:pt x="12" y="41"/>
                  </a:lnTo>
                  <a:lnTo>
                    <a:pt x="12" y="41"/>
                  </a:lnTo>
                  <a:lnTo>
                    <a:pt x="9" y="38"/>
                  </a:lnTo>
                  <a:lnTo>
                    <a:pt x="7" y="38"/>
                  </a:lnTo>
                  <a:lnTo>
                    <a:pt x="7" y="43"/>
                  </a:lnTo>
                  <a:lnTo>
                    <a:pt x="7" y="45"/>
                  </a:lnTo>
                  <a:lnTo>
                    <a:pt x="5" y="48"/>
                  </a:lnTo>
                  <a:lnTo>
                    <a:pt x="5" y="50"/>
                  </a:lnTo>
                  <a:lnTo>
                    <a:pt x="5" y="50"/>
                  </a:lnTo>
                  <a:lnTo>
                    <a:pt x="5" y="50"/>
                  </a:lnTo>
                  <a:lnTo>
                    <a:pt x="2" y="50"/>
                  </a:lnTo>
                  <a:lnTo>
                    <a:pt x="2" y="50"/>
                  </a:lnTo>
                  <a:lnTo>
                    <a:pt x="2" y="50"/>
                  </a:lnTo>
                  <a:lnTo>
                    <a:pt x="2" y="52"/>
                  </a:lnTo>
                  <a:lnTo>
                    <a:pt x="5" y="52"/>
                  </a:lnTo>
                  <a:lnTo>
                    <a:pt x="5" y="55"/>
                  </a:lnTo>
                  <a:lnTo>
                    <a:pt x="7" y="52"/>
                  </a:lnTo>
                  <a:lnTo>
                    <a:pt x="7" y="55"/>
                  </a:lnTo>
                  <a:lnTo>
                    <a:pt x="7" y="55"/>
                  </a:lnTo>
                  <a:lnTo>
                    <a:pt x="7" y="57"/>
                  </a:lnTo>
                  <a:lnTo>
                    <a:pt x="9" y="57"/>
                  </a:lnTo>
                  <a:lnTo>
                    <a:pt x="12" y="55"/>
                  </a:lnTo>
                  <a:close/>
                  <a:moveTo>
                    <a:pt x="43" y="50"/>
                  </a:moveTo>
                  <a:lnTo>
                    <a:pt x="43" y="50"/>
                  </a:lnTo>
                  <a:lnTo>
                    <a:pt x="43" y="48"/>
                  </a:lnTo>
                  <a:lnTo>
                    <a:pt x="45" y="45"/>
                  </a:lnTo>
                  <a:lnTo>
                    <a:pt x="45" y="41"/>
                  </a:lnTo>
                  <a:lnTo>
                    <a:pt x="45" y="41"/>
                  </a:lnTo>
                  <a:lnTo>
                    <a:pt x="45" y="38"/>
                  </a:lnTo>
                  <a:lnTo>
                    <a:pt x="43" y="36"/>
                  </a:lnTo>
                  <a:lnTo>
                    <a:pt x="40" y="34"/>
                  </a:lnTo>
                  <a:lnTo>
                    <a:pt x="38" y="31"/>
                  </a:lnTo>
                  <a:lnTo>
                    <a:pt x="35" y="31"/>
                  </a:lnTo>
                  <a:lnTo>
                    <a:pt x="35" y="31"/>
                  </a:lnTo>
                  <a:lnTo>
                    <a:pt x="35" y="34"/>
                  </a:lnTo>
                  <a:lnTo>
                    <a:pt x="35" y="34"/>
                  </a:lnTo>
                  <a:lnTo>
                    <a:pt x="35" y="34"/>
                  </a:lnTo>
                  <a:lnTo>
                    <a:pt x="38" y="34"/>
                  </a:lnTo>
                  <a:lnTo>
                    <a:pt x="40" y="36"/>
                  </a:lnTo>
                  <a:lnTo>
                    <a:pt x="43" y="36"/>
                  </a:lnTo>
                  <a:lnTo>
                    <a:pt x="43" y="38"/>
                  </a:lnTo>
                  <a:lnTo>
                    <a:pt x="45" y="41"/>
                  </a:lnTo>
                  <a:lnTo>
                    <a:pt x="45" y="43"/>
                  </a:lnTo>
                  <a:lnTo>
                    <a:pt x="43" y="43"/>
                  </a:lnTo>
                  <a:lnTo>
                    <a:pt x="43" y="45"/>
                  </a:lnTo>
                  <a:lnTo>
                    <a:pt x="40" y="45"/>
                  </a:lnTo>
                  <a:lnTo>
                    <a:pt x="40" y="48"/>
                  </a:lnTo>
                  <a:lnTo>
                    <a:pt x="43" y="48"/>
                  </a:lnTo>
                  <a:lnTo>
                    <a:pt x="43" y="50"/>
                  </a:lnTo>
                  <a:close/>
                  <a:moveTo>
                    <a:pt x="16" y="5"/>
                  </a:moveTo>
                  <a:lnTo>
                    <a:pt x="12" y="5"/>
                  </a:lnTo>
                  <a:lnTo>
                    <a:pt x="12" y="7"/>
                  </a:lnTo>
                  <a:lnTo>
                    <a:pt x="9" y="7"/>
                  </a:lnTo>
                  <a:lnTo>
                    <a:pt x="9" y="5"/>
                  </a:lnTo>
                  <a:lnTo>
                    <a:pt x="7" y="5"/>
                  </a:lnTo>
                  <a:lnTo>
                    <a:pt x="7" y="5"/>
                  </a:lnTo>
                  <a:lnTo>
                    <a:pt x="7" y="7"/>
                  </a:lnTo>
                  <a:lnTo>
                    <a:pt x="5" y="7"/>
                  </a:lnTo>
                  <a:lnTo>
                    <a:pt x="5" y="10"/>
                  </a:lnTo>
                  <a:lnTo>
                    <a:pt x="2" y="10"/>
                  </a:lnTo>
                  <a:lnTo>
                    <a:pt x="0" y="7"/>
                  </a:lnTo>
                  <a:lnTo>
                    <a:pt x="0" y="7"/>
                  </a:lnTo>
                  <a:lnTo>
                    <a:pt x="2" y="10"/>
                  </a:lnTo>
                  <a:lnTo>
                    <a:pt x="2" y="10"/>
                  </a:lnTo>
                  <a:lnTo>
                    <a:pt x="5" y="10"/>
                  </a:lnTo>
                  <a:lnTo>
                    <a:pt x="7" y="10"/>
                  </a:lnTo>
                  <a:lnTo>
                    <a:pt x="12" y="7"/>
                  </a:lnTo>
                  <a:lnTo>
                    <a:pt x="19" y="7"/>
                  </a:lnTo>
                  <a:lnTo>
                    <a:pt x="19" y="7"/>
                  </a:lnTo>
                  <a:lnTo>
                    <a:pt x="19" y="5"/>
                  </a:lnTo>
                  <a:lnTo>
                    <a:pt x="16" y="5"/>
                  </a:lnTo>
                  <a:close/>
                  <a:moveTo>
                    <a:pt x="31" y="7"/>
                  </a:moveTo>
                  <a:lnTo>
                    <a:pt x="31" y="7"/>
                  </a:lnTo>
                  <a:lnTo>
                    <a:pt x="31" y="7"/>
                  </a:lnTo>
                  <a:lnTo>
                    <a:pt x="31" y="7"/>
                  </a:lnTo>
                  <a:lnTo>
                    <a:pt x="28" y="5"/>
                  </a:lnTo>
                  <a:lnTo>
                    <a:pt x="28" y="3"/>
                  </a:lnTo>
                  <a:lnTo>
                    <a:pt x="26" y="3"/>
                  </a:lnTo>
                  <a:lnTo>
                    <a:pt x="24" y="3"/>
                  </a:lnTo>
                  <a:lnTo>
                    <a:pt x="21" y="3"/>
                  </a:lnTo>
                  <a:lnTo>
                    <a:pt x="21" y="0"/>
                  </a:lnTo>
                  <a:lnTo>
                    <a:pt x="19" y="3"/>
                  </a:lnTo>
                  <a:lnTo>
                    <a:pt x="21" y="3"/>
                  </a:lnTo>
                  <a:lnTo>
                    <a:pt x="26" y="3"/>
                  </a:lnTo>
                  <a:lnTo>
                    <a:pt x="28" y="7"/>
                  </a:lnTo>
                  <a:lnTo>
                    <a:pt x="31" y="10"/>
                  </a:lnTo>
                  <a:lnTo>
                    <a:pt x="31" y="12"/>
                  </a:lnTo>
                  <a:lnTo>
                    <a:pt x="31" y="12"/>
                  </a:lnTo>
                  <a:lnTo>
                    <a:pt x="31" y="15"/>
                  </a:lnTo>
                  <a:lnTo>
                    <a:pt x="28" y="15"/>
                  </a:lnTo>
                  <a:lnTo>
                    <a:pt x="28" y="17"/>
                  </a:lnTo>
                  <a:lnTo>
                    <a:pt x="28" y="19"/>
                  </a:lnTo>
                  <a:lnTo>
                    <a:pt x="26" y="22"/>
                  </a:lnTo>
                  <a:lnTo>
                    <a:pt x="26" y="22"/>
                  </a:lnTo>
                  <a:lnTo>
                    <a:pt x="28" y="24"/>
                  </a:lnTo>
                  <a:lnTo>
                    <a:pt x="28" y="24"/>
                  </a:lnTo>
                  <a:lnTo>
                    <a:pt x="28" y="22"/>
                  </a:lnTo>
                  <a:lnTo>
                    <a:pt x="31" y="17"/>
                  </a:lnTo>
                  <a:lnTo>
                    <a:pt x="33" y="15"/>
                  </a:lnTo>
                  <a:lnTo>
                    <a:pt x="33" y="10"/>
                  </a:lnTo>
                  <a:lnTo>
                    <a:pt x="33" y="10"/>
                  </a:lnTo>
                  <a:lnTo>
                    <a:pt x="31" y="7"/>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 name="Freeform 210"/>
            <p:cNvSpPr>
              <a:spLocks noEditPoints="1"/>
            </p:cNvSpPr>
            <p:nvPr/>
          </p:nvSpPr>
          <p:spPr bwMode="auto">
            <a:xfrm>
              <a:off x="3534" y="1914"/>
              <a:ext cx="97" cy="74"/>
            </a:xfrm>
            <a:custGeom>
              <a:avLst/>
              <a:gdLst>
                <a:gd name="T0" fmla="*/ 21 w 97"/>
                <a:gd name="T1" fmla="*/ 53 h 74"/>
                <a:gd name="T2" fmla="*/ 19 w 97"/>
                <a:gd name="T3" fmla="*/ 48 h 74"/>
                <a:gd name="T4" fmla="*/ 12 w 97"/>
                <a:gd name="T5" fmla="*/ 48 h 74"/>
                <a:gd name="T6" fmla="*/ 7 w 97"/>
                <a:gd name="T7" fmla="*/ 45 h 74"/>
                <a:gd name="T8" fmla="*/ 2 w 97"/>
                <a:gd name="T9" fmla="*/ 45 h 74"/>
                <a:gd name="T10" fmla="*/ 9 w 97"/>
                <a:gd name="T11" fmla="*/ 53 h 74"/>
                <a:gd name="T12" fmla="*/ 14 w 97"/>
                <a:gd name="T13" fmla="*/ 57 h 74"/>
                <a:gd name="T14" fmla="*/ 26 w 97"/>
                <a:gd name="T15" fmla="*/ 62 h 74"/>
                <a:gd name="T16" fmla="*/ 0 w 97"/>
                <a:gd name="T17" fmla="*/ 17 h 74"/>
                <a:gd name="T18" fmla="*/ 2 w 97"/>
                <a:gd name="T19" fmla="*/ 19 h 74"/>
                <a:gd name="T20" fmla="*/ 14 w 97"/>
                <a:gd name="T21" fmla="*/ 41 h 74"/>
                <a:gd name="T22" fmla="*/ 14 w 97"/>
                <a:gd name="T23" fmla="*/ 41 h 74"/>
                <a:gd name="T24" fmla="*/ 88 w 97"/>
                <a:gd name="T25" fmla="*/ 29 h 74"/>
                <a:gd name="T26" fmla="*/ 78 w 97"/>
                <a:gd name="T27" fmla="*/ 24 h 74"/>
                <a:gd name="T28" fmla="*/ 69 w 97"/>
                <a:gd name="T29" fmla="*/ 12 h 74"/>
                <a:gd name="T30" fmla="*/ 57 w 97"/>
                <a:gd name="T31" fmla="*/ 5 h 74"/>
                <a:gd name="T32" fmla="*/ 52 w 97"/>
                <a:gd name="T33" fmla="*/ 12 h 74"/>
                <a:gd name="T34" fmla="*/ 40 w 97"/>
                <a:gd name="T35" fmla="*/ 15 h 74"/>
                <a:gd name="T36" fmla="*/ 33 w 97"/>
                <a:gd name="T37" fmla="*/ 8 h 74"/>
                <a:gd name="T38" fmla="*/ 28 w 97"/>
                <a:gd name="T39" fmla="*/ 3 h 74"/>
                <a:gd name="T40" fmla="*/ 24 w 97"/>
                <a:gd name="T41" fmla="*/ 0 h 74"/>
                <a:gd name="T42" fmla="*/ 19 w 97"/>
                <a:gd name="T43" fmla="*/ 5 h 74"/>
                <a:gd name="T44" fmla="*/ 21 w 97"/>
                <a:gd name="T45" fmla="*/ 8 h 74"/>
                <a:gd name="T46" fmla="*/ 28 w 97"/>
                <a:gd name="T47" fmla="*/ 15 h 74"/>
                <a:gd name="T48" fmla="*/ 26 w 97"/>
                <a:gd name="T49" fmla="*/ 19 h 74"/>
                <a:gd name="T50" fmla="*/ 19 w 97"/>
                <a:gd name="T51" fmla="*/ 17 h 74"/>
                <a:gd name="T52" fmla="*/ 12 w 97"/>
                <a:gd name="T53" fmla="*/ 12 h 74"/>
                <a:gd name="T54" fmla="*/ 0 w 97"/>
                <a:gd name="T55" fmla="*/ 15 h 74"/>
                <a:gd name="T56" fmla="*/ 2 w 97"/>
                <a:gd name="T57" fmla="*/ 17 h 74"/>
                <a:gd name="T58" fmla="*/ 7 w 97"/>
                <a:gd name="T59" fmla="*/ 19 h 74"/>
                <a:gd name="T60" fmla="*/ 12 w 97"/>
                <a:gd name="T61" fmla="*/ 24 h 74"/>
                <a:gd name="T62" fmla="*/ 12 w 97"/>
                <a:gd name="T63" fmla="*/ 29 h 74"/>
                <a:gd name="T64" fmla="*/ 21 w 97"/>
                <a:gd name="T65" fmla="*/ 38 h 74"/>
                <a:gd name="T66" fmla="*/ 19 w 97"/>
                <a:gd name="T67" fmla="*/ 41 h 74"/>
                <a:gd name="T68" fmla="*/ 26 w 97"/>
                <a:gd name="T69" fmla="*/ 48 h 74"/>
                <a:gd name="T70" fmla="*/ 31 w 97"/>
                <a:gd name="T71" fmla="*/ 50 h 74"/>
                <a:gd name="T72" fmla="*/ 33 w 97"/>
                <a:gd name="T73" fmla="*/ 55 h 74"/>
                <a:gd name="T74" fmla="*/ 31 w 97"/>
                <a:gd name="T75" fmla="*/ 57 h 74"/>
                <a:gd name="T76" fmla="*/ 33 w 97"/>
                <a:gd name="T77" fmla="*/ 62 h 74"/>
                <a:gd name="T78" fmla="*/ 43 w 97"/>
                <a:gd name="T79" fmla="*/ 55 h 74"/>
                <a:gd name="T80" fmla="*/ 54 w 97"/>
                <a:gd name="T81" fmla="*/ 45 h 74"/>
                <a:gd name="T82" fmla="*/ 64 w 97"/>
                <a:gd name="T83" fmla="*/ 53 h 74"/>
                <a:gd name="T84" fmla="*/ 61 w 97"/>
                <a:gd name="T85" fmla="*/ 55 h 74"/>
                <a:gd name="T86" fmla="*/ 64 w 97"/>
                <a:gd name="T87" fmla="*/ 60 h 74"/>
                <a:gd name="T88" fmla="*/ 59 w 97"/>
                <a:gd name="T89" fmla="*/ 62 h 74"/>
                <a:gd name="T90" fmla="*/ 64 w 97"/>
                <a:gd name="T91" fmla="*/ 67 h 74"/>
                <a:gd name="T92" fmla="*/ 71 w 97"/>
                <a:gd name="T93" fmla="*/ 74 h 74"/>
                <a:gd name="T94" fmla="*/ 76 w 97"/>
                <a:gd name="T95" fmla="*/ 62 h 74"/>
                <a:gd name="T96" fmla="*/ 78 w 97"/>
                <a:gd name="T97" fmla="*/ 60 h 74"/>
                <a:gd name="T98" fmla="*/ 83 w 97"/>
                <a:gd name="T99" fmla="*/ 53 h 74"/>
                <a:gd name="T100" fmla="*/ 80 w 97"/>
                <a:gd name="T101" fmla="*/ 38 h 74"/>
                <a:gd name="T102" fmla="*/ 92 w 97"/>
                <a:gd name="T103" fmla="*/ 34 h 74"/>
                <a:gd name="T104" fmla="*/ 12 w 97"/>
                <a:gd name="T105" fmla="*/ 29 h 74"/>
                <a:gd name="T106" fmla="*/ 12 w 97"/>
                <a:gd name="T107" fmla="*/ 29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7" h="74">
                  <a:moveTo>
                    <a:pt x="26" y="60"/>
                  </a:moveTo>
                  <a:lnTo>
                    <a:pt x="24" y="57"/>
                  </a:lnTo>
                  <a:lnTo>
                    <a:pt x="24" y="55"/>
                  </a:lnTo>
                  <a:lnTo>
                    <a:pt x="24" y="55"/>
                  </a:lnTo>
                  <a:lnTo>
                    <a:pt x="21" y="53"/>
                  </a:lnTo>
                  <a:lnTo>
                    <a:pt x="19" y="53"/>
                  </a:lnTo>
                  <a:lnTo>
                    <a:pt x="19" y="53"/>
                  </a:lnTo>
                  <a:lnTo>
                    <a:pt x="19" y="50"/>
                  </a:lnTo>
                  <a:lnTo>
                    <a:pt x="19" y="48"/>
                  </a:lnTo>
                  <a:lnTo>
                    <a:pt x="19" y="48"/>
                  </a:lnTo>
                  <a:lnTo>
                    <a:pt x="17" y="48"/>
                  </a:lnTo>
                  <a:lnTo>
                    <a:pt x="17" y="48"/>
                  </a:lnTo>
                  <a:lnTo>
                    <a:pt x="14" y="50"/>
                  </a:lnTo>
                  <a:lnTo>
                    <a:pt x="12" y="50"/>
                  </a:lnTo>
                  <a:lnTo>
                    <a:pt x="12" y="48"/>
                  </a:lnTo>
                  <a:lnTo>
                    <a:pt x="9" y="48"/>
                  </a:lnTo>
                  <a:lnTo>
                    <a:pt x="9" y="48"/>
                  </a:lnTo>
                  <a:lnTo>
                    <a:pt x="9" y="48"/>
                  </a:lnTo>
                  <a:lnTo>
                    <a:pt x="7" y="45"/>
                  </a:lnTo>
                  <a:lnTo>
                    <a:pt x="7" y="45"/>
                  </a:lnTo>
                  <a:lnTo>
                    <a:pt x="7" y="45"/>
                  </a:lnTo>
                  <a:lnTo>
                    <a:pt x="5" y="43"/>
                  </a:lnTo>
                  <a:lnTo>
                    <a:pt x="2" y="45"/>
                  </a:lnTo>
                  <a:lnTo>
                    <a:pt x="2" y="45"/>
                  </a:lnTo>
                  <a:lnTo>
                    <a:pt x="2" y="45"/>
                  </a:lnTo>
                  <a:lnTo>
                    <a:pt x="2" y="45"/>
                  </a:lnTo>
                  <a:lnTo>
                    <a:pt x="2" y="48"/>
                  </a:lnTo>
                  <a:lnTo>
                    <a:pt x="7" y="50"/>
                  </a:lnTo>
                  <a:lnTo>
                    <a:pt x="7" y="53"/>
                  </a:lnTo>
                  <a:lnTo>
                    <a:pt x="9" y="53"/>
                  </a:lnTo>
                  <a:lnTo>
                    <a:pt x="9" y="55"/>
                  </a:lnTo>
                  <a:lnTo>
                    <a:pt x="9" y="55"/>
                  </a:lnTo>
                  <a:lnTo>
                    <a:pt x="12" y="57"/>
                  </a:lnTo>
                  <a:lnTo>
                    <a:pt x="12" y="57"/>
                  </a:lnTo>
                  <a:lnTo>
                    <a:pt x="14" y="57"/>
                  </a:lnTo>
                  <a:lnTo>
                    <a:pt x="17" y="60"/>
                  </a:lnTo>
                  <a:lnTo>
                    <a:pt x="17" y="60"/>
                  </a:lnTo>
                  <a:lnTo>
                    <a:pt x="24" y="62"/>
                  </a:lnTo>
                  <a:lnTo>
                    <a:pt x="26" y="62"/>
                  </a:lnTo>
                  <a:lnTo>
                    <a:pt x="26" y="62"/>
                  </a:lnTo>
                  <a:lnTo>
                    <a:pt x="26" y="60"/>
                  </a:lnTo>
                  <a:close/>
                  <a:moveTo>
                    <a:pt x="2" y="19"/>
                  </a:moveTo>
                  <a:lnTo>
                    <a:pt x="2" y="19"/>
                  </a:lnTo>
                  <a:lnTo>
                    <a:pt x="2" y="19"/>
                  </a:lnTo>
                  <a:lnTo>
                    <a:pt x="0" y="17"/>
                  </a:lnTo>
                  <a:lnTo>
                    <a:pt x="0" y="19"/>
                  </a:lnTo>
                  <a:lnTo>
                    <a:pt x="0" y="19"/>
                  </a:lnTo>
                  <a:lnTo>
                    <a:pt x="0" y="19"/>
                  </a:lnTo>
                  <a:lnTo>
                    <a:pt x="2" y="19"/>
                  </a:lnTo>
                  <a:lnTo>
                    <a:pt x="2" y="19"/>
                  </a:lnTo>
                  <a:close/>
                  <a:moveTo>
                    <a:pt x="14" y="41"/>
                  </a:moveTo>
                  <a:lnTo>
                    <a:pt x="14" y="41"/>
                  </a:lnTo>
                  <a:lnTo>
                    <a:pt x="14" y="38"/>
                  </a:lnTo>
                  <a:lnTo>
                    <a:pt x="14" y="41"/>
                  </a:lnTo>
                  <a:close/>
                  <a:moveTo>
                    <a:pt x="14" y="41"/>
                  </a:moveTo>
                  <a:lnTo>
                    <a:pt x="14" y="41"/>
                  </a:lnTo>
                  <a:lnTo>
                    <a:pt x="14" y="41"/>
                  </a:lnTo>
                  <a:lnTo>
                    <a:pt x="17" y="41"/>
                  </a:lnTo>
                  <a:lnTo>
                    <a:pt x="17" y="41"/>
                  </a:lnTo>
                  <a:lnTo>
                    <a:pt x="14" y="41"/>
                  </a:lnTo>
                  <a:close/>
                  <a:moveTo>
                    <a:pt x="95" y="31"/>
                  </a:moveTo>
                  <a:lnTo>
                    <a:pt x="92" y="31"/>
                  </a:lnTo>
                  <a:lnTo>
                    <a:pt x="92" y="31"/>
                  </a:lnTo>
                  <a:lnTo>
                    <a:pt x="90" y="29"/>
                  </a:lnTo>
                  <a:lnTo>
                    <a:pt x="88" y="29"/>
                  </a:lnTo>
                  <a:lnTo>
                    <a:pt x="85" y="29"/>
                  </a:lnTo>
                  <a:lnTo>
                    <a:pt x="85" y="29"/>
                  </a:lnTo>
                  <a:lnTo>
                    <a:pt x="83" y="29"/>
                  </a:lnTo>
                  <a:lnTo>
                    <a:pt x="80" y="27"/>
                  </a:lnTo>
                  <a:lnTo>
                    <a:pt x="78" y="24"/>
                  </a:lnTo>
                  <a:lnTo>
                    <a:pt x="73" y="19"/>
                  </a:lnTo>
                  <a:lnTo>
                    <a:pt x="73" y="17"/>
                  </a:lnTo>
                  <a:lnTo>
                    <a:pt x="71" y="15"/>
                  </a:lnTo>
                  <a:lnTo>
                    <a:pt x="71" y="15"/>
                  </a:lnTo>
                  <a:lnTo>
                    <a:pt x="69" y="12"/>
                  </a:lnTo>
                  <a:lnTo>
                    <a:pt x="64" y="8"/>
                  </a:lnTo>
                  <a:lnTo>
                    <a:pt x="61" y="3"/>
                  </a:lnTo>
                  <a:lnTo>
                    <a:pt x="59" y="3"/>
                  </a:lnTo>
                  <a:lnTo>
                    <a:pt x="59" y="3"/>
                  </a:lnTo>
                  <a:lnTo>
                    <a:pt x="57" y="5"/>
                  </a:lnTo>
                  <a:lnTo>
                    <a:pt x="57" y="8"/>
                  </a:lnTo>
                  <a:lnTo>
                    <a:pt x="57" y="8"/>
                  </a:lnTo>
                  <a:lnTo>
                    <a:pt x="54" y="10"/>
                  </a:lnTo>
                  <a:lnTo>
                    <a:pt x="52" y="10"/>
                  </a:lnTo>
                  <a:lnTo>
                    <a:pt x="52" y="12"/>
                  </a:lnTo>
                  <a:lnTo>
                    <a:pt x="50" y="15"/>
                  </a:lnTo>
                  <a:lnTo>
                    <a:pt x="50" y="15"/>
                  </a:lnTo>
                  <a:lnTo>
                    <a:pt x="45" y="15"/>
                  </a:lnTo>
                  <a:lnTo>
                    <a:pt x="45" y="15"/>
                  </a:lnTo>
                  <a:lnTo>
                    <a:pt x="40" y="15"/>
                  </a:lnTo>
                  <a:lnTo>
                    <a:pt x="40" y="12"/>
                  </a:lnTo>
                  <a:lnTo>
                    <a:pt x="38" y="10"/>
                  </a:lnTo>
                  <a:lnTo>
                    <a:pt x="35" y="10"/>
                  </a:lnTo>
                  <a:lnTo>
                    <a:pt x="35" y="8"/>
                  </a:lnTo>
                  <a:lnTo>
                    <a:pt x="33" y="8"/>
                  </a:lnTo>
                  <a:lnTo>
                    <a:pt x="33" y="8"/>
                  </a:lnTo>
                  <a:lnTo>
                    <a:pt x="33" y="5"/>
                  </a:lnTo>
                  <a:lnTo>
                    <a:pt x="31" y="5"/>
                  </a:lnTo>
                  <a:lnTo>
                    <a:pt x="28" y="3"/>
                  </a:lnTo>
                  <a:lnTo>
                    <a:pt x="28" y="3"/>
                  </a:lnTo>
                  <a:lnTo>
                    <a:pt x="26" y="3"/>
                  </a:lnTo>
                  <a:lnTo>
                    <a:pt x="26" y="3"/>
                  </a:lnTo>
                  <a:lnTo>
                    <a:pt x="26" y="3"/>
                  </a:lnTo>
                  <a:lnTo>
                    <a:pt x="26" y="3"/>
                  </a:lnTo>
                  <a:lnTo>
                    <a:pt x="24" y="0"/>
                  </a:lnTo>
                  <a:lnTo>
                    <a:pt x="24" y="3"/>
                  </a:lnTo>
                  <a:lnTo>
                    <a:pt x="21" y="3"/>
                  </a:lnTo>
                  <a:lnTo>
                    <a:pt x="21" y="5"/>
                  </a:lnTo>
                  <a:lnTo>
                    <a:pt x="21" y="5"/>
                  </a:lnTo>
                  <a:lnTo>
                    <a:pt x="19" y="5"/>
                  </a:lnTo>
                  <a:lnTo>
                    <a:pt x="19" y="5"/>
                  </a:lnTo>
                  <a:lnTo>
                    <a:pt x="19" y="8"/>
                  </a:lnTo>
                  <a:lnTo>
                    <a:pt x="19" y="8"/>
                  </a:lnTo>
                  <a:lnTo>
                    <a:pt x="21" y="8"/>
                  </a:lnTo>
                  <a:lnTo>
                    <a:pt x="21" y="8"/>
                  </a:lnTo>
                  <a:lnTo>
                    <a:pt x="21" y="10"/>
                  </a:lnTo>
                  <a:lnTo>
                    <a:pt x="24" y="10"/>
                  </a:lnTo>
                  <a:lnTo>
                    <a:pt x="26" y="12"/>
                  </a:lnTo>
                  <a:lnTo>
                    <a:pt x="28" y="12"/>
                  </a:lnTo>
                  <a:lnTo>
                    <a:pt x="28" y="15"/>
                  </a:lnTo>
                  <a:lnTo>
                    <a:pt x="28" y="15"/>
                  </a:lnTo>
                  <a:lnTo>
                    <a:pt x="28" y="17"/>
                  </a:lnTo>
                  <a:lnTo>
                    <a:pt x="28" y="17"/>
                  </a:lnTo>
                  <a:lnTo>
                    <a:pt x="26" y="19"/>
                  </a:lnTo>
                  <a:lnTo>
                    <a:pt x="26" y="19"/>
                  </a:lnTo>
                  <a:lnTo>
                    <a:pt x="24" y="17"/>
                  </a:lnTo>
                  <a:lnTo>
                    <a:pt x="24" y="17"/>
                  </a:lnTo>
                  <a:lnTo>
                    <a:pt x="21" y="17"/>
                  </a:lnTo>
                  <a:lnTo>
                    <a:pt x="19" y="17"/>
                  </a:lnTo>
                  <a:lnTo>
                    <a:pt x="19" y="17"/>
                  </a:lnTo>
                  <a:lnTo>
                    <a:pt x="17" y="17"/>
                  </a:lnTo>
                  <a:lnTo>
                    <a:pt x="14" y="15"/>
                  </a:lnTo>
                  <a:lnTo>
                    <a:pt x="14" y="15"/>
                  </a:lnTo>
                  <a:lnTo>
                    <a:pt x="12" y="15"/>
                  </a:lnTo>
                  <a:lnTo>
                    <a:pt x="12" y="12"/>
                  </a:lnTo>
                  <a:lnTo>
                    <a:pt x="7" y="12"/>
                  </a:lnTo>
                  <a:lnTo>
                    <a:pt x="5" y="10"/>
                  </a:lnTo>
                  <a:lnTo>
                    <a:pt x="5" y="12"/>
                  </a:lnTo>
                  <a:lnTo>
                    <a:pt x="0" y="15"/>
                  </a:lnTo>
                  <a:lnTo>
                    <a:pt x="0" y="15"/>
                  </a:lnTo>
                  <a:lnTo>
                    <a:pt x="2" y="17"/>
                  </a:lnTo>
                  <a:lnTo>
                    <a:pt x="5" y="17"/>
                  </a:lnTo>
                  <a:lnTo>
                    <a:pt x="5" y="17"/>
                  </a:lnTo>
                  <a:lnTo>
                    <a:pt x="5" y="17"/>
                  </a:lnTo>
                  <a:lnTo>
                    <a:pt x="2" y="17"/>
                  </a:lnTo>
                  <a:lnTo>
                    <a:pt x="2" y="17"/>
                  </a:lnTo>
                  <a:lnTo>
                    <a:pt x="2" y="19"/>
                  </a:lnTo>
                  <a:lnTo>
                    <a:pt x="2" y="19"/>
                  </a:lnTo>
                  <a:lnTo>
                    <a:pt x="7" y="19"/>
                  </a:lnTo>
                  <a:lnTo>
                    <a:pt x="7" y="19"/>
                  </a:lnTo>
                  <a:lnTo>
                    <a:pt x="9" y="19"/>
                  </a:lnTo>
                  <a:lnTo>
                    <a:pt x="9" y="22"/>
                  </a:lnTo>
                  <a:lnTo>
                    <a:pt x="12" y="22"/>
                  </a:lnTo>
                  <a:lnTo>
                    <a:pt x="12" y="24"/>
                  </a:lnTo>
                  <a:lnTo>
                    <a:pt x="12" y="24"/>
                  </a:lnTo>
                  <a:lnTo>
                    <a:pt x="12" y="24"/>
                  </a:lnTo>
                  <a:lnTo>
                    <a:pt x="9" y="27"/>
                  </a:lnTo>
                  <a:lnTo>
                    <a:pt x="9" y="27"/>
                  </a:lnTo>
                  <a:lnTo>
                    <a:pt x="9" y="27"/>
                  </a:lnTo>
                  <a:lnTo>
                    <a:pt x="12" y="29"/>
                  </a:lnTo>
                  <a:lnTo>
                    <a:pt x="14" y="31"/>
                  </a:lnTo>
                  <a:lnTo>
                    <a:pt x="17" y="34"/>
                  </a:lnTo>
                  <a:lnTo>
                    <a:pt x="21" y="36"/>
                  </a:lnTo>
                  <a:lnTo>
                    <a:pt x="21" y="36"/>
                  </a:lnTo>
                  <a:lnTo>
                    <a:pt x="21" y="38"/>
                  </a:lnTo>
                  <a:lnTo>
                    <a:pt x="19" y="41"/>
                  </a:lnTo>
                  <a:lnTo>
                    <a:pt x="19" y="41"/>
                  </a:lnTo>
                  <a:lnTo>
                    <a:pt x="19" y="41"/>
                  </a:lnTo>
                  <a:lnTo>
                    <a:pt x="17" y="41"/>
                  </a:lnTo>
                  <a:lnTo>
                    <a:pt x="19" y="41"/>
                  </a:lnTo>
                  <a:lnTo>
                    <a:pt x="19" y="43"/>
                  </a:lnTo>
                  <a:lnTo>
                    <a:pt x="21" y="43"/>
                  </a:lnTo>
                  <a:lnTo>
                    <a:pt x="24" y="45"/>
                  </a:lnTo>
                  <a:lnTo>
                    <a:pt x="24" y="45"/>
                  </a:lnTo>
                  <a:lnTo>
                    <a:pt x="26" y="48"/>
                  </a:lnTo>
                  <a:lnTo>
                    <a:pt x="28" y="48"/>
                  </a:lnTo>
                  <a:lnTo>
                    <a:pt x="31" y="48"/>
                  </a:lnTo>
                  <a:lnTo>
                    <a:pt x="31" y="50"/>
                  </a:lnTo>
                  <a:lnTo>
                    <a:pt x="31" y="50"/>
                  </a:lnTo>
                  <a:lnTo>
                    <a:pt x="31" y="50"/>
                  </a:lnTo>
                  <a:lnTo>
                    <a:pt x="31" y="53"/>
                  </a:lnTo>
                  <a:lnTo>
                    <a:pt x="31" y="53"/>
                  </a:lnTo>
                  <a:lnTo>
                    <a:pt x="31" y="53"/>
                  </a:lnTo>
                  <a:lnTo>
                    <a:pt x="31" y="53"/>
                  </a:lnTo>
                  <a:lnTo>
                    <a:pt x="33" y="55"/>
                  </a:lnTo>
                  <a:lnTo>
                    <a:pt x="33" y="55"/>
                  </a:lnTo>
                  <a:lnTo>
                    <a:pt x="33" y="55"/>
                  </a:lnTo>
                  <a:lnTo>
                    <a:pt x="33" y="55"/>
                  </a:lnTo>
                  <a:lnTo>
                    <a:pt x="31" y="55"/>
                  </a:lnTo>
                  <a:lnTo>
                    <a:pt x="31" y="57"/>
                  </a:lnTo>
                  <a:lnTo>
                    <a:pt x="31" y="57"/>
                  </a:lnTo>
                  <a:lnTo>
                    <a:pt x="33" y="57"/>
                  </a:lnTo>
                  <a:lnTo>
                    <a:pt x="33" y="60"/>
                  </a:lnTo>
                  <a:lnTo>
                    <a:pt x="33" y="60"/>
                  </a:lnTo>
                  <a:lnTo>
                    <a:pt x="33" y="62"/>
                  </a:lnTo>
                  <a:lnTo>
                    <a:pt x="35" y="62"/>
                  </a:lnTo>
                  <a:lnTo>
                    <a:pt x="38" y="57"/>
                  </a:lnTo>
                  <a:lnTo>
                    <a:pt x="38" y="57"/>
                  </a:lnTo>
                  <a:lnTo>
                    <a:pt x="40" y="57"/>
                  </a:lnTo>
                  <a:lnTo>
                    <a:pt x="43" y="55"/>
                  </a:lnTo>
                  <a:lnTo>
                    <a:pt x="45" y="53"/>
                  </a:lnTo>
                  <a:lnTo>
                    <a:pt x="47" y="50"/>
                  </a:lnTo>
                  <a:lnTo>
                    <a:pt x="50" y="50"/>
                  </a:lnTo>
                  <a:lnTo>
                    <a:pt x="50" y="48"/>
                  </a:lnTo>
                  <a:lnTo>
                    <a:pt x="54" y="45"/>
                  </a:lnTo>
                  <a:lnTo>
                    <a:pt x="54" y="45"/>
                  </a:lnTo>
                  <a:lnTo>
                    <a:pt x="57" y="45"/>
                  </a:lnTo>
                  <a:lnTo>
                    <a:pt x="59" y="48"/>
                  </a:lnTo>
                  <a:lnTo>
                    <a:pt x="64" y="50"/>
                  </a:lnTo>
                  <a:lnTo>
                    <a:pt x="64" y="53"/>
                  </a:lnTo>
                  <a:lnTo>
                    <a:pt x="61" y="53"/>
                  </a:lnTo>
                  <a:lnTo>
                    <a:pt x="61" y="53"/>
                  </a:lnTo>
                  <a:lnTo>
                    <a:pt x="61" y="55"/>
                  </a:lnTo>
                  <a:lnTo>
                    <a:pt x="61" y="55"/>
                  </a:lnTo>
                  <a:lnTo>
                    <a:pt x="61" y="55"/>
                  </a:lnTo>
                  <a:lnTo>
                    <a:pt x="61" y="57"/>
                  </a:lnTo>
                  <a:lnTo>
                    <a:pt x="64" y="57"/>
                  </a:lnTo>
                  <a:lnTo>
                    <a:pt x="64" y="60"/>
                  </a:lnTo>
                  <a:lnTo>
                    <a:pt x="64" y="60"/>
                  </a:lnTo>
                  <a:lnTo>
                    <a:pt x="64" y="60"/>
                  </a:lnTo>
                  <a:lnTo>
                    <a:pt x="64" y="60"/>
                  </a:lnTo>
                  <a:lnTo>
                    <a:pt x="61" y="62"/>
                  </a:lnTo>
                  <a:lnTo>
                    <a:pt x="61" y="62"/>
                  </a:lnTo>
                  <a:lnTo>
                    <a:pt x="59" y="62"/>
                  </a:lnTo>
                  <a:lnTo>
                    <a:pt x="59" y="62"/>
                  </a:lnTo>
                  <a:lnTo>
                    <a:pt x="59" y="64"/>
                  </a:lnTo>
                  <a:lnTo>
                    <a:pt x="59" y="64"/>
                  </a:lnTo>
                  <a:lnTo>
                    <a:pt x="64" y="67"/>
                  </a:lnTo>
                  <a:lnTo>
                    <a:pt x="64" y="67"/>
                  </a:lnTo>
                  <a:lnTo>
                    <a:pt x="64" y="67"/>
                  </a:lnTo>
                  <a:lnTo>
                    <a:pt x="66" y="69"/>
                  </a:lnTo>
                  <a:lnTo>
                    <a:pt x="66" y="69"/>
                  </a:lnTo>
                  <a:lnTo>
                    <a:pt x="69" y="69"/>
                  </a:lnTo>
                  <a:lnTo>
                    <a:pt x="71" y="74"/>
                  </a:lnTo>
                  <a:lnTo>
                    <a:pt x="71" y="74"/>
                  </a:lnTo>
                  <a:lnTo>
                    <a:pt x="76" y="71"/>
                  </a:lnTo>
                  <a:lnTo>
                    <a:pt x="76" y="71"/>
                  </a:lnTo>
                  <a:lnTo>
                    <a:pt x="76" y="64"/>
                  </a:lnTo>
                  <a:lnTo>
                    <a:pt x="76" y="64"/>
                  </a:lnTo>
                  <a:lnTo>
                    <a:pt x="76" y="62"/>
                  </a:lnTo>
                  <a:lnTo>
                    <a:pt x="76" y="60"/>
                  </a:lnTo>
                  <a:lnTo>
                    <a:pt x="76" y="57"/>
                  </a:lnTo>
                  <a:lnTo>
                    <a:pt x="78" y="57"/>
                  </a:lnTo>
                  <a:lnTo>
                    <a:pt x="78" y="60"/>
                  </a:lnTo>
                  <a:lnTo>
                    <a:pt x="78" y="60"/>
                  </a:lnTo>
                  <a:lnTo>
                    <a:pt x="80" y="60"/>
                  </a:lnTo>
                  <a:lnTo>
                    <a:pt x="80" y="60"/>
                  </a:lnTo>
                  <a:lnTo>
                    <a:pt x="80" y="55"/>
                  </a:lnTo>
                  <a:lnTo>
                    <a:pt x="80" y="53"/>
                  </a:lnTo>
                  <a:lnTo>
                    <a:pt x="83" y="53"/>
                  </a:lnTo>
                  <a:lnTo>
                    <a:pt x="83" y="53"/>
                  </a:lnTo>
                  <a:lnTo>
                    <a:pt x="80" y="50"/>
                  </a:lnTo>
                  <a:lnTo>
                    <a:pt x="80" y="48"/>
                  </a:lnTo>
                  <a:lnTo>
                    <a:pt x="80" y="43"/>
                  </a:lnTo>
                  <a:lnTo>
                    <a:pt x="80" y="38"/>
                  </a:lnTo>
                  <a:lnTo>
                    <a:pt x="83" y="36"/>
                  </a:lnTo>
                  <a:lnTo>
                    <a:pt x="85" y="36"/>
                  </a:lnTo>
                  <a:lnTo>
                    <a:pt x="85" y="34"/>
                  </a:lnTo>
                  <a:lnTo>
                    <a:pt x="88" y="34"/>
                  </a:lnTo>
                  <a:lnTo>
                    <a:pt x="92" y="34"/>
                  </a:lnTo>
                  <a:lnTo>
                    <a:pt x="97" y="36"/>
                  </a:lnTo>
                  <a:lnTo>
                    <a:pt x="95" y="31"/>
                  </a:lnTo>
                  <a:close/>
                  <a:moveTo>
                    <a:pt x="12" y="29"/>
                  </a:moveTo>
                  <a:lnTo>
                    <a:pt x="12" y="29"/>
                  </a:lnTo>
                  <a:lnTo>
                    <a:pt x="12" y="29"/>
                  </a:lnTo>
                  <a:lnTo>
                    <a:pt x="12" y="27"/>
                  </a:lnTo>
                  <a:lnTo>
                    <a:pt x="12" y="27"/>
                  </a:lnTo>
                  <a:lnTo>
                    <a:pt x="12" y="27"/>
                  </a:lnTo>
                  <a:lnTo>
                    <a:pt x="12" y="27"/>
                  </a:lnTo>
                  <a:lnTo>
                    <a:pt x="12" y="29"/>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 name="Freeform 211"/>
            <p:cNvSpPr>
              <a:spLocks/>
            </p:cNvSpPr>
            <p:nvPr/>
          </p:nvSpPr>
          <p:spPr bwMode="auto">
            <a:xfrm>
              <a:off x="2928" y="1768"/>
              <a:ext cx="126" cy="54"/>
            </a:xfrm>
            <a:custGeom>
              <a:avLst/>
              <a:gdLst>
                <a:gd name="T0" fmla="*/ 121 w 126"/>
                <a:gd name="T1" fmla="*/ 11 h 54"/>
                <a:gd name="T2" fmla="*/ 123 w 126"/>
                <a:gd name="T3" fmla="*/ 7 h 54"/>
                <a:gd name="T4" fmla="*/ 116 w 126"/>
                <a:gd name="T5" fmla="*/ 4 h 54"/>
                <a:gd name="T6" fmla="*/ 112 w 126"/>
                <a:gd name="T7" fmla="*/ 4 h 54"/>
                <a:gd name="T8" fmla="*/ 100 w 126"/>
                <a:gd name="T9" fmla="*/ 2 h 54"/>
                <a:gd name="T10" fmla="*/ 93 w 126"/>
                <a:gd name="T11" fmla="*/ 2 h 54"/>
                <a:gd name="T12" fmla="*/ 90 w 126"/>
                <a:gd name="T13" fmla="*/ 4 h 54"/>
                <a:gd name="T14" fmla="*/ 86 w 126"/>
                <a:gd name="T15" fmla="*/ 9 h 54"/>
                <a:gd name="T16" fmla="*/ 78 w 126"/>
                <a:gd name="T17" fmla="*/ 9 h 54"/>
                <a:gd name="T18" fmla="*/ 71 w 126"/>
                <a:gd name="T19" fmla="*/ 4 h 54"/>
                <a:gd name="T20" fmla="*/ 71 w 126"/>
                <a:gd name="T21" fmla="*/ 9 h 54"/>
                <a:gd name="T22" fmla="*/ 67 w 126"/>
                <a:gd name="T23" fmla="*/ 9 h 54"/>
                <a:gd name="T24" fmla="*/ 62 w 126"/>
                <a:gd name="T25" fmla="*/ 14 h 54"/>
                <a:gd name="T26" fmla="*/ 55 w 126"/>
                <a:gd name="T27" fmla="*/ 19 h 54"/>
                <a:gd name="T28" fmla="*/ 57 w 126"/>
                <a:gd name="T29" fmla="*/ 26 h 54"/>
                <a:gd name="T30" fmla="*/ 60 w 126"/>
                <a:gd name="T31" fmla="*/ 28 h 54"/>
                <a:gd name="T32" fmla="*/ 55 w 126"/>
                <a:gd name="T33" fmla="*/ 30 h 54"/>
                <a:gd name="T34" fmla="*/ 52 w 126"/>
                <a:gd name="T35" fmla="*/ 28 h 54"/>
                <a:gd name="T36" fmla="*/ 48 w 126"/>
                <a:gd name="T37" fmla="*/ 26 h 54"/>
                <a:gd name="T38" fmla="*/ 45 w 126"/>
                <a:gd name="T39" fmla="*/ 28 h 54"/>
                <a:gd name="T40" fmla="*/ 31 w 126"/>
                <a:gd name="T41" fmla="*/ 30 h 54"/>
                <a:gd name="T42" fmla="*/ 26 w 126"/>
                <a:gd name="T43" fmla="*/ 33 h 54"/>
                <a:gd name="T44" fmla="*/ 24 w 126"/>
                <a:gd name="T45" fmla="*/ 30 h 54"/>
                <a:gd name="T46" fmla="*/ 17 w 126"/>
                <a:gd name="T47" fmla="*/ 30 h 54"/>
                <a:gd name="T48" fmla="*/ 12 w 126"/>
                <a:gd name="T49" fmla="*/ 35 h 54"/>
                <a:gd name="T50" fmla="*/ 10 w 126"/>
                <a:gd name="T51" fmla="*/ 33 h 54"/>
                <a:gd name="T52" fmla="*/ 8 w 126"/>
                <a:gd name="T53" fmla="*/ 30 h 54"/>
                <a:gd name="T54" fmla="*/ 0 w 126"/>
                <a:gd name="T55" fmla="*/ 30 h 54"/>
                <a:gd name="T56" fmla="*/ 3 w 126"/>
                <a:gd name="T57" fmla="*/ 35 h 54"/>
                <a:gd name="T58" fmla="*/ 3 w 126"/>
                <a:gd name="T59" fmla="*/ 38 h 54"/>
                <a:gd name="T60" fmla="*/ 5 w 126"/>
                <a:gd name="T61" fmla="*/ 40 h 54"/>
                <a:gd name="T62" fmla="*/ 12 w 126"/>
                <a:gd name="T63" fmla="*/ 45 h 54"/>
                <a:gd name="T64" fmla="*/ 17 w 126"/>
                <a:gd name="T65" fmla="*/ 45 h 54"/>
                <a:gd name="T66" fmla="*/ 24 w 126"/>
                <a:gd name="T67" fmla="*/ 45 h 54"/>
                <a:gd name="T68" fmla="*/ 29 w 126"/>
                <a:gd name="T69" fmla="*/ 42 h 54"/>
                <a:gd name="T70" fmla="*/ 38 w 126"/>
                <a:gd name="T71" fmla="*/ 42 h 54"/>
                <a:gd name="T72" fmla="*/ 45 w 126"/>
                <a:gd name="T73" fmla="*/ 40 h 54"/>
                <a:gd name="T74" fmla="*/ 48 w 126"/>
                <a:gd name="T75" fmla="*/ 47 h 54"/>
                <a:gd name="T76" fmla="*/ 55 w 126"/>
                <a:gd name="T77" fmla="*/ 49 h 54"/>
                <a:gd name="T78" fmla="*/ 71 w 126"/>
                <a:gd name="T79" fmla="*/ 52 h 54"/>
                <a:gd name="T80" fmla="*/ 81 w 126"/>
                <a:gd name="T81" fmla="*/ 52 h 54"/>
                <a:gd name="T82" fmla="*/ 86 w 126"/>
                <a:gd name="T83" fmla="*/ 54 h 54"/>
                <a:gd name="T84" fmla="*/ 90 w 126"/>
                <a:gd name="T85" fmla="*/ 49 h 54"/>
                <a:gd name="T86" fmla="*/ 100 w 126"/>
                <a:gd name="T87" fmla="*/ 49 h 54"/>
                <a:gd name="T88" fmla="*/ 107 w 126"/>
                <a:gd name="T89" fmla="*/ 47 h 54"/>
                <a:gd name="T90" fmla="*/ 109 w 126"/>
                <a:gd name="T91" fmla="*/ 45 h 54"/>
                <a:gd name="T92" fmla="*/ 116 w 126"/>
                <a:gd name="T93" fmla="*/ 40 h 54"/>
                <a:gd name="T94" fmla="*/ 116 w 126"/>
                <a:gd name="T95" fmla="*/ 38 h 54"/>
                <a:gd name="T96" fmla="*/ 116 w 126"/>
                <a:gd name="T97" fmla="*/ 33 h 54"/>
                <a:gd name="T98" fmla="*/ 119 w 126"/>
                <a:gd name="T99" fmla="*/ 30 h 54"/>
                <a:gd name="T100" fmla="*/ 116 w 126"/>
                <a:gd name="T101" fmla="*/ 26 h 54"/>
                <a:gd name="T102" fmla="*/ 121 w 126"/>
                <a:gd name="T103" fmla="*/ 28 h 54"/>
                <a:gd name="T104" fmla="*/ 126 w 126"/>
                <a:gd name="T105" fmla="*/ 26 h 54"/>
                <a:gd name="T106" fmla="*/ 126 w 126"/>
                <a:gd name="T107" fmla="*/ 2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6" h="54">
                  <a:moveTo>
                    <a:pt x="126" y="19"/>
                  </a:moveTo>
                  <a:lnTo>
                    <a:pt x="126" y="19"/>
                  </a:lnTo>
                  <a:lnTo>
                    <a:pt x="123" y="16"/>
                  </a:lnTo>
                  <a:lnTo>
                    <a:pt x="121" y="11"/>
                  </a:lnTo>
                  <a:lnTo>
                    <a:pt x="121" y="11"/>
                  </a:lnTo>
                  <a:lnTo>
                    <a:pt x="123" y="9"/>
                  </a:lnTo>
                  <a:lnTo>
                    <a:pt x="123" y="9"/>
                  </a:lnTo>
                  <a:lnTo>
                    <a:pt x="123" y="9"/>
                  </a:lnTo>
                  <a:lnTo>
                    <a:pt x="123" y="9"/>
                  </a:lnTo>
                  <a:lnTo>
                    <a:pt x="123" y="7"/>
                  </a:lnTo>
                  <a:lnTo>
                    <a:pt x="121" y="7"/>
                  </a:lnTo>
                  <a:lnTo>
                    <a:pt x="121" y="7"/>
                  </a:lnTo>
                  <a:lnTo>
                    <a:pt x="121" y="4"/>
                  </a:lnTo>
                  <a:lnTo>
                    <a:pt x="119" y="4"/>
                  </a:lnTo>
                  <a:lnTo>
                    <a:pt x="116" y="4"/>
                  </a:lnTo>
                  <a:lnTo>
                    <a:pt x="116" y="4"/>
                  </a:lnTo>
                  <a:lnTo>
                    <a:pt x="116" y="4"/>
                  </a:lnTo>
                  <a:lnTo>
                    <a:pt x="114" y="4"/>
                  </a:lnTo>
                  <a:lnTo>
                    <a:pt x="114" y="4"/>
                  </a:lnTo>
                  <a:lnTo>
                    <a:pt x="112" y="4"/>
                  </a:lnTo>
                  <a:lnTo>
                    <a:pt x="109" y="4"/>
                  </a:lnTo>
                  <a:lnTo>
                    <a:pt x="104" y="2"/>
                  </a:lnTo>
                  <a:lnTo>
                    <a:pt x="104" y="2"/>
                  </a:lnTo>
                  <a:lnTo>
                    <a:pt x="102" y="2"/>
                  </a:lnTo>
                  <a:lnTo>
                    <a:pt x="100" y="2"/>
                  </a:lnTo>
                  <a:lnTo>
                    <a:pt x="97" y="0"/>
                  </a:lnTo>
                  <a:lnTo>
                    <a:pt x="95" y="0"/>
                  </a:lnTo>
                  <a:lnTo>
                    <a:pt x="95" y="0"/>
                  </a:lnTo>
                  <a:lnTo>
                    <a:pt x="95" y="0"/>
                  </a:lnTo>
                  <a:lnTo>
                    <a:pt x="93" y="2"/>
                  </a:lnTo>
                  <a:lnTo>
                    <a:pt x="93" y="0"/>
                  </a:lnTo>
                  <a:lnTo>
                    <a:pt x="93" y="0"/>
                  </a:lnTo>
                  <a:lnTo>
                    <a:pt x="90" y="0"/>
                  </a:lnTo>
                  <a:lnTo>
                    <a:pt x="90" y="0"/>
                  </a:lnTo>
                  <a:lnTo>
                    <a:pt x="90" y="4"/>
                  </a:lnTo>
                  <a:lnTo>
                    <a:pt x="90" y="4"/>
                  </a:lnTo>
                  <a:lnTo>
                    <a:pt x="88" y="4"/>
                  </a:lnTo>
                  <a:lnTo>
                    <a:pt x="88" y="4"/>
                  </a:lnTo>
                  <a:lnTo>
                    <a:pt x="86" y="7"/>
                  </a:lnTo>
                  <a:lnTo>
                    <a:pt x="86" y="9"/>
                  </a:lnTo>
                  <a:lnTo>
                    <a:pt x="83" y="7"/>
                  </a:lnTo>
                  <a:lnTo>
                    <a:pt x="83" y="7"/>
                  </a:lnTo>
                  <a:lnTo>
                    <a:pt x="81" y="7"/>
                  </a:lnTo>
                  <a:lnTo>
                    <a:pt x="81" y="9"/>
                  </a:lnTo>
                  <a:lnTo>
                    <a:pt x="78" y="9"/>
                  </a:lnTo>
                  <a:lnTo>
                    <a:pt x="76" y="7"/>
                  </a:lnTo>
                  <a:lnTo>
                    <a:pt x="74" y="7"/>
                  </a:lnTo>
                  <a:lnTo>
                    <a:pt x="74" y="4"/>
                  </a:lnTo>
                  <a:lnTo>
                    <a:pt x="71" y="4"/>
                  </a:lnTo>
                  <a:lnTo>
                    <a:pt x="71" y="4"/>
                  </a:lnTo>
                  <a:lnTo>
                    <a:pt x="71" y="4"/>
                  </a:lnTo>
                  <a:lnTo>
                    <a:pt x="71" y="7"/>
                  </a:lnTo>
                  <a:lnTo>
                    <a:pt x="71" y="7"/>
                  </a:lnTo>
                  <a:lnTo>
                    <a:pt x="71" y="9"/>
                  </a:lnTo>
                  <a:lnTo>
                    <a:pt x="71" y="9"/>
                  </a:lnTo>
                  <a:lnTo>
                    <a:pt x="69" y="9"/>
                  </a:lnTo>
                  <a:lnTo>
                    <a:pt x="69" y="9"/>
                  </a:lnTo>
                  <a:lnTo>
                    <a:pt x="67" y="9"/>
                  </a:lnTo>
                  <a:lnTo>
                    <a:pt x="67" y="9"/>
                  </a:lnTo>
                  <a:lnTo>
                    <a:pt x="67" y="9"/>
                  </a:lnTo>
                  <a:lnTo>
                    <a:pt x="64" y="11"/>
                  </a:lnTo>
                  <a:lnTo>
                    <a:pt x="64" y="14"/>
                  </a:lnTo>
                  <a:lnTo>
                    <a:pt x="64" y="14"/>
                  </a:lnTo>
                  <a:lnTo>
                    <a:pt x="62" y="14"/>
                  </a:lnTo>
                  <a:lnTo>
                    <a:pt x="62" y="14"/>
                  </a:lnTo>
                  <a:lnTo>
                    <a:pt x="60" y="14"/>
                  </a:lnTo>
                  <a:lnTo>
                    <a:pt x="57" y="16"/>
                  </a:lnTo>
                  <a:lnTo>
                    <a:pt x="55" y="16"/>
                  </a:lnTo>
                  <a:lnTo>
                    <a:pt x="55" y="19"/>
                  </a:lnTo>
                  <a:lnTo>
                    <a:pt x="55" y="19"/>
                  </a:lnTo>
                  <a:lnTo>
                    <a:pt x="57" y="21"/>
                  </a:lnTo>
                  <a:lnTo>
                    <a:pt x="57" y="23"/>
                  </a:lnTo>
                  <a:lnTo>
                    <a:pt x="57" y="23"/>
                  </a:lnTo>
                  <a:lnTo>
                    <a:pt x="57" y="26"/>
                  </a:lnTo>
                  <a:lnTo>
                    <a:pt x="57" y="26"/>
                  </a:lnTo>
                  <a:lnTo>
                    <a:pt x="57" y="26"/>
                  </a:lnTo>
                  <a:lnTo>
                    <a:pt x="60" y="26"/>
                  </a:lnTo>
                  <a:lnTo>
                    <a:pt x="60" y="26"/>
                  </a:lnTo>
                  <a:lnTo>
                    <a:pt x="60" y="28"/>
                  </a:lnTo>
                  <a:lnTo>
                    <a:pt x="60" y="28"/>
                  </a:lnTo>
                  <a:lnTo>
                    <a:pt x="60" y="30"/>
                  </a:lnTo>
                  <a:lnTo>
                    <a:pt x="60" y="30"/>
                  </a:lnTo>
                  <a:lnTo>
                    <a:pt x="57" y="30"/>
                  </a:lnTo>
                  <a:lnTo>
                    <a:pt x="57" y="30"/>
                  </a:lnTo>
                  <a:lnTo>
                    <a:pt x="55" y="30"/>
                  </a:lnTo>
                  <a:lnTo>
                    <a:pt x="55" y="30"/>
                  </a:lnTo>
                  <a:lnTo>
                    <a:pt x="55" y="28"/>
                  </a:lnTo>
                  <a:lnTo>
                    <a:pt x="55" y="28"/>
                  </a:lnTo>
                  <a:lnTo>
                    <a:pt x="55" y="28"/>
                  </a:lnTo>
                  <a:lnTo>
                    <a:pt x="52" y="28"/>
                  </a:lnTo>
                  <a:lnTo>
                    <a:pt x="52" y="28"/>
                  </a:lnTo>
                  <a:lnTo>
                    <a:pt x="50" y="28"/>
                  </a:lnTo>
                  <a:lnTo>
                    <a:pt x="50" y="28"/>
                  </a:lnTo>
                  <a:lnTo>
                    <a:pt x="50" y="28"/>
                  </a:lnTo>
                  <a:lnTo>
                    <a:pt x="48" y="26"/>
                  </a:lnTo>
                  <a:lnTo>
                    <a:pt x="48" y="26"/>
                  </a:lnTo>
                  <a:lnTo>
                    <a:pt x="45" y="26"/>
                  </a:lnTo>
                  <a:lnTo>
                    <a:pt x="45" y="26"/>
                  </a:lnTo>
                  <a:lnTo>
                    <a:pt x="45" y="28"/>
                  </a:lnTo>
                  <a:lnTo>
                    <a:pt x="45" y="28"/>
                  </a:lnTo>
                  <a:lnTo>
                    <a:pt x="38" y="28"/>
                  </a:lnTo>
                  <a:lnTo>
                    <a:pt x="36" y="30"/>
                  </a:lnTo>
                  <a:lnTo>
                    <a:pt x="34" y="30"/>
                  </a:lnTo>
                  <a:lnTo>
                    <a:pt x="31" y="30"/>
                  </a:lnTo>
                  <a:lnTo>
                    <a:pt x="31" y="30"/>
                  </a:lnTo>
                  <a:lnTo>
                    <a:pt x="31" y="33"/>
                  </a:lnTo>
                  <a:lnTo>
                    <a:pt x="29" y="33"/>
                  </a:lnTo>
                  <a:lnTo>
                    <a:pt x="29" y="33"/>
                  </a:lnTo>
                  <a:lnTo>
                    <a:pt x="29" y="33"/>
                  </a:lnTo>
                  <a:lnTo>
                    <a:pt x="26" y="33"/>
                  </a:lnTo>
                  <a:lnTo>
                    <a:pt x="26" y="33"/>
                  </a:lnTo>
                  <a:lnTo>
                    <a:pt x="24" y="33"/>
                  </a:lnTo>
                  <a:lnTo>
                    <a:pt x="24" y="30"/>
                  </a:lnTo>
                  <a:lnTo>
                    <a:pt x="24" y="30"/>
                  </a:lnTo>
                  <a:lnTo>
                    <a:pt x="24" y="30"/>
                  </a:lnTo>
                  <a:lnTo>
                    <a:pt x="22" y="30"/>
                  </a:lnTo>
                  <a:lnTo>
                    <a:pt x="19" y="30"/>
                  </a:lnTo>
                  <a:lnTo>
                    <a:pt x="17" y="30"/>
                  </a:lnTo>
                  <a:lnTo>
                    <a:pt x="17" y="30"/>
                  </a:lnTo>
                  <a:lnTo>
                    <a:pt x="17" y="30"/>
                  </a:lnTo>
                  <a:lnTo>
                    <a:pt x="17" y="33"/>
                  </a:lnTo>
                  <a:lnTo>
                    <a:pt x="15" y="33"/>
                  </a:lnTo>
                  <a:lnTo>
                    <a:pt x="15" y="35"/>
                  </a:lnTo>
                  <a:lnTo>
                    <a:pt x="12" y="35"/>
                  </a:lnTo>
                  <a:lnTo>
                    <a:pt x="12" y="35"/>
                  </a:lnTo>
                  <a:lnTo>
                    <a:pt x="12" y="35"/>
                  </a:lnTo>
                  <a:lnTo>
                    <a:pt x="12" y="33"/>
                  </a:lnTo>
                  <a:lnTo>
                    <a:pt x="12" y="33"/>
                  </a:lnTo>
                  <a:lnTo>
                    <a:pt x="10" y="33"/>
                  </a:lnTo>
                  <a:lnTo>
                    <a:pt x="10" y="33"/>
                  </a:lnTo>
                  <a:lnTo>
                    <a:pt x="10" y="33"/>
                  </a:lnTo>
                  <a:lnTo>
                    <a:pt x="10" y="33"/>
                  </a:lnTo>
                  <a:lnTo>
                    <a:pt x="10" y="30"/>
                  </a:lnTo>
                  <a:lnTo>
                    <a:pt x="10" y="30"/>
                  </a:lnTo>
                  <a:lnTo>
                    <a:pt x="8" y="30"/>
                  </a:lnTo>
                  <a:lnTo>
                    <a:pt x="5" y="28"/>
                  </a:lnTo>
                  <a:lnTo>
                    <a:pt x="5" y="30"/>
                  </a:lnTo>
                  <a:lnTo>
                    <a:pt x="3" y="30"/>
                  </a:lnTo>
                  <a:lnTo>
                    <a:pt x="3" y="30"/>
                  </a:lnTo>
                  <a:lnTo>
                    <a:pt x="0" y="30"/>
                  </a:lnTo>
                  <a:lnTo>
                    <a:pt x="3" y="30"/>
                  </a:lnTo>
                  <a:lnTo>
                    <a:pt x="3" y="30"/>
                  </a:lnTo>
                  <a:lnTo>
                    <a:pt x="3" y="33"/>
                  </a:lnTo>
                  <a:lnTo>
                    <a:pt x="0" y="35"/>
                  </a:lnTo>
                  <a:lnTo>
                    <a:pt x="3" y="35"/>
                  </a:lnTo>
                  <a:lnTo>
                    <a:pt x="3" y="35"/>
                  </a:lnTo>
                  <a:lnTo>
                    <a:pt x="3" y="38"/>
                  </a:lnTo>
                  <a:lnTo>
                    <a:pt x="3" y="38"/>
                  </a:lnTo>
                  <a:lnTo>
                    <a:pt x="3" y="38"/>
                  </a:lnTo>
                  <a:lnTo>
                    <a:pt x="3" y="38"/>
                  </a:lnTo>
                  <a:lnTo>
                    <a:pt x="3" y="40"/>
                  </a:lnTo>
                  <a:lnTo>
                    <a:pt x="3" y="40"/>
                  </a:lnTo>
                  <a:lnTo>
                    <a:pt x="3" y="40"/>
                  </a:lnTo>
                  <a:lnTo>
                    <a:pt x="3" y="40"/>
                  </a:lnTo>
                  <a:lnTo>
                    <a:pt x="5" y="40"/>
                  </a:lnTo>
                  <a:lnTo>
                    <a:pt x="8" y="40"/>
                  </a:lnTo>
                  <a:lnTo>
                    <a:pt x="8" y="42"/>
                  </a:lnTo>
                  <a:lnTo>
                    <a:pt x="8" y="42"/>
                  </a:lnTo>
                  <a:lnTo>
                    <a:pt x="10" y="42"/>
                  </a:lnTo>
                  <a:lnTo>
                    <a:pt x="12" y="45"/>
                  </a:lnTo>
                  <a:lnTo>
                    <a:pt x="12" y="45"/>
                  </a:lnTo>
                  <a:lnTo>
                    <a:pt x="15" y="42"/>
                  </a:lnTo>
                  <a:lnTo>
                    <a:pt x="17" y="42"/>
                  </a:lnTo>
                  <a:lnTo>
                    <a:pt x="17" y="42"/>
                  </a:lnTo>
                  <a:lnTo>
                    <a:pt x="17" y="45"/>
                  </a:lnTo>
                  <a:lnTo>
                    <a:pt x="17" y="45"/>
                  </a:lnTo>
                  <a:lnTo>
                    <a:pt x="19" y="45"/>
                  </a:lnTo>
                  <a:lnTo>
                    <a:pt x="22" y="45"/>
                  </a:lnTo>
                  <a:lnTo>
                    <a:pt x="22" y="45"/>
                  </a:lnTo>
                  <a:lnTo>
                    <a:pt x="24" y="45"/>
                  </a:lnTo>
                  <a:lnTo>
                    <a:pt x="24" y="47"/>
                  </a:lnTo>
                  <a:lnTo>
                    <a:pt x="26" y="45"/>
                  </a:lnTo>
                  <a:lnTo>
                    <a:pt x="26" y="45"/>
                  </a:lnTo>
                  <a:lnTo>
                    <a:pt x="26" y="45"/>
                  </a:lnTo>
                  <a:lnTo>
                    <a:pt x="29" y="42"/>
                  </a:lnTo>
                  <a:lnTo>
                    <a:pt x="29" y="42"/>
                  </a:lnTo>
                  <a:lnTo>
                    <a:pt x="34" y="42"/>
                  </a:lnTo>
                  <a:lnTo>
                    <a:pt x="34" y="42"/>
                  </a:lnTo>
                  <a:lnTo>
                    <a:pt x="36" y="42"/>
                  </a:lnTo>
                  <a:lnTo>
                    <a:pt x="38" y="42"/>
                  </a:lnTo>
                  <a:lnTo>
                    <a:pt x="38" y="42"/>
                  </a:lnTo>
                  <a:lnTo>
                    <a:pt x="41" y="40"/>
                  </a:lnTo>
                  <a:lnTo>
                    <a:pt x="45" y="40"/>
                  </a:lnTo>
                  <a:lnTo>
                    <a:pt x="45" y="40"/>
                  </a:lnTo>
                  <a:lnTo>
                    <a:pt x="45" y="40"/>
                  </a:lnTo>
                  <a:lnTo>
                    <a:pt x="45" y="40"/>
                  </a:lnTo>
                  <a:lnTo>
                    <a:pt x="45" y="42"/>
                  </a:lnTo>
                  <a:lnTo>
                    <a:pt x="45" y="42"/>
                  </a:lnTo>
                  <a:lnTo>
                    <a:pt x="48" y="45"/>
                  </a:lnTo>
                  <a:lnTo>
                    <a:pt x="48" y="47"/>
                  </a:lnTo>
                  <a:lnTo>
                    <a:pt x="48" y="47"/>
                  </a:lnTo>
                  <a:lnTo>
                    <a:pt x="50" y="47"/>
                  </a:lnTo>
                  <a:lnTo>
                    <a:pt x="52" y="49"/>
                  </a:lnTo>
                  <a:lnTo>
                    <a:pt x="55" y="49"/>
                  </a:lnTo>
                  <a:lnTo>
                    <a:pt x="55" y="49"/>
                  </a:lnTo>
                  <a:lnTo>
                    <a:pt x="62" y="49"/>
                  </a:lnTo>
                  <a:lnTo>
                    <a:pt x="64" y="49"/>
                  </a:lnTo>
                  <a:lnTo>
                    <a:pt x="67" y="49"/>
                  </a:lnTo>
                  <a:lnTo>
                    <a:pt x="71" y="52"/>
                  </a:lnTo>
                  <a:lnTo>
                    <a:pt x="71" y="52"/>
                  </a:lnTo>
                  <a:lnTo>
                    <a:pt x="74" y="52"/>
                  </a:lnTo>
                  <a:lnTo>
                    <a:pt x="74" y="52"/>
                  </a:lnTo>
                  <a:lnTo>
                    <a:pt x="76" y="52"/>
                  </a:lnTo>
                  <a:lnTo>
                    <a:pt x="76" y="52"/>
                  </a:lnTo>
                  <a:lnTo>
                    <a:pt x="81" y="52"/>
                  </a:lnTo>
                  <a:lnTo>
                    <a:pt x="83" y="52"/>
                  </a:lnTo>
                  <a:lnTo>
                    <a:pt x="83" y="54"/>
                  </a:lnTo>
                  <a:lnTo>
                    <a:pt x="83" y="54"/>
                  </a:lnTo>
                  <a:lnTo>
                    <a:pt x="86" y="54"/>
                  </a:lnTo>
                  <a:lnTo>
                    <a:pt x="86" y="54"/>
                  </a:lnTo>
                  <a:lnTo>
                    <a:pt x="86" y="52"/>
                  </a:lnTo>
                  <a:lnTo>
                    <a:pt x="88" y="52"/>
                  </a:lnTo>
                  <a:lnTo>
                    <a:pt x="88" y="52"/>
                  </a:lnTo>
                  <a:lnTo>
                    <a:pt x="88" y="49"/>
                  </a:lnTo>
                  <a:lnTo>
                    <a:pt x="90" y="49"/>
                  </a:lnTo>
                  <a:lnTo>
                    <a:pt x="90" y="49"/>
                  </a:lnTo>
                  <a:lnTo>
                    <a:pt x="90" y="49"/>
                  </a:lnTo>
                  <a:lnTo>
                    <a:pt x="93" y="49"/>
                  </a:lnTo>
                  <a:lnTo>
                    <a:pt x="95" y="49"/>
                  </a:lnTo>
                  <a:lnTo>
                    <a:pt x="100" y="49"/>
                  </a:lnTo>
                  <a:lnTo>
                    <a:pt x="102" y="49"/>
                  </a:lnTo>
                  <a:lnTo>
                    <a:pt x="102" y="47"/>
                  </a:lnTo>
                  <a:lnTo>
                    <a:pt x="104" y="47"/>
                  </a:lnTo>
                  <a:lnTo>
                    <a:pt x="104" y="47"/>
                  </a:lnTo>
                  <a:lnTo>
                    <a:pt x="107" y="47"/>
                  </a:lnTo>
                  <a:lnTo>
                    <a:pt x="109" y="47"/>
                  </a:lnTo>
                  <a:lnTo>
                    <a:pt x="109" y="47"/>
                  </a:lnTo>
                  <a:lnTo>
                    <a:pt x="109" y="45"/>
                  </a:lnTo>
                  <a:lnTo>
                    <a:pt x="109" y="45"/>
                  </a:lnTo>
                  <a:lnTo>
                    <a:pt x="109" y="45"/>
                  </a:lnTo>
                  <a:lnTo>
                    <a:pt x="112" y="42"/>
                  </a:lnTo>
                  <a:lnTo>
                    <a:pt x="114" y="40"/>
                  </a:lnTo>
                  <a:lnTo>
                    <a:pt x="116" y="42"/>
                  </a:lnTo>
                  <a:lnTo>
                    <a:pt x="116" y="40"/>
                  </a:lnTo>
                  <a:lnTo>
                    <a:pt x="116" y="40"/>
                  </a:lnTo>
                  <a:lnTo>
                    <a:pt x="116" y="40"/>
                  </a:lnTo>
                  <a:lnTo>
                    <a:pt x="116" y="40"/>
                  </a:lnTo>
                  <a:lnTo>
                    <a:pt x="116" y="38"/>
                  </a:lnTo>
                  <a:lnTo>
                    <a:pt x="116" y="38"/>
                  </a:lnTo>
                  <a:lnTo>
                    <a:pt x="116" y="38"/>
                  </a:lnTo>
                  <a:lnTo>
                    <a:pt x="114" y="38"/>
                  </a:lnTo>
                  <a:lnTo>
                    <a:pt x="116" y="35"/>
                  </a:lnTo>
                  <a:lnTo>
                    <a:pt x="116" y="35"/>
                  </a:lnTo>
                  <a:lnTo>
                    <a:pt x="116" y="33"/>
                  </a:lnTo>
                  <a:lnTo>
                    <a:pt x="116" y="33"/>
                  </a:lnTo>
                  <a:lnTo>
                    <a:pt x="116" y="33"/>
                  </a:lnTo>
                  <a:lnTo>
                    <a:pt x="119" y="33"/>
                  </a:lnTo>
                  <a:lnTo>
                    <a:pt x="119" y="33"/>
                  </a:lnTo>
                  <a:lnTo>
                    <a:pt x="119" y="30"/>
                  </a:lnTo>
                  <a:lnTo>
                    <a:pt x="119" y="30"/>
                  </a:lnTo>
                  <a:lnTo>
                    <a:pt x="119" y="28"/>
                  </a:lnTo>
                  <a:lnTo>
                    <a:pt x="116" y="28"/>
                  </a:lnTo>
                  <a:lnTo>
                    <a:pt x="114" y="28"/>
                  </a:lnTo>
                  <a:lnTo>
                    <a:pt x="116" y="26"/>
                  </a:lnTo>
                  <a:lnTo>
                    <a:pt x="116" y="26"/>
                  </a:lnTo>
                  <a:lnTo>
                    <a:pt x="116" y="26"/>
                  </a:lnTo>
                  <a:lnTo>
                    <a:pt x="119" y="26"/>
                  </a:lnTo>
                  <a:lnTo>
                    <a:pt x="119" y="26"/>
                  </a:lnTo>
                  <a:lnTo>
                    <a:pt x="121" y="26"/>
                  </a:lnTo>
                  <a:lnTo>
                    <a:pt x="121" y="28"/>
                  </a:lnTo>
                  <a:lnTo>
                    <a:pt x="121" y="26"/>
                  </a:lnTo>
                  <a:lnTo>
                    <a:pt x="121" y="26"/>
                  </a:lnTo>
                  <a:lnTo>
                    <a:pt x="123" y="26"/>
                  </a:lnTo>
                  <a:lnTo>
                    <a:pt x="126" y="26"/>
                  </a:lnTo>
                  <a:lnTo>
                    <a:pt x="126" y="26"/>
                  </a:lnTo>
                  <a:lnTo>
                    <a:pt x="126" y="23"/>
                  </a:lnTo>
                  <a:lnTo>
                    <a:pt x="126" y="23"/>
                  </a:lnTo>
                  <a:lnTo>
                    <a:pt x="126" y="23"/>
                  </a:lnTo>
                  <a:lnTo>
                    <a:pt x="126" y="23"/>
                  </a:lnTo>
                  <a:lnTo>
                    <a:pt x="126" y="21"/>
                  </a:lnTo>
                  <a:lnTo>
                    <a:pt x="126" y="21"/>
                  </a:lnTo>
                  <a:lnTo>
                    <a:pt x="126" y="19"/>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 name="Freeform 212"/>
            <p:cNvSpPr>
              <a:spLocks noEditPoints="1"/>
            </p:cNvSpPr>
            <p:nvPr/>
          </p:nvSpPr>
          <p:spPr bwMode="auto">
            <a:xfrm>
              <a:off x="4790" y="3013"/>
              <a:ext cx="750" cy="708"/>
            </a:xfrm>
            <a:custGeom>
              <a:avLst/>
              <a:gdLst>
                <a:gd name="T0" fmla="*/ 487 w 750"/>
                <a:gd name="T1" fmla="*/ 689 h 708"/>
                <a:gd name="T2" fmla="*/ 478 w 750"/>
                <a:gd name="T3" fmla="*/ 656 h 708"/>
                <a:gd name="T4" fmla="*/ 447 w 750"/>
                <a:gd name="T5" fmla="*/ 677 h 708"/>
                <a:gd name="T6" fmla="*/ 445 w 750"/>
                <a:gd name="T7" fmla="*/ 706 h 708"/>
                <a:gd name="T8" fmla="*/ 478 w 750"/>
                <a:gd name="T9" fmla="*/ 692 h 708"/>
                <a:gd name="T10" fmla="*/ 499 w 750"/>
                <a:gd name="T11" fmla="*/ 675 h 708"/>
                <a:gd name="T12" fmla="*/ 518 w 750"/>
                <a:gd name="T13" fmla="*/ 642 h 708"/>
                <a:gd name="T14" fmla="*/ 518 w 750"/>
                <a:gd name="T15" fmla="*/ 632 h 708"/>
                <a:gd name="T16" fmla="*/ 447 w 750"/>
                <a:gd name="T17" fmla="*/ 635 h 708"/>
                <a:gd name="T18" fmla="*/ 367 w 750"/>
                <a:gd name="T19" fmla="*/ 545 h 708"/>
                <a:gd name="T20" fmla="*/ 736 w 750"/>
                <a:gd name="T21" fmla="*/ 362 h 708"/>
                <a:gd name="T22" fmla="*/ 740 w 750"/>
                <a:gd name="T23" fmla="*/ 322 h 708"/>
                <a:gd name="T24" fmla="*/ 710 w 750"/>
                <a:gd name="T25" fmla="*/ 258 h 708"/>
                <a:gd name="T26" fmla="*/ 693 w 750"/>
                <a:gd name="T27" fmla="*/ 211 h 708"/>
                <a:gd name="T28" fmla="*/ 530 w 750"/>
                <a:gd name="T29" fmla="*/ 140 h 708"/>
                <a:gd name="T30" fmla="*/ 483 w 750"/>
                <a:gd name="T31" fmla="*/ 116 h 708"/>
                <a:gd name="T32" fmla="*/ 274 w 750"/>
                <a:gd name="T33" fmla="*/ 95 h 708"/>
                <a:gd name="T34" fmla="*/ 492 w 750"/>
                <a:gd name="T35" fmla="*/ 88 h 708"/>
                <a:gd name="T36" fmla="*/ 381 w 750"/>
                <a:gd name="T37" fmla="*/ 36 h 708"/>
                <a:gd name="T38" fmla="*/ 395 w 750"/>
                <a:gd name="T39" fmla="*/ 24 h 708"/>
                <a:gd name="T40" fmla="*/ 419 w 750"/>
                <a:gd name="T41" fmla="*/ 26 h 708"/>
                <a:gd name="T42" fmla="*/ 717 w 750"/>
                <a:gd name="T43" fmla="*/ 291 h 708"/>
                <a:gd name="T44" fmla="*/ 693 w 750"/>
                <a:gd name="T45" fmla="*/ 258 h 708"/>
                <a:gd name="T46" fmla="*/ 667 w 750"/>
                <a:gd name="T47" fmla="*/ 197 h 708"/>
                <a:gd name="T48" fmla="*/ 644 w 750"/>
                <a:gd name="T49" fmla="*/ 130 h 708"/>
                <a:gd name="T50" fmla="*/ 617 w 750"/>
                <a:gd name="T51" fmla="*/ 59 h 708"/>
                <a:gd name="T52" fmla="*/ 596 w 750"/>
                <a:gd name="T53" fmla="*/ 26 h 708"/>
                <a:gd name="T54" fmla="*/ 577 w 750"/>
                <a:gd name="T55" fmla="*/ 92 h 708"/>
                <a:gd name="T56" fmla="*/ 509 w 750"/>
                <a:gd name="T57" fmla="*/ 140 h 708"/>
                <a:gd name="T58" fmla="*/ 464 w 750"/>
                <a:gd name="T59" fmla="*/ 97 h 708"/>
                <a:gd name="T60" fmla="*/ 487 w 750"/>
                <a:gd name="T61" fmla="*/ 47 h 708"/>
                <a:gd name="T62" fmla="*/ 452 w 750"/>
                <a:gd name="T63" fmla="*/ 43 h 708"/>
                <a:gd name="T64" fmla="*/ 412 w 750"/>
                <a:gd name="T65" fmla="*/ 31 h 708"/>
                <a:gd name="T66" fmla="*/ 388 w 750"/>
                <a:gd name="T67" fmla="*/ 47 h 708"/>
                <a:gd name="T68" fmla="*/ 360 w 750"/>
                <a:gd name="T69" fmla="*/ 81 h 708"/>
                <a:gd name="T70" fmla="*/ 348 w 750"/>
                <a:gd name="T71" fmla="*/ 104 h 708"/>
                <a:gd name="T72" fmla="*/ 315 w 750"/>
                <a:gd name="T73" fmla="*/ 81 h 708"/>
                <a:gd name="T74" fmla="*/ 286 w 750"/>
                <a:gd name="T75" fmla="*/ 92 h 708"/>
                <a:gd name="T76" fmla="*/ 270 w 750"/>
                <a:gd name="T77" fmla="*/ 107 h 708"/>
                <a:gd name="T78" fmla="*/ 260 w 750"/>
                <a:gd name="T79" fmla="*/ 126 h 708"/>
                <a:gd name="T80" fmla="*/ 237 w 750"/>
                <a:gd name="T81" fmla="*/ 135 h 708"/>
                <a:gd name="T82" fmla="*/ 222 w 750"/>
                <a:gd name="T83" fmla="*/ 140 h 708"/>
                <a:gd name="T84" fmla="*/ 159 w 750"/>
                <a:gd name="T85" fmla="*/ 208 h 708"/>
                <a:gd name="T86" fmla="*/ 47 w 750"/>
                <a:gd name="T87" fmla="*/ 263 h 708"/>
                <a:gd name="T88" fmla="*/ 33 w 750"/>
                <a:gd name="T89" fmla="*/ 343 h 708"/>
                <a:gd name="T90" fmla="*/ 19 w 750"/>
                <a:gd name="T91" fmla="*/ 341 h 708"/>
                <a:gd name="T92" fmla="*/ 26 w 750"/>
                <a:gd name="T93" fmla="*/ 438 h 708"/>
                <a:gd name="T94" fmla="*/ 26 w 750"/>
                <a:gd name="T95" fmla="*/ 528 h 708"/>
                <a:gd name="T96" fmla="*/ 151 w 750"/>
                <a:gd name="T97" fmla="*/ 504 h 708"/>
                <a:gd name="T98" fmla="*/ 310 w 750"/>
                <a:gd name="T99" fmla="*/ 455 h 708"/>
                <a:gd name="T100" fmla="*/ 357 w 750"/>
                <a:gd name="T101" fmla="*/ 514 h 708"/>
                <a:gd name="T102" fmla="*/ 388 w 750"/>
                <a:gd name="T103" fmla="*/ 502 h 708"/>
                <a:gd name="T104" fmla="*/ 386 w 750"/>
                <a:gd name="T105" fmla="*/ 526 h 708"/>
                <a:gd name="T106" fmla="*/ 407 w 750"/>
                <a:gd name="T107" fmla="*/ 538 h 708"/>
                <a:gd name="T108" fmla="*/ 412 w 750"/>
                <a:gd name="T109" fmla="*/ 585 h 708"/>
                <a:gd name="T110" fmla="*/ 480 w 750"/>
                <a:gd name="T111" fmla="*/ 594 h 708"/>
                <a:gd name="T112" fmla="*/ 499 w 750"/>
                <a:gd name="T113" fmla="*/ 611 h 708"/>
                <a:gd name="T114" fmla="*/ 577 w 750"/>
                <a:gd name="T115" fmla="*/ 583 h 708"/>
                <a:gd name="T116" fmla="*/ 627 w 750"/>
                <a:gd name="T117" fmla="*/ 521 h 708"/>
                <a:gd name="T118" fmla="*/ 672 w 750"/>
                <a:gd name="T119" fmla="*/ 476 h 708"/>
                <a:gd name="T120" fmla="*/ 736 w 750"/>
                <a:gd name="T121" fmla="*/ 343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50" h="708">
                  <a:moveTo>
                    <a:pt x="464" y="701"/>
                  </a:moveTo>
                  <a:lnTo>
                    <a:pt x="464" y="701"/>
                  </a:lnTo>
                  <a:lnTo>
                    <a:pt x="464" y="701"/>
                  </a:lnTo>
                  <a:lnTo>
                    <a:pt x="464" y="703"/>
                  </a:lnTo>
                  <a:lnTo>
                    <a:pt x="461" y="703"/>
                  </a:lnTo>
                  <a:lnTo>
                    <a:pt x="461" y="703"/>
                  </a:lnTo>
                  <a:lnTo>
                    <a:pt x="461" y="703"/>
                  </a:lnTo>
                  <a:lnTo>
                    <a:pt x="461" y="703"/>
                  </a:lnTo>
                  <a:lnTo>
                    <a:pt x="464" y="703"/>
                  </a:lnTo>
                  <a:lnTo>
                    <a:pt x="464" y="703"/>
                  </a:lnTo>
                  <a:lnTo>
                    <a:pt x="466" y="703"/>
                  </a:lnTo>
                  <a:lnTo>
                    <a:pt x="466" y="701"/>
                  </a:lnTo>
                  <a:lnTo>
                    <a:pt x="466" y="701"/>
                  </a:lnTo>
                  <a:lnTo>
                    <a:pt x="466" y="701"/>
                  </a:lnTo>
                  <a:lnTo>
                    <a:pt x="464" y="701"/>
                  </a:lnTo>
                  <a:close/>
                  <a:moveTo>
                    <a:pt x="468" y="696"/>
                  </a:moveTo>
                  <a:lnTo>
                    <a:pt x="468" y="696"/>
                  </a:lnTo>
                  <a:lnTo>
                    <a:pt x="468" y="699"/>
                  </a:lnTo>
                  <a:lnTo>
                    <a:pt x="468" y="699"/>
                  </a:lnTo>
                  <a:lnTo>
                    <a:pt x="468" y="699"/>
                  </a:lnTo>
                  <a:lnTo>
                    <a:pt x="468" y="699"/>
                  </a:lnTo>
                  <a:lnTo>
                    <a:pt x="468" y="699"/>
                  </a:lnTo>
                  <a:lnTo>
                    <a:pt x="471" y="696"/>
                  </a:lnTo>
                  <a:lnTo>
                    <a:pt x="471" y="696"/>
                  </a:lnTo>
                  <a:lnTo>
                    <a:pt x="468" y="696"/>
                  </a:lnTo>
                  <a:close/>
                  <a:moveTo>
                    <a:pt x="487" y="687"/>
                  </a:moveTo>
                  <a:lnTo>
                    <a:pt x="487" y="687"/>
                  </a:lnTo>
                  <a:lnTo>
                    <a:pt x="487" y="689"/>
                  </a:lnTo>
                  <a:lnTo>
                    <a:pt x="487" y="689"/>
                  </a:lnTo>
                  <a:lnTo>
                    <a:pt x="487" y="689"/>
                  </a:lnTo>
                  <a:lnTo>
                    <a:pt x="487" y="687"/>
                  </a:lnTo>
                  <a:lnTo>
                    <a:pt x="490" y="687"/>
                  </a:lnTo>
                  <a:lnTo>
                    <a:pt x="490" y="687"/>
                  </a:lnTo>
                  <a:lnTo>
                    <a:pt x="490" y="687"/>
                  </a:lnTo>
                  <a:lnTo>
                    <a:pt x="487" y="687"/>
                  </a:lnTo>
                  <a:close/>
                  <a:moveTo>
                    <a:pt x="511" y="649"/>
                  </a:moveTo>
                  <a:lnTo>
                    <a:pt x="511" y="649"/>
                  </a:lnTo>
                  <a:lnTo>
                    <a:pt x="506" y="651"/>
                  </a:lnTo>
                  <a:lnTo>
                    <a:pt x="506" y="651"/>
                  </a:lnTo>
                  <a:lnTo>
                    <a:pt x="504" y="649"/>
                  </a:lnTo>
                  <a:lnTo>
                    <a:pt x="502" y="651"/>
                  </a:lnTo>
                  <a:lnTo>
                    <a:pt x="499" y="654"/>
                  </a:lnTo>
                  <a:lnTo>
                    <a:pt x="499" y="654"/>
                  </a:lnTo>
                  <a:lnTo>
                    <a:pt x="497" y="654"/>
                  </a:lnTo>
                  <a:lnTo>
                    <a:pt x="497" y="651"/>
                  </a:lnTo>
                  <a:lnTo>
                    <a:pt x="497" y="651"/>
                  </a:lnTo>
                  <a:lnTo>
                    <a:pt x="494" y="654"/>
                  </a:lnTo>
                  <a:lnTo>
                    <a:pt x="492" y="654"/>
                  </a:lnTo>
                  <a:lnTo>
                    <a:pt x="490" y="654"/>
                  </a:lnTo>
                  <a:lnTo>
                    <a:pt x="490" y="654"/>
                  </a:lnTo>
                  <a:lnTo>
                    <a:pt x="487" y="654"/>
                  </a:lnTo>
                  <a:lnTo>
                    <a:pt x="487" y="656"/>
                  </a:lnTo>
                  <a:lnTo>
                    <a:pt x="485" y="656"/>
                  </a:lnTo>
                  <a:lnTo>
                    <a:pt x="485" y="656"/>
                  </a:lnTo>
                  <a:lnTo>
                    <a:pt x="485" y="656"/>
                  </a:lnTo>
                  <a:lnTo>
                    <a:pt x="483" y="656"/>
                  </a:lnTo>
                  <a:lnTo>
                    <a:pt x="483" y="656"/>
                  </a:lnTo>
                  <a:lnTo>
                    <a:pt x="478" y="656"/>
                  </a:lnTo>
                  <a:lnTo>
                    <a:pt x="473" y="656"/>
                  </a:lnTo>
                  <a:lnTo>
                    <a:pt x="471" y="654"/>
                  </a:lnTo>
                  <a:lnTo>
                    <a:pt x="471" y="654"/>
                  </a:lnTo>
                  <a:lnTo>
                    <a:pt x="468" y="651"/>
                  </a:lnTo>
                  <a:lnTo>
                    <a:pt x="468" y="651"/>
                  </a:lnTo>
                  <a:lnTo>
                    <a:pt x="468" y="651"/>
                  </a:lnTo>
                  <a:lnTo>
                    <a:pt x="466" y="651"/>
                  </a:lnTo>
                  <a:lnTo>
                    <a:pt x="466" y="651"/>
                  </a:lnTo>
                  <a:lnTo>
                    <a:pt x="466" y="651"/>
                  </a:lnTo>
                  <a:lnTo>
                    <a:pt x="464" y="649"/>
                  </a:lnTo>
                  <a:lnTo>
                    <a:pt x="464" y="649"/>
                  </a:lnTo>
                  <a:lnTo>
                    <a:pt x="464" y="649"/>
                  </a:lnTo>
                  <a:lnTo>
                    <a:pt x="461" y="649"/>
                  </a:lnTo>
                  <a:lnTo>
                    <a:pt x="459" y="649"/>
                  </a:lnTo>
                  <a:lnTo>
                    <a:pt x="457" y="647"/>
                  </a:lnTo>
                  <a:lnTo>
                    <a:pt x="457" y="647"/>
                  </a:lnTo>
                  <a:lnTo>
                    <a:pt x="454" y="649"/>
                  </a:lnTo>
                  <a:lnTo>
                    <a:pt x="450" y="654"/>
                  </a:lnTo>
                  <a:lnTo>
                    <a:pt x="450" y="656"/>
                  </a:lnTo>
                  <a:lnTo>
                    <a:pt x="450" y="656"/>
                  </a:lnTo>
                  <a:lnTo>
                    <a:pt x="447" y="661"/>
                  </a:lnTo>
                  <a:lnTo>
                    <a:pt x="447" y="661"/>
                  </a:lnTo>
                  <a:lnTo>
                    <a:pt x="447" y="661"/>
                  </a:lnTo>
                  <a:lnTo>
                    <a:pt x="447" y="665"/>
                  </a:lnTo>
                  <a:lnTo>
                    <a:pt x="447" y="670"/>
                  </a:lnTo>
                  <a:lnTo>
                    <a:pt x="447" y="675"/>
                  </a:lnTo>
                  <a:lnTo>
                    <a:pt x="447" y="675"/>
                  </a:lnTo>
                  <a:lnTo>
                    <a:pt x="445" y="677"/>
                  </a:lnTo>
                  <a:lnTo>
                    <a:pt x="447" y="677"/>
                  </a:lnTo>
                  <a:lnTo>
                    <a:pt x="447" y="677"/>
                  </a:lnTo>
                  <a:lnTo>
                    <a:pt x="447" y="677"/>
                  </a:lnTo>
                  <a:lnTo>
                    <a:pt x="447" y="680"/>
                  </a:lnTo>
                  <a:lnTo>
                    <a:pt x="447" y="682"/>
                  </a:lnTo>
                  <a:lnTo>
                    <a:pt x="447" y="682"/>
                  </a:lnTo>
                  <a:lnTo>
                    <a:pt x="445" y="684"/>
                  </a:lnTo>
                  <a:lnTo>
                    <a:pt x="447" y="682"/>
                  </a:lnTo>
                  <a:lnTo>
                    <a:pt x="447" y="680"/>
                  </a:lnTo>
                  <a:lnTo>
                    <a:pt x="445" y="680"/>
                  </a:lnTo>
                  <a:lnTo>
                    <a:pt x="442" y="682"/>
                  </a:lnTo>
                  <a:lnTo>
                    <a:pt x="442" y="684"/>
                  </a:lnTo>
                  <a:lnTo>
                    <a:pt x="440" y="694"/>
                  </a:lnTo>
                  <a:lnTo>
                    <a:pt x="440" y="694"/>
                  </a:lnTo>
                  <a:lnTo>
                    <a:pt x="442" y="694"/>
                  </a:lnTo>
                  <a:lnTo>
                    <a:pt x="442" y="694"/>
                  </a:lnTo>
                  <a:lnTo>
                    <a:pt x="442" y="696"/>
                  </a:lnTo>
                  <a:lnTo>
                    <a:pt x="442" y="699"/>
                  </a:lnTo>
                  <a:lnTo>
                    <a:pt x="442" y="701"/>
                  </a:lnTo>
                  <a:lnTo>
                    <a:pt x="445" y="701"/>
                  </a:lnTo>
                  <a:lnTo>
                    <a:pt x="447" y="701"/>
                  </a:lnTo>
                  <a:lnTo>
                    <a:pt x="447" y="701"/>
                  </a:lnTo>
                  <a:lnTo>
                    <a:pt x="447" y="701"/>
                  </a:lnTo>
                  <a:lnTo>
                    <a:pt x="447" y="701"/>
                  </a:lnTo>
                  <a:lnTo>
                    <a:pt x="445" y="701"/>
                  </a:lnTo>
                  <a:lnTo>
                    <a:pt x="442" y="701"/>
                  </a:lnTo>
                  <a:lnTo>
                    <a:pt x="442" y="703"/>
                  </a:lnTo>
                  <a:lnTo>
                    <a:pt x="442" y="703"/>
                  </a:lnTo>
                  <a:lnTo>
                    <a:pt x="442" y="706"/>
                  </a:lnTo>
                  <a:lnTo>
                    <a:pt x="445" y="706"/>
                  </a:lnTo>
                  <a:lnTo>
                    <a:pt x="447" y="706"/>
                  </a:lnTo>
                  <a:lnTo>
                    <a:pt x="452" y="706"/>
                  </a:lnTo>
                  <a:lnTo>
                    <a:pt x="452" y="706"/>
                  </a:lnTo>
                  <a:lnTo>
                    <a:pt x="454" y="708"/>
                  </a:lnTo>
                  <a:lnTo>
                    <a:pt x="454" y="706"/>
                  </a:lnTo>
                  <a:lnTo>
                    <a:pt x="457" y="706"/>
                  </a:lnTo>
                  <a:lnTo>
                    <a:pt x="461" y="701"/>
                  </a:lnTo>
                  <a:lnTo>
                    <a:pt x="461" y="701"/>
                  </a:lnTo>
                  <a:lnTo>
                    <a:pt x="464" y="701"/>
                  </a:lnTo>
                  <a:lnTo>
                    <a:pt x="461" y="699"/>
                  </a:lnTo>
                  <a:lnTo>
                    <a:pt x="461" y="699"/>
                  </a:lnTo>
                  <a:lnTo>
                    <a:pt x="464" y="699"/>
                  </a:lnTo>
                  <a:lnTo>
                    <a:pt x="464" y="699"/>
                  </a:lnTo>
                  <a:lnTo>
                    <a:pt x="466" y="699"/>
                  </a:lnTo>
                  <a:lnTo>
                    <a:pt x="468" y="696"/>
                  </a:lnTo>
                  <a:lnTo>
                    <a:pt x="468" y="696"/>
                  </a:lnTo>
                  <a:lnTo>
                    <a:pt x="468" y="694"/>
                  </a:lnTo>
                  <a:lnTo>
                    <a:pt x="471" y="694"/>
                  </a:lnTo>
                  <a:lnTo>
                    <a:pt x="471" y="694"/>
                  </a:lnTo>
                  <a:lnTo>
                    <a:pt x="471" y="694"/>
                  </a:lnTo>
                  <a:lnTo>
                    <a:pt x="473" y="692"/>
                  </a:lnTo>
                  <a:lnTo>
                    <a:pt x="473" y="689"/>
                  </a:lnTo>
                  <a:lnTo>
                    <a:pt x="473" y="692"/>
                  </a:lnTo>
                  <a:lnTo>
                    <a:pt x="473" y="694"/>
                  </a:lnTo>
                  <a:lnTo>
                    <a:pt x="473" y="694"/>
                  </a:lnTo>
                  <a:lnTo>
                    <a:pt x="476" y="694"/>
                  </a:lnTo>
                  <a:lnTo>
                    <a:pt x="476" y="692"/>
                  </a:lnTo>
                  <a:lnTo>
                    <a:pt x="478" y="692"/>
                  </a:lnTo>
                  <a:lnTo>
                    <a:pt x="478" y="692"/>
                  </a:lnTo>
                  <a:lnTo>
                    <a:pt x="480" y="694"/>
                  </a:lnTo>
                  <a:lnTo>
                    <a:pt x="480" y="694"/>
                  </a:lnTo>
                  <a:lnTo>
                    <a:pt x="478" y="694"/>
                  </a:lnTo>
                  <a:lnTo>
                    <a:pt x="478" y="694"/>
                  </a:lnTo>
                  <a:lnTo>
                    <a:pt x="478" y="694"/>
                  </a:lnTo>
                  <a:lnTo>
                    <a:pt x="476" y="694"/>
                  </a:lnTo>
                  <a:lnTo>
                    <a:pt x="476" y="696"/>
                  </a:lnTo>
                  <a:lnTo>
                    <a:pt x="476" y="699"/>
                  </a:lnTo>
                  <a:lnTo>
                    <a:pt x="476" y="699"/>
                  </a:lnTo>
                  <a:lnTo>
                    <a:pt x="478" y="699"/>
                  </a:lnTo>
                  <a:lnTo>
                    <a:pt x="480" y="699"/>
                  </a:lnTo>
                  <a:lnTo>
                    <a:pt x="483" y="694"/>
                  </a:lnTo>
                  <a:lnTo>
                    <a:pt x="483" y="692"/>
                  </a:lnTo>
                  <a:lnTo>
                    <a:pt x="485" y="687"/>
                  </a:lnTo>
                  <a:lnTo>
                    <a:pt x="487" y="684"/>
                  </a:lnTo>
                  <a:lnTo>
                    <a:pt x="487" y="684"/>
                  </a:lnTo>
                  <a:lnTo>
                    <a:pt x="490" y="682"/>
                  </a:lnTo>
                  <a:lnTo>
                    <a:pt x="490" y="682"/>
                  </a:lnTo>
                  <a:lnTo>
                    <a:pt x="492" y="680"/>
                  </a:lnTo>
                  <a:lnTo>
                    <a:pt x="494" y="677"/>
                  </a:lnTo>
                  <a:lnTo>
                    <a:pt x="497" y="675"/>
                  </a:lnTo>
                  <a:lnTo>
                    <a:pt x="497" y="675"/>
                  </a:lnTo>
                  <a:lnTo>
                    <a:pt x="497" y="675"/>
                  </a:lnTo>
                  <a:lnTo>
                    <a:pt x="497" y="675"/>
                  </a:lnTo>
                  <a:lnTo>
                    <a:pt x="499" y="673"/>
                  </a:lnTo>
                  <a:lnTo>
                    <a:pt x="499" y="675"/>
                  </a:lnTo>
                  <a:lnTo>
                    <a:pt x="497" y="675"/>
                  </a:lnTo>
                  <a:lnTo>
                    <a:pt x="497" y="675"/>
                  </a:lnTo>
                  <a:lnTo>
                    <a:pt x="499" y="675"/>
                  </a:lnTo>
                  <a:lnTo>
                    <a:pt x="499" y="677"/>
                  </a:lnTo>
                  <a:lnTo>
                    <a:pt x="497" y="677"/>
                  </a:lnTo>
                  <a:lnTo>
                    <a:pt x="497" y="677"/>
                  </a:lnTo>
                  <a:lnTo>
                    <a:pt x="497" y="680"/>
                  </a:lnTo>
                  <a:lnTo>
                    <a:pt x="497" y="680"/>
                  </a:lnTo>
                  <a:lnTo>
                    <a:pt x="499" y="677"/>
                  </a:lnTo>
                  <a:lnTo>
                    <a:pt x="499" y="677"/>
                  </a:lnTo>
                  <a:lnTo>
                    <a:pt x="499" y="675"/>
                  </a:lnTo>
                  <a:lnTo>
                    <a:pt x="499" y="675"/>
                  </a:lnTo>
                  <a:lnTo>
                    <a:pt x="499" y="675"/>
                  </a:lnTo>
                  <a:lnTo>
                    <a:pt x="499" y="675"/>
                  </a:lnTo>
                  <a:lnTo>
                    <a:pt x="502" y="673"/>
                  </a:lnTo>
                  <a:lnTo>
                    <a:pt x="502" y="670"/>
                  </a:lnTo>
                  <a:lnTo>
                    <a:pt x="504" y="665"/>
                  </a:lnTo>
                  <a:lnTo>
                    <a:pt x="506" y="665"/>
                  </a:lnTo>
                  <a:lnTo>
                    <a:pt x="506" y="663"/>
                  </a:lnTo>
                  <a:lnTo>
                    <a:pt x="509" y="661"/>
                  </a:lnTo>
                  <a:lnTo>
                    <a:pt x="511" y="658"/>
                  </a:lnTo>
                  <a:lnTo>
                    <a:pt x="511" y="656"/>
                  </a:lnTo>
                  <a:lnTo>
                    <a:pt x="511" y="656"/>
                  </a:lnTo>
                  <a:lnTo>
                    <a:pt x="513" y="651"/>
                  </a:lnTo>
                  <a:lnTo>
                    <a:pt x="513" y="651"/>
                  </a:lnTo>
                  <a:lnTo>
                    <a:pt x="511" y="649"/>
                  </a:lnTo>
                  <a:close/>
                  <a:moveTo>
                    <a:pt x="518" y="642"/>
                  </a:moveTo>
                  <a:lnTo>
                    <a:pt x="516" y="644"/>
                  </a:lnTo>
                  <a:lnTo>
                    <a:pt x="516" y="644"/>
                  </a:lnTo>
                  <a:lnTo>
                    <a:pt x="516" y="644"/>
                  </a:lnTo>
                  <a:lnTo>
                    <a:pt x="518" y="644"/>
                  </a:lnTo>
                  <a:lnTo>
                    <a:pt x="518" y="642"/>
                  </a:lnTo>
                  <a:lnTo>
                    <a:pt x="518" y="642"/>
                  </a:lnTo>
                  <a:close/>
                  <a:moveTo>
                    <a:pt x="459" y="642"/>
                  </a:moveTo>
                  <a:lnTo>
                    <a:pt x="459" y="642"/>
                  </a:lnTo>
                  <a:lnTo>
                    <a:pt x="457" y="642"/>
                  </a:lnTo>
                  <a:lnTo>
                    <a:pt x="457" y="644"/>
                  </a:lnTo>
                  <a:lnTo>
                    <a:pt x="459" y="642"/>
                  </a:lnTo>
                  <a:lnTo>
                    <a:pt x="459" y="642"/>
                  </a:lnTo>
                  <a:lnTo>
                    <a:pt x="459" y="642"/>
                  </a:lnTo>
                  <a:close/>
                  <a:moveTo>
                    <a:pt x="523" y="639"/>
                  </a:moveTo>
                  <a:lnTo>
                    <a:pt x="518" y="639"/>
                  </a:lnTo>
                  <a:lnTo>
                    <a:pt x="516" y="639"/>
                  </a:lnTo>
                  <a:lnTo>
                    <a:pt x="516" y="639"/>
                  </a:lnTo>
                  <a:lnTo>
                    <a:pt x="516" y="642"/>
                  </a:lnTo>
                  <a:lnTo>
                    <a:pt x="516" y="642"/>
                  </a:lnTo>
                  <a:lnTo>
                    <a:pt x="518" y="642"/>
                  </a:lnTo>
                  <a:lnTo>
                    <a:pt x="521" y="642"/>
                  </a:lnTo>
                  <a:lnTo>
                    <a:pt x="521" y="642"/>
                  </a:lnTo>
                  <a:lnTo>
                    <a:pt x="521" y="642"/>
                  </a:lnTo>
                  <a:lnTo>
                    <a:pt x="523" y="642"/>
                  </a:lnTo>
                  <a:lnTo>
                    <a:pt x="523" y="639"/>
                  </a:lnTo>
                  <a:lnTo>
                    <a:pt x="523" y="639"/>
                  </a:lnTo>
                  <a:close/>
                  <a:moveTo>
                    <a:pt x="523" y="632"/>
                  </a:moveTo>
                  <a:lnTo>
                    <a:pt x="523" y="630"/>
                  </a:lnTo>
                  <a:lnTo>
                    <a:pt x="523" y="628"/>
                  </a:lnTo>
                  <a:lnTo>
                    <a:pt x="518" y="630"/>
                  </a:lnTo>
                  <a:lnTo>
                    <a:pt x="518" y="632"/>
                  </a:lnTo>
                  <a:lnTo>
                    <a:pt x="518" y="632"/>
                  </a:lnTo>
                  <a:lnTo>
                    <a:pt x="518" y="632"/>
                  </a:lnTo>
                  <a:lnTo>
                    <a:pt x="518" y="632"/>
                  </a:lnTo>
                  <a:lnTo>
                    <a:pt x="518" y="632"/>
                  </a:lnTo>
                  <a:lnTo>
                    <a:pt x="518" y="637"/>
                  </a:lnTo>
                  <a:lnTo>
                    <a:pt x="518" y="637"/>
                  </a:lnTo>
                  <a:lnTo>
                    <a:pt x="518" y="637"/>
                  </a:lnTo>
                  <a:lnTo>
                    <a:pt x="518" y="637"/>
                  </a:lnTo>
                  <a:lnTo>
                    <a:pt x="521" y="637"/>
                  </a:lnTo>
                  <a:lnTo>
                    <a:pt x="523" y="637"/>
                  </a:lnTo>
                  <a:lnTo>
                    <a:pt x="523" y="637"/>
                  </a:lnTo>
                  <a:lnTo>
                    <a:pt x="523" y="635"/>
                  </a:lnTo>
                  <a:lnTo>
                    <a:pt x="523" y="635"/>
                  </a:lnTo>
                  <a:lnTo>
                    <a:pt x="525" y="635"/>
                  </a:lnTo>
                  <a:lnTo>
                    <a:pt x="525" y="635"/>
                  </a:lnTo>
                  <a:lnTo>
                    <a:pt x="525" y="632"/>
                  </a:lnTo>
                  <a:lnTo>
                    <a:pt x="523" y="632"/>
                  </a:lnTo>
                  <a:close/>
                  <a:moveTo>
                    <a:pt x="452" y="635"/>
                  </a:moveTo>
                  <a:lnTo>
                    <a:pt x="452" y="632"/>
                  </a:lnTo>
                  <a:lnTo>
                    <a:pt x="454" y="632"/>
                  </a:lnTo>
                  <a:lnTo>
                    <a:pt x="454" y="632"/>
                  </a:lnTo>
                  <a:lnTo>
                    <a:pt x="457" y="630"/>
                  </a:lnTo>
                  <a:lnTo>
                    <a:pt x="457" y="628"/>
                  </a:lnTo>
                  <a:lnTo>
                    <a:pt x="457" y="625"/>
                  </a:lnTo>
                  <a:lnTo>
                    <a:pt x="454" y="625"/>
                  </a:lnTo>
                  <a:lnTo>
                    <a:pt x="454" y="628"/>
                  </a:lnTo>
                  <a:lnTo>
                    <a:pt x="452" y="628"/>
                  </a:lnTo>
                  <a:lnTo>
                    <a:pt x="452" y="628"/>
                  </a:lnTo>
                  <a:lnTo>
                    <a:pt x="452" y="630"/>
                  </a:lnTo>
                  <a:lnTo>
                    <a:pt x="450" y="632"/>
                  </a:lnTo>
                  <a:lnTo>
                    <a:pt x="450" y="635"/>
                  </a:lnTo>
                  <a:lnTo>
                    <a:pt x="447" y="635"/>
                  </a:lnTo>
                  <a:lnTo>
                    <a:pt x="447" y="635"/>
                  </a:lnTo>
                  <a:lnTo>
                    <a:pt x="450" y="635"/>
                  </a:lnTo>
                  <a:lnTo>
                    <a:pt x="452" y="635"/>
                  </a:lnTo>
                  <a:close/>
                  <a:moveTo>
                    <a:pt x="490" y="604"/>
                  </a:moveTo>
                  <a:lnTo>
                    <a:pt x="492" y="604"/>
                  </a:lnTo>
                  <a:lnTo>
                    <a:pt x="490" y="602"/>
                  </a:lnTo>
                  <a:lnTo>
                    <a:pt x="490" y="602"/>
                  </a:lnTo>
                  <a:lnTo>
                    <a:pt x="490" y="602"/>
                  </a:lnTo>
                  <a:lnTo>
                    <a:pt x="487" y="604"/>
                  </a:lnTo>
                  <a:lnTo>
                    <a:pt x="490" y="602"/>
                  </a:lnTo>
                  <a:lnTo>
                    <a:pt x="490" y="604"/>
                  </a:lnTo>
                  <a:close/>
                  <a:moveTo>
                    <a:pt x="494" y="599"/>
                  </a:moveTo>
                  <a:lnTo>
                    <a:pt x="494" y="599"/>
                  </a:lnTo>
                  <a:lnTo>
                    <a:pt x="492" y="599"/>
                  </a:lnTo>
                  <a:lnTo>
                    <a:pt x="492" y="599"/>
                  </a:lnTo>
                  <a:lnTo>
                    <a:pt x="492" y="599"/>
                  </a:lnTo>
                  <a:lnTo>
                    <a:pt x="492" y="602"/>
                  </a:lnTo>
                  <a:lnTo>
                    <a:pt x="494" y="599"/>
                  </a:lnTo>
                  <a:close/>
                  <a:moveTo>
                    <a:pt x="390" y="542"/>
                  </a:moveTo>
                  <a:lnTo>
                    <a:pt x="388" y="542"/>
                  </a:lnTo>
                  <a:lnTo>
                    <a:pt x="383" y="542"/>
                  </a:lnTo>
                  <a:lnTo>
                    <a:pt x="383" y="542"/>
                  </a:lnTo>
                  <a:lnTo>
                    <a:pt x="386" y="540"/>
                  </a:lnTo>
                  <a:lnTo>
                    <a:pt x="386" y="540"/>
                  </a:lnTo>
                  <a:lnTo>
                    <a:pt x="383" y="540"/>
                  </a:lnTo>
                  <a:lnTo>
                    <a:pt x="381" y="540"/>
                  </a:lnTo>
                  <a:lnTo>
                    <a:pt x="376" y="542"/>
                  </a:lnTo>
                  <a:lnTo>
                    <a:pt x="367" y="542"/>
                  </a:lnTo>
                  <a:lnTo>
                    <a:pt x="367" y="545"/>
                  </a:lnTo>
                  <a:lnTo>
                    <a:pt x="364" y="547"/>
                  </a:lnTo>
                  <a:lnTo>
                    <a:pt x="364" y="547"/>
                  </a:lnTo>
                  <a:lnTo>
                    <a:pt x="367" y="549"/>
                  </a:lnTo>
                  <a:lnTo>
                    <a:pt x="369" y="549"/>
                  </a:lnTo>
                  <a:lnTo>
                    <a:pt x="371" y="549"/>
                  </a:lnTo>
                  <a:lnTo>
                    <a:pt x="374" y="549"/>
                  </a:lnTo>
                  <a:lnTo>
                    <a:pt x="376" y="547"/>
                  </a:lnTo>
                  <a:lnTo>
                    <a:pt x="379" y="549"/>
                  </a:lnTo>
                  <a:lnTo>
                    <a:pt x="379" y="549"/>
                  </a:lnTo>
                  <a:lnTo>
                    <a:pt x="381" y="549"/>
                  </a:lnTo>
                  <a:lnTo>
                    <a:pt x="383" y="547"/>
                  </a:lnTo>
                  <a:lnTo>
                    <a:pt x="383" y="547"/>
                  </a:lnTo>
                  <a:lnTo>
                    <a:pt x="388" y="545"/>
                  </a:lnTo>
                  <a:lnTo>
                    <a:pt x="390" y="547"/>
                  </a:lnTo>
                  <a:lnTo>
                    <a:pt x="390" y="547"/>
                  </a:lnTo>
                  <a:lnTo>
                    <a:pt x="393" y="545"/>
                  </a:lnTo>
                  <a:lnTo>
                    <a:pt x="393" y="542"/>
                  </a:lnTo>
                  <a:lnTo>
                    <a:pt x="390" y="542"/>
                  </a:lnTo>
                  <a:close/>
                  <a:moveTo>
                    <a:pt x="736" y="367"/>
                  </a:moveTo>
                  <a:lnTo>
                    <a:pt x="733" y="369"/>
                  </a:lnTo>
                  <a:lnTo>
                    <a:pt x="733" y="372"/>
                  </a:lnTo>
                  <a:lnTo>
                    <a:pt x="733" y="372"/>
                  </a:lnTo>
                  <a:lnTo>
                    <a:pt x="733" y="372"/>
                  </a:lnTo>
                  <a:lnTo>
                    <a:pt x="736" y="367"/>
                  </a:lnTo>
                  <a:lnTo>
                    <a:pt x="736" y="367"/>
                  </a:lnTo>
                  <a:lnTo>
                    <a:pt x="736" y="367"/>
                  </a:lnTo>
                  <a:close/>
                  <a:moveTo>
                    <a:pt x="736" y="360"/>
                  </a:moveTo>
                  <a:lnTo>
                    <a:pt x="736" y="360"/>
                  </a:lnTo>
                  <a:lnTo>
                    <a:pt x="736" y="362"/>
                  </a:lnTo>
                  <a:lnTo>
                    <a:pt x="736" y="365"/>
                  </a:lnTo>
                  <a:lnTo>
                    <a:pt x="736" y="365"/>
                  </a:lnTo>
                  <a:lnTo>
                    <a:pt x="736" y="362"/>
                  </a:lnTo>
                  <a:lnTo>
                    <a:pt x="738" y="358"/>
                  </a:lnTo>
                  <a:lnTo>
                    <a:pt x="738" y="358"/>
                  </a:lnTo>
                  <a:lnTo>
                    <a:pt x="736" y="360"/>
                  </a:lnTo>
                  <a:close/>
                  <a:moveTo>
                    <a:pt x="14" y="339"/>
                  </a:moveTo>
                  <a:lnTo>
                    <a:pt x="14" y="339"/>
                  </a:lnTo>
                  <a:lnTo>
                    <a:pt x="14" y="336"/>
                  </a:lnTo>
                  <a:lnTo>
                    <a:pt x="14" y="336"/>
                  </a:lnTo>
                  <a:lnTo>
                    <a:pt x="14" y="334"/>
                  </a:lnTo>
                  <a:lnTo>
                    <a:pt x="14" y="334"/>
                  </a:lnTo>
                  <a:lnTo>
                    <a:pt x="14" y="327"/>
                  </a:lnTo>
                  <a:lnTo>
                    <a:pt x="12" y="327"/>
                  </a:lnTo>
                  <a:lnTo>
                    <a:pt x="12" y="327"/>
                  </a:lnTo>
                  <a:lnTo>
                    <a:pt x="12" y="332"/>
                  </a:lnTo>
                  <a:lnTo>
                    <a:pt x="14" y="339"/>
                  </a:lnTo>
                  <a:close/>
                  <a:moveTo>
                    <a:pt x="748" y="313"/>
                  </a:moveTo>
                  <a:lnTo>
                    <a:pt x="748" y="310"/>
                  </a:lnTo>
                  <a:lnTo>
                    <a:pt x="748" y="310"/>
                  </a:lnTo>
                  <a:lnTo>
                    <a:pt x="748" y="310"/>
                  </a:lnTo>
                  <a:lnTo>
                    <a:pt x="748" y="310"/>
                  </a:lnTo>
                  <a:lnTo>
                    <a:pt x="745" y="313"/>
                  </a:lnTo>
                  <a:lnTo>
                    <a:pt x="748" y="313"/>
                  </a:lnTo>
                  <a:lnTo>
                    <a:pt x="748" y="315"/>
                  </a:lnTo>
                  <a:lnTo>
                    <a:pt x="745" y="315"/>
                  </a:lnTo>
                  <a:lnTo>
                    <a:pt x="745" y="317"/>
                  </a:lnTo>
                  <a:lnTo>
                    <a:pt x="743" y="320"/>
                  </a:lnTo>
                  <a:lnTo>
                    <a:pt x="740" y="322"/>
                  </a:lnTo>
                  <a:lnTo>
                    <a:pt x="740" y="322"/>
                  </a:lnTo>
                  <a:lnTo>
                    <a:pt x="740" y="325"/>
                  </a:lnTo>
                  <a:lnTo>
                    <a:pt x="738" y="327"/>
                  </a:lnTo>
                  <a:lnTo>
                    <a:pt x="738" y="332"/>
                  </a:lnTo>
                  <a:lnTo>
                    <a:pt x="738" y="332"/>
                  </a:lnTo>
                  <a:lnTo>
                    <a:pt x="738" y="332"/>
                  </a:lnTo>
                  <a:lnTo>
                    <a:pt x="740" y="329"/>
                  </a:lnTo>
                  <a:lnTo>
                    <a:pt x="743" y="327"/>
                  </a:lnTo>
                  <a:lnTo>
                    <a:pt x="748" y="317"/>
                  </a:lnTo>
                  <a:lnTo>
                    <a:pt x="750" y="315"/>
                  </a:lnTo>
                  <a:lnTo>
                    <a:pt x="748" y="313"/>
                  </a:lnTo>
                  <a:close/>
                  <a:moveTo>
                    <a:pt x="717" y="289"/>
                  </a:moveTo>
                  <a:lnTo>
                    <a:pt x="717" y="289"/>
                  </a:lnTo>
                  <a:lnTo>
                    <a:pt x="719" y="289"/>
                  </a:lnTo>
                  <a:lnTo>
                    <a:pt x="717" y="287"/>
                  </a:lnTo>
                  <a:lnTo>
                    <a:pt x="717" y="287"/>
                  </a:lnTo>
                  <a:lnTo>
                    <a:pt x="717" y="284"/>
                  </a:lnTo>
                  <a:lnTo>
                    <a:pt x="717" y="284"/>
                  </a:lnTo>
                  <a:lnTo>
                    <a:pt x="717" y="284"/>
                  </a:lnTo>
                  <a:lnTo>
                    <a:pt x="717" y="284"/>
                  </a:lnTo>
                  <a:lnTo>
                    <a:pt x="714" y="282"/>
                  </a:lnTo>
                  <a:lnTo>
                    <a:pt x="714" y="284"/>
                  </a:lnTo>
                  <a:lnTo>
                    <a:pt x="717" y="289"/>
                  </a:lnTo>
                  <a:lnTo>
                    <a:pt x="717" y="289"/>
                  </a:lnTo>
                  <a:close/>
                  <a:moveTo>
                    <a:pt x="710" y="258"/>
                  </a:moveTo>
                  <a:lnTo>
                    <a:pt x="712" y="258"/>
                  </a:lnTo>
                  <a:lnTo>
                    <a:pt x="712" y="256"/>
                  </a:lnTo>
                  <a:lnTo>
                    <a:pt x="710" y="256"/>
                  </a:lnTo>
                  <a:lnTo>
                    <a:pt x="710" y="258"/>
                  </a:lnTo>
                  <a:lnTo>
                    <a:pt x="710" y="258"/>
                  </a:lnTo>
                  <a:lnTo>
                    <a:pt x="710" y="258"/>
                  </a:lnTo>
                  <a:lnTo>
                    <a:pt x="710" y="258"/>
                  </a:lnTo>
                  <a:close/>
                  <a:moveTo>
                    <a:pt x="700" y="256"/>
                  </a:moveTo>
                  <a:lnTo>
                    <a:pt x="700" y="256"/>
                  </a:lnTo>
                  <a:lnTo>
                    <a:pt x="700" y="253"/>
                  </a:lnTo>
                  <a:lnTo>
                    <a:pt x="700" y="253"/>
                  </a:lnTo>
                  <a:lnTo>
                    <a:pt x="700" y="256"/>
                  </a:lnTo>
                  <a:lnTo>
                    <a:pt x="700" y="256"/>
                  </a:lnTo>
                  <a:lnTo>
                    <a:pt x="700" y="256"/>
                  </a:lnTo>
                  <a:close/>
                  <a:moveTo>
                    <a:pt x="73" y="227"/>
                  </a:moveTo>
                  <a:lnTo>
                    <a:pt x="76" y="227"/>
                  </a:lnTo>
                  <a:lnTo>
                    <a:pt x="76" y="225"/>
                  </a:lnTo>
                  <a:lnTo>
                    <a:pt x="76" y="225"/>
                  </a:lnTo>
                  <a:lnTo>
                    <a:pt x="73" y="225"/>
                  </a:lnTo>
                  <a:lnTo>
                    <a:pt x="73" y="227"/>
                  </a:lnTo>
                  <a:lnTo>
                    <a:pt x="73" y="227"/>
                  </a:lnTo>
                  <a:lnTo>
                    <a:pt x="73" y="227"/>
                  </a:lnTo>
                  <a:close/>
                  <a:moveTo>
                    <a:pt x="693" y="213"/>
                  </a:moveTo>
                  <a:lnTo>
                    <a:pt x="691" y="216"/>
                  </a:lnTo>
                  <a:lnTo>
                    <a:pt x="691" y="216"/>
                  </a:lnTo>
                  <a:lnTo>
                    <a:pt x="693" y="216"/>
                  </a:lnTo>
                  <a:lnTo>
                    <a:pt x="693" y="216"/>
                  </a:lnTo>
                  <a:lnTo>
                    <a:pt x="693" y="216"/>
                  </a:lnTo>
                  <a:lnTo>
                    <a:pt x="693" y="216"/>
                  </a:lnTo>
                  <a:lnTo>
                    <a:pt x="693" y="213"/>
                  </a:lnTo>
                  <a:close/>
                  <a:moveTo>
                    <a:pt x="691" y="213"/>
                  </a:moveTo>
                  <a:lnTo>
                    <a:pt x="691" y="213"/>
                  </a:lnTo>
                  <a:lnTo>
                    <a:pt x="693" y="211"/>
                  </a:lnTo>
                  <a:lnTo>
                    <a:pt x="691" y="211"/>
                  </a:lnTo>
                  <a:lnTo>
                    <a:pt x="691" y="213"/>
                  </a:lnTo>
                  <a:lnTo>
                    <a:pt x="691" y="213"/>
                  </a:lnTo>
                  <a:lnTo>
                    <a:pt x="691" y="213"/>
                  </a:lnTo>
                  <a:lnTo>
                    <a:pt x="691" y="213"/>
                  </a:lnTo>
                  <a:close/>
                  <a:moveTo>
                    <a:pt x="651" y="173"/>
                  </a:moveTo>
                  <a:lnTo>
                    <a:pt x="651" y="173"/>
                  </a:lnTo>
                  <a:lnTo>
                    <a:pt x="648" y="173"/>
                  </a:lnTo>
                  <a:lnTo>
                    <a:pt x="648" y="173"/>
                  </a:lnTo>
                  <a:lnTo>
                    <a:pt x="648" y="173"/>
                  </a:lnTo>
                  <a:lnTo>
                    <a:pt x="648" y="175"/>
                  </a:lnTo>
                  <a:lnTo>
                    <a:pt x="648" y="178"/>
                  </a:lnTo>
                  <a:lnTo>
                    <a:pt x="651" y="178"/>
                  </a:lnTo>
                  <a:lnTo>
                    <a:pt x="651" y="178"/>
                  </a:lnTo>
                  <a:lnTo>
                    <a:pt x="651" y="175"/>
                  </a:lnTo>
                  <a:lnTo>
                    <a:pt x="651" y="175"/>
                  </a:lnTo>
                  <a:lnTo>
                    <a:pt x="651" y="173"/>
                  </a:lnTo>
                  <a:lnTo>
                    <a:pt x="651" y="173"/>
                  </a:lnTo>
                  <a:close/>
                  <a:moveTo>
                    <a:pt x="530" y="147"/>
                  </a:moveTo>
                  <a:lnTo>
                    <a:pt x="528" y="149"/>
                  </a:lnTo>
                  <a:lnTo>
                    <a:pt x="530" y="149"/>
                  </a:lnTo>
                  <a:lnTo>
                    <a:pt x="530" y="149"/>
                  </a:lnTo>
                  <a:lnTo>
                    <a:pt x="532" y="149"/>
                  </a:lnTo>
                  <a:lnTo>
                    <a:pt x="532" y="147"/>
                  </a:lnTo>
                  <a:lnTo>
                    <a:pt x="530" y="147"/>
                  </a:lnTo>
                  <a:lnTo>
                    <a:pt x="530" y="147"/>
                  </a:lnTo>
                  <a:close/>
                  <a:moveTo>
                    <a:pt x="528" y="140"/>
                  </a:moveTo>
                  <a:lnTo>
                    <a:pt x="528" y="140"/>
                  </a:lnTo>
                  <a:lnTo>
                    <a:pt x="530" y="140"/>
                  </a:lnTo>
                  <a:lnTo>
                    <a:pt x="530" y="140"/>
                  </a:lnTo>
                  <a:lnTo>
                    <a:pt x="530" y="140"/>
                  </a:lnTo>
                  <a:lnTo>
                    <a:pt x="532" y="137"/>
                  </a:lnTo>
                  <a:lnTo>
                    <a:pt x="535" y="137"/>
                  </a:lnTo>
                  <a:lnTo>
                    <a:pt x="537" y="135"/>
                  </a:lnTo>
                  <a:lnTo>
                    <a:pt x="535" y="133"/>
                  </a:lnTo>
                  <a:lnTo>
                    <a:pt x="535" y="133"/>
                  </a:lnTo>
                  <a:lnTo>
                    <a:pt x="532" y="135"/>
                  </a:lnTo>
                  <a:lnTo>
                    <a:pt x="530" y="135"/>
                  </a:lnTo>
                  <a:lnTo>
                    <a:pt x="528" y="137"/>
                  </a:lnTo>
                  <a:lnTo>
                    <a:pt x="525" y="137"/>
                  </a:lnTo>
                  <a:lnTo>
                    <a:pt x="525" y="140"/>
                  </a:lnTo>
                  <a:lnTo>
                    <a:pt x="525" y="142"/>
                  </a:lnTo>
                  <a:lnTo>
                    <a:pt x="528" y="140"/>
                  </a:lnTo>
                  <a:close/>
                  <a:moveTo>
                    <a:pt x="490" y="116"/>
                  </a:moveTo>
                  <a:lnTo>
                    <a:pt x="490" y="119"/>
                  </a:lnTo>
                  <a:lnTo>
                    <a:pt x="490" y="119"/>
                  </a:lnTo>
                  <a:lnTo>
                    <a:pt x="487" y="119"/>
                  </a:lnTo>
                  <a:lnTo>
                    <a:pt x="490" y="119"/>
                  </a:lnTo>
                  <a:lnTo>
                    <a:pt x="490" y="121"/>
                  </a:lnTo>
                  <a:lnTo>
                    <a:pt x="490" y="121"/>
                  </a:lnTo>
                  <a:lnTo>
                    <a:pt x="490" y="121"/>
                  </a:lnTo>
                  <a:lnTo>
                    <a:pt x="490" y="121"/>
                  </a:lnTo>
                  <a:lnTo>
                    <a:pt x="490" y="119"/>
                  </a:lnTo>
                  <a:lnTo>
                    <a:pt x="490" y="116"/>
                  </a:lnTo>
                  <a:close/>
                  <a:moveTo>
                    <a:pt x="480" y="119"/>
                  </a:moveTo>
                  <a:lnTo>
                    <a:pt x="483" y="119"/>
                  </a:lnTo>
                  <a:lnTo>
                    <a:pt x="483" y="116"/>
                  </a:lnTo>
                  <a:lnTo>
                    <a:pt x="483" y="116"/>
                  </a:lnTo>
                  <a:lnTo>
                    <a:pt x="480" y="116"/>
                  </a:lnTo>
                  <a:lnTo>
                    <a:pt x="480" y="116"/>
                  </a:lnTo>
                  <a:lnTo>
                    <a:pt x="480" y="119"/>
                  </a:lnTo>
                  <a:lnTo>
                    <a:pt x="480" y="119"/>
                  </a:lnTo>
                  <a:close/>
                  <a:moveTo>
                    <a:pt x="487" y="119"/>
                  </a:moveTo>
                  <a:lnTo>
                    <a:pt x="487" y="116"/>
                  </a:lnTo>
                  <a:lnTo>
                    <a:pt x="487" y="116"/>
                  </a:lnTo>
                  <a:lnTo>
                    <a:pt x="487" y="114"/>
                  </a:lnTo>
                  <a:lnTo>
                    <a:pt x="487" y="116"/>
                  </a:lnTo>
                  <a:lnTo>
                    <a:pt x="487" y="119"/>
                  </a:lnTo>
                  <a:close/>
                  <a:moveTo>
                    <a:pt x="260" y="114"/>
                  </a:moveTo>
                  <a:lnTo>
                    <a:pt x="260" y="114"/>
                  </a:lnTo>
                  <a:lnTo>
                    <a:pt x="260" y="114"/>
                  </a:lnTo>
                  <a:lnTo>
                    <a:pt x="263" y="111"/>
                  </a:lnTo>
                  <a:lnTo>
                    <a:pt x="260" y="111"/>
                  </a:lnTo>
                  <a:lnTo>
                    <a:pt x="260" y="109"/>
                  </a:lnTo>
                  <a:lnTo>
                    <a:pt x="260" y="109"/>
                  </a:lnTo>
                  <a:lnTo>
                    <a:pt x="260" y="111"/>
                  </a:lnTo>
                  <a:lnTo>
                    <a:pt x="260" y="111"/>
                  </a:lnTo>
                  <a:lnTo>
                    <a:pt x="260" y="111"/>
                  </a:lnTo>
                  <a:lnTo>
                    <a:pt x="260" y="114"/>
                  </a:lnTo>
                  <a:close/>
                  <a:moveTo>
                    <a:pt x="274" y="95"/>
                  </a:moveTo>
                  <a:lnTo>
                    <a:pt x="274" y="95"/>
                  </a:lnTo>
                  <a:lnTo>
                    <a:pt x="274" y="92"/>
                  </a:lnTo>
                  <a:lnTo>
                    <a:pt x="274" y="92"/>
                  </a:lnTo>
                  <a:lnTo>
                    <a:pt x="274" y="92"/>
                  </a:lnTo>
                  <a:lnTo>
                    <a:pt x="272" y="95"/>
                  </a:lnTo>
                  <a:lnTo>
                    <a:pt x="274" y="97"/>
                  </a:lnTo>
                  <a:lnTo>
                    <a:pt x="274" y="95"/>
                  </a:lnTo>
                  <a:close/>
                  <a:moveTo>
                    <a:pt x="490" y="83"/>
                  </a:moveTo>
                  <a:lnTo>
                    <a:pt x="492" y="81"/>
                  </a:lnTo>
                  <a:lnTo>
                    <a:pt x="492" y="81"/>
                  </a:lnTo>
                  <a:lnTo>
                    <a:pt x="494" y="78"/>
                  </a:lnTo>
                  <a:lnTo>
                    <a:pt x="492" y="78"/>
                  </a:lnTo>
                  <a:lnTo>
                    <a:pt x="492" y="78"/>
                  </a:lnTo>
                  <a:lnTo>
                    <a:pt x="492" y="78"/>
                  </a:lnTo>
                  <a:lnTo>
                    <a:pt x="492" y="81"/>
                  </a:lnTo>
                  <a:lnTo>
                    <a:pt x="490" y="81"/>
                  </a:lnTo>
                  <a:lnTo>
                    <a:pt x="490" y="78"/>
                  </a:lnTo>
                  <a:lnTo>
                    <a:pt x="490" y="78"/>
                  </a:lnTo>
                  <a:lnTo>
                    <a:pt x="490" y="76"/>
                  </a:lnTo>
                  <a:lnTo>
                    <a:pt x="490" y="76"/>
                  </a:lnTo>
                  <a:lnTo>
                    <a:pt x="487" y="78"/>
                  </a:lnTo>
                  <a:lnTo>
                    <a:pt x="487" y="78"/>
                  </a:lnTo>
                  <a:lnTo>
                    <a:pt x="485" y="81"/>
                  </a:lnTo>
                  <a:lnTo>
                    <a:pt x="483" y="83"/>
                  </a:lnTo>
                  <a:lnTo>
                    <a:pt x="483" y="85"/>
                  </a:lnTo>
                  <a:lnTo>
                    <a:pt x="483" y="88"/>
                  </a:lnTo>
                  <a:lnTo>
                    <a:pt x="483" y="88"/>
                  </a:lnTo>
                  <a:lnTo>
                    <a:pt x="483" y="88"/>
                  </a:lnTo>
                  <a:lnTo>
                    <a:pt x="485" y="88"/>
                  </a:lnTo>
                  <a:lnTo>
                    <a:pt x="487" y="90"/>
                  </a:lnTo>
                  <a:lnTo>
                    <a:pt x="490" y="88"/>
                  </a:lnTo>
                  <a:lnTo>
                    <a:pt x="492" y="90"/>
                  </a:lnTo>
                  <a:lnTo>
                    <a:pt x="492" y="88"/>
                  </a:lnTo>
                  <a:lnTo>
                    <a:pt x="492" y="88"/>
                  </a:lnTo>
                  <a:lnTo>
                    <a:pt x="492" y="88"/>
                  </a:lnTo>
                  <a:lnTo>
                    <a:pt x="492" y="88"/>
                  </a:lnTo>
                  <a:lnTo>
                    <a:pt x="490" y="85"/>
                  </a:lnTo>
                  <a:lnTo>
                    <a:pt x="490" y="85"/>
                  </a:lnTo>
                  <a:lnTo>
                    <a:pt x="490" y="85"/>
                  </a:lnTo>
                  <a:lnTo>
                    <a:pt x="490" y="83"/>
                  </a:lnTo>
                  <a:close/>
                  <a:moveTo>
                    <a:pt x="483" y="78"/>
                  </a:moveTo>
                  <a:lnTo>
                    <a:pt x="483" y="76"/>
                  </a:lnTo>
                  <a:lnTo>
                    <a:pt x="480" y="76"/>
                  </a:lnTo>
                  <a:lnTo>
                    <a:pt x="480" y="78"/>
                  </a:lnTo>
                  <a:lnTo>
                    <a:pt x="480" y="78"/>
                  </a:lnTo>
                  <a:lnTo>
                    <a:pt x="478" y="78"/>
                  </a:lnTo>
                  <a:lnTo>
                    <a:pt x="478" y="78"/>
                  </a:lnTo>
                  <a:lnTo>
                    <a:pt x="480" y="81"/>
                  </a:lnTo>
                  <a:lnTo>
                    <a:pt x="480" y="78"/>
                  </a:lnTo>
                  <a:lnTo>
                    <a:pt x="483" y="78"/>
                  </a:lnTo>
                  <a:close/>
                  <a:moveTo>
                    <a:pt x="490" y="31"/>
                  </a:moveTo>
                  <a:lnTo>
                    <a:pt x="492" y="31"/>
                  </a:lnTo>
                  <a:lnTo>
                    <a:pt x="492" y="29"/>
                  </a:lnTo>
                  <a:lnTo>
                    <a:pt x="492" y="31"/>
                  </a:lnTo>
                  <a:lnTo>
                    <a:pt x="487" y="31"/>
                  </a:lnTo>
                  <a:lnTo>
                    <a:pt x="485" y="33"/>
                  </a:lnTo>
                  <a:lnTo>
                    <a:pt x="490" y="33"/>
                  </a:lnTo>
                  <a:lnTo>
                    <a:pt x="490" y="31"/>
                  </a:lnTo>
                  <a:close/>
                  <a:moveTo>
                    <a:pt x="374" y="38"/>
                  </a:moveTo>
                  <a:lnTo>
                    <a:pt x="376" y="36"/>
                  </a:lnTo>
                  <a:lnTo>
                    <a:pt x="381" y="38"/>
                  </a:lnTo>
                  <a:lnTo>
                    <a:pt x="381" y="38"/>
                  </a:lnTo>
                  <a:lnTo>
                    <a:pt x="381" y="36"/>
                  </a:lnTo>
                  <a:lnTo>
                    <a:pt x="381" y="36"/>
                  </a:lnTo>
                  <a:lnTo>
                    <a:pt x="381" y="36"/>
                  </a:lnTo>
                  <a:lnTo>
                    <a:pt x="379" y="33"/>
                  </a:lnTo>
                  <a:lnTo>
                    <a:pt x="379" y="33"/>
                  </a:lnTo>
                  <a:lnTo>
                    <a:pt x="379" y="31"/>
                  </a:lnTo>
                  <a:lnTo>
                    <a:pt x="379" y="29"/>
                  </a:lnTo>
                  <a:lnTo>
                    <a:pt x="379" y="26"/>
                  </a:lnTo>
                  <a:lnTo>
                    <a:pt x="376" y="26"/>
                  </a:lnTo>
                  <a:lnTo>
                    <a:pt x="376" y="26"/>
                  </a:lnTo>
                  <a:lnTo>
                    <a:pt x="374" y="31"/>
                  </a:lnTo>
                  <a:lnTo>
                    <a:pt x="374" y="31"/>
                  </a:lnTo>
                  <a:lnTo>
                    <a:pt x="374" y="33"/>
                  </a:lnTo>
                  <a:lnTo>
                    <a:pt x="374" y="33"/>
                  </a:lnTo>
                  <a:lnTo>
                    <a:pt x="371" y="33"/>
                  </a:lnTo>
                  <a:lnTo>
                    <a:pt x="371" y="36"/>
                  </a:lnTo>
                  <a:lnTo>
                    <a:pt x="371" y="38"/>
                  </a:lnTo>
                  <a:lnTo>
                    <a:pt x="374" y="38"/>
                  </a:lnTo>
                  <a:close/>
                  <a:moveTo>
                    <a:pt x="379" y="29"/>
                  </a:moveTo>
                  <a:lnTo>
                    <a:pt x="381" y="33"/>
                  </a:lnTo>
                  <a:lnTo>
                    <a:pt x="383" y="36"/>
                  </a:lnTo>
                  <a:lnTo>
                    <a:pt x="388" y="40"/>
                  </a:lnTo>
                  <a:lnTo>
                    <a:pt x="395" y="36"/>
                  </a:lnTo>
                  <a:lnTo>
                    <a:pt x="397" y="31"/>
                  </a:lnTo>
                  <a:lnTo>
                    <a:pt x="397" y="31"/>
                  </a:lnTo>
                  <a:lnTo>
                    <a:pt x="397" y="31"/>
                  </a:lnTo>
                  <a:lnTo>
                    <a:pt x="400" y="29"/>
                  </a:lnTo>
                  <a:lnTo>
                    <a:pt x="400" y="29"/>
                  </a:lnTo>
                  <a:lnTo>
                    <a:pt x="400" y="29"/>
                  </a:lnTo>
                  <a:lnTo>
                    <a:pt x="397" y="26"/>
                  </a:lnTo>
                  <a:lnTo>
                    <a:pt x="397" y="24"/>
                  </a:lnTo>
                  <a:lnTo>
                    <a:pt x="395" y="24"/>
                  </a:lnTo>
                  <a:lnTo>
                    <a:pt x="395" y="24"/>
                  </a:lnTo>
                  <a:lnTo>
                    <a:pt x="393" y="26"/>
                  </a:lnTo>
                  <a:lnTo>
                    <a:pt x="390" y="26"/>
                  </a:lnTo>
                  <a:lnTo>
                    <a:pt x="390" y="26"/>
                  </a:lnTo>
                  <a:lnTo>
                    <a:pt x="388" y="26"/>
                  </a:lnTo>
                  <a:lnTo>
                    <a:pt x="386" y="29"/>
                  </a:lnTo>
                  <a:lnTo>
                    <a:pt x="383" y="29"/>
                  </a:lnTo>
                  <a:lnTo>
                    <a:pt x="381" y="26"/>
                  </a:lnTo>
                  <a:lnTo>
                    <a:pt x="381" y="26"/>
                  </a:lnTo>
                  <a:lnTo>
                    <a:pt x="381" y="24"/>
                  </a:lnTo>
                  <a:lnTo>
                    <a:pt x="379" y="24"/>
                  </a:lnTo>
                  <a:lnTo>
                    <a:pt x="379" y="24"/>
                  </a:lnTo>
                  <a:lnTo>
                    <a:pt x="379" y="24"/>
                  </a:lnTo>
                  <a:lnTo>
                    <a:pt x="379" y="26"/>
                  </a:lnTo>
                  <a:lnTo>
                    <a:pt x="379" y="29"/>
                  </a:lnTo>
                  <a:close/>
                  <a:moveTo>
                    <a:pt x="497" y="24"/>
                  </a:moveTo>
                  <a:lnTo>
                    <a:pt x="499" y="19"/>
                  </a:lnTo>
                  <a:lnTo>
                    <a:pt x="497" y="19"/>
                  </a:lnTo>
                  <a:lnTo>
                    <a:pt x="497" y="21"/>
                  </a:lnTo>
                  <a:lnTo>
                    <a:pt x="497" y="24"/>
                  </a:lnTo>
                  <a:lnTo>
                    <a:pt x="497" y="24"/>
                  </a:lnTo>
                  <a:lnTo>
                    <a:pt x="494" y="24"/>
                  </a:lnTo>
                  <a:lnTo>
                    <a:pt x="492" y="26"/>
                  </a:lnTo>
                  <a:lnTo>
                    <a:pt x="492" y="29"/>
                  </a:lnTo>
                  <a:lnTo>
                    <a:pt x="492" y="29"/>
                  </a:lnTo>
                  <a:lnTo>
                    <a:pt x="494" y="29"/>
                  </a:lnTo>
                  <a:lnTo>
                    <a:pt x="497" y="24"/>
                  </a:lnTo>
                  <a:close/>
                  <a:moveTo>
                    <a:pt x="419" y="26"/>
                  </a:moveTo>
                  <a:lnTo>
                    <a:pt x="419" y="26"/>
                  </a:lnTo>
                  <a:lnTo>
                    <a:pt x="421" y="24"/>
                  </a:lnTo>
                  <a:lnTo>
                    <a:pt x="421" y="21"/>
                  </a:lnTo>
                  <a:lnTo>
                    <a:pt x="421" y="19"/>
                  </a:lnTo>
                  <a:lnTo>
                    <a:pt x="421" y="19"/>
                  </a:lnTo>
                  <a:lnTo>
                    <a:pt x="419" y="19"/>
                  </a:lnTo>
                  <a:lnTo>
                    <a:pt x="419" y="21"/>
                  </a:lnTo>
                  <a:lnTo>
                    <a:pt x="419" y="21"/>
                  </a:lnTo>
                  <a:lnTo>
                    <a:pt x="419" y="24"/>
                  </a:lnTo>
                  <a:lnTo>
                    <a:pt x="419" y="26"/>
                  </a:lnTo>
                  <a:close/>
                  <a:moveTo>
                    <a:pt x="738" y="334"/>
                  </a:moveTo>
                  <a:lnTo>
                    <a:pt x="738" y="334"/>
                  </a:lnTo>
                  <a:lnTo>
                    <a:pt x="736" y="329"/>
                  </a:lnTo>
                  <a:lnTo>
                    <a:pt x="738" y="325"/>
                  </a:lnTo>
                  <a:lnTo>
                    <a:pt x="736" y="322"/>
                  </a:lnTo>
                  <a:lnTo>
                    <a:pt x="736" y="320"/>
                  </a:lnTo>
                  <a:lnTo>
                    <a:pt x="733" y="317"/>
                  </a:lnTo>
                  <a:lnTo>
                    <a:pt x="733" y="315"/>
                  </a:lnTo>
                  <a:lnTo>
                    <a:pt x="733" y="313"/>
                  </a:lnTo>
                  <a:lnTo>
                    <a:pt x="733" y="310"/>
                  </a:lnTo>
                  <a:lnTo>
                    <a:pt x="731" y="310"/>
                  </a:lnTo>
                  <a:lnTo>
                    <a:pt x="731" y="310"/>
                  </a:lnTo>
                  <a:lnTo>
                    <a:pt x="729" y="308"/>
                  </a:lnTo>
                  <a:lnTo>
                    <a:pt x="729" y="306"/>
                  </a:lnTo>
                  <a:lnTo>
                    <a:pt x="726" y="298"/>
                  </a:lnTo>
                  <a:lnTo>
                    <a:pt x="726" y="296"/>
                  </a:lnTo>
                  <a:lnTo>
                    <a:pt x="724" y="296"/>
                  </a:lnTo>
                  <a:lnTo>
                    <a:pt x="722" y="296"/>
                  </a:lnTo>
                  <a:lnTo>
                    <a:pt x="719" y="294"/>
                  </a:lnTo>
                  <a:lnTo>
                    <a:pt x="717" y="291"/>
                  </a:lnTo>
                  <a:lnTo>
                    <a:pt x="714" y="289"/>
                  </a:lnTo>
                  <a:lnTo>
                    <a:pt x="714" y="289"/>
                  </a:lnTo>
                  <a:lnTo>
                    <a:pt x="712" y="287"/>
                  </a:lnTo>
                  <a:lnTo>
                    <a:pt x="712" y="284"/>
                  </a:lnTo>
                  <a:lnTo>
                    <a:pt x="712" y="282"/>
                  </a:lnTo>
                  <a:lnTo>
                    <a:pt x="712" y="277"/>
                  </a:lnTo>
                  <a:lnTo>
                    <a:pt x="712" y="272"/>
                  </a:lnTo>
                  <a:lnTo>
                    <a:pt x="714" y="265"/>
                  </a:lnTo>
                  <a:lnTo>
                    <a:pt x="712" y="261"/>
                  </a:lnTo>
                  <a:lnTo>
                    <a:pt x="712" y="261"/>
                  </a:lnTo>
                  <a:lnTo>
                    <a:pt x="712" y="261"/>
                  </a:lnTo>
                  <a:lnTo>
                    <a:pt x="710" y="263"/>
                  </a:lnTo>
                  <a:lnTo>
                    <a:pt x="710" y="263"/>
                  </a:lnTo>
                  <a:lnTo>
                    <a:pt x="710" y="263"/>
                  </a:lnTo>
                  <a:lnTo>
                    <a:pt x="707" y="263"/>
                  </a:lnTo>
                  <a:lnTo>
                    <a:pt x="705" y="261"/>
                  </a:lnTo>
                  <a:lnTo>
                    <a:pt x="705" y="258"/>
                  </a:lnTo>
                  <a:lnTo>
                    <a:pt x="703" y="256"/>
                  </a:lnTo>
                  <a:lnTo>
                    <a:pt x="703" y="256"/>
                  </a:lnTo>
                  <a:lnTo>
                    <a:pt x="703" y="256"/>
                  </a:lnTo>
                  <a:lnTo>
                    <a:pt x="700" y="258"/>
                  </a:lnTo>
                  <a:lnTo>
                    <a:pt x="700" y="263"/>
                  </a:lnTo>
                  <a:lnTo>
                    <a:pt x="700" y="263"/>
                  </a:lnTo>
                  <a:lnTo>
                    <a:pt x="698" y="263"/>
                  </a:lnTo>
                  <a:lnTo>
                    <a:pt x="698" y="261"/>
                  </a:lnTo>
                  <a:lnTo>
                    <a:pt x="696" y="261"/>
                  </a:lnTo>
                  <a:lnTo>
                    <a:pt x="696" y="261"/>
                  </a:lnTo>
                  <a:lnTo>
                    <a:pt x="696" y="258"/>
                  </a:lnTo>
                  <a:lnTo>
                    <a:pt x="693" y="258"/>
                  </a:lnTo>
                  <a:lnTo>
                    <a:pt x="693" y="253"/>
                  </a:lnTo>
                  <a:lnTo>
                    <a:pt x="693" y="246"/>
                  </a:lnTo>
                  <a:lnTo>
                    <a:pt x="696" y="244"/>
                  </a:lnTo>
                  <a:lnTo>
                    <a:pt x="693" y="242"/>
                  </a:lnTo>
                  <a:lnTo>
                    <a:pt x="693" y="237"/>
                  </a:lnTo>
                  <a:lnTo>
                    <a:pt x="693" y="237"/>
                  </a:lnTo>
                  <a:lnTo>
                    <a:pt x="693" y="235"/>
                  </a:lnTo>
                  <a:lnTo>
                    <a:pt x="691" y="230"/>
                  </a:lnTo>
                  <a:lnTo>
                    <a:pt x="688" y="227"/>
                  </a:lnTo>
                  <a:lnTo>
                    <a:pt x="686" y="225"/>
                  </a:lnTo>
                  <a:lnTo>
                    <a:pt x="686" y="223"/>
                  </a:lnTo>
                  <a:lnTo>
                    <a:pt x="686" y="220"/>
                  </a:lnTo>
                  <a:lnTo>
                    <a:pt x="688" y="220"/>
                  </a:lnTo>
                  <a:lnTo>
                    <a:pt x="688" y="220"/>
                  </a:lnTo>
                  <a:lnTo>
                    <a:pt x="688" y="218"/>
                  </a:lnTo>
                  <a:lnTo>
                    <a:pt x="688" y="216"/>
                  </a:lnTo>
                  <a:lnTo>
                    <a:pt x="686" y="213"/>
                  </a:lnTo>
                  <a:lnTo>
                    <a:pt x="684" y="213"/>
                  </a:lnTo>
                  <a:lnTo>
                    <a:pt x="681" y="211"/>
                  </a:lnTo>
                  <a:lnTo>
                    <a:pt x="679" y="208"/>
                  </a:lnTo>
                  <a:lnTo>
                    <a:pt x="677" y="208"/>
                  </a:lnTo>
                  <a:lnTo>
                    <a:pt x="677" y="208"/>
                  </a:lnTo>
                  <a:lnTo>
                    <a:pt x="674" y="206"/>
                  </a:lnTo>
                  <a:lnTo>
                    <a:pt x="674" y="206"/>
                  </a:lnTo>
                  <a:lnTo>
                    <a:pt x="672" y="206"/>
                  </a:lnTo>
                  <a:lnTo>
                    <a:pt x="670" y="201"/>
                  </a:lnTo>
                  <a:lnTo>
                    <a:pt x="667" y="199"/>
                  </a:lnTo>
                  <a:lnTo>
                    <a:pt x="667" y="197"/>
                  </a:lnTo>
                  <a:lnTo>
                    <a:pt x="667" y="197"/>
                  </a:lnTo>
                  <a:lnTo>
                    <a:pt x="665" y="197"/>
                  </a:lnTo>
                  <a:lnTo>
                    <a:pt x="665" y="197"/>
                  </a:lnTo>
                  <a:lnTo>
                    <a:pt x="662" y="197"/>
                  </a:lnTo>
                  <a:lnTo>
                    <a:pt x="660" y="197"/>
                  </a:lnTo>
                  <a:lnTo>
                    <a:pt x="660" y="194"/>
                  </a:lnTo>
                  <a:lnTo>
                    <a:pt x="658" y="194"/>
                  </a:lnTo>
                  <a:lnTo>
                    <a:pt x="655" y="192"/>
                  </a:lnTo>
                  <a:lnTo>
                    <a:pt x="653" y="192"/>
                  </a:lnTo>
                  <a:lnTo>
                    <a:pt x="651" y="190"/>
                  </a:lnTo>
                  <a:lnTo>
                    <a:pt x="651" y="187"/>
                  </a:lnTo>
                  <a:lnTo>
                    <a:pt x="648" y="185"/>
                  </a:lnTo>
                  <a:lnTo>
                    <a:pt x="651" y="182"/>
                  </a:lnTo>
                  <a:lnTo>
                    <a:pt x="651" y="180"/>
                  </a:lnTo>
                  <a:lnTo>
                    <a:pt x="648" y="178"/>
                  </a:lnTo>
                  <a:lnTo>
                    <a:pt x="646" y="173"/>
                  </a:lnTo>
                  <a:lnTo>
                    <a:pt x="646" y="171"/>
                  </a:lnTo>
                  <a:lnTo>
                    <a:pt x="648" y="168"/>
                  </a:lnTo>
                  <a:lnTo>
                    <a:pt x="651" y="159"/>
                  </a:lnTo>
                  <a:lnTo>
                    <a:pt x="651" y="154"/>
                  </a:lnTo>
                  <a:lnTo>
                    <a:pt x="648" y="147"/>
                  </a:lnTo>
                  <a:lnTo>
                    <a:pt x="648" y="145"/>
                  </a:lnTo>
                  <a:lnTo>
                    <a:pt x="648" y="145"/>
                  </a:lnTo>
                  <a:lnTo>
                    <a:pt x="646" y="145"/>
                  </a:lnTo>
                  <a:lnTo>
                    <a:pt x="646" y="140"/>
                  </a:lnTo>
                  <a:lnTo>
                    <a:pt x="644" y="137"/>
                  </a:lnTo>
                  <a:lnTo>
                    <a:pt x="644" y="137"/>
                  </a:lnTo>
                  <a:lnTo>
                    <a:pt x="641" y="135"/>
                  </a:lnTo>
                  <a:lnTo>
                    <a:pt x="644" y="133"/>
                  </a:lnTo>
                  <a:lnTo>
                    <a:pt x="644" y="130"/>
                  </a:lnTo>
                  <a:lnTo>
                    <a:pt x="644" y="126"/>
                  </a:lnTo>
                  <a:lnTo>
                    <a:pt x="644" y="123"/>
                  </a:lnTo>
                  <a:lnTo>
                    <a:pt x="644" y="119"/>
                  </a:lnTo>
                  <a:lnTo>
                    <a:pt x="644" y="114"/>
                  </a:lnTo>
                  <a:lnTo>
                    <a:pt x="644" y="111"/>
                  </a:lnTo>
                  <a:lnTo>
                    <a:pt x="644" y="109"/>
                  </a:lnTo>
                  <a:lnTo>
                    <a:pt x="644" y="107"/>
                  </a:lnTo>
                  <a:lnTo>
                    <a:pt x="644" y="104"/>
                  </a:lnTo>
                  <a:lnTo>
                    <a:pt x="646" y="102"/>
                  </a:lnTo>
                  <a:lnTo>
                    <a:pt x="644" y="102"/>
                  </a:lnTo>
                  <a:lnTo>
                    <a:pt x="641" y="100"/>
                  </a:lnTo>
                  <a:lnTo>
                    <a:pt x="639" y="97"/>
                  </a:lnTo>
                  <a:lnTo>
                    <a:pt x="634" y="92"/>
                  </a:lnTo>
                  <a:lnTo>
                    <a:pt x="634" y="90"/>
                  </a:lnTo>
                  <a:lnTo>
                    <a:pt x="632" y="88"/>
                  </a:lnTo>
                  <a:lnTo>
                    <a:pt x="629" y="90"/>
                  </a:lnTo>
                  <a:lnTo>
                    <a:pt x="627" y="90"/>
                  </a:lnTo>
                  <a:lnTo>
                    <a:pt x="625" y="92"/>
                  </a:lnTo>
                  <a:lnTo>
                    <a:pt x="622" y="92"/>
                  </a:lnTo>
                  <a:lnTo>
                    <a:pt x="620" y="92"/>
                  </a:lnTo>
                  <a:lnTo>
                    <a:pt x="617" y="90"/>
                  </a:lnTo>
                  <a:lnTo>
                    <a:pt x="617" y="85"/>
                  </a:lnTo>
                  <a:lnTo>
                    <a:pt x="617" y="83"/>
                  </a:lnTo>
                  <a:lnTo>
                    <a:pt x="617" y="81"/>
                  </a:lnTo>
                  <a:lnTo>
                    <a:pt x="617" y="78"/>
                  </a:lnTo>
                  <a:lnTo>
                    <a:pt x="617" y="71"/>
                  </a:lnTo>
                  <a:lnTo>
                    <a:pt x="617" y="69"/>
                  </a:lnTo>
                  <a:lnTo>
                    <a:pt x="617" y="64"/>
                  </a:lnTo>
                  <a:lnTo>
                    <a:pt x="617" y="59"/>
                  </a:lnTo>
                  <a:lnTo>
                    <a:pt x="617" y="57"/>
                  </a:lnTo>
                  <a:lnTo>
                    <a:pt x="617" y="55"/>
                  </a:lnTo>
                  <a:lnTo>
                    <a:pt x="615" y="52"/>
                  </a:lnTo>
                  <a:lnTo>
                    <a:pt x="615" y="50"/>
                  </a:lnTo>
                  <a:lnTo>
                    <a:pt x="613" y="47"/>
                  </a:lnTo>
                  <a:lnTo>
                    <a:pt x="613" y="47"/>
                  </a:lnTo>
                  <a:lnTo>
                    <a:pt x="613" y="45"/>
                  </a:lnTo>
                  <a:lnTo>
                    <a:pt x="613" y="45"/>
                  </a:lnTo>
                  <a:lnTo>
                    <a:pt x="613" y="43"/>
                  </a:lnTo>
                  <a:lnTo>
                    <a:pt x="615" y="40"/>
                  </a:lnTo>
                  <a:lnTo>
                    <a:pt x="613" y="38"/>
                  </a:lnTo>
                  <a:lnTo>
                    <a:pt x="610" y="38"/>
                  </a:lnTo>
                  <a:lnTo>
                    <a:pt x="610" y="38"/>
                  </a:lnTo>
                  <a:lnTo>
                    <a:pt x="610" y="38"/>
                  </a:lnTo>
                  <a:lnTo>
                    <a:pt x="610" y="33"/>
                  </a:lnTo>
                  <a:lnTo>
                    <a:pt x="610" y="29"/>
                  </a:lnTo>
                  <a:lnTo>
                    <a:pt x="610" y="26"/>
                  </a:lnTo>
                  <a:lnTo>
                    <a:pt x="610" y="24"/>
                  </a:lnTo>
                  <a:lnTo>
                    <a:pt x="610" y="21"/>
                  </a:lnTo>
                  <a:lnTo>
                    <a:pt x="608" y="19"/>
                  </a:lnTo>
                  <a:lnTo>
                    <a:pt x="606" y="17"/>
                  </a:lnTo>
                  <a:lnTo>
                    <a:pt x="606" y="17"/>
                  </a:lnTo>
                  <a:lnTo>
                    <a:pt x="606" y="14"/>
                  </a:lnTo>
                  <a:lnTo>
                    <a:pt x="606" y="14"/>
                  </a:lnTo>
                  <a:lnTo>
                    <a:pt x="603" y="14"/>
                  </a:lnTo>
                  <a:lnTo>
                    <a:pt x="603" y="14"/>
                  </a:lnTo>
                  <a:lnTo>
                    <a:pt x="601" y="17"/>
                  </a:lnTo>
                  <a:lnTo>
                    <a:pt x="599" y="19"/>
                  </a:lnTo>
                  <a:lnTo>
                    <a:pt x="596" y="26"/>
                  </a:lnTo>
                  <a:lnTo>
                    <a:pt x="594" y="33"/>
                  </a:lnTo>
                  <a:lnTo>
                    <a:pt x="591" y="38"/>
                  </a:lnTo>
                  <a:lnTo>
                    <a:pt x="591" y="40"/>
                  </a:lnTo>
                  <a:lnTo>
                    <a:pt x="591" y="43"/>
                  </a:lnTo>
                  <a:lnTo>
                    <a:pt x="591" y="40"/>
                  </a:lnTo>
                  <a:lnTo>
                    <a:pt x="591" y="40"/>
                  </a:lnTo>
                  <a:lnTo>
                    <a:pt x="589" y="43"/>
                  </a:lnTo>
                  <a:lnTo>
                    <a:pt x="587" y="47"/>
                  </a:lnTo>
                  <a:lnTo>
                    <a:pt x="584" y="52"/>
                  </a:lnTo>
                  <a:lnTo>
                    <a:pt x="587" y="52"/>
                  </a:lnTo>
                  <a:lnTo>
                    <a:pt x="587" y="52"/>
                  </a:lnTo>
                  <a:lnTo>
                    <a:pt x="589" y="52"/>
                  </a:lnTo>
                  <a:lnTo>
                    <a:pt x="589" y="55"/>
                  </a:lnTo>
                  <a:lnTo>
                    <a:pt x="589" y="55"/>
                  </a:lnTo>
                  <a:lnTo>
                    <a:pt x="589" y="57"/>
                  </a:lnTo>
                  <a:lnTo>
                    <a:pt x="589" y="57"/>
                  </a:lnTo>
                  <a:lnTo>
                    <a:pt x="589" y="57"/>
                  </a:lnTo>
                  <a:lnTo>
                    <a:pt x="587" y="57"/>
                  </a:lnTo>
                  <a:lnTo>
                    <a:pt x="587" y="59"/>
                  </a:lnTo>
                  <a:lnTo>
                    <a:pt x="582" y="62"/>
                  </a:lnTo>
                  <a:lnTo>
                    <a:pt x="582" y="66"/>
                  </a:lnTo>
                  <a:lnTo>
                    <a:pt x="582" y="71"/>
                  </a:lnTo>
                  <a:lnTo>
                    <a:pt x="580" y="74"/>
                  </a:lnTo>
                  <a:lnTo>
                    <a:pt x="577" y="78"/>
                  </a:lnTo>
                  <a:lnTo>
                    <a:pt x="577" y="81"/>
                  </a:lnTo>
                  <a:lnTo>
                    <a:pt x="580" y="83"/>
                  </a:lnTo>
                  <a:lnTo>
                    <a:pt x="580" y="85"/>
                  </a:lnTo>
                  <a:lnTo>
                    <a:pt x="577" y="90"/>
                  </a:lnTo>
                  <a:lnTo>
                    <a:pt x="577" y="92"/>
                  </a:lnTo>
                  <a:lnTo>
                    <a:pt x="577" y="102"/>
                  </a:lnTo>
                  <a:lnTo>
                    <a:pt x="577" y="104"/>
                  </a:lnTo>
                  <a:lnTo>
                    <a:pt x="575" y="109"/>
                  </a:lnTo>
                  <a:lnTo>
                    <a:pt x="573" y="116"/>
                  </a:lnTo>
                  <a:lnTo>
                    <a:pt x="570" y="123"/>
                  </a:lnTo>
                  <a:lnTo>
                    <a:pt x="570" y="128"/>
                  </a:lnTo>
                  <a:lnTo>
                    <a:pt x="568" y="130"/>
                  </a:lnTo>
                  <a:lnTo>
                    <a:pt x="565" y="135"/>
                  </a:lnTo>
                  <a:lnTo>
                    <a:pt x="563" y="140"/>
                  </a:lnTo>
                  <a:lnTo>
                    <a:pt x="558" y="147"/>
                  </a:lnTo>
                  <a:lnTo>
                    <a:pt x="556" y="152"/>
                  </a:lnTo>
                  <a:lnTo>
                    <a:pt x="554" y="156"/>
                  </a:lnTo>
                  <a:lnTo>
                    <a:pt x="549" y="159"/>
                  </a:lnTo>
                  <a:lnTo>
                    <a:pt x="547" y="159"/>
                  </a:lnTo>
                  <a:lnTo>
                    <a:pt x="542" y="161"/>
                  </a:lnTo>
                  <a:lnTo>
                    <a:pt x="537" y="161"/>
                  </a:lnTo>
                  <a:lnTo>
                    <a:pt x="537" y="161"/>
                  </a:lnTo>
                  <a:lnTo>
                    <a:pt x="535" y="159"/>
                  </a:lnTo>
                  <a:lnTo>
                    <a:pt x="532" y="159"/>
                  </a:lnTo>
                  <a:lnTo>
                    <a:pt x="528" y="154"/>
                  </a:lnTo>
                  <a:lnTo>
                    <a:pt x="525" y="154"/>
                  </a:lnTo>
                  <a:lnTo>
                    <a:pt x="523" y="149"/>
                  </a:lnTo>
                  <a:lnTo>
                    <a:pt x="523" y="149"/>
                  </a:lnTo>
                  <a:lnTo>
                    <a:pt x="523" y="147"/>
                  </a:lnTo>
                  <a:lnTo>
                    <a:pt x="523" y="145"/>
                  </a:lnTo>
                  <a:lnTo>
                    <a:pt x="518" y="145"/>
                  </a:lnTo>
                  <a:lnTo>
                    <a:pt x="516" y="142"/>
                  </a:lnTo>
                  <a:lnTo>
                    <a:pt x="513" y="142"/>
                  </a:lnTo>
                  <a:lnTo>
                    <a:pt x="509" y="140"/>
                  </a:lnTo>
                  <a:lnTo>
                    <a:pt x="506" y="137"/>
                  </a:lnTo>
                  <a:lnTo>
                    <a:pt x="504" y="135"/>
                  </a:lnTo>
                  <a:lnTo>
                    <a:pt x="502" y="130"/>
                  </a:lnTo>
                  <a:lnTo>
                    <a:pt x="497" y="128"/>
                  </a:lnTo>
                  <a:lnTo>
                    <a:pt x="494" y="126"/>
                  </a:lnTo>
                  <a:lnTo>
                    <a:pt x="492" y="126"/>
                  </a:lnTo>
                  <a:lnTo>
                    <a:pt x="490" y="123"/>
                  </a:lnTo>
                  <a:lnTo>
                    <a:pt x="490" y="123"/>
                  </a:lnTo>
                  <a:lnTo>
                    <a:pt x="487" y="123"/>
                  </a:lnTo>
                  <a:lnTo>
                    <a:pt x="485" y="123"/>
                  </a:lnTo>
                  <a:lnTo>
                    <a:pt x="483" y="121"/>
                  </a:lnTo>
                  <a:lnTo>
                    <a:pt x="483" y="121"/>
                  </a:lnTo>
                  <a:lnTo>
                    <a:pt x="483" y="121"/>
                  </a:lnTo>
                  <a:lnTo>
                    <a:pt x="485" y="119"/>
                  </a:lnTo>
                  <a:lnTo>
                    <a:pt x="483" y="119"/>
                  </a:lnTo>
                  <a:lnTo>
                    <a:pt x="483" y="119"/>
                  </a:lnTo>
                  <a:lnTo>
                    <a:pt x="483" y="119"/>
                  </a:lnTo>
                  <a:lnTo>
                    <a:pt x="483" y="119"/>
                  </a:lnTo>
                  <a:lnTo>
                    <a:pt x="480" y="119"/>
                  </a:lnTo>
                  <a:lnTo>
                    <a:pt x="476" y="116"/>
                  </a:lnTo>
                  <a:lnTo>
                    <a:pt x="476" y="114"/>
                  </a:lnTo>
                  <a:lnTo>
                    <a:pt x="476" y="114"/>
                  </a:lnTo>
                  <a:lnTo>
                    <a:pt x="471" y="109"/>
                  </a:lnTo>
                  <a:lnTo>
                    <a:pt x="468" y="107"/>
                  </a:lnTo>
                  <a:lnTo>
                    <a:pt x="464" y="104"/>
                  </a:lnTo>
                  <a:lnTo>
                    <a:pt x="464" y="102"/>
                  </a:lnTo>
                  <a:lnTo>
                    <a:pt x="464" y="102"/>
                  </a:lnTo>
                  <a:lnTo>
                    <a:pt x="464" y="100"/>
                  </a:lnTo>
                  <a:lnTo>
                    <a:pt x="464" y="97"/>
                  </a:lnTo>
                  <a:lnTo>
                    <a:pt x="466" y="95"/>
                  </a:lnTo>
                  <a:lnTo>
                    <a:pt x="471" y="90"/>
                  </a:lnTo>
                  <a:lnTo>
                    <a:pt x="471" y="88"/>
                  </a:lnTo>
                  <a:lnTo>
                    <a:pt x="473" y="85"/>
                  </a:lnTo>
                  <a:lnTo>
                    <a:pt x="476" y="81"/>
                  </a:lnTo>
                  <a:lnTo>
                    <a:pt x="476" y="78"/>
                  </a:lnTo>
                  <a:lnTo>
                    <a:pt x="476" y="76"/>
                  </a:lnTo>
                  <a:lnTo>
                    <a:pt x="478" y="69"/>
                  </a:lnTo>
                  <a:lnTo>
                    <a:pt x="483" y="66"/>
                  </a:lnTo>
                  <a:lnTo>
                    <a:pt x="483" y="66"/>
                  </a:lnTo>
                  <a:lnTo>
                    <a:pt x="485" y="64"/>
                  </a:lnTo>
                  <a:lnTo>
                    <a:pt x="485" y="66"/>
                  </a:lnTo>
                  <a:lnTo>
                    <a:pt x="485" y="66"/>
                  </a:lnTo>
                  <a:lnTo>
                    <a:pt x="487" y="66"/>
                  </a:lnTo>
                  <a:lnTo>
                    <a:pt x="490" y="62"/>
                  </a:lnTo>
                  <a:lnTo>
                    <a:pt x="490" y="59"/>
                  </a:lnTo>
                  <a:lnTo>
                    <a:pt x="490" y="59"/>
                  </a:lnTo>
                  <a:lnTo>
                    <a:pt x="490" y="57"/>
                  </a:lnTo>
                  <a:lnTo>
                    <a:pt x="499" y="47"/>
                  </a:lnTo>
                  <a:lnTo>
                    <a:pt x="497" y="45"/>
                  </a:lnTo>
                  <a:lnTo>
                    <a:pt x="497" y="45"/>
                  </a:lnTo>
                  <a:lnTo>
                    <a:pt x="494" y="45"/>
                  </a:lnTo>
                  <a:lnTo>
                    <a:pt x="492" y="43"/>
                  </a:lnTo>
                  <a:lnTo>
                    <a:pt x="492" y="40"/>
                  </a:lnTo>
                  <a:lnTo>
                    <a:pt x="490" y="40"/>
                  </a:lnTo>
                  <a:lnTo>
                    <a:pt x="485" y="43"/>
                  </a:lnTo>
                  <a:lnTo>
                    <a:pt x="485" y="45"/>
                  </a:lnTo>
                  <a:lnTo>
                    <a:pt x="487" y="45"/>
                  </a:lnTo>
                  <a:lnTo>
                    <a:pt x="487" y="47"/>
                  </a:lnTo>
                  <a:lnTo>
                    <a:pt x="485" y="50"/>
                  </a:lnTo>
                  <a:lnTo>
                    <a:pt x="485" y="50"/>
                  </a:lnTo>
                  <a:lnTo>
                    <a:pt x="483" y="50"/>
                  </a:lnTo>
                  <a:lnTo>
                    <a:pt x="480" y="47"/>
                  </a:lnTo>
                  <a:lnTo>
                    <a:pt x="480" y="45"/>
                  </a:lnTo>
                  <a:lnTo>
                    <a:pt x="480" y="45"/>
                  </a:lnTo>
                  <a:lnTo>
                    <a:pt x="478" y="45"/>
                  </a:lnTo>
                  <a:lnTo>
                    <a:pt x="478" y="45"/>
                  </a:lnTo>
                  <a:lnTo>
                    <a:pt x="476" y="45"/>
                  </a:lnTo>
                  <a:lnTo>
                    <a:pt x="476" y="45"/>
                  </a:lnTo>
                  <a:lnTo>
                    <a:pt x="476" y="45"/>
                  </a:lnTo>
                  <a:lnTo>
                    <a:pt x="478" y="43"/>
                  </a:lnTo>
                  <a:lnTo>
                    <a:pt x="480" y="40"/>
                  </a:lnTo>
                  <a:lnTo>
                    <a:pt x="480" y="40"/>
                  </a:lnTo>
                  <a:lnTo>
                    <a:pt x="478" y="40"/>
                  </a:lnTo>
                  <a:lnTo>
                    <a:pt x="478" y="38"/>
                  </a:lnTo>
                  <a:lnTo>
                    <a:pt x="480" y="38"/>
                  </a:lnTo>
                  <a:lnTo>
                    <a:pt x="480" y="38"/>
                  </a:lnTo>
                  <a:lnTo>
                    <a:pt x="478" y="38"/>
                  </a:lnTo>
                  <a:lnTo>
                    <a:pt x="476" y="40"/>
                  </a:lnTo>
                  <a:lnTo>
                    <a:pt x="473" y="43"/>
                  </a:lnTo>
                  <a:lnTo>
                    <a:pt x="468" y="43"/>
                  </a:lnTo>
                  <a:lnTo>
                    <a:pt x="466" y="45"/>
                  </a:lnTo>
                  <a:lnTo>
                    <a:pt x="464" y="45"/>
                  </a:lnTo>
                  <a:lnTo>
                    <a:pt x="459" y="43"/>
                  </a:lnTo>
                  <a:lnTo>
                    <a:pt x="459" y="43"/>
                  </a:lnTo>
                  <a:lnTo>
                    <a:pt x="459" y="40"/>
                  </a:lnTo>
                  <a:lnTo>
                    <a:pt x="454" y="43"/>
                  </a:lnTo>
                  <a:lnTo>
                    <a:pt x="452" y="43"/>
                  </a:lnTo>
                  <a:lnTo>
                    <a:pt x="452" y="40"/>
                  </a:lnTo>
                  <a:lnTo>
                    <a:pt x="450" y="40"/>
                  </a:lnTo>
                  <a:lnTo>
                    <a:pt x="447" y="40"/>
                  </a:lnTo>
                  <a:lnTo>
                    <a:pt x="442" y="38"/>
                  </a:lnTo>
                  <a:lnTo>
                    <a:pt x="438" y="36"/>
                  </a:lnTo>
                  <a:lnTo>
                    <a:pt x="435" y="38"/>
                  </a:lnTo>
                  <a:lnTo>
                    <a:pt x="435" y="36"/>
                  </a:lnTo>
                  <a:lnTo>
                    <a:pt x="433" y="36"/>
                  </a:lnTo>
                  <a:lnTo>
                    <a:pt x="431" y="36"/>
                  </a:lnTo>
                  <a:lnTo>
                    <a:pt x="428" y="33"/>
                  </a:lnTo>
                  <a:lnTo>
                    <a:pt x="428" y="29"/>
                  </a:lnTo>
                  <a:lnTo>
                    <a:pt x="426" y="29"/>
                  </a:lnTo>
                  <a:lnTo>
                    <a:pt x="424" y="29"/>
                  </a:lnTo>
                  <a:lnTo>
                    <a:pt x="421" y="29"/>
                  </a:lnTo>
                  <a:lnTo>
                    <a:pt x="421" y="31"/>
                  </a:lnTo>
                  <a:lnTo>
                    <a:pt x="419" y="29"/>
                  </a:lnTo>
                  <a:lnTo>
                    <a:pt x="414" y="24"/>
                  </a:lnTo>
                  <a:lnTo>
                    <a:pt x="414" y="24"/>
                  </a:lnTo>
                  <a:lnTo>
                    <a:pt x="414" y="24"/>
                  </a:lnTo>
                  <a:lnTo>
                    <a:pt x="412" y="26"/>
                  </a:lnTo>
                  <a:lnTo>
                    <a:pt x="412" y="26"/>
                  </a:lnTo>
                  <a:lnTo>
                    <a:pt x="412" y="26"/>
                  </a:lnTo>
                  <a:lnTo>
                    <a:pt x="409" y="24"/>
                  </a:lnTo>
                  <a:lnTo>
                    <a:pt x="409" y="24"/>
                  </a:lnTo>
                  <a:lnTo>
                    <a:pt x="405" y="26"/>
                  </a:lnTo>
                  <a:lnTo>
                    <a:pt x="405" y="26"/>
                  </a:lnTo>
                  <a:lnTo>
                    <a:pt x="407" y="26"/>
                  </a:lnTo>
                  <a:lnTo>
                    <a:pt x="409" y="29"/>
                  </a:lnTo>
                  <a:lnTo>
                    <a:pt x="412" y="31"/>
                  </a:lnTo>
                  <a:lnTo>
                    <a:pt x="414" y="29"/>
                  </a:lnTo>
                  <a:lnTo>
                    <a:pt x="416" y="31"/>
                  </a:lnTo>
                  <a:lnTo>
                    <a:pt x="421" y="33"/>
                  </a:lnTo>
                  <a:lnTo>
                    <a:pt x="419" y="36"/>
                  </a:lnTo>
                  <a:lnTo>
                    <a:pt x="419" y="38"/>
                  </a:lnTo>
                  <a:lnTo>
                    <a:pt x="419" y="40"/>
                  </a:lnTo>
                  <a:lnTo>
                    <a:pt x="419" y="40"/>
                  </a:lnTo>
                  <a:lnTo>
                    <a:pt x="421" y="43"/>
                  </a:lnTo>
                  <a:lnTo>
                    <a:pt x="419" y="43"/>
                  </a:lnTo>
                  <a:lnTo>
                    <a:pt x="419" y="43"/>
                  </a:lnTo>
                  <a:lnTo>
                    <a:pt x="416" y="43"/>
                  </a:lnTo>
                  <a:lnTo>
                    <a:pt x="414" y="45"/>
                  </a:lnTo>
                  <a:lnTo>
                    <a:pt x="414" y="47"/>
                  </a:lnTo>
                  <a:lnTo>
                    <a:pt x="414" y="45"/>
                  </a:lnTo>
                  <a:lnTo>
                    <a:pt x="412" y="45"/>
                  </a:lnTo>
                  <a:lnTo>
                    <a:pt x="409" y="45"/>
                  </a:lnTo>
                  <a:lnTo>
                    <a:pt x="407" y="47"/>
                  </a:lnTo>
                  <a:lnTo>
                    <a:pt x="407" y="45"/>
                  </a:lnTo>
                  <a:lnTo>
                    <a:pt x="405" y="45"/>
                  </a:lnTo>
                  <a:lnTo>
                    <a:pt x="402" y="47"/>
                  </a:lnTo>
                  <a:lnTo>
                    <a:pt x="395" y="47"/>
                  </a:lnTo>
                  <a:lnTo>
                    <a:pt x="395" y="45"/>
                  </a:lnTo>
                  <a:lnTo>
                    <a:pt x="395" y="43"/>
                  </a:lnTo>
                  <a:lnTo>
                    <a:pt x="395" y="43"/>
                  </a:lnTo>
                  <a:lnTo>
                    <a:pt x="393" y="43"/>
                  </a:lnTo>
                  <a:lnTo>
                    <a:pt x="393" y="45"/>
                  </a:lnTo>
                  <a:lnTo>
                    <a:pt x="388" y="45"/>
                  </a:lnTo>
                  <a:lnTo>
                    <a:pt x="388" y="45"/>
                  </a:lnTo>
                  <a:lnTo>
                    <a:pt x="388" y="47"/>
                  </a:lnTo>
                  <a:lnTo>
                    <a:pt x="388" y="47"/>
                  </a:lnTo>
                  <a:lnTo>
                    <a:pt x="388" y="47"/>
                  </a:lnTo>
                  <a:lnTo>
                    <a:pt x="386" y="47"/>
                  </a:lnTo>
                  <a:lnTo>
                    <a:pt x="386" y="50"/>
                  </a:lnTo>
                  <a:lnTo>
                    <a:pt x="386" y="52"/>
                  </a:lnTo>
                  <a:lnTo>
                    <a:pt x="386" y="52"/>
                  </a:lnTo>
                  <a:lnTo>
                    <a:pt x="383" y="52"/>
                  </a:lnTo>
                  <a:lnTo>
                    <a:pt x="383" y="50"/>
                  </a:lnTo>
                  <a:lnTo>
                    <a:pt x="381" y="50"/>
                  </a:lnTo>
                  <a:lnTo>
                    <a:pt x="381" y="50"/>
                  </a:lnTo>
                  <a:lnTo>
                    <a:pt x="381" y="52"/>
                  </a:lnTo>
                  <a:lnTo>
                    <a:pt x="381" y="55"/>
                  </a:lnTo>
                  <a:lnTo>
                    <a:pt x="379" y="55"/>
                  </a:lnTo>
                  <a:lnTo>
                    <a:pt x="376" y="55"/>
                  </a:lnTo>
                  <a:lnTo>
                    <a:pt x="376" y="55"/>
                  </a:lnTo>
                  <a:lnTo>
                    <a:pt x="374" y="59"/>
                  </a:lnTo>
                  <a:lnTo>
                    <a:pt x="371" y="62"/>
                  </a:lnTo>
                  <a:lnTo>
                    <a:pt x="371" y="64"/>
                  </a:lnTo>
                  <a:lnTo>
                    <a:pt x="369" y="64"/>
                  </a:lnTo>
                  <a:lnTo>
                    <a:pt x="371" y="69"/>
                  </a:lnTo>
                  <a:lnTo>
                    <a:pt x="371" y="71"/>
                  </a:lnTo>
                  <a:lnTo>
                    <a:pt x="369" y="71"/>
                  </a:lnTo>
                  <a:lnTo>
                    <a:pt x="367" y="71"/>
                  </a:lnTo>
                  <a:lnTo>
                    <a:pt x="364" y="74"/>
                  </a:lnTo>
                  <a:lnTo>
                    <a:pt x="364" y="74"/>
                  </a:lnTo>
                  <a:lnTo>
                    <a:pt x="362" y="76"/>
                  </a:lnTo>
                  <a:lnTo>
                    <a:pt x="362" y="78"/>
                  </a:lnTo>
                  <a:lnTo>
                    <a:pt x="362" y="78"/>
                  </a:lnTo>
                  <a:lnTo>
                    <a:pt x="360" y="81"/>
                  </a:lnTo>
                  <a:lnTo>
                    <a:pt x="360" y="83"/>
                  </a:lnTo>
                  <a:lnTo>
                    <a:pt x="357" y="83"/>
                  </a:lnTo>
                  <a:lnTo>
                    <a:pt x="355" y="88"/>
                  </a:lnTo>
                  <a:lnTo>
                    <a:pt x="353" y="92"/>
                  </a:lnTo>
                  <a:lnTo>
                    <a:pt x="355" y="92"/>
                  </a:lnTo>
                  <a:lnTo>
                    <a:pt x="357" y="95"/>
                  </a:lnTo>
                  <a:lnTo>
                    <a:pt x="357" y="95"/>
                  </a:lnTo>
                  <a:lnTo>
                    <a:pt x="357" y="95"/>
                  </a:lnTo>
                  <a:lnTo>
                    <a:pt x="355" y="97"/>
                  </a:lnTo>
                  <a:lnTo>
                    <a:pt x="357" y="97"/>
                  </a:lnTo>
                  <a:lnTo>
                    <a:pt x="357" y="100"/>
                  </a:lnTo>
                  <a:lnTo>
                    <a:pt x="360" y="100"/>
                  </a:lnTo>
                  <a:lnTo>
                    <a:pt x="360" y="100"/>
                  </a:lnTo>
                  <a:lnTo>
                    <a:pt x="357" y="102"/>
                  </a:lnTo>
                  <a:lnTo>
                    <a:pt x="355" y="102"/>
                  </a:lnTo>
                  <a:lnTo>
                    <a:pt x="355" y="102"/>
                  </a:lnTo>
                  <a:lnTo>
                    <a:pt x="355" y="104"/>
                  </a:lnTo>
                  <a:lnTo>
                    <a:pt x="355" y="107"/>
                  </a:lnTo>
                  <a:lnTo>
                    <a:pt x="355" y="107"/>
                  </a:lnTo>
                  <a:lnTo>
                    <a:pt x="355" y="107"/>
                  </a:lnTo>
                  <a:lnTo>
                    <a:pt x="355" y="104"/>
                  </a:lnTo>
                  <a:lnTo>
                    <a:pt x="353" y="102"/>
                  </a:lnTo>
                  <a:lnTo>
                    <a:pt x="350" y="102"/>
                  </a:lnTo>
                  <a:lnTo>
                    <a:pt x="350" y="102"/>
                  </a:lnTo>
                  <a:lnTo>
                    <a:pt x="348" y="102"/>
                  </a:lnTo>
                  <a:lnTo>
                    <a:pt x="348" y="107"/>
                  </a:lnTo>
                  <a:lnTo>
                    <a:pt x="348" y="107"/>
                  </a:lnTo>
                  <a:lnTo>
                    <a:pt x="348" y="107"/>
                  </a:lnTo>
                  <a:lnTo>
                    <a:pt x="348" y="104"/>
                  </a:lnTo>
                  <a:lnTo>
                    <a:pt x="345" y="102"/>
                  </a:lnTo>
                  <a:lnTo>
                    <a:pt x="338" y="100"/>
                  </a:lnTo>
                  <a:lnTo>
                    <a:pt x="336" y="100"/>
                  </a:lnTo>
                  <a:lnTo>
                    <a:pt x="334" y="100"/>
                  </a:lnTo>
                  <a:lnTo>
                    <a:pt x="334" y="100"/>
                  </a:lnTo>
                  <a:lnTo>
                    <a:pt x="334" y="102"/>
                  </a:lnTo>
                  <a:lnTo>
                    <a:pt x="331" y="102"/>
                  </a:lnTo>
                  <a:lnTo>
                    <a:pt x="331" y="102"/>
                  </a:lnTo>
                  <a:lnTo>
                    <a:pt x="329" y="104"/>
                  </a:lnTo>
                  <a:lnTo>
                    <a:pt x="329" y="104"/>
                  </a:lnTo>
                  <a:lnTo>
                    <a:pt x="329" y="107"/>
                  </a:lnTo>
                  <a:lnTo>
                    <a:pt x="329" y="109"/>
                  </a:lnTo>
                  <a:lnTo>
                    <a:pt x="329" y="109"/>
                  </a:lnTo>
                  <a:lnTo>
                    <a:pt x="329" y="111"/>
                  </a:lnTo>
                  <a:lnTo>
                    <a:pt x="329" y="109"/>
                  </a:lnTo>
                  <a:lnTo>
                    <a:pt x="327" y="109"/>
                  </a:lnTo>
                  <a:lnTo>
                    <a:pt x="327" y="111"/>
                  </a:lnTo>
                  <a:lnTo>
                    <a:pt x="327" y="111"/>
                  </a:lnTo>
                  <a:lnTo>
                    <a:pt x="327" y="107"/>
                  </a:lnTo>
                  <a:lnTo>
                    <a:pt x="329" y="102"/>
                  </a:lnTo>
                  <a:lnTo>
                    <a:pt x="329" y="100"/>
                  </a:lnTo>
                  <a:lnTo>
                    <a:pt x="329" y="100"/>
                  </a:lnTo>
                  <a:lnTo>
                    <a:pt x="329" y="97"/>
                  </a:lnTo>
                  <a:lnTo>
                    <a:pt x="324" y="92"/>
                  </a:lnTo>
                  <a:lnTo>
                    <a:pt x="322" y="90"/>
                  </a:lnTo>
                  <a:lnTo>
                    <a:pt x="322" y="88"/>
                  </a:lnTo>
                  <a:lnTo>
                    <a:pt x="319" y="85"/>
                  </a:lnTo>
                  <a:lnTo>
                    <a:pt x="317" y="83"/>
                  </a:lnTo>
                  <a:lnTo>
                    <a:pt x="315" y="81"/>
                  </a:lnTo>
                  <a:lnTo>
                    <a:pt x="312" y="81"/>
                  </a:lnTo>
                  <a:lnTo>
                    <a:pt x="310" y="78"/>
                  </a:lnTo>
                  <a:lnTo>
                    <a:pt x="308" y="78"/>
                  </a:lnTo>
                  <a:lnTo>
                    <a:pt x="305" y="78"/>
                  </a:lnTo>
                  <a:lnTo>
                    <a:pt x="305" y="81"/>
                  </a:lnTo>
                  <a:lnTo>
                    <a:pt x="305" y="83"/>
                  </a:lnTo>
                  <a:lnTo>
                    <a:pt x="303" y="85"/>
                  </a:lnTo>
                  <a:lnTo>
                    <a:pt x="301" y="85"/>
                  </a:lnTo>
                  <a:lnTo>
                    <a:pt x="301" y="85"/>
                  </a:lnTo>
                  <a:lnTo>
                    <a:pt x="298" y="83"/>
                  </a:lnTo>
                  <a:lnTo>
                    <a:pt x="298" y="85"/>
                  </a:lnTo>
                  <a:lnTo>
                    <a:pt x="296" y="85"/>
                  </a:lnTo>
                  <a:lnTo>
                    <a:pt x="296" y="85"/>
                  </a:lnTo>
                  <a:lnTo>
                    <a:pt x="296" y="85"/>
                  </a:lnTo>
                  <a:lnTo>
                    <a:pt x="293" y="83"/>
                  </a:lnTo>
                  <a:lnTo>
                    <a:pt x="293" y="83"/>
                  </a:lnTo>
                  <a:lnTo>
                    <a:pt x="291" y="83"/>
                  </a:lnTo>
                  <a:lnTo>
                    <a:pt x="293" y="85"/>
                  </a:lnTo>
                  <a:lnTo>
                    <a:pt x="293" y="85"/>
                  </a:lnTo>
                  <a:lnTo>
                    <a:pt x="293" y="88"/>
                  </a:lnTo>
                  <a:lnTo>
                    <a:pt x="291" y="88"/>
                  </a:lnTo>
                  <a:lnTo>
                    <a:pt x="291" y="90"/>
                  </a:lnTo>
                  <a:lnTo>
                    <a:pt x="291" y="90"/>
                  </a:lnTo>
                  <a:lnTo>
                    <a:pt x="291" y="92"/>
                  </a:lnTo>
                  <a:lnTo>
                    <a:pt x="289" y="95"/>
                  </a:lnTo>
                  <a:lnTo>
                    <a:pt x="286" y="97"/>
                  </a:lnTo>
                  <a:lnTo>
                    <a:pt x="286" y="95"/>
                  </a:lnTo>
                  <a:lnTo>
                    <a:pt x="286" y="95"/>
                  </a:lnTo>
                  <a:lnTo>
                    <a:pt x="286" y="92"/>
                  </a:lnTo>
                  <a:lnTo>
                    <a:pt x="284" y="92"/>
                  </a:lnTo>
                  <a:lnTo>
                    <a:pt x="284" y="95"/>
                  </a:lnTo>
                  <a:lnTo>
                    <a:pt x="284" y="95"/>
                  </a:lnTo>
                  <a:lnTo>
                    <a:pt x="284" y="95"/>
                  </a:lnTo>
                  <a:lnTo>
                    <a:pt x="284" y="92"/>
                  </a:lnTo>
                  <a:lnTo>
                    <a:pt x="284" y="90"/>
                  </a:lnTo>
                  <a:lnTo>
                    <a:pt x="284" y="90"/>
                  </a:lnTo>
                  <a:lnTo>
                    <a:pt x="284" y="88"/>
                  </a:lnTo>
                  <a:lnTo>
                    <a:pt x="284" y="90"/>
                  </a:lnTo>
                  <a:lnTo>
                    <a:pt x="284" y="90"/>
                  </a:lnTo>
                  <a:lnTo>
                    <a:pt x="282" y="92"/>
                  </a:lnTo>
                  <a:lnTo>
                    <a:pt x="282" y="95"/>
                  </a:lnTo>
                  <a:lnTo>
                    <a:pt x="279" y="95"/>
                  </a:lnTo>
                  <a:lnTo>
                    <a:pt x="277" y="95"/>
                  </a:lnTo>
                  <a:lnTo>
                    <a:pt x="277" y="95"/>
                  </a:lnTo>
                  <a:lnTo>
                    <a:pt x="277" y="97"/>
                  </a:lnTo>
                  <a:lnTo>
                    <a:pt x="274" y="97"/>
                  </a:lnTo>
                  <a:lnTo>
                    <a:pt x="274" y="100"/>
                  </a:lnTo>
                  <a:lnTo>
                    <a:pt x="274" y="102"/>
                  </a:lnTo>
                  <a:lnTo>
                    <a:pt x="274" y="102"/>
                  </a:lnTo>
                  <a:lnTo>
                    <a:pt x="277" y="104"/>
                  </a:lnTo>
                  <a:lnTo>
                    <a:pt x="277" y="107"/>
                  </a:lnTo>
                  <a:lnTo>
                    <a:pt x="277" y="107"/>
                  </a:lnTo>
                  <a:lnTo>
                    <a:pt x="274" y="107"/>
                  </a:lnTo>
                  <a:lnTo>
                    <a:pt x="272" y="104"/>
                  </a:lnTo>
                  <a:lnTo>
                    <a:pt x="272" y="104"/>
                  </a:lnTo>
                  <a:lnTo>
                    <a:pt x="270" y="104"/>
                  </a:lnTo>
                  <a:lnTo>
                    <a:pt x="270" y="104"/>
                  </a:lnTo>
                  <a:lnTo>
                    <a:pt x="270" y="107"/>
                  </a:lnTo>
                  <a:lnTo>
                    <a:pt x="270" y="107"/>
                  </a:lnTo>
                  <a:lnTo>
                    <a:pt x="267" y="107"/>
                  </a:lnTo>
                  <a:lnTo>
                    <a:pt x="267" y="107"/>
                  </a:lnTo>
                  <a:lnTo>
                    <a:pt x="267" y="109"/>
                  </a:lnTo>
                  <a:lnTo>
                    <a:pt x="267" y="109"/>
                  </a:lnTo>
                  <a:lnTo>
                    <a:pt x="267" y="111"/>
                  </a:lnTo>
                  <a:lnTo>
                    <a:pt x="270" y="111"/>
                  </a:lnTo>
                  <a:lnTo>
                    <a:pt x="270" y="111"/>
                  </a:lnTo>
                  <a:lnTo>
                    <a:pt x="270" y="111"/>
                  </a:lnTo>
                  <a:lnTo>
                    <a:pt x="270" y="114"/>
                  </a:lnTo>
                  <a:lnTo>
                    <a:pt x="270" y="114"/>
                  </a:lnTo>
                  <a:lnTo>
                    <a:pt x="267" y="114"/>
                  </a:lnTo>
                  <a:lnTo>
                    <a:pt x="265" y="111"/>
                  </a:lnTo>
                  <a:lnTo>
                    <a:pt x="263" y="109"/>
                  </a:lnTo>
                  <a:lnTo>
                    <a:pt x="263" y="111"/>
                  </a:lnTo>
                  <a:lnTo>
                    <a:pt x="263" y="111"/>
                  </a:lnTo>
                  <a:lnTo>
                    <a:pt x="263" y="114"/>
                  </a:lnTo>
                  <a:lnTo>
                    <a:pt x="260" y="114"/>
                  </a:lnTo>
                  <a:lnTo>
                    <a:pt x="260" y="114"/>
                  </a:lnTo>
                  <a:lnTo>
                    <a:pt x="258" y="114"/>
                  </a:lnTo>
                  <a:lnTo>
                    <a:pt x="258" y="119"/>
                  </a:lnTo>
                  <a:lnTo>
                    <a:pt x="256" y="121"/>
                  </a:lnTo>
                  <a:lnTo>
                    <a:pt x="258" y="123"/>
                  </a:lnTo>
                  <a:lnTo>
                    <a:pt x="258" y="126"/>
                  </a:lnTo>
                  <a:lnTo>
                    <a:pt x="260" y="121"/>
                  </a:lnTo>
                  <a:lnTo>
                    <a:pt x="260" y="121"/>
                  </a:lnTo>
                  <a:lnTo>
                    <a:pt x="260" y="123"/>
                  </a:lnTo>
                  <a:lnTo>
                    <a:pt x="260" y="123"/>
                  </a:lnTo>
                  <a:lnTo>
                    <a:pt x="260" y="126"/>
                  </a:lnTo>
                  <a:lnTo>
                    <a:pt x="258" y="128"/>
                  </a:lnTo>
                  <a:lnTo>
                    <a:pt x="258" y="128"/>
                  </a:lnTo>
                  <a:lnTo>
                    <a:pt x="256" y="128"/>
                  </a:lnTo>
                  <a:lnTo>
                    <a:pt x="256" y="128"/>
                  </a:lnTo>
                  <a:lnTo>
                    <a:pt x="256" y="130"/>
                  </a:lnTo>
                  <a:lnTo>
                    <a:pt x="256" y="133"/>
                  </a:lnTo>
                  <a:lnTo>
                    <a:pt x="256" y="133"/>
                  </a:lnTo>
                  <a:lnTo>
                    <a:pt x="258" y="133"/>
                  </a:lnTo>
                  <a:lnTo>
                    <a:pt x="260" y="133"/>
                  </a:lnTo>
                  <a:lnTo>
                    <a:pt x="260" y="133"/>
                  </a:lnTo>
                  <a:lnTo>
                    <a:pt x="260" y="133"/>
                  </a:lnTo>
                  <a:lnTo>
                    <a:pt x="260" y="133"/>
                  </a:lnTo>
                  <a:lnTo>
                    <a:pt x="258" y="133"/>
                  </a:lnTo>
                  <a:lnTo>
                    <a:pt x="256" y="133"/>
                  </a:lnTo>
                  <a:lnTo>
                    <a:pt x="253" y="133"/>
                  </a:lnTo>
                  <a:lnTo>
                    <a:pt x="251" y="133"/>
                  </a:lnTo>
                  <a:lnTo>
                    <a:pt x="251" y="130"/>
                  </a:lnTo>
                  <a:lnTo>
                    <a:pt x="248" y="130"/>
                  </a:lnTo>
                  <a:lnTo>
                    <a:pt x="246" y="130"/>
                  </a:lnTo>
                  <a:lnTo>
                    <a:pt x="246" y="133"/>
                  </a:lnTo>
                  <a:lnTo>
                    <a:pt x="244" y="133"/>
                  </a:lnTo>
                  <a:lnTo>
                    <a:pt x="244" y="130"/>
                  </a:lnTo>
                  <a:lnTo>
                    <a:pt x="241" y="128"/>
                  </a:lnTo>
                  <a:lnTo>
                    <a:pt x="241" y="130"/>
                  </a:lnTo>
                  <a:lnTo>
                    <a:pt x="241" y="133"/>
                  </a:lnTo>
                  <a:lnTo>
                    <a:pt x="241" y="135"/>
                  </a:lnTo>
                  <a:lnTo>
                    <a:pt x="239" y="135"/>
                  </a:lnTo>
                  <a:lnTo>
                    <a:pt x="239" y="135"/>
                  </a:lnTo>
                  <a:lnTo>
                    <a:pt x="237" y="135"/>
                  </a:lnTo>
                  <a:lnTo>
                    <a:pt x="239" y="137"/>
                  </a:lnTo>
                  <a:lnTo>
                    <a:pt x="239" y="140"/>
                  </a:lnTo>
                  <a:lnTo>
                    <a:pt x="241" y="140"/>
                  </a:lnTo>
                  <a:lnTo>
                    <a:pt x="241" y="142"/>
                  </a:lnTo>
                  <a:lnTo>
                    <a:pt x="241" y="145"/>
                  </a:lnTo>
                  <a:lnTo>
                    <a:pt x="244" y="145"/>
                  </a:lnTo>
                  <a:lnTo>
                    <a:pt x="244" y="145"/>
                  </a:lnTo>
                  <a:lnTo>
                    <a:pt x="241" y="147"/>
                  </a:lnTo>
                  <a:lnTo>
                    <a:pt x="241" y="149"/>
                  </a:lnTo>
                  <a:lnTo>
                    <a:pt x="241" y="149"/>
                  </a:lnTo>
                  <a:lnTo>
                    <a:pt x="241" y="149"/>
                  </a:lnTo>
                  <a:lnTo>
                    <a:pt x="239" y="147"/>
                  </a:lnTo>
                  <a:lnTo>
                    <a:pt x="239" y="147"/>
                  </a:lnTo>
                  <a:lnTo>
                    <a:pt x="237" y="147"/>
                  </a:lnTo>
                  <a:lnTo>
                    <a:pt x="237" y="149"/>
                  </a:lnTo>
                  <a:lnTo>
                    <a:pt x="237" y="152"/>
                  </a:lnTo>
                  <a:lnTo>
                    <a:pt x="237" y="156"/>
                  </a:lnTo>
                  <a:lnTo>
                    <a:pt x="237" y="156"/>
                  </a:lnTo>
                  <a:lnTo>
                    <a:pt x="237" y="156"/>
                  </a:lnTo>
                  <a:lnTo>
                    <a:pt x="234" y="156"/>
                  </a:lnTo>
                  <a:lnTo>
                    <a:pt x="234" y="154"/>
                  </a:lnTo>
                  <a:lnTo>
                    <a:pt x="232" y="152"/>
                  </a:lnTo>
                  <a:lnTo>
                    <a:pt x="232" y="147"/>
                  </a:lnTo>
                  <a:lnTo>
                    <a:pt x="230" y="145"/>
                  </a:lnTo>
                  <a:lnTo>
                    <a:pt x="230" y="140"/>
                  </a:lnTo>
                  <a:lnTo>
                    <a:pt x="227" y="135"/>
                  </a:lnTo>
                  <a:lnTo>
                    <a:pt x="227" y="135"/>
                  </a:lnTo>
                  <a:lnTo>
                    <a:pt x="225" y="137"/>
                  </a:lnTo>
                  <a:lnTo>
                    <a:pt x="222" y="140"/>
                  </a:lnTo>
                  <a:lnTo>
                    <a:pt x="222" y="142"/>
                  </a:lnTo>
                  <a:lnTo>
                    <a:pt x="220" y="145"/>
                  </a:lnTo>
                  <a:lnTo>
                    <a:pt x="218" y="145"/>
                  </a:lnTo>
                  <a:lnTo>
                    <a:pt x="215" y="147"/>
                  </a:lnTo>
                  <a:lnTo>
                    <a:pt x="215" y="147"/>
                  </a:lnTo>
                  <a:lnTo>
                    <a:pt x="213" y="149"/>
                  </a:lnTo>
                  <a:lnTo>
                    <a:pt x="211" y="154"/>
                  </a:lnTo>
                  <a:lnTo>
                    <a:pt x="211" y="156"/>
                  </a:lnTo>
                  <a:lnTo>
                    <a:pt x="208" y="159"/>
                  </a:lnTo>
                  <a:lnTo>
                    <a:pt x="211" y="161"/>
                  </a:lnTo>
                  <a:lnTo>
                    <a:pt x="211" y="166"/>
                  </a:lnTo>
                  <a:lnTo>
                    <a:pt x="211" y="168"/>
                  </a:lnTo>
                  <a:lnTo>
                    <a:pt x="211" y="168"/>
                  </a:lnTo>
                  <a:lnTo>
                    <a:pt x="211" y="171"/>
                  </a:lnTo>
                  <a:lnTo>
                    <a:pt x="211" y="171"/>
                  </a:lnTo>
                  <a:lnTo>
                    <a:pt x="204" y="175"/>
                  </a:lnTo>
                  <a:lnTo>
                    <a:pt x="201" y="178"/>
                  </a:lnTo>
                  <a:lnTo>
                    <a:pt x="199" y="180"/>
                  </a:lnTo>
                  <a:lnTo>
                    <a:pt x="199" y="182"/>
                  </a:lnTo>
                  <a:lnTo>
                    <a:pt x="196" y="185"/>
                  </a:lnTo>
                  <a:lnTo>
                    <a:pt x="194" y="187"/>
                  </a:lnTo>
                  <a:lnTo>
                    <a:pt x="192" y="192"/>
                  </a:lnTo>
                  <a:lnTo>
                    <a:pt x="189" y="197"/>
                  </a:lnTo>
                  <a:lnTo>
                    <a:pt x="185" y="199"/>
                  </a:lnTo>
                  <a:lnTo>
                    <a:pt x="182" y="201"/>
                  </a:lnTo>
                  <a:lnTo>
                    <a:pt x="180" y="204"/>
                  </a:lnTo>
                  <a:lnTo>
                    <a:pt x="170" y="206"/>
                  </a:lnTo>
                  <a:lnTo>
                    <a:pt x="166" y="208"/>
                  </a:lnTo>
                  <a:lnTo>
                    <a:pt x="159" y="208"/>
                  </a:lnTo>
                  <a:lnTo>
                    <a:pt x="154" y="211"/>
                  </a:lnTo>
                  <a:lnTo>
                    <a:pt x="149" y="211"/>
                  </a:lnTo>
                  <a:lnTo>
                    <a:pt x="144" y="211"/>
                  </a:lnTo>
                  <a:lnTo>
                    <a:pt x="137" y="216"/>
                  </a:lnTo>
                  <a:lnTo>
                    <a:pt x="133" y="218"/>
                  </a:lnTo>
                  <a:lnTo>
                    <a:pt x="128" y="218"/>
                  </a:lnTo>
                  <a:lnTo>
                    <a:pt x="125" y="218"/>
                  </a:lnTo>
                  <a:lnTo>
                    <a:pt x="121" y="223"/>
                  </a:lnTo>
                  <a:lnTo>
                    <a:pt x="116" y="223"/>
                  </a:lnTo>
                  <a:lnTo>
                    <a:pt x="111" y="225"/>
                  </a:lnTo>
                  <a:lnTo>
                    <a:pt x="109" y="225"/>
                  </a:lnTo>
                  <a:lnTo>
                    <a:pt x="107" y="223"/>
                  </a:lnTo>
                  <a:lnTo>
                    <a:pt x="104" y="223"/>
                  </a:lnTo>
                  <a:lnTo>
                    <a:pt x="102" y="223"/>
                  </a:lnTo>
                  <a:lnTo>
                    <a:pt x="99" y="223"/>
                  </a:lnTo>
                  <a:lnTo>
                    <a:pt x="97" y="225"/>
                  </a:lnTo>
                  <a:lnTo>
                    <a:pt x="85" y="232"/>
                  </a:lnTo>
                  <a:lnTo>
                    <a:pt x="83" y="235"/>
                  </a:lnTo>
                  <a:lnTo>
                    <a:pt x="81" y="237"/>
                  </a:lnTo>
                  <a:lnTo>
                    <a:pt x="76" y="239"/>
                  </a:lnTo>
                  <a:lnTo>
                    <a:pt x="73" y="242"/>
                  </a:lnTo>
                  <a:lnTo>
                    <a:pt x="69" y="244"/>
                  </a:lnTo>
                  <a:lnTo>
                    <a:pt x="62" y="246"/>
                  </a:lnTo>
                  <a:lnTo>
                    <a:pt x="59" y="249"/>
                  </a:lnTo>
                  <a:lnTo>
                    <a:pt x="57" y="251"/>
                  </a:lnTo>
                  <a:lnTo>
                    <a:pt x="52" y="258"/>
                  </a:lnTo>
                  <a:lnTo>
                    <a:pt x="50" y="258"/>
                  </a:lnTo>
                  <a:lnTo>
                    <a:pt x="50" y="261"/>
                  </a:lnTo>
                  <a:lnTo>
                    <a:pt x="47" y="263"/>
                  </a:lnTo>
                  <a:lnTo>
                    <a:pt x="45" y="263"/>
                  </a:lnTo>
                  <a:lnTo>
                    <a:pt x="47" y="258"/>
                  </a:lnTo>
                  <a:lnTo>
                    <a:pt x="47" y="256"/>
                  </a:lnTo>
                  <a:lnTo>
                    <a:pt x="47" y="251"/>
                  </a:lnTo>
                  <a:lnTo>
                    <a:pt x="47" y="249"/>
                  </a:lnTo>
                  <a:lnTo>
                    <a:pt x="45" y="249"/>
                  </a:lnTo>
                  <a:lnTo>
                    <a:pt x="45" y="251"/>
                  </a:lnTo>
                  <a:lnTo>
                    <a:pt x="40" y="258"/>
                  </a:lnTo>
                  <a:lnTo>
                    <a:pt x="38" y="265"/>
                  </a:lnTo>
                  <a:lnTo>
                    <a:pt x="38" y="270"/>
                  </a:lnTo>
                  <a:lnTo>
                    <a:pt x="38" y="272"/>
                  </a:lnTo>
                  <a:lnTo>
                    <a:pt x="38" y="275"/>
                  </a:lnTo>
                  <a:lnTo>
                    <a:pt x="36" y="277"/>
                  </a:lnTo>
                  <a:lnTo>
                    <a:pt x="36" y="280"/>
                  </a:lnTo>
                  <a:lnTo>
                    <a:pt x="36" y="282"/>
                  </a:lnTo>
                  <a:lnTo>
                    <a:pt x="31" y="289"/>
                  </a:lnTo>
                  <a:lnTo>
                    <a:pt x="28" y="291"/>
                  </a:lnTo>
                  <a:lnTo>
                    <a:pt x="26" y="296"/>
                  </a:lnTo>
                  <a:lnTo>
                    <a:pt x="26" y="301"/>
                  </a:lnTo>
                  <a:lnTo>
                    <a:pt x="26" y="303"/>
                  </a:lnTo>
                  <a:lnTo>
                    <a:pt x="26" y="308"/>
                  </a:lnTo>
                  <a:lnTo>
                    <a:pt x="28" y="308"/>
                  </a:lnTo>
                  <a:lnTo>
                    <a:pt x="28" y="315"/>
                  </a:lnTo>
                  <a:lnTo>
                    <a:pt x="28" y="320"/>
                  </a:lnTo>
                  <a:lnTo>
                    <a:pt x="31" y="327"/>
                  </a:lnTo>
                  <a:lnTo>
                    <a:pt x="33" y="334"/>
                  </a:lnTo>
                  <a:lnTo>
                    <a:pt x="33" y="336"/>
                  </a:lnTo>
                  <a:lnTo>
                    <a:pt x="33" y="339"/>
                  </a:lnTo>
                  <a:lnTo>
                    <a:pt x="33" y="343"/>
                  </a:lnTo>
                  <a:lnTo>
                    <a:pt x="31" y="343"/>
                  </a:lnTo>
                  <a:lnTo>
                    <a:pt x="28" y="346"/>
                  </a:lnTo>
                  <a:lnTo>
                    <a:pt x="28" y="343"/>
                  </a:lnTo>
                  <a:lnTo>
                    <a:pt x="28" y="341"/>
                  </a:lnTo>
                  <a:lnTo>
                    <a:pt x="28" y="336"/>
                  </a:lnTo>
                  <a:lnTo>
                    <a:pt x="26" y="336"/>
                  </a:lnTo>
                  <a:lnTo>
                    <a:pt x="26" y="339"/>
                  </a:lnTo>
                  <a:lnTo>
                    <a:pt x="24" y="341"/>
                  </a:lnTo>
                  <a:lnTo>
                    <a:pt x="24" y="339"/>
                  </a:lnTo>
                  <a:lnTo>
                    <a:pt x="24" y="339"/>
                  </a:lnTo>
                  <a:lnTo>
                    <a:pt x="24" y="339"/>
                  </a:lnTo>
                  <a:lnTo>
                    <a:pt x="24" y="336"/>
                  </a:lnTo>
                  <a:lnTo>
                    <a:pt x="26" y="334"/>
                  </a:lnTo>
                  <a:lnTo>
                    <a:pt x="24" y="332"/>
                  </a:lnTo>
                  <a:lnTo>
                    <a:pt x="24" y="329"/>
                  </a:lnTo>
                  <a:lnTo>
                    <a:pt x="21" y="329"/>
                  </a:lnTo>
                  <a:lnTo>
                    <a:pt x="21" y="329"/>
                  </a:lnTo>
                  <a:lnTo>
                    <a:pt x="19" y="332"/>
                  </a:lnTo>
                  <a:lnTo>
                    <a:pt x="21" y="334"/>
                  </a:lnTo>
                  <a:lnTo>
                    <a:pt x="21" y="339"/>
                  </a:lnTo>
                  <a:lnTo>
                    <a:pt x="24" y="341"/>
                  </a:lnTo>
                  <a:lnTo>
                    <a:pt x="24" y="341"/>
                  </a:lnTo>
                  <a:lnTo>
                    <a:pt x="26" y="343"/>
                  </a:lnTo>
                  <a:lnTo>
                    <a:pt x="24" y="348"/>
                  </a:lnTo>
                  <a:lnTo>
                    <a:pt x="24" y="348"/>
                  </a:lnTo>
                  <a:lnTo>
                    <a:pt x="21" y="348"/>
                  </a:lnTo>
                  <a:lnTo>
                    <a:pt x="19" y="348"/>
                  </a:lnTo>
                  <a:lnTo>
                    <a:pt x="19" y="346"/>
                  </a:lnTo>
                  <a:lnTo>
                    <a:pt x="19" y="341"/>
                  </a:lnTo>
                  <a:lnTo>
                    <a:pt x="19" y="339"/>
                  </a:lnTo>
                  <a:lnTo>
                    <a:pt x="17" y="339"/>
                  </a:lnTo>
                  <a:lnTo>
                    <a:pt x="17" y="339"/>
                  </a:lnTo>
                  <a:lnTo>
                    <a:pt x="17" y="341"/>
                  </a:lnTo>
                  <a:lnTo>
                    <a:pt x="17" y="341"/>
                  </a:lnTo>
                  <a:lnTo>
                    <a:pt x="17" y="341"/>
                  </a:lnTo>
                  <a:lnTo>
                    <a:pt x="14" y="341"/>
                  </a:lnTo>
                  <a:lnTo>
                    <a:pt x="14" y="341"/>
                  </a:lnTo>
                  <a:lnTo>
                    <a:pt x="14" y="341"/>
                  </a:lnTo>
                  <a:lnTo>
                    <a:pt x="14" y="341"/>
                  </a:lnTo>
                  <a:lnTo>
                    <a:pt x="17" y="346"/>
                  </a:lnTo>
                  <a:lnTo>
                    <a:pt x="21" y="355"/>
                  </a:lnTo>
                  <a:lnTo>
                    <a:pt x="24" y="365"/>
                  </a:lnTo>
                  <a:lnTo>
                    <a:pt x="24" y="369"/>
                  </a:lnTo>
                  <a:lnTo>
                    <a:pt x="24" y="379"/>
                  </a:lnTo>
                  <a:lnTo>
                    <a:pt x="24" y="381"/>
                  </a:lnTo>
                  <a:lnTo>
                    <a:pt x="24" y="386"/>
                  </a:lnTo>
                  <a:lnTo>
                    <a:pt x="26" y="391"/>
                  </a:lnTo>
                  <a:lnTo>
                    <a:pt x="26" y="393"/>
                  </a:lnTo>
                  <a:lnTo>
                    <a:pt x="26" y="396"/>
                  </a:lnTo>
                  <a:lnTo>
                    <a:pt x="26" y="398"/>
                  </a:lnTo>
                  <a:lnTo>
                    <a:pt x="28" y="403"/>
                  </a:lnTo>
                  <a:lnTo>
                    <a:pt x="28" y="410"/>
                  </a:lnTo>
                  <a:lnTo>
                    <a:pt x="28" y="412"/>
                  </a:lnTo>
                  <a:lnTo>
                    <a:pt x="28" y="414"/>
                  </a:lnTo>
                  <a:lnTo>
                    <a:pt x="26" y="422"/>
                  </a:lnTo>
                  <a:lnTo>
                    <a:pt x="26" y="426"/>
                  </a:lnTo>
                  <a:lnTo>
                    <a:pt x="26" y="433"/>
                  </a:lnTo>
                  <a:lnTo>
                    <a:pt x="26" y="438"/>
                  </a:lnTo>
                  <a:lnTo>
                    <a:pt x="26" y="441"/>
                  </a:lnTo>
                  <a:lnTo>
                    <a:pt x="26" y="448"/>
                  </a:lnTo>
                  <a:lnTo>
                    <a:pt x="28" y="457"/>
                  </a:lnTo>
                  <a:lnTo>
                    <a:pt x="28" y="462"/>
                  </a:lnTo>
                  <a:lnTo>
                    <a:pt x="24" y="471"/>
                  </a:lnTo>
                  <a:lnTo>
                    <a:pt x="24" y="476"/>
                  </a:lnTo>
                  <a:lnTo>
                    <a:pt x="21" y="476"/>
                  </a:lnTo>
                  <a:lnTo>
                    <a:pt x="21" y="478"/>
                  </a:lnTo>
                  <a:lnTo>
                    <a:pt x="19" y="486"/>
                  </a:lnTo>
                  <a:lnTo>
                    <a:pt x="19" y="488"/>
                  </a:lnTo>
                  <a:lnTo>
                    <a:pt x="17" y="493"/>
                  </a:lnTo>
                  <a:lnTo>
                    <a:pt x="14" y="495"/>
                  </a:lnTo>
                  <a:lnTo>
                    <a:pt x="10" y="497"/>
                  </a:lnTo>
                  <a:lnTo>
                    <a:pt x="7" y="497"/>
                  </a:lnTo>
                  <a:lnTo>
                    <a:pt x="5" y="497"/>
                  </a:lnTo>
                  <a:lnTo>
                    <a:pt x="5" y="495"/>
                  </a:lnTo>
                  <a:lnTo>
                    <a:pt x="2" y="502"/>
                  </a:lnTo>
                  <a:lnTo>
                    <a:pt x="0" y="507"/>
                  </a:lnTo>
                  <a:lnTo>
                    <a:pt x="0" y="509"/>
                  </a:lnTo>
                  <a:lnTo>
                    <a:pt x="0" y="512"/>
                  </a:lnTo>
                  <a:lnTo>
                    <a:pt x="0" y="514"/>
                  </a:lnTo>
                  <a:lnTo>
                    <a:pt x="2" y="512"/>
                  </a:lnTo>
                  <a:lnTo>
                    <a:pt x="2" y="512"/>
                  </a:lnTo>
                  <a:lnTo>
                    <a:pt x="7" y="514"/>
                  </a:lnTo>
                  <a:lnTo>
                    <a:pt x="10" y="516"/>
                  </a:lnTo>
                  <a:lnTo>
                    <a:pt x="12" y="523"/>
                  </a:lnTo>
                  <a:lnTo>
                    <a:pt x="17" y="523"/>
                  </a:lnTo>
                  <a:lnTo>
                    <a:pt x="19" y="526"/>
                  </a:lnTo>
                  <a:lnTo>
                    <a:pt x="26" y="528"/>
                  </a:lnTo>
                  <a:lnTo>
                    <a:pt x="31" y="528"/>
                  </a:lnTo>
                  <a:lnTo>
                    <a:pt x="38" y="528"/>
                  </a:lnTo>
                  <a:lnTo>
                    <a:pt x="40" y="528"/>
                  </a:lnTo>
                  <a:lnTo>
                    <a:pt x="43" y="528"/>
                  </a:lnTo>
                  <a:lnTo>
                    <a:pt x="45" y="528"/>
                  </a:lnTo>
                  <a:lnTo>
                    <a:pt x="50" y="526"/>
                  </a:lnTo>
                  <a:lnTo>
                    <a:pt x="57" y="521"/>
                  </a:lnTo>
                  <a:lnTo>
                    <a:pt x="66" y="516"/>
                  </a:lnTo>
                  <a:lnTo>
                    <a:pt x="69" y="516"/>
                  </a:lnTo>
                  <a:lnTo>
                    <a:pt x="73" y="516"/>
                  </a:lnTo>
                  <a:lnTo>
                    <a:pt x="76" y="514"/>
                  </a:lnTo>
                  <a:lnTo>
                    <a:pt x="83" y="507"/>
                  </a:lnTo>
                  <a:lnTo>
                    <a:pt x="83" y="507"/>
                  </a:lnTo>
                  <a:lnTo>
                    <a:pt x="88" y="504"/>
                  </a:lnTo>
                  <a:lnTo>
                    <a:pt x="92" y="504"/>
                  </a:lnTo>
                  <a:lnTo>
                    <a:pt x="97" y="504"/>
                  </a:lnTo>
                  <a:lnTo>
                    <a:pt x="99" y="504"/>
                  </a:lnTo>
                  <a:lnTo>
                    <a:pt x="104" y="502"/>
                  </a:lnTo>
                  <a:lnTo>
                    <a:pt x="116" y="502"/>
                  </a:lnTo>
                  <a:lnTo>
                    <a:pt x="121" y="502"/>
                  </a:lnTo>
                  <a:lnTo>
                    <a:pt x="125" y="502"/>
                  </a:lnTo>
                  <a:lnTo>
                    <a:pt x="125" y="502"/>
                  </a:lnTo>
                  <a:lnTo>
                    <a:pt x="128" y="504"/>
                  </a:lnTo>
                  <a:lnTo>
                    <a:pt x="140" y="504"/>
                  </a:lnTo>
                  <a:lnTo>
                    <a:pt x="142" y="502"/>
                  </a:lnTo>
                  <a:lnTo>
                    <a:pt x="144" y="504"/>
                  </a:lnTo>
                  <a:lnTo>
                    <a:pt x="147" y="504"/>
                  </a:lnTo>
                  <a:lnTo>
                    <a:pt x="149" y="504"/>
                  </a:lnTo>
                  <a:lnTo>
                    <a:pt x="151" y="504"/>
                  </a:lnTo>
                  <a:lnTo>
                    <a:pt x="154" y="502"/>
                  </a:lnTo>
                  <a:lnTo>
                    <a:pt x="161" y="497"/>
                  </a:lnTo>
                  <a:lnTo>
                    <a:pt x="163" y="495"/>
                  </a:lnTo>
                  <a:lnTo>
                    <a:pt x="168" y="488"/>
                  </a:lnTo>
                  <a:lnTo>
                    <a:pt x="170" y="486"/>
                  </a:lnTo>
                  <a:lnTo>
                    <a:pt x="175" y="483"/>
                  </a:lnTo>
                  <a:lnTo>
                    <a:pt x="177" y="483"/>
                  </a:lnTo>
                  <a:lnTo>
                    <a:pt x="182" y="483"/>
                  </a:lnTo>
                  <a:lnTo>
                    <a:pt x="192" y="476"/>
                  </a:lnTo>
                  <a:lnTo>
                    <a:pt x="196" y="476"/>
                  </a:lnTo>
                  <a:lnTo>
                    <a:pt x="199" y="474"/>
                  </a:lnTo>
                  <a:lnTo>
                    <a:pt x="206" y="469"/>
                  </a:lnTo>
                  <a:lnTo>
                    <a:pt x="211" y="469"/>
                  </a:lnTo>
                  <a:lnTo>
                    <a:pt x="222" y="469"/>
                  </a:lnTo>
                  <a:lnTo>
                    <a:pt x="227" y="469"/>
                  </a:lnTo>
                  <a:lnTo>
                    <a:pt x="232" y="469"/>
                  </a:lnTo>
                  <a:lnTo>
                    <a:pt x="239" y="467"/>
                  </a:lnTo>
                  <a:lnTo>
                    <a:pt x="246" y="464"/>
                  </a:lnTo>
                  <a:lnTo>
                    <a:pt x="256" y="462"/>
                  </a:lnTo>
                  <a:lnTo>
                    <a:pt x="265" y="457"/>
                  </a:lnTo>
                  <a:lnTo>
                    <a:pt x="270" y="457"/>
                  </a:lnTo>
                  <a:lnTo>
                    <a:pt x="277" y="455"/>
                  </a:lnTo>
                  <a:lnTo>
                    <a:pt x="286" y="455"/>
                  </a:lnTo>
                  <a:lnTo>
                    <a:pt x="298" y="455"/>
                  </a:lnTo>
                  <a:lnTo>
                    <a:pt x="301" y="455"/>
                  </a:lnTo>
                  <a:lnTo>
                    <a:pt x="303" y="452"/>
                  </a:lnTo>
                  <a:lnTo>
                    <a:pt x="305" y="452"/>
                  </a:lnTo>
                  <a:lnTo>
                    <a:pt x="308" y="452"/>
                  </a:lnTo>
                  <a:lnTo>
                    <a:pt x="310" y="455"/>
                  </a:lnTo>
                  <a:lnTo>
                    <a:pt x="315" y="457"/>
                  </a:lnTo>
                  <a:lnTo>
                    <a:pt x="322" y="464"/>
                  </a:lnTo>
                  <a:lnTo>
                    <a:pt x="322" y="464"/>
                  </a:lnTo>
                  <a:lnTo>
                    <a:pt x="329" y="462"/>
                  </a:lnTo>
                  <a:lnTo>
                    <a:pt x="331" y="462"/>
                  </a:lnTo>
                  <a:lnTo>
                    <a:pt x="336" y="467"/>
                  </a:lnTo>
                  <a:lnTo>
                    <a:pt x="341" y="467"/>
                  </a:lnTo>
                  <a:lnTo>
                    <a:pt x="343" y="467"/>
                  </a:lnTo>
                  <a:lnTo>
                    <a:pt x="345" y="469"/>
                  </a:lnTo>
                  <a:lnTo>
                    <a:pt x="345" y="469"/>
                  </a:lnTo>
                  <a:lnTo>
                    <a:pt x="348" y="471"/>
                  </a:lnTo>
                  <a:lnTo>
                    <a:pt x="353" y="476"/>
                  </a:lnTo>
                  <a:lnTo>
                    <a:pt x="353" y="478"/>
                  </a:lnTo>
                  <a:lnTo>
                    <a:pt x="350" y="478"/>
                  </a:lnTo>
                  <a:lnTo>
                    <a:pt x="350" y="478"/>
                  </a:lnTo>
                  <a:lnTo>
                    <a:pt x="348" y="478"/>
                  </a:lnTo>
                  <a:lnTo>
                    <a:pt x="348" y="483"/>
                  </a:lnTo>
                  <a:lnTo>
                    <a:pt x="348" y="488"/>
                  </a:lnTo>
                  <a:lnTo>
                    <a:pt x="355" y="488"/>
                  </a:lnTo>
                  <a:lnTo>
                    <a:pt x="355" y="490"/>
                  </a:lnTo>
                  <a:lnTo>
                    <a:pt x="355" y="493"/>
                  </a:lnTo>
                  <a:lnTo>
                    <a:pt x="355" y="495"/>
                  </a:lnTo>
                  <a:lnTo>
                    <a:pt x="355" y="497"/>
                  </a:lnTo>
                  <a:lnTo>
                    <a:pt x="357" y="502"/>
                  </a:lnTo>
                  <a:lnTo>
                    <a:pt x="357" y="504"/>
                  </a:lnTo>
                  <a:lnTo>
                    <a:pt x="357" y="504"/>
                  </a:lnTo>
                  <a:lnTo>
                    <a:pt x="357" y="509"/>
                  </a:lnTo>
                  <a:lnTo>
                    <a:pt x="357" y="509"/>
                  </a:lnTo>
                  <a:lnTo>
                    <a:pt x="357" y="514"/>
                  </a:lnTo>
                  <a:lnTo>
                    <a:pt x="357" y="519"/>
                  </a:lnTo>
                  <a:lnTo>
                    <a:pt x="357" y="519"/>
                  </a:lnTo>
                  <a:lnTo>
                    <a:pt x="355" y="519"/>
                  </a:lnTo>
                  <a:lnTo>
                    <a:pt x="355" y="516"/>
                  </a:lnTo>
                  <a:lnTo>
                    <a:pt x="353" y="516"/>
                  </a:lnTo>
                  <a:lnTo>
                    <a:pt x="353" y="516"/>
                  </a:lnTo>
                  <a:lnTo>
                    <a:pt x="353" y="516"/>
                  </a:lnTo>
                  <a:lnTo>
                    <a:pt x="350" y="519"/>
                  </a:lnTo>
                  <a:lnTo>
                    <a:pt x="353" y="519"/>
                  </a:lnTo>
                  <a:lnTo>
                    <a:pt x="353" y="519"/>
                  </a:lnTo>
                  <a:lnTo>
                    <a:pt x="355" y="519"/>
                  </a:lnTo>
                  <a:lnTo>
                    <a:pt x="355" y="521"/>
                  </a:lnTo>
                  <a:lnTo>
                    <a:pt x="355" y="521"/>
                  </a:lnTo>
                  <a:lnTo>
                    <a:pt x="357" y="526"/>
                  </a:lnTo>
                  <a:lnTo>
                    <a:pt x="360" y="526"/>
                  </a:lnTo>
                  <a:lnTo>
                    <a:pt x="360" y="523"/>
                  </a:lnTo>
                  <a:lnTo>
                    <a:pt x="362" y="526"/>
                  </a:lnTo>
                  <a:lnTo>
                    <a:pt x="362" y="526"/>
                  </a:lnTo>
                  <a:lnTo>
                    <a:pt x="364" y="526"/>
                  </a:lnTo>
                  <a:lnTo>
                    <a:pt x="364" y="521"/>
                  </a:lnTo>
                  <a:lnTo>
                    <a:pt x="364" y="521"/>
                  </a:lnTo>
                  <a:lnTo>
                    <a:pt x="364" y="519"/>
                  </a:lnTo>
                  <a:lnTo>
                    <a:pt x="364" y="519"/>
                  </a:lnTo>
                  <a:lnTo>
                    <a:pt x="367" y="519"/>
                  </a:lnTo>
                  <a:lnTo>
                    <a:pt x="369" y="514"/>
                  </a:lnTo>
                  <a:lnTo>
                    <a:pt x="379" y="507"/>
                  </a:lnTo>
                  <a:lnTo>
                    <a:pt x="381" y="504"/>
                  </a:lnTo>
                  <a:lnTo>
                    <a:pt x="383" y="504"/>
                  </a:lnTo>
                  <a:lnTo>
                    <a:pt x="388" y="502"/>
                  </a:lnTo>
                  <a:lnTo>
                    <a:pt x="390" y="500"/>
                  </a:lnTo>
                  <a:lnTo>
                    <a:pt x="393" y="500"/>
                  </a:lnTo>
                  <a:lnTo>
                    <a:pt x="395" y="500"/>
                  </a:lnTo>
                  <a:lnTo>
                    <a:pt x="397" y="497"/>
                  </a:lnTo>
                  <a:lnTo>
                    <a:pt x="400" y="493"/>
                  </a:lnTo>
                  <a:lnTo>
                    <a:pt x="405" y="488"/>
                  </a:lnTo>
                  <a:lnTo>
                    <a:pt x="407" y="486"/>
                  </a:lnTo>
                  <a:lnTo>
                    <a:pt x="409" y="483"/>
                  </a:lnTo>
                  <a:lnTo>
                    <a:pt x="414" y="481"/>
                  </a:lnTo>
                  <a:lnTo>
                    <a:pt x="414" y="478"/>
                  </a:lnTo>
                  <a:lnTo>
                    <a:pt x="414" y="476"/>
                  </a:lnTo>
                  <a:lnTo>
                    <a:pt x="416" y="478"/>
                  </a:lnTo>
                  <a:lnTo>
                    <a:pt x="416" y="481"/>
                  </a:lnTo>
                  <a:lnTo>
                    <a:pt x="414" y="486"/>
                  </a:lnTo>
                  <a:lnTo>
                    <a:pt x="412" y="488"/>
                  </a:lnTo>
                  <a:lnTo>
                    <a:pt x="412" y="488"/>
                  </a:lnTo>
                  <a:lnTo>
                    <a:pt x="409" y="490"/>
                  </a:lnTo>
                  <a:lnTo>
                    <a:pt x="409" y="495"/>
                  </a:lnTo>
                  <a:lnTo>
                    <a:pt x="409" y="497"/>
                  </a:lnTo>
                  <a:lnTo>
                    <a:pt x="405" y="500"/>
                  </a:lnTo>
                  <a:lnTo>
                    <a:pt x="402" y="502"/>
                  </a:lnTo>
                  <a:lnTo>
                    <a:pt x="397" y="509"/>
                  </a:lnTo>
                  <a:lnTo>
                    <a:pt x="395" y="512"/>
                  </a:lnTo>
                  <a:lnTo>
                    <a:pt x="395" y="514"/>
                  </a:lnTo>
                  <a:lnTo>
                    <a:pt x="393" y="516"/>
                  </a:lnTo>
                  <a:lnTo>
                    <a:pt x="393" y="519"/>
                  </a:lnTo>
                  <a:lnTo>
                    <a:pt x="390" y="521"/>
                  </a:lnTo>
                  <a:lnTo>
                    <a:pt x="388" y="526"/>
                  </a:lnTo>
                  <a:lnTo>
                    <a:pt x="386" y="526"/>
                  </a:lnTo>
                  <a:lnTo>
                    <a:pt x="386" y="526"/>
                  </a:lnTo>
                  <a:lnTo>
                    <a:pt x="383" y="526"/>
                  </a:lnTo>
                  <a:lnTo>
                    <a:pt x="381" y="526"/>
                  </a:lnTo>
                  <a:lnTo>
                    <a:pt x="376" y="533"/>
                  </a:lnTo>
                  <a:lnTo>
                    <a:pt x="379" y="533"/>
                  </a:lnTo>
                  <a:lnTo>
                    <a:pt x="379" y="533"/>
                  </a:lnTo>
                  <a:lnTo>
                    <a:pt x="381" y="533"/>
                  </a:lnTo>
                  <a:lnTo>
                    <a:pt x="383" y="531"/>
                  </a:lnTo>
                  <a:lnTo>
                    <a:pt x="388" y="531"/>
                  </a:lnTo>
                  <a:lnTo>
                    <a:pt x="388" y="531"/>
                  </a:lnTo>
                  <a:lnTo>
                    <a:pt x="390" y="531"/>
                  </a:lnTo>
                  <a:lnTo>
                    <a:pt x="397" y="521"/>
                  </a:lnTo>
                  <a:lnTo>
                    <a:pt x="402" y="516"/>
                  </a:lnTo>
                  <a:lnTo>
                    <a:pt x="405" y="514"/>
                  </a:lnTo>
                  <a:lnTo>
                    <a:pt x="405" y="512"/>
                  </a:lnTo>
                  <a:lnTo>
                    <a:pt x="407" y="509"/>
                  </a:lnTo>
                  <a:lnTo>
                    <a:pt x="407" y="512"/>
                  </a:lnTo>
                  <a:lnTo>
                    <a:pt x="407" y="514"/>
                  </a:lnTo>
                  <a:lnTo>
                    <a:pt x="409" y="519"/>
                  </a:lnTo>
                  <a:lnTo>
                    <a:pt x="409" y="521"/>
                  </a:lnTo>
                  <a:lnTo>
                    <a:pt x="407" y="528"/>
                  </a:lnTo>
                  <a:lnTo>
                    <a:pt x="402" y="533"/>
                  </a:lnTo>
                  <a:lnTo>
                    <a:pt x="400" y="535"/>
                  </a:lnTo>
                  <a:lnTo>
                    <a:pt x="397" y="538"/>
                  </a:lnTo>
                  <a:lnTo>
                    <a:pt x="395" y="540"/>
                  </a:lnTo>
                  <a:lnTo>
                    <a:pt x="400" y="540"/>
                  </a:lnTo>
                  <a:lnTo>
                    <a:pt x="402" y="540"/>
                  </a:lnTo>
                  <a:lnTo>
                    <a:pt x="405" y="540"/>
                  </a:lnTo>
                  <a:lnTo>
                    <a:pt x="407" y="538"/>
                  </a:lnTo>
                  <a:lnTo>
                    <a:pt x="409" y="538"/>
                  </a:lnTo>
                  <a:lnTo>
                    <a:pt x="409" y="538"/>
                  </a:lnTo>
                  <a:lnTo>
                    <a:pt x="412" y="538"/>
                  </a:lnTo>
                  <a:lnTo>
                    <a:pt x="414" y="535"/>
                  </a:lnTo>
                  <a:lnTo>
                    <a:pt x="416" y="535"/>
                  </a:lnTo>
                  <a:lnTo>
                    <a:pt x="416" y="535"/>
                  </a:lnTo>
                  <a:lnTo>
                    <a:pt x="416" y="535"/>
                  </a:lnTo>
                  <a:lnTo>
                    <a:pt x="416" y="535"/>
                  </a:lnTo>
                  <a:lnTo>
                    <a:pt x="416" y="538"/>
                  </a:lnTo>
                  <a:lnTo>
                    <a:pt x="414" y="540"/>
                  </a:lnTo>
                  <a:lnTo>
                    <a:pt x="414" y="540"/>
                  </a:lnTo>
                  <a:lnTo>
                    <a:pt x="414" y="538"/>
                  </a:lnTo>
                  <a:lnTo>
                    <a:pt x="412" y="538"/>
                  </a:lnTo>
                  <a:lnTo>
                    <a:pt x="412" y="540"/>
                  </a:lnTo>
                  <a:lnTo>
                    <a:pt x="409" y="540"/>
                  </a:lnTo>
                  <a:lnTo>
                    <a:pt x="409" y="540"/>
                  </a:lnTo>
                  <a:lnTo>
                    <a:pt x="409" y="542"/>
                  </a:lnTo>
                  <a:lnTo>
                    <a:pt x="412" y="545"/>
                  </a:lnTo>
                  <a:lnTo>
                    <a:pt x="414" y="549"/>
                  </a:lnTo>
                  <a:lnTo>
                    <a:pt x="414" y="549"/>
                  </a:lnTo>
                  <a:lnTo>
                    <a:pt x="416" y="557"/>
                  </a:lnTo>
                  <a:lnTo>
                    <a:pt x="414" y="564"/>
                  </a:lnTo>
                  <a:lnTo>
                    <a:pt x="414" y="564"/>
                  </a:lnTo>
                  <a:lnTo>
                    <a:pt x="412" y="568"/>
                  </a:lnTo>
                  <a:lnTo>
                    <a:pt x="409" y="571"/>
                  </a:lnTo>
                  <a:lnTo>
                    <a:pt x="409" y="573"/>
                  </a:lnTo>
                  <a:lnTo>
                    <a:pt x="407" y="575"/>
                  </a:lnTo>
                  <a:lnTo>
                    <a:pt x="409" y="578"/>
                  </a:lnTo>
                  <a:lnTo>
                    <a:pt x="412" y="585"/>
                  </a:lnTo>
                  <a:lnTo>
                    <a:pt x="412" y="590"/>
                  </a:lnTo>
                  <a:lnTo>
                    <a:pt x="414" y="592"/>
                  </a:lnTo>
                  <a:lnTo>
                    <a:pt x="421" y="592"/>
                  </a:lnTo>
                  <a:lnTo>
                    <a:pt x="424" y="594"/>
                  </a:lnTo>
                  <a:lnTo>
                    <a:pt x="426" y="599"/>
                  </a:lnTo>
                  <a:lnTo>
                    <a:pt x="426" y="599"/>
                  </a:lnTo>
                  <a:lnTo>
                    <a:pt x="428" y="599"/>
                  </a:lnTo>
                  <a:lnTo>
                    <a:pt x="431" y="597"/>
                  </a:lnTo>
                  <a:lnTo>
                    <a:pt x="435" y="597"/>
                  </a:lnTo>
                  <a:lnTo>
                    <a:pt x="438" y="599"/>
                  </a:lnTo>
                  <a:lnTo>
                    <a:pt x="440" y="599"/>
                  </a:lnTo>
                  <a:lnTo>
                    <a:pt x="442" y="599"/>
                  </a:lnTo>
                  <a:lnTo>
                    <a:pt x="445" y="602"/>
                  </a:lnTo>
                  <a:lnTo>
                    <a:pt x="447" y="604"/>
                  </a:lnTo>
                  <a:lnTo>
                    <a:pt x="450" y="606"/>
                  </a:lnTo>
                  <a:lnTo>
                    <a:pt x="452" y="606"/>
                  </a:lnTo>
                  <a:lnTo>
                    <a:pt x="454" y="609"/>
                  </a:lnTo>
                  <a:lnTo>
                    <a:pt x="457" y="609"/>
                  </a:lnTo>
                  <a:lnTo>
                    <a:pt x="459" y="609"/>
                  </a:lnTo>
                  <a:lnTo>
                    <a:pt x="464" y="606"/>
                  </a:lnTo>
                  <a:lnTo>
                    <a:pt x="471" y="602"/>
                  </a:lnTo>
                  <a:lnTo>
                    <a:pt x="476" y="599"/>
                  </a:lnTo>
                  <a:lnTo>
                    <a:pt x="478" y="599"/>
                  </a:lnTo>
                  <a:lnTo>
                    <a:pt x="480" y="597"/>
                  </a:lnTo>
                  <a:lnTo>
                    <a:pt x="483" y="597"/>
                  </a:lnTo>
                  <a:lnTo>
                    <a:pt x="483" y="594"/>
                  </a:lnTo>
                  <a:lnTo>
                    <a:pt x="480" y="594"/>
                  </a:lnTo>
                  <a:lnTo>
                    <a:pt x="478" y="594"/>
                  </a:lnTo>
                  <a:lnTo>
                    <a:pt x="480" y="594"/>
                  </a:lnTo>
                  <a:lnTo>
                    <a:pt x="483" y="592"/>
                  </a:lnTo>
                  <a:lnTo>
                    <a:pt x="490" y="590"/>
                  </a:lnTo>
                  <a:lnTo>
                    <a:pt x="492" y="590"/>
                  </a:lnTo>
                  <a:lnTo>
                    <a:pt x="492" y="592"/>
                  </a:lnTo>
                  <a:lnTo>
                    <a:pt x="492" y="594"/>
                  </a:lnTo>
                  <a:lnTo>
                    <a:pt x="490" y="597"/>
                  </a:lnTo>
                  <a:lnTo>
                    <a:pt x="487" y="597"/>
                  </a:lnTo>
                  <a:lnTo>
                    <a:pt x="485" y="599"/>
                  </a:lnTo>
                  <a:lnTo>
                    <a:pt x="483" y="599"/>
                  </a:lnTo>
                  <a:lnTo>
                    <a:pt x="483" y="599"/>
                  </a:lnTo>
                  <a:lnTo>
                    <a:pt x="483" y="602"/>
                  </a:lnTo>
                  <a:lnTo>
                    <a:pt x="485" y="602"/>
                  </a:lnTo>
                  <a:lnTo>
                    <a:pt x="490" y="599"/>
                  </a:lnTo>
                  <a:lnTo>
                    <a:pt x="492" y="597"/>
                  </a:lnTo>
                  <a:lnTo>
                    <a:pt x="492" y="597"/>
                  </a:lnTo>
                  <a:lnTo>
                    <a:pt x="494" y="597"/>
                  </a:lnTo>
                  <a:lnTo>
                    <a:pt x="497" y="597"/>
                  </a:lnTo>
                  <a:lnTo>
                    <a:pt x="497" y="599"/>
                  </a:lnTo>
                  <a:lnTo>
                    <a:pt x="497" y="599"/>
                  </a:lnTo>
                  <a:lnTo>
                    <a:pt x="494" y="602"/>
                  </a:lnTo>
                  <a:lnTo>
                    <a:pt x="492" y="602"/>
                  </a:lnTo>
                  <a:lnTo>
                    <a:pt x="492" y="604"/>
                  </a:lnTo>
                  <a:lnTo>
                    <a:pt x="494" y="604"/>
                  </a:lnTo>
                  <a:lnTo>
                    <a:pt x="494" y="606"/>
                  </a:lnTo>
                  <a:lnTo>
                    <a:pt x="494" y="606"/>
                  </a:lnTo>
                  <a:lnTo>
                    <a:pt x="497" y="606"/>
                  </a:lnTo>
                  <a:lnTo>
                    <a:pt x="497" y="609"/>
                  </a:lnTo>
                  <a:lnTo>
                    <a:pt x="497" y="611"/>
                  </a:lnTo>
                  <a:lnTo>
                    <a:pt x="499" y="611"/>
                  </a:lnTo>
                  <a:lnTo>
                    <a:pt x="499" y="609"/>
                  </a:lnTo>
                  <a:lnTo>
                    <a:pt x="502" y="611"/>
                  </a:lnTo>
                  <a:lnTo>
                    <a:pt x="502" y="611"/>
                  </a:lnTo>
                  <a:lnTo>
                    <a:pt x="502" y="613"/>
                  </a:lnTo>
                  <a:lnTo>
                    <a:pt x="502" y="616"/>
                  </a:lnTo>
                  <a:lnTo>
                    <a:pt x="502" y="616"/>
                  </a:lnTo>
                  <a:lnTo>
                    <a:pt x="504" y="616"/>
                  </a:lnTo>
                  <a:lnTo>
                    <a:pt x="504" y="613"/>
                  </a:lnTo>
                  <a:lnTo>
                    <a:pt x="506" y="613"/>
                  </a:lnTo>
                  <a:lnTo>
                    <a:pt x="506" y="609"/>
                  </a:lnTo>
                  <a:lnTo>
                    <a:pt x="506" y="609"/>
                  </a:lnTo>
                  <a:lnTo>
                    <a:pt x="504" y="611"/>
                  </a:lnTo>
                  <a:lnTo>
                    <a:pt x="504" y="609"/>
                  </a:lnTo>
                  <a:lnTo>
                    <a:pt x="504" y="609"/>
                  </a:lnTo>
                  <a:lnTo>
                    <a:pt x="504" y="606"/>
                  </a:lnTo>
                  <a:lnTo>
                    <a:pt x="506" y="606"/>
                  </a:lnTo>
                  <a:lnTo>
                    <a:pt x="506" y="606"/>
                  </a:lnTo>
                  <a:lnTo>
                    <a:pt x="509" y="606"/>
                  </a:lnTo>
                  <a:lnTo>
                    <a:pt x="516" y="606"/>
                  </a:lnTo>
                  <a:lnTo>
                    <a:pt x="530" y="597"/>
                  </a:lnTo>
                  <a:lnTo>
                    <a:pt x="535" y="592"/>
                  </a:lnTo>
                  <a:lnTo>
                    <a:pt x="542" y="590"/>
                  </a:lnTo>
                  <a:lnTo>
                    <a:pt x="547" y="587"/>
                  </a:lnTo>
                  <a:lnTo>
                    <a:pt x="549" y="587"/>
                  </a:lnTo>
                  <a:lnTo>
                    <a:pt x="561" y="587"/>
                  </a:lnTo>
                  <a:lnTo>
                    <a:pt x="568" y="587"/>
                  </a:lnTo>
                  <a:lnTo>
                    <a:pt x="570" y="587"/>
                  </a:lnTo>
                  <a:lnTo>
                    <a:pt x="573" y="585"/>
                  </a:lnTo>
                  <a:lnTo>
                    <a:pt x="577" y="583"/>
                  </a:lnTo>
                  <a:lnTo>
                    <a:pt x="580" y="583"/>
                  </a:lnTo>
                  <a:lnTo>
                    <a:pt x="582" y="580"/>
                  </a:lnTo>
                  <a:lnTo>
                    <a:pt x="582" y="580"/>
                  </a:lnTo>
                  <a:lnTo>
                    <a:pt x="584" y="578"/>
                  </a:lnTo>
                  <a:lnTo>
                    <a:pt x="584" y="575"/>
                  </a:lnTo>
                  <a:lnTo>
                    <a:pt x="587" y="571"/>
                  </a:lnTo>
                  <a:lnTo>
                    <a:pt x="589" y="566"/>
                  </a:lnTo>
                  <a:lnTo>
                    <a:pt x="591" y="564"/>
                  </a:lnTo>
                  <a:lnTo>
                    <a:pt x="594" y="561"/>
                  </a:lnTo>
                  <a:lnTo>
                    <a:pt x="596" y="557"/>
                  </a:lnTo>
                  <a:lnTo>
                    <a:pt x="601" y="552"/>
                  </a:lnTo>
                  <a:lnTo>
                    <a:pt x="601" y="547"/>
                  </a:lnTo>
                  <a:lnTo>
                    <a:pt x="603" y="545"/>
                  </a:lnTo>
                  <a:lnTo>
                    <a:pt x="608" y="542"/>
                  </a:lnTo>
                  <a:lnTo>
                    <a:pt x="610" y="540"/>
                  </a:lnTo>
                  <a:lnTo>
                    <a:pt x="617" y="531"/>
                  </a:lnTo>
                  <a:lnTo>
                    <a:pt x="617" y="531"/>
                  </a:lnTo>
                  <a:lnTo>
                    <a:pt x="620" y="531"/>
                  </a:lnTo>
                  <a:lnTo>
                    <a:pt x="620" y="531"/>
                  </a:lnTo>
                  <a:lnTo>
                    <a:pt x="620" y="531"/>
                  </a:lnTo>
                  <a:lnTo>
                    <a:pt x="620" y="531"/>
                  </a:lnTo>
                  <a:lnTo>
                    <a:pt x="620" y="528"/>
                  </a:lnTo>
                  <a:lnTo>
                    <a:pt x="620" y="528"/>
                  </a:lnTo>
                  <a:lnTo>
                    <a:pt x="622" y="528"/>
                  </a:lnTo>
                  <a:lnTo>
                    <a:pt x="622" y="528"/>
                  </a:lnTo>
                  <a:lnTo>
                    <a:pt x="622" y="528"/>
                  </a:lnTo>
                  <a:lnTo>
                    <a:pt x="622" y="526"/>
                  </a:lnTo>
                  <a:lnTo>
                    <a:pt x="625" y="526"/>
                  </a:lnTo>
                  <a:lnTo>
                    <a:pt x="627" y="521"/>
                  </a:lnTo>
                  <a:lnTo>
                    <a:pt x="629" y="516"/>
                  </a:lnTo>
                  <a:lnTo>
                    <a:pt x="632" y="514"/>
                  </a:lnTo>
                  <a:lnTo>
                    <a:pt x="634" y="512"/>
                  </a:lnTo>
                  <a:lnTo>
                    <a:pt x="636" y="509"/>
                  </a:lnTo>
                  <a:lnTo>
                    <a:pt x="641" y="507"/>
                  </a:lnTo>
                  <a:lnTo>
                    <a:pt x="639" y="507"/>
                  </a:lnTo>
                  <a:lnTo>
                    <a:pt x="639" y="507"/>
                  </a:lnTo>
                  <a:lnTo>
                    <a:pt x="639" y="504"/>
                  </a:lnTo>
                  <a:lnTo>
                    <a:pt x="641" y="504"/>
                  </a:lnTo>
                  <a:lnTo>
                    <a:pt x="641" y="504"/>
                  </a:lnTo>
                  <a:lnTo>
                    <a:pt x="641" y="504"/>
                  </a:lnTo>
                  <a:lnTo>
                    <a:pt x="644" y="502"/>
                  </a:lnTo>
                  <a:lnTo>
                    <a:pt x="646" y="500"/>
                  </a:lnTo>
                  <a:lnTo>
                    <a:pt x="646" y="497"/>
                  </a:lnTo>
                  <a:lnTo>
                    <a:pt x="648" y="495"/>
                  </a:lnTo>
                  <a:lnTo>
                    <a:pt x="648" y="495"/>
                  </a:lnTo>
                  <a:lnTo>
                    <a:pt x="651" y="493"/>
                  </a:lnTo>
                  <a:lnTo>
                    <a:pt x="651" y="493"/>
                  </a:lnTo>
                  <a:lnTo>
                    <a:pt x="653" y="490"/>
                  </a:lnTo>
                  <a:lnTo>
                    <a:pt x="655" y="488"/>
                  </a:lnTo>
                  <a:lnTo>
                    <a:pt x="658" y="486"/>
                  </a:lnTo>
                  <a:lnTo>
                    <a:pt x="662" y="483"/>
                  </a:lnTo>
                  <a:lnTo>
                    <a:pt x="665" y="481"/>
                  </a:lnTo>
                  <a:lnTo>
                    <a:pt x="670" y="478"/>
                  </a:lnTo>
                  <a:lnTo>
                    <a:pt x="670" y="478"/>
                  </a:lnTo>
                  <a:lnTo>
                    <a:pt x="670" y="478"/>
                  </a:lnTo>
                  <a:lnTo>
                    <a:pt x="670" y="478"/>
                  </a:lnTo>
                  <a:lnTo>
                    <a:pt x="670" y="478"/>
                  </a:lnTo>
                  <a:lnTo>
                    <a:pt x="672" y="476"/>
                  </a:lnTo>
                  <a:lnTo>
                    <a:pt x="674" y="476"/>
                  </a:lnTo>
                  <a:lnTo>
                    <a:pt x="677" y="474"/>
                  </a:lnTo>
                  <a:lnTo>
                    <a:pt x="679" y="471"/>
                  </a:lnTo>
                  <a:lnTo>
                    <a:pt x="681" y="469"/>
                  </a:lnTo>
                  <a:lnTo>
                    <a:pt x="681" y="464"/>
                  </a:lnTo>
                  <a:lnTo>
                    <a:pt x="688" y="459"/>
                  </a:lnTo>
                  <a:lnTo>
                    <a:pt x="696" y="452"/>
                  </a:lnTo>
                  <a:lnTo>
                    <a:pt x="698" y="448"/>
                  </a:lnTo>
                  <a:lnTo>
                    <a:pt x="698" y="445"/>
                  </a:lnTo>
                  <a:lnTo>
                    <a:pt x="700" y="441"/>
                  </a:lnTo>
                  <a:lnTo>
                    <a:pt x="703" y="436"/>
                  </a:lnTo>
                  <a:lnTo>
                    <a:pt x="703" y="433"/>
                  </a:lnTo>
                  <a:lnTo>
                    <a:pt x="710" y="424"/>
                  </a:lnTo>
                  <a:lnTo>
                    <a:pt x="712" y="422"/>
                  </a:lnTo>
                  <a:lnTo>
                    <a:pt x="714" y="419"/>
                  </a:lnTo>
                  <a:lnTo>
                    <a:pt x="717" y="410"/>
                  </a:lnTo>
                  <a:lnTo>
                    <a:pt x="719" y="407"/>
                  </a:lnTo>
                  <a:lnTo>
                    <a:pt x="724" y="400"/>
                  </a:lnTo>
                  <a:lnTo>
                    <a:pt x="729" y="398"/>
                  </a:lnTo>
                  <a:lnTo>
                    <a:pt x="729" y="393"/>
                  </a:lnTo>
                  <a:lnTo>
                    <a:pt x="729" y="391"/>
                  </a:lnTo>
                  <a:lnTo>
                    <a:pt x="731" y="384"/>
                  </a:lnTo>
                  <a:lnTo>
                    <a:pt x="731" y="379"/>
                  </a:lnTo>
                  <a:lnTo>
                    <a:pt x="731" y="377"/>
                  </a:lnTo>
                  <a:lnTo>
                    <a:pt x="731" y="374"/>
                  </a:lnTo>
                  <a:lnTo>
                    <a:pt x="731" y="367"/>
                  </a:lnTo>
                  <a:lnTo>
                    <a:pt x="731" y="362"/>
                  </a:lnTo>
                  <a:lnTo>
                    <a:pt x="733" y="358"/>
                  </a:lnTo>
                  <a:lnTo>
                    <a:pt x="736" y="343"/>
                  </a:lnTo>
                  <a:lnTo>
                    <a:pt x="740" y="336"/>
                  </a:lnTo>
                  <a:lnTo>
                    <a:pt x="738" y="334"/>
                  </a:lnTo>
                  <a:lnTo>
                    <a:pt x="738" y="334"/>
                  </a:lnTo>
                  <a:close/>
                  <a:moveTo>
                    <a:pt x="599" y="14"/>
                  </a:moveTo>
                  <a:lnTo>
                    <a:pt x="601" y="14"/>
                  </a:lnTo>
                  <a:lnTo>
                    <a:pt x="599" y="12"/>
                  </a:lnTo>
                  <a:lnTo>
                    <a:pt x="599" y="12"/>
                  </a:lnTo>
                  <a:lnTo>
                    <a:pt x="599" y="12"/>
                  </a:lnTo>
                  <a:lnTo>
                    <a:pt x="599" y="14"/>
                  </a:lnTo>
                  <a:lnTo>
                    <a:pt x="599" y="14"/>
                  </a:lnTo>
                  <a:close/>
                  <a:moveTo>
                    <a:pt x="601" y="2"/>
                  </a:moveTo>
                  <a:lnTo>
                    <a:pt x="601" y="5"/>
                  </a:lnTo>
                  <a:lnTo>
                    <a:pt x="603" y="2"/>
                  </a:lnTo>
                  <a:lnTo>
                    <a:pt x="603" y="2"/>
                  </a:lnTo>
                  <a:lnTo>
                    <a:pt x="601" y="2"/>
                  </a:lnTo>
                  <a:lnTo>
                    <a:pt x="601" y="2"/>
                  </a:lnTo>
                  <a:lnTo>
                    <a:pt x="601" y="2"/>
                  </a:lnTo>
                  <a:close/>
                  <a:moveTo>
                    <a:pt x="601" y="2"/>
                  </a:moveTo>
                  <a:lnTo>
                    <a:pt x="601" y="0"/>
                  </a:lnTo>
                  <a:lnTo>
                    <a:pt x="601" y="0"/>
                  </a:lnTo>
                  <a:lnTo>
                    <a:pt x="599" y="0"/>
                  </a:lnTo>
                  <a:lnTo>
                    <a:pt x="599" y="2"/>
                  </a:lnTo>
                  <a:lnTo>
                    <a:pt x="601" y="2"/>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 name="Freeform 213"/>
            <p:cNvSpPr>
              <a:spLocks/>
            </p:cNvSpPr>
            <p:nvPr/>
          </p:nvSpPr>
          <p:spPr bwMode="auto">
            <a:xfrm>
              <a:off x="1452" y="2532"/>
              <a:ext cx="3" cy="5"/>
            </a:xfrm>
            <a:custGeom>
              <a:avLst/>
              <a:gdLst>
                <a:gd name="T0" fmla="*/ 3 w 3"/>
                <a:gd name="T1" fmla="*/ 5 h 5"/>
                <a:gd name="T2" fmla="*/ 3 w 3"/>
                <a:gd name="T3" fmla="*/ 5 h 5"/>
                <a:gd name="T4" fmla="*/ 0 w 3"/>
                <a:gd name="T5" fmla="*/ 3 h 5"/>
                <a:gd name="T6" fmla="*/ 0 w 3"/>
                <a:gd name="T7" fmla="*/ 0 h 5"/>
                <a:gd name="T8" fmla="*/ 0 w 3"/>
                <a:gd name="T9" fmla="*/ 3 h 5"/>
                <a:gd name="T10" fmla="*/ 0 w 3"/>
                <a:gd name="T11" fmla="*/ 3 h 5"/>
                <a:gd name="T12" fmla="*/ 0 w 3"/>
                <a:gd name="T13" fmla="*/ 3 h 5"/>
                <a:gd name="T14" fmla="*/ 3 w 3"/>
                <a:gd name="T15" fmla="*/ 5 h 5"/>
                <a:gd name="T16" fmla="*/ 3 w 3"/>
                <a:gd name="T17" fmla="*/ 5 h 5"/>
                <a:gd name="T18" fmla="*/ 3 w 3"/>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5">
                  <a:moveTo>
                    <a:pt x="3" y="5"/>
                  </a:moveTo>
                  <a:lnTo>
                    <a:pt x="3" y="5"/>
                  </a:lnTo>
                  <a:lnTo>
                    <a:pt x="0" y="3"/>
                  </a:lnTo>
                  <a:lnTo>
                    <a:pt x="0" y="0"/>
                  </a:lnTo>
                  <a:lnTo>
                    <a:pt x="0" y="3"/>
                  </a:lnTo>
                  <a:lnTo>
                    <a:pt x="0" y="3"/>
                  </a:lnTo>
                  <a:lnTo>
                    <a:pt x="0" y="3"/>
                  </a:lnTo>
                  <a:lnTo>
                    <a:pt x="3" y="5"/>
                  </a:lnTo>
                  <a:lnTo>
                    <a:pt x="3" y="5"/>
                  </a:lnTo>
                  <a:lnTo>
                    <a:pt x="3" y="5"/>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 name="Freeform 214"/>
            <p:cNvSpPr>
              <a:spLocks noEditPoints="1"/>
            </p:cNvSpPr>
            <p:nvPr/>
          </p:nvSpPr>
          <p:spPr bwMode="auto">
            <a:xfrm>
              <a:off x="3508" y="1929"/>
              <a:ext cx="59" cy="47"/>
            </a:xfrm>
            <a:custGeom>
              <a:avLst/>
              <a:gdLst>
                <a:gd name="T0" fmla="*/ 38 w 59"/>
                <a:gd name="T1" fmla="*/ 14 h 47"/>
                <a:gd name="T2" fmla="*/ 38 w 59"/>
                <a:gd name="T3" fmla="*/ 12 h 47"/>
                <a:gd name="T4" fmla="*/ 59 w 59"/>
                <a:gd name="T5" fmla="*/ 40 h 47"/>
                <a:gd name="T6" fmla="*/ 59 w 59"/>
                <a:gd name="T7" fmla="*/ 40 h 47"/>
                <a:gd name="T8" fmla="*/ 57 w 59"/>
                <a:gd name="T9" fmla="*/ 38 h 47"/>
                <a:gd name="T10" fmla="*/ 57 w 59"/>
                <a:gd name="T11" fmla="*/ 35 h 47"/>
                <a:gd name="T12" fmla="*/ 54 w 59"/>
                <a:gd name="T13" fmla="*/ 33 h 47"/>
                <a:gd name="T14" fmla="*/ 50 w 59"/>
                <a:gd name="T15" fmla="*/ 30 h 47"/>
                <a:gd name="T16" fmla="*/ 45 w 59"/>
                <a:gd name="T17" fmla="*/ 26 h 47"/>
                <a:gd name="T18" fmla="*/ 40 w 59"/>
                <a:gd name="T19" fmla="*/ 26 h 47"/>
                <a:gd name="T20" fmla="*/ 40 w 59"/>
                <a:gd name="T21" fmla="*/ 23 h 47"/>
                <a:gd name="T22" fmla="*/ 43 w 59"/>
                <a:gd name="T23" fmla="*/ 26 h 47"/>
                <a:gd name="T24" fmla="*/ 45 w 59"/>
                <a:gd name="T25" fmla="*/ 26 h 47"/>
                <a:gd name="T26" fmla="*/ 47 w 59"/>
                <a:gd name="T27" fmla="*/ 21 h 47"/>
                <a:gd name="T28" fmla="*/ 38 w 59"/>
                <a:gd name="T29" fmla="*/ 14 h 47"/>
                <a:gd name="T30" fmla="*/ 35 w 59"/>
                <a:gd name="T31" fmla="*/ 12 h 47"/>
                <a:gd name="T32" fmla="*/ 38 w 59"/>
                <a:gd name="T33" fmla="*/ 9 h 47"/>
                <a:gd name="T34" fmla="*/ 35 w 59"/>
                <a:gd name="T35" fmla="*/ 4 h 47"/>
                <a:gd name="T36" fmla="*/ 28 w 59"/>
                <a:gd name="T37" fmla="*/ 4 h 47"/>
                <a:gd name="T38" fmla="*/ 28 w 59"/>
                <a:gd name="T39" fmla="*/ 2 h 47"/>
                <a:gd name="T40" fmla="*/ 31 w 59"/>
                <a:gd name="T41" fmla="*/ 2 h 47"/>
                <a:gd name="T42" fmla="*/ 26 w 59"/>
                <a:gd name="T43" fmla="*/ 0 h 47"/>
                <a:gd name="T44" fmla="*/ 24 w 59"/>
                <a:gd name="T45" fmla="*/ 0 h 47"/>
                <a:gd name="T46" fmla="*/ 19 w 59"/>
                <a:gd name="T47" fmla="*/ 0 h 47"/>
                <a:gd name="T48" fmla="*/ 12 w 59"/>
                <a:gd name="T49" fmla="*/ 0 h 47"/>
                <a:gd name="T50" fmla="*/ 7 w 59"/>
                <a:gd name="T51" fmla="*/ 2 h 47"/>
                <a:gd name="T52" fmla="*/ 0 w 59"/>
                <a:gd name="T53" fmla="*/ 2 h 47"/>
                <a:gd name="T54" fmla="*/ 2 w 59"/>
                <a:gd name="T55" fmla="*/ 7 h 47"/>
                <a:gd name="T56" fmla="*/ 7 w 59"/>
                <a:gd name="T57" fmla="*/ 12 h 47"/>
                <a:gd name="T58" fmla="*/ 5 w 59"/>
                <a:gd name="T59" fmla="*/ 16 h 47"/>
                <a:gd name="T60" fmla="*/ 5 w 59"/>
                <a:gd name="T61" fmla="*/ 19 h 47"/>
                <a:gd name="T62" fmla="*/ 7 w 59"/>
                <a:gd name="T63" fmla="*/ 23 h 47"/>
                <a:gd name="T64" fmla="*/ 12 w 59"/>
                <a:gd name="T65" fmla="*/ 26 h 47"/>
                <a:gd name="T66" fmla="*/ 19 w 59"/>
                <a:gd name="T67" fmla="*/ 26 h 47"/>
                <a:gd name="T68" fmla="*/ 26 w 59"/>
                <a:gd name="T69" fmla="*/ 30 h 47"/>
                <a:gd name="T70" fmla="*/ 31 w 59"/>
                <a:gd name="T71" fmla="*/ 28 h 47"/>
                <a:gd name="T72" fmla="*/ 33 w 59"/>
                <a:gd name="T73" fmla="*/ 30 h 47"/>
                <a:gd name="T74" fmla="*/ 35 w 59"/>
                <a:gd name="T75" fmla="*/ 33 h 47"/>
                <a:gd name="T76" fmla="*/ 40 w 59"/>
                <a:gd name="T77" fmla="*/ 35 h 47"/>
                <a:gd name="T78" fmla="*/ 45 w 59"/>
                <a:gd name="T79" fmla="*/ 33 h 47"/>
                <a:gd name="T80" fmla="*/ 45 w 59"/>
                <a:gd name="T81" fmla="*/ 38 h 47"/>
                <a:gd name="T82" fmla="*/ 50 w 59"/>
                <a:gd name="T83" fmla="*/ 40 h 47"/>
                <a:gd name="T84" fmla="*/ 52 w 59"/>
                <a:gd name="T85" fmla="*/ 45 h 47"/>
                <a:gd name="T86" fmla="*/ 54 w 59"/>
                <a:gd name="T87" fmla="*/ 47 h 47"/>
                <a:gd name="T88" fmla="*/ 59 w 59"/>
                <a:gd name="T89" fmla="*/ 45 h 47"/>
                <a:gd name="T90" fmla="*/ 57 w 59"/>
                <a:gd name="T91" fmla="*/ 42 h 47"/>
                <a:gd name="T92" fmla="*/ 59 w 59"/>
                <a:gd name="T93" fmla="*/ 40 h 47"/>
                <a:gd name="T94" fmla="*/ 26 w 59"/>
                <a:gd name="T95" fmla="*/ 4 h 47"/>
                <a:gd name="T96" fmla="*/ 26 w 59"/>
                <a:gd name="T97" fmla="*/ 2 h 47"/>
                <a:gd name="T98" fmla="*/ 28 w 59"/>
                <a:gd name="T99"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9" h="47">
                  <a:moveTo>
                    <a:pt x="38" y="12"/>
                  </a:moveTo>
                  <a:lnTo>
                    <a:pt x="38" y="12"/>
                  </a:lnTo>
                  <a:lnTo>
                    <a:pt x="38" y="14"/>
                  </a:lnTo>
                  <a:lnTo>
                    <a:pt x="38" y="14"/>
                  </a:lnTo>
                  <a:lnTo>
                    <a:pt x="38" y="14"/>
                  </a:lnTo>
                  <a:lnTo>
                    <a:pt x="38" y="12"/>
                  </a:lnTo>
                  <a:lnTo>
                    <a:pt x="38" y="12"/>
                  </a:lnTo>
                  <a:lnTo>
                    <a:pt x="38" y="12"/>
                  </a:lnTo>
                  <a:close/>
                  <a:moveTo>
                    <a:pt x="59" y="40"/>
                  </a:moveTo>
                  <a:lnTo>
                    <a:pt x="59" y="40"/>
                  </a:lnTo>
                  <a:lnTo>
                    <a:pt x="59" y="40"/>
                  </a:lnTo>
                  <a:lnTo>
                    <a:pt x="59" y="40"/>
                  </a:lnTo>
                  <a:lnTo>
                    <a:pt x="57" y="38"/>
                  </a:lnTo>
                  <a:lnTo>
                    <a:pt x="57" y="38"/>
                  </a:lnTo>
                  <a:lnTo>
                    <a:pt x="57" y="38"/>
                  </a:lnTo>
                  <a:lnTo>
                    <a:pt x="57" y="38"/>
                  </a:lnTo>
                  <a:lnTo>
                    <a:pt x="57" y="35"/>
                  </a:lnTo>
                  <a:lnTo>
                    <a:pt x="57" y="35"/>
                  </a:lnTo>
                  <a:lnTo>
                    <a:pt x="57" y="35"/>
                  </a:lnTo>
                  <a:lnTo>
                    <a:pt x="57" y="33"/>
                  </a:lnTo>
                  <a:lnTo>
                    <a:pt x="54" y="33"/>
                  </a:lnTo>
                  <a:lnTo>
                    <a:pt x="52" y="33"/>
                  </a:lnTo>
                  <a:lnTo>
                    <a:pt x="50" y="30"/>
                  </a:lnTo>
                  <a:lnTo>
                    <a:pt x="50" y="30"/>
                  </a:lnTo>
                  <a:lnTo>
                    <a:pt x="47" y="28"/>
                  </a:lnTo>
                  <a:lnTo>
                    <a:pt x="45" y="28"/>
                  </a:lnTo>
                  <a:lnTo>
                    <a:pt x="45" y="26"/>
                  </a:lnTo>
                  <a:lnTo>
                    <a:pt x="43" y="26"/>
                  </a:lnTo>
                  <a:lnTo>
                    <a:pt x="40" y="26"/>
                  </a:lnTo>
                  <a:lnTo>
                    <a:pt x="40" y="26"/>
                  </a:lnTo>
                  <a:lnTo>
                    <a:pt x="40" y="26"/>
                  </a:lnTo>
                  <a:lnTo>
                    <a:pt x="40" y="26"/>
                  </a:lnTo>
                  <a:lnTo>
                    <a:pt x="40" y="23"/>
                  </a:lnTo>
                  <a:lnTo>
                    <a:pt x="40" y="26"/>
                  </a:lnTo>
                  <a:lnTo>
                    <a:pt x="43" y="26"/>
                  </a:lnTo>
                  <a:lnTo>
                    <a:pt x="43" y="26"/>
                  </a:lnTo>
                  <a:lnTo>
                    <a:pt x="45" y="26"/>
                  </a:lnTo>
                  <a:lnTo>
                    <a:pt x="45" y="26"/>
                  </a:lnTo>
                  <a:lnTo>
                    <a:pt x="45" y="26"/>
                  </a:lnTo>
                  <a:lnTo>
                    <a:pt x="47" y="23"/>
                  </a:lnTo>
                  <a:lnTo>
                    <a:pt x="47" y="21"/>
                  </a:lnTo>
                  <a:lnTo>
                    <a:pt x="47" y="21"/>
                  </a:lnTo>
                  <a:lnTo>
                    <a:pt x="43" y="19"/>
                  </a:lnTo>
                  <a:lnTo>
                    <a:pt x="40" y="16"/>
                  </a:lnTo>
                  <a:lnTo>
                    <a:pt x="38" y="14"/>
                  </a:lnTo>
                  <a:lnTo>
                    <a:pt x="35" y="12"/>
                  </a:lnTo>
                  <a:lnTo>
                    <a:pt x="35" y="12"/>
                  </a:lnTo>
                  <a:lnTo>
                    <a:pt x="35" y="12"/>
                  </a:lnTo>
                  <a:lnTo>
                    <a:pt x="38" y="9"/>
                  </a:lnTo>
                  <a:lnTo>
                    <a:pt x="38" y="9"/>
                  </a:lnTo>
                  <a:lnTo>
                    <a:pt x="38" y="9"/>
                  </a:lnTo>
                  <a:lnTo>
                    <a:pt x="38" y="7"/>
                  </a:lnTo>
                  <a:lnTo>
                    <a:pt x="35" y="7"/>
                  </a:lnTo>
                  <a:lnTo>
                    <a:pt x="35" y="4"/>
                  </a:lnTo>
                  <a:lnTo>
                    <a:pt x="33" y="4"/>
                  </a:lnTo>
                  <a:lnTo>
                    <a:pt x="33" y="4"/>
                  </a:lnTo>
                  <a:lnTo>
                    <a:pt x="28" y="4"/>
                  </a:lnTo>
                  <a:lnTo>
                    <a:pt x="28" y="4"/>
                  </a:lnTo>
                  <a:lnTo>
                    <a:pt x="28" y="2"/>
                  </a:lnTo>
                  <a:lnTo>
                    <a:pt x="28" y="2"/>
                  </a:lnTo>
                  <a:lnTo>
                    <a:pt x="31" y="2"/>
                  </a:lnTo>
                  <a:lnTo>
                    <a:pt x="31" y="2"/>
                  </a:lnTo>
                  <a:lnTo>
                    <a:pt x="31" y="2"/>
                  </a:lnTo>
                  <a:lnTo>
                    <a:pt x="28" y="2"/>
                  </a:lnTo>
                  <a:lnTo>
                    <a:pt x="26" y="0"/>
                  </a:lnTo>
                  <a:lnTo>
                    <a:pt x="26" y="0"/>
                  </a:lnTo>
                  <a:lnTo>
                    <a:pt x="26" y="0"/>
                  </a:lnTo>
                  <a:lnTo>
                    <a:pt x="24" y="0"/>
                  </a:lnTo>
                  <a:lnTo>
                    <a:pt x="24" y="0"/>
                  </a:lnTo>
                  <a:lnTo>
                    <a:pt x="24" y="0"/>
                  </a:lnTo>
                  <a:lnTo>
                    <a:pt x="24" y="0"/>
                  </a:lnTo>
                  <a:lnTo>
                    <a:pt x="19" y="0"/>
                  </a:lnTo>
                  <a:lnTo>
                    <a:pt x="19" y="2"/>
                  </a:lnTo>
                  <a:lnTo>
                    <a:pt x="14" y="0"/>
                  </a:lnTo>
                  <a:lnTo>
                    <a:pt x="12" y="0"/>
                  </a:lnTo>
                  <a:lnTo>
                    <a:pt x="12" y="2"/>
                  </a:lnTo>
                  <a:lnTo>
                    <a:pt x="9" y="2"/>
                  </a:lnTo>
                  <a:lnTo>
                    <a:pt x="7" y="2"/>
                  </a:lnTo>
                  <a:lnTo>
                    <a:pt x="5" y="2"/>
                  </a:lnTo>
                  <a:lnTo>
                    <a:pt x="2" y="2"/>
                  </a:lnTo>
                  <a:lnTo>
                    <a:pt x="0" y="2"/>
                  </a:lnTo>
                  <a:lnTo>
                    <a:pt x="0" y="4"/>
                  </a:lnTo>
                  <a:lnTo>
                    <a:pt x="2" y="4"/>
                  </a:lnTo>
                  <a:lnTo>
                    <a:pt x="2" y="7"/>
                  </a:lnTo>
                  <a:lnTo>
                    <a:pt x="5" y="7"/>
                  </a:lnTo>
                  <a:lnTo>
                    <a:pt x="5" y="9"/>
                  </a:lnTo>
                  <a:lnTo>
                    <a:pt x="7" y="12"/>
                  </a:lnTo>
                  <a:lnTo>
                    <a:pt x="7" y="12"/>
                  </a:lnTo>
                  <a:lnTo>
                    <a:pt x="7" y="14"/>
                  </a:lnTo>
                  <a:lnTo>
                    <a:pt x="5" y="16"/>
                  </a:lnTo>
                  <a:lnTo>
                    <a:pt x="5" y="16"/>
                  </a:lnTo>
                  <a:lnTo>
                    <a:pt x="5" y="19"/>
                  </a:lnTo>
                  <a:lnTo>
                    <a:pt x="5" y="19"/>
                  </a:lnTo>
                  <a:lnTo>
                    <a:pt x="7" y="21"/>
                  </a:lnTo>
                  <a:lnTo>
                    <a:pt x="7" y="23"/>
                  </a:lnTo>
                  <a:lnTo>
                    <a:pt x="7" y="23"/>
                  </a:lnTo>
                  <a:lnTo>
                    <a:pt x="7" y="23"/>
                  </a:lnTo>
                  <a:lnTo>
                    <a:pt x="9" y="23"/>
                  </a:lnTo>
                  <a:lnTo>
                    <a:pt x="12" y="26"/>
                  </a:lnTo>
                  <a:lnTo>
                    <a:pt x="14" y="26"/>
                  </a:lnTo>
                  <a:lnTo>
                    <a:pt x="17" y="26"/>
                  </a:lnTo>
                  <a:lnTo>
                    <a:pt x="19" y="26"/>
                  </a:lnTo>
                  <a:lnTo>
                    <a:pt x="21" y="23"/>
                  </a:lnTo>
                  <a:lnTo>
                    <a:pt x="24" y="26"/>
                  </a:lnTo>
                  <a:lnTo>
                    <a:pt x="26" y="30"/>
                  </a:lnTo>
                  <a:lnTo>
                    <a:pt x="28" y="30"/>
                  </a:lnTo>
                  <a:lnTo>
                    <a:pt x="28" y="30"/>
                  </a:lnTo>
                  <a:lnTo>
                    <a:pt x="31" y="28"/>
                  </a:lnTo>
                  <a:lnTo>
                    <a:pt x="33" y="30"/>
                  </a:lnTo>
                  <a:lnTo>
                    <a:pt x="33" y="30"/>
                  </a:lnTo>
                  <a:lnTo>
                    <a:pt x="33" y="30"/>
                  </a:lnTo>
                  <a:lnTo>
                    <a:pt x="35" y="33"/>
                  </a:lnTo>
                  <a:lnTo>
                    <a:pt x="35" y="33"/>
                  </a:lnTo>
                  <a:lnTo>
                    <a:pt x="35" y="33"/>
                  </a:lnTo>
                  <a:lnTo>
                    <a:pt x="38" y="33"/>
                  </a:lnTo>
                  <a:lnTo>
                    <a:pt x="38" y="35"/>
                  </a:lnTo>
                  <a:lnTo>
                    <a:pt x="40" y="35"/>
                  </a:lnTo>
                  <a:lnTo>
                    <a:pt x="43" y="33"/>
                  </a:lnTo>
                  <a:lnTo>
                    <a:pt x="43" y="33"/>
                  </a:lnTo>
                  <a:lnTo>
                    <a:pt x="45" y="33"/>
                  </a:lnTo>
                  <a:lnTo>
                    <a:pt x="45" y="33"/>
                  </a:lnTo>
                  <a:lnTo>
                    <a:pt x="45" y="35"/>
                  </a:lnTo>
                  <a:lnTo>
                    <a:pt x="45" y="38"/>
                  </a:lnTo>
                  <a:lnTo>
                    <a:pt x="45" y="38"/>
                  </a:lnTo>
                  <a:lnTo>
                    <a:pt x="47" y="38"/>
                  </a:lnTo>
                  <a:lnTo>
                    <a:pt x="50" y="40"/>
                  </a:lnTo>
                  <a:lnTo>
                    <a:pt x="50" y="40"/>
                  </a:lnTo>
                  <a:lnTo>
                    <a:pt x="50" y="42"/>
                  </a:lnTo>
                  <a:lnTo>
                    <a:pt x="52" y="45"/>
                  </a:lnTo>
                  <a:lnTo>
                    <a:pt x="52" y="47"/>
                  </a:lnTo>
                  <a:lnTo>
                    <a:pt x="52" y="47"/>
                  </a:lnTo>
                  <a:lnTo>
                    <a:pt x="54" y="47"/>
                  </a:lnTo>
                  <a:lnTo>
                    <a:pt x="57" y="47"/>
                  </a:lnTo>
                  <a:lnTo>
                    <a:pt x="59" y="47"/>
                  </a:lnTo>
                  <a:lnTo>
                    <a:pt x="59" y="45"/>
                  </a:lnTo>
                  <a:lnTo>
                    <a:pt x="59" y="45"/>
                  </a:lnTo>
                  <a:lnTo>
                    <a:pt x="59" y="42"/>
                  </a:lnTo>
                  <a:lnTo>
                    <a:pt x="57" y="42"/>
                  </a:lnTo>
                  <a:lnTo>
                    <a:pt x="57" y="42"/>
                  </a:lnTo>
                  <a:lnTo>
                    <a:pt x="57" y="40"/>
                  </a:lnTo>
                  <a:lnTo>
                    <a:pt x="59" y="40"/>
                  </a:lnTo>
                  <a:close/>
                  <a:moveTo>
                    <a:pt x="28" y="4"/>
                  </a:moveTo>
                  <a:lnTo>
                    <a:pt x="28" y="4"/>
                  </a:lnTo>
                  <a:lnTo>
                    <a:pt x="26" y="4"/>
                  </a:lnTo>
                  <a:lnTo>
                    <a:pt x="26" y="4"/>
                  </a:lnTo>
                  <a:lnTo>
                    <a:pt x="26" y="4"/>
                  </a:lnTo>
                  <a:lnTo>
                    <a:pt x="26" y="2"/>
                  </a:lnTo>
                  <a:lnTo>
                    <a:pt x="28" y="4"/>
                  </a:lnTo>
                  <a:lnTo>
                    <a:pt x="28" y="4"/>
                  </a:lnTo>
                  <a:lnTo>
                    <a:pt x="28" y="4"/>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 name="Freeform 215"/>
            <p:cNvSpPr>
              <a:spLocks noEditPoints="1"/>
            </p:cNvSpPr>
            <p:nvPr/>
          </p:nvSpPr>
          <p:spPr bwMode="auto">
            <a:xfrm>
              <a:off x="1500" y="3262"/>
              <a:ext cx="286" cy="694"/>
            </a:xfrm>
            <a:custGeom>
              <a:avLst/>
              <a:gdLst>
                <a:gd name="T0" fmla="*/ 279 w 286"/>
                <a:gd name="T1" fmla="*/ 689 h 694"/>
                <a:gd name="T2" fmla="*/ 210 w 286"/>
                <a:gd name="T3" fmla="*/ 665 h 694"/>
                <a:gd name="T4" fmla="*/ 196 w 286"/>
                <a:gd name="T5" fmla="*/ 658 h 694"/>
                <a:gd name="T6" fmla="*/ 248 w 286"/>
                <a:gd name="T7" fmla="*/ 691 h 694"/>
                <a:gd name="T8" fmla="*/ 191 w 286"/>
                <a:gd name="T9" fmla="*/ 367 h 694"/>
                <a:gd name="T10" fmla="*/ 257 w 286"/>
                <a:gd name="T11" fmla="*/ 289 h 694"/>
                <a:gd name="T12" fmla="*/ 224 w 286"/>
                <a:gd name="T13" fmla="*/ 241 h 694"/>
                <a:gd name="T14" fmla="*/ 224 w 286"/>
                <a:gd name="T15" fmla="*/ 210 h 694"/>
                <a:gd name="T16" fmla="*/ 222 w 286"/>
                <a:gd name="T17" fmla="*/ 184 h 694"/>
                <a:gd name="T18" fmla="*/ 241 w 286"/>
                <a:gd name="T19" fmla="*/ 154 h 694"/>
                <a:gd name="T20" fmla="*/ 253 w 286"/>
                <a:gd name="T21" fmla="*/ 137 h 694"/>
                <a:gd name="T22" fmla="*/ 267 w 286"/>
                <a:gd name="T23" fmla="*/ 120 h 694"/>
                <a:gd name="T24" fmla="*/ 283 w 286"/>
                <a:gd name="T25" fmla="*/ 106 h 694"/>
                <a:gd name="T26" fmla="*/ 272 w 286"/>
                <a:gd name="T27" fmla="*/ 78 h 694"/>
                <a:gd name="T28" fmla="*/ 257 w 286"/>
                <a:gd name="T29" fmla="*/ 106 h 694"/>
                <a:gd name="T30" fmla="*/ 241 w 286"/>
                <a:gd name="T31" fmla="*/ 116 h 694"/>
                <a:gd name="T32" fmla="*/ 198 w 286"/>
                <a:gd name="T33" fmla="*/ 111 h 694"/>
                <a:gd name="T34" fmla="*/ 201 w 286"/>
                <a:gd name="T35" fmla="*/ 94 h 694"/>
                <a:gd name="T36" fmla="*/ 208 w 286"/>
                <a:gd name="T37" fmla="*/ 73 h 694"/>
                <a:gd name="T38" fmla="*/ 153 w 286"/>
                <a:gd name="T39" fmla="*/ 45 h 694"/>
                <a:gd name="T40" fmla="*/ 108 w 286"/>
                <a:gd name="T41" fmla="*/ 9 h 694"/>
                <a:gd name="T42" fmla="*/ 80 w 286"/>
                <a:gd name="T43" fmla="*/ 16 h 694"/>
                <a:gd name="T44" fmla="*/ 49 w 286"/>
                <a:gd name="T45" fmla="*/ 4 h 694"/>
                <a:gd name="T46" fmla="*/ 30 w 286"/>
                <a:gd name="T47" fmla="*/ 16 h 694"/>
                <a:gd name="T48" fmla="*/ 9 w 286"/>
                <a:gd name="T49" fmla="*/ 59 h 694"/>
                <a:gd name="T50" fmla="*/ 16 w 286"/>
                <a:gd name="T51" fmla="*/ 92 h 694"/>
                <a:gd name="T52" fmla="*/ 11 w 286"/>
                <a:gd name="T53" fmla="*/ 111 h 694"/>
                <a:gd name="T54" fmla="*/ 2 w 286"/>
                <a:gd name="T55" fmla="*/ 147 h 694"/>
                <a:gd name="T56" fmla="*/ 2 w 286"/>
                <a:gd name="T57" fmla="*/ 180 h 694"/>
                <a:gd name="T58" fmla="*/ 0 w 286"/>
                <a:gd name="T59" fmla="*/ 201 h 694"/>
                <a:gd name="T60" fmla="*/ 11 w 286"/>
                <a:gd name="T61" fmla="*/ 227 h 694"/>
                <a:gd name="T62" fmla="*/ 26 w 286"/>
                <a:gd name="T63" fmla="*/ 255 h 694"/>
                <a:gd name="T64" fmla="*/ 23 w 286"/>
                <a:gd name="T65" fmla="*/ 282 h 694"/>
                <a:gd name="T66" fmla="*/ 23 w 286"/>
                <a:gd name="T67" fmla="*/ 305 h 694"/>
                <a:gd name="T68" fmla="*/ 21 w 286"/>
                <a:gd name="T69" fmla="*/ 326 h 694"/>
                <a:gd name="T70" fmla="*/ 33 w 286"/>
                <a:gd name="T71" fmla="*/ 360 h 694"/>
                <a:gd name="T72" fmla="*/ 30 w 286"/>
                <a:gd name="T73" fmla="*/ 381 h 694"/>
                <a:gd name="T74" fmla="*/ 33 w 286"/>
                <a:gd name="T75" fmla="*/ 400 h 694"/>
                <a:gd name="T76" fmla="*/ 42 w 286"/>
                <a:gd name="T77" fmla="*/ 431 h 694"/>
                <a:gd name="T78" fmla="*/ 54 w 286"/>
                <a:gd name="T79" fmla="*/ 454 h 694"/>
                <a:gd name="T80" fmla="*/ 75 w 286"/>
                <a:gd name="T81" fmla="*/ 476 h 694"/>
                <a:gd name="T82" fmla="*/ 78 w 286"/>
                <a:gd name="T83" fmla="*/ 492 h 694"/>
                <a:gd name="T84" fmla="*/ 85 w 286"/>
                <a:gd name="T85" fmla="*/ 521 h 694"/>
                <a:gd name="T86" fmla="*/ 82 w 286"/>
                <a:gd name="T87" fmla="*/ 544 h 694"/>
                <a:gd name="T88" fmla="*/ 82 w 286"/>
                <a:gd name="T89" fmla="*/ 570 h 694"/>
                <a:gd name="T90" fmla="*/ 97 w 286"/>
                <a:gd name="T91" fmla="*/ 604 h 694"/>
                <a:gd name="T92" fmla="*/ 116 w 286"/>
                <a:gd name="T93" fmla="*/ 615 h 694"/>
                <a:gd name="T94" fmla="*/ 165 w 286"/>
                <a:gd name="T95" fmla="*/ 634 h 694"/>
                <a:gd name="T96" fmla="*/ 165 w 286"/>
                <a:gd name="T97" fmla="*/ 622 h 694"/>
                <a:gd name="T98" fmla="*/ 163 w 286"/>
                <a:gd name="T99" fmla="*/ 599 h 694"/>
                <a:gd name="T100" fmla="*/ 168 w 286"/>
                <a:gd name="T101" fmla="*/ 592 h 694"/>
                <a:gd name="T102" fmla="*/ 191 w 286"/>
                <a:gd name="T103" fmla="*/ 549 h 694"/>
                <a:gd name="T104" fmla="*/ 170 w 286"/>
                <a:gd name="T105" fmla="*/ 530 h 694"/>
                <a:gd name="T106" fmla="*/ 170 w 286"/>
                <a:gd name="T107" fmla="*/ 488 h 694"/>
                <a:gd name="T108" fmla="*/ 175 w 286"/>
                <a:gd name="T109" fmla="*/ 447 h 694"/>
                <a:gd name="T110" fmla="*/ 189 w 286"/>
                <a:gd name="T111" fmla="*/ 440 h 694"/>
                <a:gd name="T112" fmla="*/ 172 w 286"/>
                <a:gd name="T113" fmla="*/ 433 h 694"/>
                <a:gd name="T114" fmla="*/ 151 w 286"/>
                <a:gd name="T115" fmla="*/ 400 h 694"/>
                <a:gd name="T116" fmla="*/ 194 w 286"/>
                <a:gd name="T117" fmla="*/ 393 h 694"/>
                <a:gd name="T118" fmla="*/ 184 w 286"/>
                <a:gd name="T119" fmla="*/ 360 h 694"/>
                <a:gd name="T120" fmla="*/ 269 w 286"/>
                <a:gd name="T121" fmla="*/ 331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86" h="694">
                  <a:moveTo>
                    <a:pt x="286" y="686"/>
                  </a:moveTo>
                  <a:lnTo>
                    <a:pt x="283" y="686"/>
                  </a:lnTo>
                  <a:lnTo>
                    <a:pt x="281" y="686"/>
                  </a:lnTo>
                  <a:lnTo>
                    <a:pt x="281" y="686"/>
                  </a:lnTo>
                  <a:lnTo>
                    <a:pt x="281" y="686"/>
                  </a:lnTo>
                  <a:lnTo>
                    <a:pt x="279" y="686"/>
                  </a:lnTo>
                  <a:lnTo>
                    <a:pt x="276" y="686"/>
                  </a:lnTo>
                  <a:lnTo>
                    <a:pt x="274" y="686"/>
                  </a:lnTo>
                  <a:lnTo>
                    <a:pt x="274" y="686"/>
                  </a:lnTo>
                  <a:lnTo>
                    <a:pt x="274" y="689"/>
                  </a:lnTo>
                  <a:lnTo>
                    <a:pt x="272" y="689"/>
                  </a:lnTo>
                  <a:lnTo>
                    <a:pt x="272" y="689"/>
                  </a:lnTo>
                  <a:lnTo>
                    <a:pt x="272" y="689"/>
                  </a:lnTo>
                  <a:lnTo>
                    <a:pt x="274" y="691"/>
                  </a:lnTo>
                  <a:lnTo>
                    <a:pt x="276" y="689"/>
                  </a:lnTo>
                  <a:lnTo>
                    <a:pt x="276" y="689"/>
                  </a:lnTo>
                  <a:lnTo>
                    <a:pt x="279" y="689"/>
                  </a:lnTo>
                  <a:lnTo>
                    <a:pt x="283" y="689"/>
                  </a:lnTo>
                  <a:lnTo>
                    <a:pt x="283" y="689"/>
                  </a:lnTo>
                  <a:lnTo>
                    <a:pt x="286" y="686"/>
                  </a:lnTo>
                  <a:lnTo>
                    <a:pt x="286" y="686"/>
                  </a:lnTo>
                  <a:close/>
                  <a:moveTo>
                    <a:pt x="260" y="684"/>
                  </a:moveTo>
                  <a:lnTo>
                    <a:pt x="255" y="684"/>
                  </a:lnTo>
                  <a:lnTo>
                    <a:pt x="250" y="684"/>
                  </a:lnTo>
                  <a:lnTo>
                    <a:pt x="246" y="682"/>
                  </a:lnTo>
                  <a:lnTo>
                    <a:pt x="241" y="682"/>
                  </a:lnTo>
                  <a:lnTo>
                    <a:pt x="236" y="679"/>
                  </a:lnTo>
                  <a:lnTo>
                    <a:pt x="231" y="677"/>
                  </a:lnTo>
                  <a:lnTo>
                    <a:pt x="229" y="675"/>
                  </a:lnTo>
                  <a:lnTo>
                    <a:pt x="224" y="672"/>
                  </a:lnTo>
                  <a:lnTo>
                    <a:pt x="220" y="670"/>
                  </a:lnTo>
                  <a:lnTo>
                    <a:pt x="215" y="667"/>
                  </a:lnTo>
                  <a:lnTo>
                    <a:pt x="213" y="665"/>
                  </a:lnTo>
                  <a:lnTo>
                    <a:pt x="210" y="665"/>
                  </a:lnTo>
                  <a:lnTo>
                    <a:pt x="208" y="663"/>
                  </a:lnTo>
                  <a:lnTo>
                    <a:pt x="203" y="658"/>
                  </a:lnTo>
                  <a:lnTo>
                    <a:pt x="203" y="658"/>
                  </a:lnTo>
                  <a:lnTo>
                    <a:pt x="198" y="658"/>
                  </a:lnTo>
                  <a:lnTo>
                    <a:pt x="198" y="658"/>
                  </a:lnTo>
                  <a:lnTo>
                    <a:pt x="196" y="656"/>
                  </a:lnTo>
                  <a:lnTo>
                    <a:pt x="196" y="656"/>
                  </a:lnTo>
                  <a:lnTo>
                    <a:pt x="196" y="653"/>
                  </a:lnTo>
                  <a:lnTo>
                    <a:pt x="196" y="653"/>
                  </a:lnTo>
                  <a:lnTo>
                    <a:pt x="198" y="653"/>
                  </a:lnTo>
                  <a:lnTo>
                    <a:pt x="201" y="653"/>
                  </a:lnTo>
                  <a:lnTo>
                    <a:pt x="198" y="651"/>
                  </a:lnTo>
                  <a:lnTo>
                    <a:pt x="196" y="651"/>
                  </a:lnTo>
                  <a:lnTo>
                    <a:pt x="191" y="646"/>
                  </a:lnTo>
                  <a:lnTo>
                    <a:pt x="189" y="646"/>
                  </a:lnTo>
                  <a:lnTo>
                    <a:pt x="191" y="651"/>
                  </a:lnTo>
                  <a:lnTo>
                    <a:pt x="196" y="658"/>
                  </a:lnTo>
                  <a:lnTo>
                    <a:pt x="198" y="663"/>
                  </a:lnTo>
                  <a:lnTo>
                    <a:pt x="201" y="667"/>
                  </a:lnTo>
                  <a:lnTo>
                    <a:pt x="203" y="672"/>
                  </a:lnTo>
                  <a:lnTo>
                    <a:pt x="205" y="679"/>
                  </a:lnTo>
                  <a:lnTo>
                    <a:pt x="208" y="684"/>
                  </a:lnTo>
                  <a:lnTo>
                    <a:pt x="210" y="689"/>
                  </a:lnTo>
                  <a:lnTo>
                    <a:pt x="213" y="689"/>
                  </a:lnTo>
                  <a:lnTo>
                    <a:pt x="213" y="689"/>
                  </a:lnTo>
                  <a:lnTo>
                    <a:pt x="215" y="689"/>
                  </a:lnTo>
                  <a:lnTo>
                    <a:pt x="217" y="689"/>
                  </a:lnTo>
                  <a:lnTo>
                    <a:pt x="222" y="689"/>
                  </a:lnTo>
                  <a:lnTo>
                    <a:pt x="224" y="689"/>
                  </a:lnTo>
                  <a:lnTo>
                    <a:pt x="236" y="691"/>
                  </a:lnTo>
                  <a:lnTo>
                    <a:pt x="239" y="691"/>
                  </a:lnTo>
                  <a:lnTo>
                    <a:pt x="243" y="694"/>
                  </a:lnTo>
                  <a:lnTo>
                    <a:pt x="246" y="694"/>
                  </a:lnTo>
                  <a:lnTo>
                    <a:pt x="248" y="691"/>
                  </a:lnTo>
                  <a:lnTo>
                    <a:pt x="250" y="691"/>
                  </a:lnTo>
                  <a:lnTo>
                    <a:pt x="250" y="691"/>
                  </a:lnTo>
                  <a:lnTo>
                    <a:pt x="253" y="691"/>
                  </a:lnTo>
                  <a:lnTo>
                    <a:pt x="253" y="691"/>
                  </a:lnTo>
                  <a:lnTo>
                    <a:pt x="255" y="691"/>
                  </a:lnTo>
                  <a:lnTo>
                    <a:pt x="257" y="691"/>
                  </a:lnTo>
                  <a:lnTo>
                    <a:pt x="260" y="691"/>
                  </a:lnTo>
                  <a:lnTo>
                    <a:pt x="262" y="691"/>
                  </a:lnTo>
                  <a:lnTo>
                    <a:pt x="262" y="689"/>
                  </a:lnTo>
                  <a:lnTo>
                    <a:pt x="265" y="689"/>
                  </a:lnTo>
                  <a:lnTo>
                    <a:pt x="265" y="686"/>
                  </a:lnTo>
                  <a:lnTo>
                    <a:pt x="262" y="684"/>
                  </a:lnTo>
                  <a:lnTo>
                    <a:pt x="260" y="684"/>
                  </a:lnTo>
                  <a:close/>
                  <a:moveTo>
                    <a:pt x="194" y="367"/>
                  </a:moveTo>
                  <a:lnTo>
                    <a:pt x="191" y="367"/>
                  </a:lnTo>
                  <a:lnTo>
                    <a:pt x="191" y="367"/>
                  </a:lnTo>
                  <a:lnTo>
                    <a:pt x="191" y="367"/>
                  </a:lnTo>
                  <a:lnTo>
                    <a:pt x="196" y="369"/>
                  </a:lnTo>
                  <a:lnTo>
                    <a:pt x="196" y="369"/>
                  </a:lnTo>
                  <a:lnTo>
                    <a:pt x="196" y="367"/>
                  </a:lnTo>
                  <a:lnTo>
                    <a:pt x="194" y="367"/>
                  </a:lnTo>
                  <a:lnTo>
                    <a:pt x="194" y="367"/>
                  </a:lnTo>
                  <a:close/>
                  <a:moveTo>
                    <a:pt x="272" y="317"/>
                  </a:moveTo>
                  <a:lnTo>
                    <a:pt x="272" y="315"/>
                  </a:lnTo>
                  <a:lnTo>
                    <a:pt x="269" y="308"/>
                  </a:lnTo>
                  <a:lnTo>
                    <a:pt x="269" y="308"/>
                  </a:lnTo>
                  <a:lnTo>
                    <a:pt x="269" y="308"/>
                  </a:lnTo>
                  <a:lnTo>
                    <a:pt x="265" y="308"/>
                  </a:lnTo>
                  <a:lnTo>
                    <a:pt x="262" y="305"/>
                  </a:lnTo>
                  <a:lnTo>
                    <a:pt x="257" y="303"/>
                  </a:lnTo>
                  <a:lnTo>
                    <a:pt x="257" y="300"/>
                  </a:lnTo>
                  <a:lnTo>
                    <a:pt x="255" y="298"/>
                  </a:lnTo>
                  <a:lnTo>
                    <a:pt x="255" y="293"/>
                  </a:lnTo>
                  <a:lnTo>
                    <a:pt x="257" y="289"/>
                  </a:lnTo>
                  <a:lnTo>
                    <a:pt x="255" y="286"/>
                  </a:lnTo>
                  <a:lnTo>
                    <a:pt x="253" y="282"/>
                  </a:lnTo>
                  <a:lnTo>
                    <a:pt x="248" y="279"/>
                  </a:lnTo>
                  <a:lnTo>
                    <a:pt x="243" y="277"/>
                  </a:lnTo>
                  <a:lnTo>
                    <a:pt x="234" y="272"/>
                  </a:lnTo>
                  <a:lnTo>
                    <a:pt x="229" y="267"/>
                  </a:lnTo>
                  <a:lnTo>
                    <a:pt x="229" y="267"/>
                  </a:lnTo>
                  <a:lnTo>
                    <a:pt x="227" y="263"/>
                  </a:lnTo>
                  <a:lnTo>
                    <a:pt x="229" y="263"/>
                  </a:lnTo>
                  <a:lnTo>
                    <a:pt x="229" y="263"/>
                  </a:lnTo>
                  <a:lnTo>
                    <a:pt x="229" y="260"/>
                  </a:lnTo>
                  <a:lnTo>
                    <a:pt x="229" y="258"/>
                  </a:lnTo>
                  <a:lnTo>
                    <a:pt x="227" y="255"/>
                  </a:lnTo>
                  <a:lnTo>
                    <a:pt x="227" y="255"/>
                  </a:lnTo>
                  <a:lnTo>
                    <a:pt x="224" y="251"/>
                  </a:lnTo>
                  <a:lnTo>
                    <a:pt x="224" y="251"/>
                  </a:lnTo>
                  <a:lnTo>
                    <a:pt x="224" y="241"/>
                  </a:lnTo>
                  <a:lnTo>
                    <a:pt x="224" y="239"/>
                  </a:lnTo>
                  <a:lnTo>
                    <a:pt x="224" y="237"/>
                  </a:lnTo>
                  <a:lnTo>
                    <a:pt x="224" y="237"/>
                  </a:lnTo>
                  <a:lnTo>
                    <a:pt x="227" y="237"/>
                  </a:lnTo>
                  <a:lnTo>
                    <a:pt x="227" y="237"/>
                  </a:lnTo>
                  <a:lnTo>
                    <a:pt x="227" y="234"/>
                  </a:lnTo>
                  <a:lnTo>
                    <a:pt x="224" y="227"/>
                  </a:lnTo>
                  <a:lnTo>
                    <a:pt x="224" y="225"/>
                  </a:lnTo>
                  <a:lnTo>
                    <a:pt x="224" y="222"/>
                  </a:lnTo>
                  <a:lnTo>
                    <a:pt x="224" y="220"/>
                  </a:lnTo>
                  <a:lnTo>
                    <a:pt x="224" y="218"/>
                  </a:lnTo>
                  <a:lnTo>
                    <a:pt x="224" y="218"/>
                  </a:lnTo>
                  <a:lnTo>
                    <a:pt x="224" y="215"/>
                  </a:lnTo>
                  <a:lnTo>
                    <a:pt x="222" y="215"/>
                  </a:lnTo>
                  <a:lnTo>
                    <a:pt x="222" y="213"/>
                  </a:lnTo>
                  <a:lnTo>
                    <a:pt x="222" y="213"/>
                  </a:lnTo>
                  <a:lnTo>
                    <a:pt x="224" y="210"/>
                  </a:lnTo>
                  <a:lnTo>
                    <a:pt x="224" y="210"/>
                  </a:lnTo>
                  <a:lnTo>
                    <a:pt x="224" y="208"/>
                  </a:lnTo>
                  <a:lnTo>
                    <a:pt x="224" y="206"/>
                  </a:lnTo>
                  <a:lnTo>
                    <a:pt x="224" y="206"/>
                  </a:lnTo>
                  <a:lnTo>
                    <a:pt x="224" y="206"/>
                  </a:lnTo>
                  <a:lnTo>
                    <a:pt x="222" y="203"/>
                  </a:lnTo>
                  <a:lnTo>
                    <a:pt x="222" y="201"/>
                  </a:lnTo>
                  <a:lnTo>
                    <a:pt x="224" y="199"/>
                  </a:lnTo>
                  <a:lnTo>
                    <a:pt x="224" y="199"/>
                  </a:lnTo>
                  <a:lnTo>
                    <a:pt x="224" y="196"/>
                  </a:lnTo>
                  <a:lnTo>
                    <a:pt x="224" y="194"/>
                  </a:lnTo>
                  <a:lnTo>
                    <a:pt x="224" y="194"/>
                  </a:lnTo>
                  <a:lnTo>
                    <a:pt x="224" y="192"/>
                  </a:lnTo>
                  <a:lnTo>
                    <a:pt x="224" y="192"/>
                  </a:lnTo>
                  <a:lnTo>
                    <a:pt x="224" y="192"/>
                  </a:lnTo>
                  <a:lnTo>
                    <a:pt x="224" y="187"/>
                  </a:lnTo>
                  <a:lnTo>
                    <a:pt x="222" y="184"/>
                  </a:lnTo>
                  <a:lnTo>
                    <a:pt x="222" y="182"/>
                  </a:lnTo>
                  <a:lnTo>
                    <a:pt x="224" y="180"/>
                  </a:lnTo>
                  <a:lnTo>
                    <a:pt x="224" y="180"/>
                  </a:lnTo>
                  <a:lnTo>
                    <a:pt x="224" y="177"/>
                  </a:lnTo>
                  <a:lnTo>
                    <a:pt x="224" y="177"/>
                  </a:lnTo>
                  <a:lnTo>
                    <a:pt x="227" y="175"/>
                  </a:lnTo>
                  <a:lnTo>
                    <a:pt x="229" y="173"/>
                  </a:lnTo>
                  <a:lnTo>
                    <a:pt x="229" y="170"/>
                  </a:lnTo>
                  <a:lnTo>
                    <a:pt x="229" y="170"/>
                  </a:lnTo>
                  <a:lnTo>
                    <a:pt x="231" y="168"/>
                  </a:lnTo>
                  <a:lnTo>
                    <a:pt x="234" y="165"/>
                  </a:lnTo>
                  <a:lnTo>
                    <a:pt x="236" y="163"/>
                  </a:lnTo>
                  <a:lnTo>
                    <a:pt x="239" y="161"/>
                  </a:lnTo>
                  <a:lnTo>
                    <a:pt x="239" y="158"/>
                  </a:lnTo>
                  <a:lnTo>
                    <a:pt x="239" y="156"/>
                  </a:lnTo>
                  <a:lnTo>
                    <a:pt x="241" y="154"/>
                  </a:lnTo>
                  <a:lnTo>
                    <a:pt x="241" y="154"/>
                  </a:lnTo>
                  <a:lnTo>
                    <a:pt x="243" y="151"/>
                  </a:lnTo>
                  <a:lnTo>
                    <a:pt x="243" y="149"/>
                  </a:lnTo>
                  <a:lnTo>
                    <a:pt x="246" y="147"/>
                  </a:lnTo>
                  <a:lnTo>
                    <a:pt x="246" y="144"/>
                  </a:lnTo>
                  <a:lnTo>
                    <a:pt x="248" y="142"/>
                  </a:lnTo>
                  <a:lnTo>
                    <a:pt x="248" y="142"/>
                  </a:lnTo>
                  <a:lnTo>
                    <a:pt x="248" y="139"/>
                  </a:lnTo>
                  <a:lnTo>
                    <a:pt x="248" y="139"/>
                  </a:lnTo>
                  <a:lnTo>
                    <a:pt x="250" y="139"/>
                  </a:lnTo>
                  <a:lnTo>
                    <a:pt x="250" y="139"/>
                  </a:lnTo>
                  <a:lnTo>
                    <a:pt x="250" y="137"/>
                  </a:lnTo>
                  <a:lnTo>
                    <a:pt x="250" y="137"/>
                  </a:lnTo>
                  <a:lnTo>
                    <a:pt x="250" y="137"/>
                  </a:lnTo>
                  <a:lnTo>
                    <a:pt x="253" y="137"/>
                  </a:lnTo>
                  <a:lnTo>
                    <a:pt x="253" y="137"/>
                  </a:lnTo>
                  <a:lnTo>
                    <a:pt x="253" y="137"/>
                  </a:lnTo>
                  <a:lnTo>
                    <a:pt x="253" y="137"/>
                  </a:lnTo>
                  <a:lnTo>
                    <a:pt x="253" y="135"/>
                  </a:lnTo>
                  <a:lnTo>
                    <a:pt x="253" y="135"/>
                  </a:lnTo>
                  <a:lnTo>
                    <a:pt x="255" y="132"/>
                  </a:lnTo>
                  <a:lnTo>
                    <a:pt x="255" y="132"/>
                  </a:lnTo>
                  <a:lnTo>
                    <a:pt x="257" y="130"/>
                  </a:lnTo>
                  <a:lnTo>
                    <a:pt x="257" y="130"/>
                  </a:lnTo>
                  <a:lnTo>
                    <a:pt x="260" y="128"/>
                  </a:lnTo>
                  <a:lnTo>
                    <a:pt x="262" y="128"/>
                  </a:lnTo>
                  <a:lnTo>
                    <a:pt x="262" y="128"/>
                  </a:lnTo>
                  <a:lnTo>
                    <a:pt x="262" y="125"/>
                  </a:lnTo>
                  <a:lnTo>
                    <a:pt x="262" y="125"/>
                  </a:lnTo>
                  <a:lnTo>
                    <a:pt x="265" y="125"/>
                  </a:lnTo>
                  <a:lnTo>
                    <a:pt x="265" y="123"/>
                  </a:lnTo>
                  <a:lnTo>
                    <a:pt x="265" y="123"/>
                  </a:lnTo>
                  <a:lnTo>
                    <a:pt x="265" y="120"/>
                  </a:lnTo>
                  <a:lnTo>
                    <a:pt x="267" y="120"/>
                  </a:lnTo>
                  <a:lnTo>
                    <a:pt x="267" y="120"/>
                  </a:lnTo>
                  <a:lnTo>
                    <a:pt x="267" y="120"/>
                  </a:lnTo>
                  <a:lnTo>
                    <a:pt x="269" y="120"/>
                  </a:lnTo>
                  <a:lnTo>
                    <a:pt x="269" y="118"/>
                  </a:lnTo>
                  <a:lnTo>
                    <a:pt x="272" y="118"/>
                  </a:lnTo>
                  <a:lnTo>
                    <a:pt x="272" y="118"/>
                  </a:lnTo>
                  <a:lnTo>
                    <a:pt x="272" y="118"/>
                  </a:lnTo>
                  <a:lnTo>
                    <a:pt x="274" y="118"/>
                  </a:lnTo>
                  <a:lnTo>
                    <a:pt x="276" y="118"/>
                  </a:lnTo>
                  <a:lnTo>
                    <a:pt x="276" y="116"/>
                  </a:lnTo>
                  <a:lnTo>
                    <a:pt x="276" y="113"/>
                  </a:lnTo>
                  <a:lnTo>
                    <a:pt x="279" y="116"/>
                  </a:lnTo>
                  <a:lnTo>
                    <a:pt x="279" y="113"/>
                  </a:lnTo>
                  <a:lnTo>
                    <a:pt x="281" y="113"/>
                  </a:lnTo>
                  <a:lnTo>
                    <a:pt x="281" y="113"/>
                  </a:lnTo>
                  <a:lnTo>
                    <a:pt x="283" y="111"/>
                  </a:lnTo>
                  <a:lnTo>
                    <a:pt x="283" y="109"/>
                  </a:lnTo>
                  <a:lnTo>
                    <a:pt x="283" y="106"/>
                  </a:lnTo>
                  <a:lnTo>
                    <a:pt x="283" y="104"/>
                  </a:lnTo>
                  <a:lnTo>
                    <a:pt x="283" y="104"/>
                  </a:lnTo>
                  <a:lnTo>
                    <a:pt x="283" y="102"/>
                  </a:lnTo>
                  <a:lnTo>
                    <a:pt x="283" y="97"/>
                  </a:lnTo>
                  <a:lnTo>
                    <a:pt x="283" y="94"/>
                  </a:lnTo>
                  <a:lnTo>
                    <a:pt x="283" y="94"/>
                  </a:lnTo>
                  <a:lnTo>
                    <a:pt x="283" y="92"/>
                  </a:lnTo>
                  <a:lnTo>
                    <a:pt x="281" y="90"/>
                  </a:lnTo>
                  <a:lnTo>
                    <a:pt x="279" y="87"/>
                  </a:lnTo>
                  <a:lnTo>
                    <a:pt x="279" y="83"/>
                  </a:lnTo>
                  <a:lnTo>
                    <a:pt x="276" y="80"/>
                  </a:lnTo>
                  <a:lnTo>
                    <a:pt x="276" y="80"/>
                  </a:lnTo>
                  <a:lnTo>
                    <a:pt x="274" y="78"/>
                  </a:lnTo>
                  <a:lnTo>
                    <a:pt x="274" y="78"/>
                  </a:lnTo>
                  <a:lnTo>
                    <a:pt x="272" y="78"/>
                  </a:lnTo>
                  <a:lnTo>
                    <a:pt x="272" y="78"/>
                  </a:lnTo>
                  <a:lnTo>
                    <a:pt x="272" y="78"/>
                  </a:lnTo>
                  <a:lnTo>
                    <a:pt x="272" y="78"/>
                  </a:lnTo>
                  <a:lnTo>
                    <a:pt x="269" y="78"/>
                  </a:lnTo>
                  <a:lnTo>
                    <a:pt x="269" y="78"/>
                  </a:lnTo>
                  <a:lnTo>
                    <a:pt x="267" y="80"/>
                  </a:lnTo>
                  <a:lnTo>
                    <a:pt x="267" y="80"/>
                  </a:lnTo>
                  <a:lnTo>
                    <a:pt x="265" y="78"/>
                  </a:lnTo>
                  <a:lnTo>
                    <a:pt x="265" y="78"/>
                  </a:lnTo>
                  <a:lnTo>
                    <a:pt x="265" y="87"/>
                  </a:lnTo>
                  <a:lnTo>
                    <a:pt x="265" y="94"/>
                  </a:lnTo>
                  <a:lnTo>
                    <a:pt x="265" y="99"/>
                  </a:lnTo>
                  <a:lnTo>
                    <a:pt x="262" y="102"/>
                  </a:lnTo>
                  <a:lnTo>
                    <a:pt x="262" y="102"/>
                  </a:lnTo>
                  <a:lnTo>
                    <a:pt x="262" y="102"/>
                  </a:lnTo>
                  <a:lnTo>
                    <a:pt x="262" y="104"/>
                  </a:lnTo>
                  <a:lnTo>
                    <a:pt x="260" y="104"/>
                  </a:lnTo>
                  <a:lnTo>
                    <a:pt x="260" y="106"/>
                  </a:lnTo>
                  <a:lnTo>
                    <a:pt x="257" y="106"/>
                  </a:lnTo>
                  <a:lnTo>
                    <a:pt x="257" y="106"/>
                  </a:lnTo>
                  <a:lnTo>
                    <a:pt x="257" y="109"/>
                  </a:lnTo>
                  <a:lnTo>
                    <a:pt x="255" y="109"/>
                  </a:lnTo>
                  <a:lnTo>
                    <a:pt x="253" y="109"/>
                  </a:lnTo>
                  <a:lnTo>
                    <a:pt x="253" y="111"/>
                  </a:lnTo>
                  <a:lnTo>
                    <a:pt x="253" y="111"/>
                  </a:lnTo>
                  <a:lnTo>
                    <a:pt x="250" y="111"/>
                  </a:lnTo>
                  <a:lnTo>
                    <a:pt x="250" y="113"/>
                  </a:lnTo>
                  <a:lnTo>
                    <a:pt x="250" y="116"/>
                  </a:lnTo>
                  <a:lnTo>
                    <a:pt x="250" y="116"/>
                  </a:lnTo>
                  <a:lnTo>
                    <a:pt x="250" y="118"/>
                  </a:lnTo>
                  <a:lnTo>
                    <a:pt x="248" y="118"/>
                  </a:lnTo>
                  <a:lnTo>
                    <a:pt x="246" y="116"/>
                  </a:lnTo>
                  <a:lnTo>
                    <a:pt x="246" y="116"/>
                  </a:lnTo>
                  <a:lnTo>
                    <a:pt x="243" y="116"/>
                  </a:lnTo>
                  <a:lnTo>
                    <a:pt x="241" y="116"/>
                  </a:lnTo>
                  <a:lnTo>
                    <a:pt x="241" y="116"/>
                  </a:lnTo>
                  <a:lnTo>
                    <a:pt x="239" y="118"/>
                  </a:lnTo>
                  <a:lnTo>
                    <a:pt x="239" y="120"/>
                  </a:lnTo>
                  <a:lnTo>
                    <a:pt x="236" y="120"/>
                  </a:lnTo>
                  <a:lnTo>
                    <a:pt x="236" y="118"/>
                  </a:lnTo>
                  <a:lnTo>
                    <a:pt x="234" y="118"/>
                  </a:lnTo>
                  <a:lnTo>
                    <a:pt x="231" y="120"/>
                  </a:lnTo>
                  <a:lnTo>
                    <a:pt x="229" y="118"/>
                  </a:lnTo>
                  <a:lnTo>
                    <a:pt x="229" y="118"/>
                  </a:lnTo>
                  <a:lnTo>
                    <a:pt x="227" y="118"/>
                  </a:lnTo>
                  <a:lnTo>
                    <a:pt x="224" y="118"/>
                  </a:lnTo>
                  <a:lnTo>
                    <a:pt x="220" y="118"/>
                  </a:lnTo>
                  <a:lnTo>
                    <a:pt x="210" y="116"/>
                  </a:lnTo>
                  <a:lnTo>
                    <a:pt x="205" y="116"/>
                  </a:lnTo>
                  <a:lnTo>
                    <a:pt x="196" y="116"/>
                  </a:lnTo>
                  <a:lnTo>
                    <a:pt x="196" y="113"/>
                  </a:lnTo>
                  <a:lnTo>
                    <a:pt x="196" y="111"/>
                  </a:lnTo>
                  <a:lnTo>
                    <a:pt x="198" y="111"/>
                  </a:lnTo>
                  <a:lnTo>
                    <a:pt x="198" y="109"/>
                  </a:lnTo>
                  <a:lnTo>
                    <a:pt x="198" y="109"/>
                  </a:lnTo>
                  <a:lnTo>
                    <a:pt x="198" y="106"/>
                  </a:lnTo>
                  <a:lnTo>
                    <a:pt x="201" y="106"/>
                  </a:lnTo>
                  <a:lnTo>
                    <a:pt x="201" y="106"/>
                  </a:lnTo>
                  <a:lnTo>
                    <a:pt x="201" y="106"/>
                  </a:lnTo>
                  <a:lnTo>
                    <a:pt x="201" y="104"/>
                  </a:lnTo>
                  <a:lnTo>
                    <a:pt x="201" y="104"/>
                  </a:lnTo>
                  <a:lnTo>
                    <a:pt x="201" y="104"/>
                  </a:lnTo>
                  <a:lnTo>
                    <a:pt x="201" y="102"/>
                  </a:lnTo>
                  <a:lnTo>
                    <a:pt x="201" y="102"/>
                  </a:lnTo>
                  <a:lnTo>
                    <a:pt x="203" y="102"/>
                  </a:lnTo>
                  <a:lnTo>
                    <a:pt x="203" y="99"/>
                  </a:lnTo>
                  <a:lnTo>
                    <a:pt x="201" y="97"/>
                  </a:lnTo>
                  <a:lnTo>
                    <a:pt x="201" y="97"/>
                  </a:lnTo>
                  <a:lnTo>
                    <a:pt x="201" y="94"/>
                  </a:lnTo>
                  <a:lnTo>
                    <a:pt x="201" y="94"/>
                  </a:lnTo>
                  <a:lnTo>
                    <a:pt x="203" y="92"/>
                  </a:lnTo>
                  <a:lnTo>
                    <a:pt x="203" y="92"/>
                  </a:lnTo>
                  <a:lnTo>
                    <a:pt x="203" y="92"/>
                  </a:lnTo>
                  <a:lnTo>
                    <a:pt x="203" y="90"/>
                  </a:lnTo>
                  <a:lnTo>
                    <a:pt x="205" y="90"/>
                  </a:lnTo>
                  <a:lnTo>
                    <a:pt x="205" y="87"/>
                  </a:lnTo>
                  <a:lnTo>
                    <a:pt x="205" y="87"/>
                  </a:lnTo>
                  <a:lnTo>
                    <a:pt x="205" y="85"/>
                  </a:lnTo>
                  <a:lnTo>
                    <a:pt x="208" y="83"/>
                  </a:lnTo>
                  <a:lnTo>
                    <a:pt x="208" y="83"/>
                  </a:lnTo>
                  <a:lnTo>
                    <a:pt x="208" y="80"/>
                  </a:lnTo>
                  <a:lnTo>
                    <a:pt x="208" y="80"/>
                  </a:lnTo>
                  <a:lnTo>
                    <a:pt x="210" y="80"/>
                  </a:lnTo>
                  <a:lnTo>
                    <a:pt x="210" y="78"/>
                  </a:lnTo>
                  <a:lnTo>
                    <a:pt x="210" y="76"/>
                  </a:lnTo>
                  <a:lnTo>
                    <a:pt x="210" y="76"/>
                  </a:lnTo>
                  <a:lnTo>
                    <a:pt x="208" y="73"/>
                  </a:lnTo>
                  <a:lnTo>
                    <a:pt x="205" y="68"/>
                  </a:lnTo>
                  <a:lnTo>
                    <a:pt x="201" y="68"/>
                  </a:lnTo>
                  <a:lnTo>
                    <a:pt x="198" y="66"/>
                  </a:lnTo>
                  <a:lnTo>
                    <a:pt x="196" y="66"/>
                  </a:lnTo>
                  <a:lnTo>
                    <a:pt x="196" y="66"/>
                  </a:lnTo>
                  <a:lnTo>
                    <a:pt x="194" y="66"/>
                  </a:lnTo>
                  <a:lnTo>
                    <a:pt x="194" y="64"/>
                  </a:lnTo>
                  <a:lnTo>
                    <a:pt x="191" y="64"/>
                  </a:lnTo>
                  <a:lnTo>
                    <a:pt x="186" y="61"/>
                  </a:lnTo>
                  <a:lnTo>
                    <a:pt x="177" y="57"/>
                  </a:lnTo>
                  <a:lnTo>
                    <a:pt x="175" y="54"/>
                  </a:lnTo>
                  <a:lnTo>
                    <a:pt x="172" y="54"/>
                  </a:lnTo>
                  <a:lnTo>
                    <a:pt x="170" y="52"/>
                  </a:lnTo>
                  <a:lnTo>
                    <a:pt x="165" y="47"/>
                  </a:lnTo>
                  <a:lnTo>
                    <a:pt x="160" y="45"/>
                  </a:lnTo>
                  <a:lnTo>
                    <a:pt x="158" y="45"/>
                  </a:lnTo>
                  <a:lnTo>
                    <a:pt x="153" y="45"/>
                  </a:lnTo>
                  <a:lnTo>
                    <a:pt x="146" y="42"/>
                  </a:lnTo>
                  <a:lnTo>
                    <a:pt x="142" y="40"/>
                  </a:lnTo>
                  <a:lnTo>
                    <a:pt x="142" y="38"/>
                  </a:lnTo>
                  <a:lnTo>
                    <a:pt x="139" y="35"/>
                  </a:lnTo>
                  <a:lnTo>
                    <a:pt x="134" y="33"/>
                  </a:lnTo>
                  <a:lnTo>
                    <a:pt x="132" y="33"/>
                  </a:lnTo>
                  <a:lnTo>
                    <a:pt x="132" y="33"/>
                  </a:lnTo>
                  <a:lnTo>
                    <a:pt x="132" y="31"/>
                  </a:lnTo>
                  <a:lnTo>
                    <a:pt x="130" y="31"/>
                  </a:lnTo>
                  <a:lnTo>
                    <a:pt x="127" y="28"/>
                  </a:lnTo>
                  <a:lnTo>
                    <a:pt x="125" y="26"/>
                  </a:lnTo>
                  <a:lnTo>
                    <a:pt x="120" y="21"/>
                  </a:lnTo>
                  <a:lnTo>
                    <a:pt x="118" y="16"/>
                  </a:lnTo>
                  <a:lnTo>
                    <a:pt x="116" y="12"/>
                  </a:lnTo>
                  <a:lnTo>
                    <a:pt x="111" y="12"/>
                  </a:lnTo>
                  <a:lnTo>
                    <a:pt x="111" y="9"/>
                  </a:lnTo>
                  <a:lnTo>
                    <a:pt x="108" y="9"/>
                  </a:lnTo>
                  <a:lnTo>
                    <a:pt x="108" y="9"/>
                  </a:lnTo>
                  <a:lnTo>
                    <a:pt x="108" y="7"/>
                  </a:lnTo>
                  <a:lnTo>
                    <a:pt x="106" y="7"/>
                  </a:lnTo>
                  <a:lnTo>
                    <a:pt x="106" y="4"/>
                  </a:lnTo>
                  <a:lnTo>
                    <a:pt x="106" y="2"/>
                  </a:lnTo>
                  <a:lnTo>
                    <a:pt x="106" y="2"/>
                  </a:lnTo>
                  <a:lnTo>
                    <a:pt x="97" y="2"/>
                  </a:lnTo>
                  <a:lnTo>
                    <a:pt x="90" y="2"/>
                  </a:lnTo>
                  <a:lnTo>
                    <a:pt x="90" y="4"/>
                  </a:lnTo>
                  <a:lnTo>
                    <a:pt x="87" y="4"/>
                  </a:lnTo>
                  <a:lnTo>
                    <a:pt x="87" y="2"/>
                  </a:lnTo>
                  <a:lnTo>
                    <a:pt x="87" y="4"/>
                  </a:lnTo>
                  <a:lnTo>
                    <a:pt x="85" y="4"/>
                  </a:lnTo>
                  <a:lnTo>
                    <a:pt x="85" y="4"/>
                  </a:lnTo>
                  <a:lnTo>
                    <a:pt x="82" y="12"/>
                  </a:lnTo>
                  <a:lnTo>
                    <a:pt x="82" y="14"/>
                  </a:lnTo>
                  <a:lnTo>
                    <a:pt x="80" y="16"/>
                  </a:lnTo>
                  <a:lnTo>
                    <a:pt x="80" y="21"/>
                  </a:lnTo>
                  <a:lnTo>
                    <a:pt x="80" y="21"/>
                  </a:lnTo>
                  <a:lnTo>
                    <a:pt x="80" y="19"/>
                  </a:lnTo>
                  <a:lnTo>
                    <a:pt x="78" y="16"/>
                  </a:lnTo>
                  <a:lnTo>
                    <a:pt x="75" y="14"/>
                  </a:lnTo>
                  <a:lnTo>
                    <a:pt x="75" y="12"/>
                  </a:lnTo>
                  <a:lnTo>
                    <a:pt x="73" y="7"/>
                  </a:lnTo>
                  <a:lnTo>
                    <a:pt x="71" y="7"/>
                  </a:lnTo>
                  <a:lnTo>
                    <a:pt x="71" y="7"/>
                  </a:lnTo>
                  <a:lnTo>
                    <a:pt x="68" y="7"/>
                  </a:lnTo>
                  <a:lnTo>
                    <a:pt x="66" y="4"/>
                  </a:lnTo>
                  <a:lnTo>
                    <a:pt x="66" y="4"/>
                  </a:lnTo>
                  <a:lnTo>
                    <a:pt x="56" y="4"/>
                  </a:lnTo>
                  <a:lnTo>
                    <a:pt x="56" y="4"/>
                  </a:lnTo>
                  <a:lnTo>
                    <a:pt x="54" y="4"/>
                  </a:lnTo>
                  <a:lnTo>
                    <a:pt x="52" y="4"/>
                  </a:lnTo>
                  <a:lnTo>
                    <a:pt x="49" y="4"/>
                  </a:lnTo>
                  <a:lnTo>
                    <a:pt x="47" y="0"/>
                  </a:lnTo>
                  <a:lnTo>
                    <a:pt x="45" y="0"/>
                  </a:lnTo>
                  <a:lnTo>
                    <a:pt x="45" y="0"/>
                  </a:lnTo>
                  <a:lnTo>
                    <a:pt x="42" y="0"/>
                  </a:lnTo>
                  <a:lnTo>
                    <a:pt x="42" y="0"/>
                  </a:lnTo>
                  <a:lnTo>
                    <a:pt x="42" y="2"/>
                  </a:lnTo>
                  <a:lnTo>
                    <a:pt x="42" y="4"/>
                  </a:lnTo>
                  <a:lnTo>
                    <a:pt x="40" y="4"/>
                  </a:lnTo>
                  <a:lnTo>
                    <a:pt x="37" y="7"/>
                  </a:lnTo>
                  <a:lnTo>
                    <a:pt x="35" y="7"/>
                  </a:lnTo>
                  <a:lnTo>
                    <a:pt x="35" y="7"/>
                  </a:lnTo>
                  <a:lnTo>
                    <a:pt x="35" y="9"/>
                  </a:lnTo>
                  <a:lnTo>
                    <a:pt x="35" y="12"/>
                  </a:lnTo>
                  <a:lnTo>
                    <a:pt x="33" y="12"/>
                  </a:lnTo>
                  <a:lnTo>
                    <a:pt x="30" y="14"/>
                  </a:lnTo>
                  <a:lnTo>
                    <a:pt x="30" y="14"/>
                  </a:lnTo>
                  <a:lnTo>
                    <a:pt x="30" y="16"/>
                  </a:lnTo>
                  <a:lnTo>
                    <a:pt x="28" y="19"/>
                  </a:lnTo>
                  <a:lnTo>
                    <a:pt x="28" y="21"/>
                  </a:lnTo>
                  <a:lnTo>
                    <a:pt x="30" y="23"/>
                  </a:lnTo>
                  <a:lnTo>
                    <a:pt x="30" y="31"/>
                  </a:lnTo>
                  <a:lnTo>
                    <a:pt x="30" y="38"/>
                  </a:lnTo>
                  <a:lnTo>
                    <a:pt x="28" y="45"/>
                  </a:lnTo>
                  <a:lnTo>
                    <a:pt x="28" y="45"/>
                  </a:lnTo>
                  <a:lnTo>
                    <a:pt x="28" y="47"/>
                  </a:lnTo>
                  <a:lnTo>
                    <a:pt x="23" y="47"/>
                  </a:lnTo>
                  <a:lnTo>
                    <a:pt x="19" y="49"/>
                  </a:lnTo>
                  <a:lnTo>
                    <a:pt x="16" y="52"/>
                  </a:lnTo>
                  <a:lnTo>
                    <a:pt x="14" y="54"/>
                  </a:lnTo>
                  <a:lnTo>
                    <a:pt x="11" y="54"/>
                  </a:lnTo>
                  <a:lnTo>
                    <a:pt x="11" y="57"/>
                  </a:lnTo>
                  <a:lnTo>
                    <a:pt x="9" y="57"/>
                  </a:lnTo>
                  <a:lnTo>
                    <a:pt x="9" y="59"/>
                  </a:lnTo>
                  <a:lnTo>
                    <a:pt x="9" y="59"/>
                  </a:lnTo>
                  <a:lnTo>
                    <a:pt x="9" y="61"/>
                  </a:lnTo>
                  <a:lnTo>
                    <a:pt x="9" y="64"/>
                  </a:lnTo>
                  <a:lnTo>
                    <a:pt x="9" y="64"/>
                  </a:lnTo>
                  <a:lnTo>
                    <a:pt x="11" y="66"/>
                  </a:lnTo>
                  <a:lnTo>
                    <a:pt x="11" y="66"/>
                  </a:lnTo>
                  <a:lnTo>
                    <a:pt x="11" y="68"/>
                  </a:lnTo>
                  <a:lnTo>
                    <a:pt x="11" y="68"/>
                  </a:lnTo>
                  <a:lnTo>
                    <a:pt x="11" y="68"/>
                  </a:lnTo>
                  <a:lnTo>
                    <a:pt x="11" y="71"/>
                  </a:lnTo>
                  <a:lnTo>
                    <a:pt x="11" y="71"/>
                  </a:lnTo>
                  <a:lnTo>
                    <a:pt x="9" y="71"/>
                  </a:lnTo>
                  <a:lnTo>
                    <a:pt x="9" y="76"/>
                  </a:lnTo>
                  <a:lnTo>
                    <a:pt x="9" y="78"/>
                  </a:lnTo>
                  <a:lnTo>
                    <a:pt x="11" y="80"/>
                  </a:lnTo>
                  <a:lnTo>
                    <a:pt x="11" y="83"/>
                  </a:lnTo>
                  <a:lnTo>
                    <a:pt x="16" y="90"/>
                  </a:lnTo>
                  <a:lnTo>
                    <a:pt x="16" y="92"/>
                  </a:lnTo>
                  <a:lnTo>
                    <a:pt x="14" y="94"/>
                  </a:lnTo>
                  <a:lnTo>
                    <a:pt x="14" y="94"/>
                  </a:lnTo>
                  <a:lnTo>
                    <a:pt x="14" y="97"/>
                  </a:lnTo>
                  <a:lnTo>
                    <a:pt x="14" y="97"/>
                  </a:lnTo>
                  <a:lnTo>
                    <a:pt x="14" y="99"/>
                  </a:lnTo>
                  <a:lnTo>
                    <a:pt x="16" y="102"/>
                  </a:lnTo>
                  <a:lnTo>
                    <a:pt x="19" y="104"/>
                  </a:lnTo>
                  <a:lnTo>
                    <a:pt x="21" y="106"/>
                  </a:lnTo>
                  <a:lnTo>
                    <a:pt x="21" y="109"/>
                  </a:lnTo>
                  <a:lnTo>
                    <a:pt x="21" y="109"/>
                  </a:lnTo>
                  <a:lnTo>
                    <a:pt x="19" y="111"/>
                  </a:lnTo>
                  <a:lnTo>
                    <a:pt x="16" y="111"/>
                  </a:lnTo>
                  <a:lnTo>
                    <a:pt x="16" y="111"/>
                  </a:lnTo>
                  <a:lnTo>
                    <a:pt x="14" y="111"/>
                  </a:lnTo>
                  <a:lnTo>
                    <a:pt x="14" y="111"/>
                  </a:lnTo>
                  <a:lnTo>
                    <a:pt x="14" y="111"/>
                  </a:lnTo>
                  <a:lnTo>
                    <a:pt x="11" y="111"/>
                  </a:lnTo>
                  <a:lnTo>
                    <a:pt x="11" y="113"/>
                  </a:lnTo>
                  <a:lnTo>
                    <a:pt x="11" y="118"/>
                  </a:lnTo>
                  <a:lnTo>
                    <a:pt x="9" y="118"/>
                  </a:lnTo>
                  <a:lnTo>
                    <a:pt x="9" y="120"/>
                  </a:lnTo>
                  <a:lnTo>
                    <a:pt x="9" y="125"/>
                  </a:lnTo>
                  <a:lnTo>
                    <a:pt x="9" y="128"/>
                  </a:lnTo>
                  <a:lnTo>
                    <a:pt x="9" y="128"/>
                  </a:lnTo>
                  <a:lnTo>
                    <a:pt x="7" y="130"/>
                  </a:lnTo>
                  <a:lnTo>
                    <a:pt x="7" y="132"/>
                  </a:lnTo>
                  <a:lnTo>
                    <a:pt x="4" y="135"/>
                  </a:lnTo>
                  <a:lnTo>
                    <a:pt x="4" y="135"/>
                  </a:lnTo>
                  <a:lnTo>
                    <a:pt x="4" y="135"/>
                  </a:lnTo>
                  <a:lnTo>
                    <a:pt x="4" y="137"/>
                  </a:lnTo>
                  <a:lnTo>
                    <a:pt x="2" y="139"/>
                  </a:lnTo>
                  <a:lnTo>
                    <a:pt x="2" y="142"/>
                  </a:lnTo>
                  <a:lnTo>
                    <a:pt x="2" y="144"/>
                  </a:lnTo>
                  <a:lnTo>
                    <a:pt x="2" y="147"/>
                  </a:lnTo>
                  <a:lnTo>
                    <a:pt x="2" y="151"/>
                  </a:lnTo>
                  <a:lnTo>
                    <a:pt x="2" y="154"/>
                  </a:lnTo>
                  <a:lnTo>
                    <a:pt x="0" y="154"/>
                  </a:lnTo>
                  <a:lnTo>
                    <a:pt x="0" y="156"/>
                  </a:lnTo>
                  <a:lnTo>
                    <a:pt x="0" y="158"/>
                  </a:lnTo>
                  <a:lnTo>
                    <a:pt x="2" y="163"/>
                  </a:lnTo>
                  <a:lnTo>
                    <a:pt x="2" y="168"/>
                  </a:lnTo>
                  <a:lnTo>
                    <a:pt x="4" y="170"/>
                  </a:lnTo>
                  <a:lnTo>
                    <a:pt x="4" y="173"/>
                  </a:lnTo>
                  <a:lnTo>
                    <a:pt x="4" y="175"/>
                  </a:lnTo>
                  <a:lnTo>
                    <a:pt x="4" y="175"/>
                  </a:lnTo>
                  <a:lnTo>
                    <a:pt x="7" y="175"/>
                  </a:lnTo>
                  <a:lnTo>
                    <a:pt x="7" y="175"/>
                  </a:lnTo>
                  <a:lnTo>
                    <a:pt x="7" y="177"/>
                  </a:lnTo>
                  <a:lnTo>
                    <a:pt x="7" y="177"/>
                  </a:lnTo>
                  <a:lnTo>
                    <a:pt x="4" y="180"/>
                  </a:lnTo>
                  <a:lnTo>
                    <a:pt x="2" y="180"/>
                  </a:lnTo>
                  <a:lnTo>
                    <a:pt x="2" y="180"/>
                  </a:lnTo>
                  <a:lnTo>
                    <a:pt x="2" y="180"/>
                  </a:lnTo>
                  <a:lnTo>
                    <a:pt x="2" y="182"/>
                  </a:lnTo>
                  <a:lnTo>
                    <a:pt x="2" y="182"/>
                  </a:lnTo>
                  <a:lnTo>
                    <a:pt x="2" y="187"/>
                  </a:lnTo>
                  <a:lnTo>
                    <a:pt x="2" y="189"/>
                  </a:lnTo>
                  <a:lnTo>
                    <a:pt x="0" y="192"/>
                  </a:lnTo>
                  <a:lnTo>
                    <a:pt x="2" y="192"/>
                  </a:lnTo>
                  <a:lnTo>
                    <a:pt x="2" y="194"/>
                  </a:lnTo>
                  <a:lnTo>
                    <a:pt x="2" y="194"/>
                  </a:lnTo>
                  <a:lnTo>
                    <a:pt x="2" y="194"/>
                  </a:lnTo>
                  <a:lnTo>
                    <a:pt x="2" y="196"/>
                  </a:lnTo>
                  <a:lnTo>
                    <a:pt x="0" y="196"/>
                  </a:lnTo>
                  <a:lnTo>
                    <a:pt x="0" y="196"/>
                  </a:lnTo>
                  <a:lnTo>
                    <a:pt x="0" y="196"/>
                  </a:lnTo>
                  <a:lnTo>
                    <a:pt x="0" y="199"/>
                  </a:lnTo>
                  <a:lnTo>
                    <a:pt x="0" y="201"/>
                  </a:lnTo>
                  <a:lnTo>
                    <a:pt x="0" y="203"/>
                  </a:lnTo>
                  <a:lnTo>
                    <a:pt x="0" y="206"/>
                  </a:lnTo>
                  <a:lnTo>
                    <a:pt x="2" y="208"/>
                  </a:lnTo>
                  <a:lnTo>
                    <a:pt x="4" y="210"/>
                  </a:lnTo>
                  <a:lnTo>
                    <a:pt x="4" y="213"/>
                  </a:lnTo>
                  <a:lnTo>
                    <a:pt x="7" y="213"/>
                  </a:lnTo>
                  <a:lnTo>
                    <a:pt x="7" y="213"/>
                  </a:lnTo>
                  <a:lnTo>
                    <a:pt x="7" y="213"/>
                  </a:lnTo>
                  <a:lnTo>
                    <a:pt x="7" y="215"/>
                  </a:lnTo>
                  <a:lnTo>
                    <a:pt x="7" y="215"/>
                  </a:lnTo>
                  <a:lnTo>
                    <a:pt x="7" y="215"/>
                  </a:lnTo>
                  <a:lnTo>
                    <a:pt x="7" y="218"/>
                  </a:lnTo>
                  <a:lnTo>
                    <a:pt x="9" y="220"/>
                  </a:lnTo>
                  <a:lnTo>
                    <a:pt x="9" y="220"/>
                  </a:lnTo>
                  <a:lnTo>
                    <a:pt x="11" y="222"/>
                  </a:lnTo>
                  <a:lnTo>
                    <a:pt x="11" y="225"/>
                  </a:lnTo>
                  <a:lnTo>
                    <a:pt x="11" y="227"/>
                  </a:lnTo>
                  <a:lnTo>
                    <a:pt x="14" y="232"/>
                  </a:lnTo>
                  <a:lnTo>
                    <a:pt x="16" y="232"/>
                  </a:lnTo>
                  <a:lnTo>
                    <a:pt x="16" y="234"/>
                  </a:lnTo>
                  <a:lnTo>
                    <a:pt x="16" y="234"/>
                  </a:lnTo>
                  <a:lnTo>
                    <a:pt x="16" y="237"/>
                  </a:lnTo>
                  <a:lnTo>
                    <a:pt x="16" y="239"/>
                  </a:lnTo>
                  <a:lnTo>
                    <a:pt x="16" y="239"/>
                  </a:lnTo>
                  <a:lnTo>
                    <a:pt x="19" y="241"/>
                  </a:lnTo>
                  <a:lnTo>
                    <a:pt x="19" y="241"/>
                  </a:lnTo>
                  <a:lnTo>
                    <a:pt x="21" y="241"/>
                  </a:lnTo>
                  <a:lnTo>
                    <a:pt x="23" y="241"/>
                  </a:lnTo>
                  <a:lnTo>
                    <a:pt x="23" y="244"/>
                  </a:lnTo>
                  <a:lnTo>
                    <a:pt x="23" y="244"/>
                  </a:lnTo>
                  <a:lnTo>
                    <a:pt x="23" y="246"/>
                  </a:lnTo>
                  <a:lnTo>
                    <a:pt x="23" y="248"/>
                  </a:lnTo>
                  <a:lnTo>
                    <a:pt x="23" y="251"/>
                  </a:lnTo>
                  <a:lnTo>
                    <a:pt x="26" y="255"/>
                  </a:lnTo>
                  <a:lnTo>
                    <a:pt x="26" y="258"/>
                  </a:lnTo>
                  <a:lnTo>
                    <a:pt x="26" y="260"/>
                  </a:lnTo>
                  <a:lnTo>
                    <a:pt x="28" y="263"/>
                  </a:lnTo>
                  <a:lnTo>
                    <a:pt x="26" y="263"/>
                  </a:lnTo>
                  <a:lnTo>
                    <a:pt x="26" y="263"/>
                  </a:lnTo>
                  <a:lnTo>
                    <a:pt x="26" y="263"/>
                  </a:lnTo>
                  <a:lnTo>
                    <a:pt x="23" y="263"/>
                  </a:lnTo>
                  <a:lnTo>
                    <a:pt x="23" y="265"/>
                  </a:lnTo>
                  <a:lnTo>
                    <a:pt x="23" y="265"/>
                  </a:lnTo>
                  <a:lnTo>
                    <a:pt x="23" y="267"/>
                  </a:lnTo>
                  <a:lnTo>
                    <a:pt x="23" y="270"/>
                  </a:lnTo>
                  <a:lnTo>
                    <a:pt x="23" y="272"/>
                  </a:lnTo>
                  <a:lnTo>
                    <a:pt x="23" y="272"/>
                  </a:lnTo>
                  <a:lnTo>
                    <a:pt x="23" y="272"/>
                  </a:lnTo>
                  <a:lnTo>
                    <a:pt x="23" y="274"/>
                  </a:lnTo>
                  <a:lnTo>
                    <a:pt x="23" y="277"/>
                  </a:lnTo>
                  <a:lnTo>
                    <a:pt x="23" y="282"/>
                  </a:lnTo>
                  <a:lnTo>
                    <a:pt x="21" y="282"/>
                  </a:lnTo>
                  <a:lnTo>
                    <a:pt x="21" y="282"/>
                  </a:lnTo>
                  <a:lnTo>
                    <a:pt x="21" y="284"/>
                  </a:lnTo>
                  <a:lnTo>
                    <a:pt x="21" y="284"/>
                  </a:lnTo>
                  <a:lnTo>
                    <a:pt x="23" y="284"/>
                  </a:lnTo>
                  <a:lnTo>
                    <a:pt x="23" y="286"/>
                  </a:lnTo>
                  <a:lnTo>
                    <a:pt x="23" y="289"/>
                  </a:lnTo>
                  <a:lnTo>
                    <a:pt x="26" y="289"/>
                  </a:lnTo>
                  <a:lnTo>
                    <a:pt x="26" y="291"/>
                  </a:lnTo>
                  <a:lnTo>
                    <a:pt x="26" y="296"/>
                  </a:lnTo>
                  <a:lnTo>
                    <a:pt x="26" y="296"/>
                  </a:lnTo>
                  <a:lnTo>
                    <a:pt x="28" y="298"/>
                  </a:lnTo>
                  <a:lnTo>
                    <a:pt x="28" y="300"/>
                  </a:lnTo>
                  <a:lnTo>
                    <a:pt x="28" y="303"/>
                  </a:lnTo>
                  <a:lnTo>
                    <a:pt x="26" y="303"/>
                  </a:lnTo>
                  <a:lnTo>
                    <a:pt x="26" y="305"/>
                  </a:lnTo>
                  <a:lnTo>
                    <a:pt x="23" y="305"/>
                  </a:lnTo>
                  <a:lnTo>
                    <a:pt x="23" y="308"/>
                  </a:lnTo>
                  <a:lnTo>
                    <a:pt x="23" y="308"/>
                  </a:lnTo>
                  <a:lnTo>
                    <a:pt x="23" y="308"/>
                  </a:lnTo>
                  <a:lnTo>
                    <a:pt x="23" y="308"/>
                  </a:lnTo>
                  <a:lnTo>
                    <a:pt x="21" y="308"/>
                  </a:lnTo>
                  <a:lnTo>
                    <a:pt x="21" y="310"/>
                  </a:lnTo>
                  <a:lnTo>
                    <a:pt x="19" y="310"/>
                  </a:lnTo>
                  <a:lnTo>
                    <a:pt x="19" y="312"/>
                  </a:lnTo>
                  <a:lnTo>
                    <a:pt x="21" y="312"/>
                  </a:lnTo>
                  <a:lnTo>
                    <a:pt x="19" y="315"/>
                  </a:lnTo>
                  <a:lnTo>
                    <a:pt x="19" y="317"/>
                  </a:lnTo>
                  <a:lnTo>
                    <a:pt x="19" y="317"/>
                  </a:lnTo>
                  <a:lnTo>
                    <a:pt x="21" y="319"/>
                  </a:lnTo>
                  <a:lnTo>
                    <a:pt x="21" y="322"/>
                  </a:lnTo>
                  <a:lnTo>
                    <a:pt x="21" y="324"/>
                  </a:lnTo>
                  <a:lnTo>
                    <a:pt x="21" y="326"/>
                  </a:lnTo>
                  <a:lnTo>
                    <a:pt x="21" y="326"/>
                  </a:lnTo>
                  <a:lnTo>
                    <a:pt x="23" y="329"/>
                  </a:lnTo>
                  <a:lnTo>
                    <a:pt x="23" y="331"/>
                  </a:lnTo>
                  <a:lnTo>
                    <a:pt x="23" y="334"/>
                  </a:lnTo>
                  <a:lnTo>
                    <a:pt x="23" y="334"/>
                  </a:lnTo>
                  <a:lnTo>
                    <a:pt x="26" y="338"/>
                  </a:lnTo>
                  <a:lnTo>
                    <a:pt x="28" y="341"/>
                  </a:lnTo>
                  <a:lnTo>
                    <a:pt x="30" y="343"/>
                  </a:lnTo>
                  <a:lnTo>
                    <a:pt x="30" y="348"/>
                  </a:lnTo>
                  <a:lnTo>
                    <a:pt x="33" y="350"/>
                  </a:lnTo>
                  <a:lnTo>
                    <a:pt x="33" y="353"/>
                  </a:lnTo>
                  <a:lnTo>
                    <a:pt x="35" y="353"/>
                  </a:lnTo>
                  <a:lnTo>
                    <a:pt x="35" y="355"/>
                  </a:lnTo>
                  <a:lnTo>
                    <a:pt x="35" y="355"/>
                  </a:lnTo>
                  <a:lnTo>
                    <a:pt x="35" y="357"/>
                  </a:lnTo>
                  <a:lnTo>
                    <a:pt x="35" y="357"/>
                  </a:lnTo>
                  <a:lnTo>
                    <a:pt x="33" y="360"/>
                  </a:lnTo>
                  <a:lnTo>
                    <a:pt x="33" y="360"/>
                  </a:lnTo>
                  <a:lnTo>
                    <a:pt x="30" y="360"/>
                  </a:lnTo>
                  <a:lnTo>
                    <a:pt x="30" y="362"/>
                  </a:lnTo>
                  <a:lnTo>
                    <a:pt x="28" y="362"/>
                  </a:lnTo>
                  <a:lnTo>
                    <a:pt x="28" y="364"/>
                  </a:lnTo>
                  <a:lnTo>
                    <a:pt x="30" y="369"/>
                  </a:lnTo>
                  <a:lnTo>
                    <a:pt x="30" y="369"/>
                  </a:lnTo>
                  <a:lnTo>
                    <a:pt x="30" y="371"/>
                  </a:lnTo>
                  <a:lnTo>
                    <a:pt x="30" y="374"/>
                  </a:lnTo>
                  <a:lnTo>
                    <a:pt x="30" y="374"/>
                  </a:lnTo>
                  <a:lnTo>
                    <a:pt x="30" y="376"/>
                  </a:lnTo>
                  <a:lnTo>
                    <a:pt x="30" y="376"/>
                  </a:lnTo>
                  <a:lnTo>
                    <a:pt x="30" y="376"/>
                  </a:lnTo>
                  <a:lnTo>
                    <a:pt x="30" y="376"/>
                  </a:lnTo>
                  <a:lnTo>
                    <a:pt x="28" y="376"/>
                  </a:lnTo>
                  <a:lnTo>
                    <a:pt x="28" y="376"/>
                  </a:lnTo>
                  <a:lnTo>
                    <a:pt x="30" y="379"/>
                  </a:lnTo>
                  <a:lnTo>
                    <a:pt x="30" y="381"/>
                  </a:lnTo>
                  <a:lnTo>
                    <a:pt x="33" y="383"/>
                  </a:lnTo>
                  <a:lnTo>
                    <a:pt x="33" y="383"/>
                  </a:lnTo>
                  <a:lnTo>
                    <a:pt x="33" y="383"/>
                  </a:lnTo>
                  <a:lnTo>
                    <a:pt x="33" y="386"/>
                  </a:lnTo>
                  <a:lnTo>
                    <a:pt x="30" y="386"/>
                  </a:lnTo>
                  <a:lnTo>
                    <a:pt x="30" y="386"/>
                  </a:lnTo>
                  <a:lnTo>
                    <a:pt x="30" y="388"/>
                  </a:lnTo>
                  <a:lnTo>
                    <a:pt x="30" y="388"/>
                  </a:lnTo>
                  <a:lnTo>
                    <a:pt x="33" y="390"/>
                  </a:lnTo>
                  <a:lnTo>
                    <a:pt x="35" y="390"/>
                  </a:lnTo>
                  <a:lnTo>
                    <a:pt x="35" y="390"/>
                  </a:lnTo>
                  <a:lnTo>
                    <a:pt x="33" y="393"/>
                  </a:lnTo>
                  <a:lnTo>
                    <a:pt x="33" y="393"/>
                  </a:lnTo>
                  <a:lnTo>
                    <a:pt x="33" y="395"/>
                  </a:lnTo>
                  <a:lnTo>
                    <a:pt x="33" y="395"/>
                  </a:lnTo>
                  <a:lnTo>
                    <a:pt x="33" y="398"/>
                  </a:lnTo>
                  <a:lnTo>
                    <a:pt x="33" y="400"/>
                  </a:lnTo>
                  <a:lnTo>
                    <a:pt x="35" y="402"/>
                  </a:lnTo>
                  <a:lnTo>
                    <a:pt x="35" y="405"/>
                  </a:lnTo>
                  <a:lnTo>
                    <a:pt x="37" y="409"/>
                  </a:lnTo>
                  <a:lnTo>
                    <a:pt x="37" y="412"/>
                  </a:lnTo>
                  <a:lnTo>
                    <a:pt x="40" y="416"/>
                  </a:lnTo>
                  <a:lnTo>
                    <a:pt x="40" y="416"/>
                  </a:lnTo>
                  <a:lnTo>
                    <a:pt x="40" y="416"/>
                  </a:lnTo>
                  <a:lnTo>
                    <a:pt x="42" y="421"/>
                  </a:lnTo>
                  <a:lnTo>
                    <a:pt x="45" y="424"/>
                  </a:lnTo>
                  <a:lnTo>
                    <a:pt x="47" y="426"/>
                  </a:lnTo>
                  <a:lnTo>
                    <a:pt x="47" y="426"/>
                  </a:lnTo>
                  <a:lnTo>
                    <a:pt x="45" y="428"/>
                  </a:lnTo>
                  <a:lnTo>
                    <a:pt x="45" y="428"/>
                  </a:lnTo>
                  <a:lnTo>
                    <a:pt x="42" y="428"/>
                  </a:lnTo>
                  <a:lnTo>
                    <a:pt x="42" y="428"/>
                  </a:lnTo>
                  <a:lnTo>
                    <a:pt x="42" y="428"/>
                  </a:lnTo>
                  <a:lnTo>
                    <a:pt x="42" y="431"/>
                  </a:lnTo>
                  <a:lnTo>
                    <a:pt x="42" y="431"/>
                  </a:lnTo>
                  <a:lnTo>
                    <a:pt x="42" y="433"/>
                  </a:lnTo>
                  <a:lnTo>
                    <a:pt x="45" y="435"/>
                  </a:lnTo>
                  <a:lnTo>
                    <a:pt x="45" y="435"/>
                  </a:lnTo>
                  <a:lnTo>
                    <a:pt x="45" y="438"/>
                  </a:lnTo>
                  <a:lnTo>
                    <a:pt x="45" y="438"/>
                  </a:lnTo>
                  <a:lnTo>
                    <a:pt x="45" y="440"/>
                  </a:lnTo>
                  <a:lnTo>
                    <a:pt x="47" y="445"/>
                  </a:lnTo>
                  <a:lnTo>
                    <a:pt x="47" y="447"/>
                  </a:lnTo>
                  <a:lnTo>
                    <a:pt x="49" y="447"/>
                  </a:lnTo>
                  <a:lnTo>
                    <a:pt x="52" y="447"/>
                  </a:lnTo>
                  <a:lnTo>
                    <a:pt x="54" y="450"/>
                  </a:lnTo>
                  <a:lnTo>
                    <a:pt x="56" y="450"/>
                  </a:lnTo>
                  <a:lnTo>
                    <a:pt x="56" y="452"/>
                  </a:lnTo>
                  <a:lnTo>
                    <a:pt x="54" y="452"/>
                  </a:lnTo>
                  <a:lnTo>
                    <a:pt x="54" y="452"/>
                  </a:lnTo>
                  <a:lnTo>
                    <a:pt x="54" y="454"/>
                  </a:lnTo>
                  <a:lnTo>
                    <a:pt x="56" y="457"/>
                  </a:lnTo>
                  <a:lnTo>
                    <a:pt x="59" y="457"/>
                  </a:lnTo>
                  <a:lnTo>
                    <a:pt x="59" y="459"/>
                  </a:lnTo>
                  <a:lnTo>
                    <a:pt x="59" y="459"/>
                  </a:lnTo>
                  <a:lnTo>
                    <a:pt x="59" y="461"/>
                  </a:lnTo>
                  <a:lnTo>
                    <a:pt x="61" y="464"/>
                  </a:lnTo>
                  <a:lnTo>
                    <a:pt x="61" y="464"/>
                  </a:lnTo>
                  <a:lnTo>
                    <a:pt x="61" y="466"/>
                  </a:lnTo>
                  <a:lnTo>
                    <a:pt x="61" y="466"/>
                  </a:lnTo>
                  <a:lnTo>
                    <a:pt x="61" y="469"/>
                  </a:lnTo>
                  <a:lnTo>
                    <a:pt x="61" y="469"/>
                  </a:lnTo>
                  <a:lnTo>
                    <a:pt x="61" y="471"/>
                  </a:lnTo>
                  <a:lnTo>
                    <a:pt x="63" y="473"/>
                  </a:lnTo>
                  <a:lnTo>
                    <a:pt x="63" y="473"/>
                  </a:lnTo>
                  <a:lnTo>
                    <a:pt x="73" y="473"/>
                  </a:lnTo>
                  <a:lnTo>
                    <a:pt x="75" y="476"/>
                  </a:lnTo>
                  <a:lnTo>
                    <a:pt x="75" y="476"/>
                  </a:lnTo>
                  <a:lnTo>
                    <a:pt x="75" y="478"/>
                  </a:lnTo>
                  <a:lnTo>
                    <a:pt x="75" y="478"/>
                  </a:lnTo>
                  <a:lnTo>
                    <a:pt x="75" y="480"/>
                  </a:lnTo>
                  <a:lnTo>
                    <a:pt x="75" y="483"/>
                  </a:lnTo>
                  <a:lnTo>
                    <a:pt x="73" y="480"/>
                  </a:lnTo>
                  <a:lnTo>
                    <a:pt x="71" y="480"/>
                  </a:lnTo>
                  <a:lnTo>
                    <a:pt x="71" y="480"/>
                  </a:lnTo>
                  <a:lnTo>
                    <a:pt x="68" y="480"/>
                  </a:lnTo>
                  <a:lnTo>
                    <a:pt x="63" y="483"/>
                  </a:lnTo>
                  <a:lnTo>
                    <a:pt x="63" y="480"/>
                  </a:lnTo>
                  <a:lnTo>
                    <a:pt x="63" y="483"/>
                  </a:lnTo>
                  <a:lnTo>
                    <a:pt x="63" y="485"/>
                  </a:lnTo>
                  <a:lnTo>
                    <a:pt x="68" y="485"/>
                  </a:lnTo>
                  <a:lnTo>
                    <a:pt x="73" y="485"/>
                  </a:lnTo>
                  <a:lnTo>
                    <a:pt x="73" y="490"/>
                  </a:lnTo>
                  <a:lnTo>
                    <a:pt x="75" y="492"/>
                  </a:lnTo>
                  <a:lnTo>
                    <a:pt x="78" y="492"/>
                  </a:lnTo>
                  <a:lnTo>
                    <a:pt x="80" y="495"/>
                  </a:lnTo>
                  <a:lnTo>
                    <a:pt x="78" y="497"/>
                  </a:lnTo>
                  <a:lnTo>
                    <a:pt x="78" y="499"/>
                  </a:lnTo>
                  <a:lnTo>
                    <a:pt x="75" y="499"/>
                  </a:lnTo>
                  <a:lnTo>
                    <a:pt x="75" y="499"/>
                  </a:lnTo>
                  <a:lnTo>
                    <a:pt x="75" y="502"/>
                  </a:lnTo>
                  <a:lnTo>
                    <a:pt x="78" y="504"/>
                  </a:lnTo>
                  <a:lnTo>
                    <a:pt x="78" y="506"/>
                  </a:lnTo>
                  <a:lnTo>
                    <a:pt x="80" y="506"/>
                  </a:lnTo>
                  <a:lnTo>
                    <a:pt x="80" y="509"/>
                  </a:lnTo>
                  <a:lnTo>
                    <a:pt x="78" y="511"/>
                  </a:lnTo>
                  <a:lnTo>
                    <a:pt x="78" y="511"/>
                  </a:lnTo>
                  <a:lnTo>
                    <a:pt x="78" y="514"/>
                  </a:lnTo>
                  <a:lnTo>
                    <a:pt x="80" y="514"/>
                  </a:lnTo>
                  <a:lnTo>
                    <a:pt x="80" y="516"/>
                  </a:lnTo>
                  <a:lnTo>
                    <a:pt x="82" y="518"/>
                  </a:lnTo>
                  <a:lnTo>
                    <a:pt x="85" y="521"/>
                  </a:lnTo>
                  <a:lnTo>
                    <a:pt x="85" y="523"/>
                  </a:lnTo>
                  <a:lnTo>
                    <a:pt x="85" y="523"/>
                  </a:lnTo>
                  <a:lnTo>
                    <a:pt x="82" y="525"/>
                  </a:lnTo>
                  <a:lnTo>
                    <a:pt x="82" y="525"/>
                  </a:lnTo>
                  <a:lnTo>
                    <a:pt x="82" y="528"/>
                  </a:lnTo>
                  <a:lnTo>
                    <a:pt x="82" y="530"/>
                  </a:lnTo>
                  <a:lnTo>
                    <a:pt x="85" y="530"/>
                  </a:lnTo>
                  <a:lnTo>
                    <a:pt x="85" y="532"/>
                  </a:lnTo>
                  <a:lnTo>
                    <a:pt x="85" y="532"/>
                  </a:lnTo>
                  <a:lnTo>
                    <a:pt x="85" y="532"/>
                  </a:lnTo>
                  <a:lnTo>
                    <a:pt x="85" y="535"/>
                  </a:lnTo>
                  <a:lnTo>
                    <a:pt x="85" y="537"/>
                  </a:lnTo>
                  <a:lnTo>
                    <a:pt x="82" y="537"/>
                  </a:lnTo>
                  <a:lnTo>
                    <a:pt x="80" y="540"/>
                  </a:lnTo>
                  <a:lnTo>
                    <a:pt x="82" y="542"/>
                  </a:lnTo>
                  <a:lnTo>
                    <a:pt x="82" y="544"/>
                  </a:lnTo>
                  <a:lnTo>
                    <a:pt x="82" y="544"/>
                  </a:lnTo>
                  <a:lnTo>
                    <a:pt x="82" y="547"/>
                  </a:lnTo>
                  <a:lnTo>
                    <a:pt x="82" y="549"/>
                  </a:lnTo>
                  <a:lnTo>
                    <a:pt x="85" y="549"/>
                  </a:lnTo>
                  <a:lnTo>
                    <a:pt x="87" y="551"/>
                  </a:lnTo>
                  <a:lnTo>
                    <a:pt x="90" y="554"/>
                  </a:lnTo>
                  <a:lnTo>
                    <a:pt x="90" y="556"/>
                  </a:lnTo>
                  <a:lnTo>
                    <a:pt x="87" y="559"/>
                  </a:lnTo>
                  <a:lnTo>
                    <a:pt x="85" y="559"/>
                  </a:lnTo>
                  <a:lnTo>
                    <a:pt x="85" y="561"/>
                  </a:lnTo>
                  <a:lnTo>
                    <a:pt x="87" y="563"/>
                  </a:lnTo>
                  <a:lnTo>
                    <a:pt x="87" y="566"/>
                  </a:lnTo>
                  <a:lnTo>
                    <a:pt x="87" y="566"/>
                  </a:lnTo>
                  <a:lnTo>
                    <a:pt x="87" y="568"/>
                  </a:lnTo>
                  <a:lnTo>
                    <a:pt x="87" y="568"/>
                  </a:lnTo>
                  <a:lnTo>
                    <a:pt x="85" y="570"/>
                  </a:lnTo>
                  <a:lnTo>
                    <a:pt x="85" y="570"/>
                  </a:lnTo>
                  <a:lnTo>
                    <a:pt x="82" y="570"/>
                  </a:lnTo>
                  <a:lnTo>
                    <a:pt x="82" y="573"/>
                  </a:lnTo>
                  <a:lnTo>
                    <a:pt x="82" y="575"/>
                  </a:lnTo>
                  <a:lnTo>
                    <a:pt x="85" y="577"/>
                  </a:lnTo>
                  <a:lnTo>
                    <a:pt x="80" y="577"/>
                  </a:lnTo>
                  <a:lnTo>
                    <a:pt x="80" y="577"/>
                  </a:lnTo>
                  <a:lnTo>
                    <a:pt x="80" y="580"/>
                  </a:lnTo>
                  <a:lnTo>
                    <a:pt x="80" y="582"/>
                  </a:lnTo>
                  <a:lnTo>
                    <a:pt x="82" y="585"/>
                  </a:lnTo>
                  <a:lnTo>
                    <a:pt x="85" y="587"/>
                  </a:lnTo>
                  <a:lnTo>
                    <a:pt x="85" y="589"/>
                  </a:lnTo>
                  <a:lnTo>
                    <a:pt x="85" y="592"/>
                  </a:lnTo>
                  <a:lnTo>
                    <a:pt x="87" y="594"/>
                  </a:lnTo>
                  <a:lnTo>
                    <a:pt x="90" y="596"/>
                  </a:lnTo>
                  <a:lnTo>
                    <a:pt x="92" y="599"/>
                  </a:lnTo>
                  <a:lnTo>
                    <a:pt x="94" y="601"/>
                  </a:lnTo>
                  <a:lnTo>
                    <a:pt x="94" y="604"/>
                  </a:lnTo>
                  <a:lnTo>
                    <a:pt x="97" y="604"/>
                  </a:lnTo>
                  <a:lnTo>
                    <a:pt x="97" y="606"/>
                  </a:lnTo>
                  <a:lnTo>
                    <a:pt x="99" y="606"/>
                  </a:lnTo>
                  <a:lnTo>
                    <a:pt x="99" y="606"/>
                  </a:lnTo>
                  <a:lnTo>
                    <a:pt x="101" y="606"/>
                  </a:lnTo>
                  <a:lnTo>
                    <a:pt x="101" y="604"/>
                  </a:lnTo>
                  <a:lnTo>
                    <a:pt x="104" y="604"/>
                  </a:lnTo>
                  <a:lnTo>
                    <a:pt x="106" y="604"/>
                  </a:lnTo>
                  <a:lnTo>
                    <a:pt x="106" y="604"/>
                  </a:lnTo>
                  <a:lnTo>
                    <a:pt x="108" y="604"/>
                  </a:lnTo>
                  <a:lnTo>
                    <a:pt x="108" y="604"/>
                  </a:lnTo>
                  <a:lnTo>
                    <a:pt x="111" y="606"/>
                  </a:lnTo>
                  <a:lnTo>
                    <a:pt x="113" y="608"/>
                  </a:lnTo>
                  <a:lnTo>
                    <a:pt x="113" y="611"/>
                  </a:lnTo>
                  <a:lnTo>
                    <a:pt x="116" y="613"/>
                  </a:lnTo>
                  <a:lnTo>
                    <a:pt x="113" y="613"/>
                  </a:lnTo>
                  <a:lnTo>
                    <a:pt x="113" y="613"/>
                  </a:lnTo>
                  <a:lnTo>
                    <a:pt x="116" y="615"/>
                  </a:lnTo>
                  <a:lnTo>
                    <a:pt x="116" y="615"/>
                  </a:lnTo>
                  <a:lnTo>
                    <a:pt x="118" y="618"/>
                  </a:lnTo>
                  <a:lnTo>
                    <a:pt x="118" y="620"/>
                  </a:lnTo>
                  <a:lnTo>
                    <a:pt x="118" y="622"/>
                  </a:lnTo>
                  <a:lnTo>
                    <a:pt x="120" y="625"/>
                  </a:lnTo>
                  <a:lnTo>
                    <a:pt x="123" y="625"/>
                  </a:lnTo>
                  <a:lnTo>
                    <a:pt x="125" y="627"/>
                  </a:lnTo>
                  <a:lnTo>
                    <a:pt x="127" y="627"/>
                  </a:lnTo>
                  <a:lnTo>
                    <a:pt x="127" y="630"/>
                  </a:lnTo>
                  <a:lnTo>
                    <a:pt x="130" y="632"/>
                  </a:lnTo>
                  <a:lnTo>
                    <a:pt x="130" y="632"/>
                  </a:lnTo>
                  <a:lnTo>
                    <a:pt x="134" y="632"/>
                  </a:lnTo>
                  <a:lnTo>
                    <a:pt x="139" y="632"/>
                  </a:lnTo>
                  <a:lnTo>
                    <a:pt x="146" y="632"/>
                  </a:lnTo>
                  <a:lnTo>
                    <a:pt x="153" y="632"/>
                  </a:lnTo>
                  <a:lnTo>
                    <a:pt x="160" y="632"/>
                  </a:lnTo>
                  <a:lnTo>
                    <a:pt x="165" y="634"/>
                  </a:lnTo>
                  <a:lnTo>
                    <a:pt x="170" y="634"/>
                  </a:lnTo>
                  <a:lnTo>
                    <a:pt x="175" y="634"/>
                  </a:lnTo>
                  <a:lnTo>
                    <a:pt x="179" y="637"/>
                  </a:lnTo>
                  <a:lnTo>
                    <a:pt x="184" y="637"/>
                  </a:lnTo>
                  <a:lnTo>
                    <a:pt x="186" y="637"/>
                  </a:lnTo>
                  <a:lnTo>
                    <a:pt x="189" y="637"/>
                  </a:lnTo>
                  <a:lnTo>
                    <a:pt x="189" y="639"/>
                  </a:lnTo>
                  <a:lnTo>
                    <a:pt x="189" y="639"/>
                  </a:lnTo>
                  <a:lnTo>
                    <a:pt x="186" y="637"/>
                  </a:lnTo>
                  <a:lnTo>
                    <a:pt x="182" y="632"/>
                  </a:lnTo>
                  <a:lnTo>
                    <a:pt x="175" y="625"/>
                  </a:lnTo>
                  <a:lnTo>
                    <a:pt x="175" y="625"/>
                  </a:lnTo>
                  <a:lnTo>
                    <a:pt x="172" y="625"/>
                  </a:lnTo>
                  <a:lnTo>
                    <a:pt x="170" y="625"/>
                  </a:lnTo>
                  <a:lnTo>
                    <a:pt x="168" y="625"/>
                  </a:lnTo>
                  <a:lnTo>
                    <a:pt x="168" y="625"/>
                  </a:lnTo>
                  <a:lnTo>
                    <a:pt x="165" y="622"/>
                  </a:lnTo>
                  <a:lnTo>
                    <a:pt x="168" y="622"/>
                  </a:lnTo>
                  <a:lnTo>
                    <a:pt x="170" y="622"/>
                  </a:lnTo>
                  <a:lnTo>
                    <a:pt x="172" y="622"/>
                  </a:lnTo>
                  <a:lnTo>
                    <a:pt x="172" y="622"/>
                  </a:lnTo>
                  <a:lnTo>
                    <a:pt x="170" y="620"/>
                  </a:lnTo>
                  <a:lnTo>
                    <a:pt x="170" y="618"/>
                  </a:lnTo>
                  <a:lnTo>
                    <a:pt x="165" y="613"/>
                  </a:lnTo>
                  <a:lnTo>
                    <a:pt x="163" y="611"/>
                  </a:lnTo>
                  <a:lnTo>
                    <a:pt x="163" y="611"/>
                  </a:lnTo>
                  <a:lnTo>
                    <a:pt x="163" y="613"/>
                  </a:lnTo>
                  <a:lnTo>
                    <a:pt x="163" y="613"/>
                  </a:lnTo>
                  <a:lnTo>
                    <a:pt x="163" y="611"/>
                  </a:lnTo>
                  <a:lnTo>
                    <a:pt x="163" y="608"/>
                  </a:lnTo>
                  <a:lnTo>
                    <a:pt x="163" y="606"/>
                  </a:lnTo>
                  <a:lnTo>
                    <a:pt x="163" y="604"/>
                  </a:lnTo>
                  <a:lnTo>
                    <a:pt x="163" y="601"/>
                  </a:lnTo>
                  <a:lnTo>
                    <a:pt x="163" y="599"/>
                  </a:lnTo>
                  <a:lnTo>
                    <a:pt x="165" y="596"/>
                  </a:lnTo>
                  <a:lnTo>
                    <a:pt x="168" y="596"/>
                  </a:lnTo>
                  <a:lnTo>
                    <a:pt x="168" y="594"/>
                  </a:lnTo>
                  <a:lnTo>
                    <a:pt x="170" y="594"/>
                  </a:lnTo>
                  <a:lnTo>
                    <a:pt x="168" y="594"/>
                  </a:lnTo>
                  <a:lnTo>
                    <a:pt x="165" y="592"/>
                  </a:lnTo>
                  <a:lnTo>
                    <a:pt x="165" y="592"/>
                  </a:lnTo>
                  <a:lnTo>
                    <a:pt x="163" y="592"/>
                  </a:lnTo>
                  <a:lnTo>
                    <a:pt x="158" y="592"/>
                  </a:lnTo>
                  <a:lnTo>
                    <a:pt x="158" y="589"/>
                  </a:lnTo>
                  <a:lnTo>
                    <a:pt x="163" y="589"/>
                  </a:lnTo>
                  <a:lnTo>
                    <a:pt x="163" y="589"/>
                  </a:lnTo>
                  <a:lnTo>
                    <a:pt x="160" y="587"/>
                  </a:lnTo>
                  <a:lnTo>
                    <a:pt x="160" y="587"/>
                  </a:lnTo>
                  <a:lnTo>
                    <a:pt x="163" y="589"/>
                  </a:lnTo>
                  <a:lnTo>
                    <a:pt x="165" y="592"/>
                  </a:lnTo>
                  <a:lnTo>
                    <a:pt x="168" y="592"/>
                  </a:lnTo>
                  <a:lnTo>
                    <a:pt x="170" y="594"/>
                  </a:lnTo>
                  <a:lnTo>
                    <a:pt x="172" y="594"/>
                  </a:lnTo>
                  <a:lnTo>
                    <a:pt x="175" y="592"/>
                  </a:lnTo>
                  <a:lnTo>
                    <a:pt x="177" y="589"/>
                  </a:lnTo>
                  <a:lnTo>
                    <a:pt x="177" y="587"/>
                  </a:lnTo>
                  <a:lnTo>
                    <a:pt x="175" y="577"/>
                  </a:lnTo>
                  <a:lnTo>
                    <a:pt x="172" y="577"/>
                  </a:lnTo>
                  <a:lnTo>
                    <a:pt x="172" y="575"/>
                  </a:lnTo>
                  <a:lnTo>
                    <a:pt x="175" y="570"/>
                  </a:lnTo>
                  <a:lnTo>
                    <a:pt x="175" y="566"/>
                  </a:lnTo>
                  <a:lnTo>
                    <a:pt x="177" y="563"/>
                  </a:lnTo>
                  <a:lnTo>
                    <a:pt x="177" y="563"/>
                  </a:lnTo>
                  <a:lnTo>
                    <a:pt x="182" y="561"/>
                  </a:lnTo>
                  <a:lnTo>
                    <a:pt x="184" y="559"/>
                  </a:lnTo>
                  <a:lnTo>
                    <a:pt x="186" y="556"/>
                  </a:lnTo>
                  <a:lnTo>
                    <a:pt x="191" y="551"/>
                  </a:lnTo>
                  <a:lnTo>
                    <a:pt x="191" y="549"/>
                  </a:lnTo>
                  <a:lnTo>
                    <a:pt x="191" y="549"/>
                  </a:lnTo>
                  <a:lnTo>
                    <a:pt x="191" y="549"/>
                  </a:lnTo>
                  <a:lnTo>
                    <a:pt x="191" y="547"/>
                  </a:lnTo>
                  <a:lnTo>
                    <a:pt x="189" y="547"/>
                  </a:lnTo>
                  <a:lnTo>
                    <a:pt x="186" y="547"/>
                  </a:lnTo>
                  <a:lnTo>
                    <a:pt x="186" y="547"/>
                  </a:lnTo>
                  <a:lnTo>
                    <a:pt x="184" y="547"/>
                  </a:lnTo>
                  <a:lnTo>
                    <a:pt x="186" y="544"/>
                  </a:lnTo>
                  <a:lnTo>
                    <a:pt x="189" y="544"/>
                  </a:lnTo>
                  <a:lnTo>
                    <a:pt x="189" y="542"/>
                  </a:lnTo>
                  <a:lnTo>
                    <a:pt x="189" y="542"/>
                  </a:lnTo>
                  <a:lnTo>
                    <a:pt x="189" y="537"/>
                  </a:lnTo>
                  <a:lnTo>
                    <a:pt x="186" y="535"/>
                  </a:lnTo>
                  <a:lnTo>
                    <a:pt x="184" y="532"/>
                  </a:lnTo>
                  <a:lnTo>
                    <a:pt x="182" y="530"/>
                  </a:lnTo>
                  <a:lnTo>
                    <a:pt x="172" y="530"/>
                  </a:lnTo>
                  <a:lnTo>
                    <a:pt x="170" y="530"/>
                  </a:lnTo>
                  <a:lnTo>
                    <a:pt x="156" y="521"/>
                  </a:lnTo>
                  <a:lnTo>
                    <a:pt x="153" y="518"/>
                  </a:lnTo>
                  <a:lnTo>
                    <a:pt x="151" y="516"/>
                  </a:lnTo>
                  <a:lnTo>
                    <a:pt x="149" y="514"/>
                  </a:lnTo>
                  <a:lnTo>
                    <a:pt x="149" y="511"/>
                  </a:lnTo>
                  <a:lnTo>
                    <a:pt x="149" y="509"/>
                  </a:lnTo>
                  <a:lnTo>
                    <a:pt x="149" y="509"/>
                  </a:lnTo>
                  <a:lnTo>
                    <a:pt x="149" y="504"/>
                  </a:lnTo>
                  <a:lnTo>
                    <a:pt x="149" y="499"/>
                  </a:lnTo>
                  <a:lnTo>
                    <a:pt x="153" y="492"/>
                  </a:lnTo>
                  <a:lnTo>
                    <a:pt x="153" y="492"/>
                  </a:lnTo>
                  <a:lnTo>
                    <a:pt x="158" y="492"/>
                  </a:lnTo>
                  <a:lnTo>
                    <a:pt x="158" y="492"/>
                  </a:lnTo>
                  <a:lnTo>
                    <a:pt x="158" y="490"/>
                  </a:lnTo>
                  <a:lnTo>
                    <a:pt x="160" y="488"/>
                  </a:lnTo>
                  <a:lnTo>
                    <a:pt x="163" y="485"/>
                  </a:lnTo>
                  <a:lnTo>
                    <a:pt x="170" y="488"/>
                  </a:lnTo>
                  <a:lnTo>
                    <a:pt x="172" y="488"/>
                  </a:lnTo>
                  <a:lnTo>
                    <a:pt x="172" y="485"/>
                  </a:lnTo>
                  <a:lnTo>
                    <a:pt x="172" y="483"/>
                  </a:lnTo>
                  <a:lnTo>
                    <a:pt x="170" y="483"/>
                  </a:lnTo>
                  <a:lnTo>
                    <a:pt x="170" y="480"/>
                  </a:lnTo>
                  <a:lnTo>
                    <a:pt x="172" y="476"/>
                  </a:lnTo>
                  <a:lnTo>
                    <a:pt x="172" y="473"/>
                  </a:lnTo>
                  <a:lnTo>
                    <a:pt x="172" y="471"/>
                  </a:lnTo>
                  <a:lnTo>
                    <a:pt x="172" y="469"/>
                  </a:lnTo>
                  <a:lnTo>
                    <a:pt x="172" y="466"/>
                  </a:lnTo>
                  <a:lnTo>
                    <a:pt x="168" y="461"/>
                  </a:lnTo>
                  <a:lnTo>
                    <a:pt x="168" y="459"/>
                  </a:lnTo>
                  <a:lnTo>
                    <a:pt x="168" y="457"/>
                  </a:lnTo>
                  <a:lnTo>
                    <a:pt x="168" y="457"/>
                  </a:lnTo>
                  <a:lnTo>
                    <a:pt x="170" y="452"/>
                  </a:lnTo>
                  <a:lnTo>
                    <a:pt x="172" y="450"/>
                  </a:lnTo>
                  <a:lnTo>
                    <a:pt x="175" y="447"/>
                  </a:lnTo>
                  <a:lnTo>
                    <a:pt x="177" y="447"/>
                  </a:lnTo>
                  <a:lnTo>
                    <a:pt x="179" y="445"/>
                  </a:lnTo>
                  <a:lnTo>
                    <a:pt x="179" y="445"/>
                  </a:lnTo>
                  <a:lnTo>
                    <a:pt x="177" y="445"/>
                  </a:lnTo>
                  <a:lnTo>
                    <a:pt x="177" y="445"/>
                  </a:lnTo>
                  <a:lnTo>
                    <a:pt x="172" y="443"/>
                  </a:lnTo>
                  <a:lnTo>
                    <a:pt x="165" y="440"/>
                  </a:lnTo>
                  <a:lnTo>
                    <a:pt x="165" y="438"/>
                  </a:lnTo>
                  <a:lnTo>
                    <a:pt x="168" y="438"/>
                  </a:lnTo>
                  <a:lnTo>
                    <a:pt x="170" y="435"/>
                  </a:lnTo>
                  <a:lnTo>
                    <a:pt x="172" y="435"/>
                  </a:lnTo>
                  <a:lnTo>
                    <a:pt x="177" y="435"/>
                  </a:lnTo>
                  <a:lnTo>
                    <a:pt x="177" y="438"/>
                  </a:lnTo>
                  <a:lnTo>
                    <a:pt x="179" y="440"/>
                  </a:lnTo>
                  <a:lnTo>
                    <a:pt x="182" y="443"/>
                  </a:lnTo>
                  <a:lnTo>
                    <a:pt x="184" y="443"/>
                  </a:lnTo>
                  <a:lnTo>
                    <a:pt x="189" y="440"/>
                  </a:lnTo>
                  <a:lnTo>
                    <a:pt x="189" y="440"/>
                  </a:lnTo>
                  <a:lnTo>
                    <a:pt x="189" y="440"/>
                  </a:lnTo>
                  <a:lnTo>
                    <a:pt x="189" y="435"/>
                  </a:lnTo>
                  <a:lnTo>
                    <a:pt x="186" y="433"/>
                  </a:lnTo>
                  <a:lnTo>
                    <a:pt x="186" y="431"/>
                  </a:lnTo>
                  <a:lnTo>
                    <a:pt x="184" y="428"/>
                  </a:lnTo>
                  <a:lnTo>
                    <a:pt x="184" y="428"/>
                  </a:lnTo>
                  <a:lnTo>
                    <a:pt x="182" y="428"/>
                  </a:lnTo>
                  <a:lnTo>
                    <a:pt x="179" y="428"/>
                  </a:lnTo>
                  <a:lnTo>
                    <a:pt x="177" y="428"/>
                  </a:lnTo>
                  <a:lnTo>
                    <a:pt x="175" y="428"/>
                  </a:lnTo>
                  <a:lnTo>
                    <a:pt x="175" y="431"/>
                  </a:lnTo>
                  <a:lnTo>
                    <a:pt x="179" y="431"/>
                  </a:lnTo>
                  <a:lnTo>
                    <a:pt x="179" y="433"/>
                  </a:lnTo>
                  <a:lnTo>
                    <a:pt x="179" y="433"/>
                  </a:lnTo>
                  <a:lnTo>
                    <a:pt x="177" y="433"/>
                  </a:lnTo>
                  <a:lnTo>
                    <a:pt x="172" y="433"/>
                  </a:lnTo>
                  <a:lnTo>
                    <a:pt x="170" y="433"/>
                  </a:lnTo>
                  <a:lnTo>
                    <a:pt x="170" y="433"/>
                  </a:lnTo>
                  <a:lnTo>
                    <a:pt x="170" y="431"/>
                  </a:lnTo>
                  <a:lnTo>
                    <a:pt x="170" y="431"/>
                  </a:lnTo>
                  <a:lnTo>
                    <a:pt x="170" y="431"/>
                  </a:lnTo>
                  <a:lnTo>
                    <a:pt x="170" y="431"/>
                  </a:lnTo>
                  <a:lnTo>
                    <a:pt x="168" y="428"/>
                  </a:lnTo>
                  <a:lnTo>
                    <a:pt x="163" y="428"/>
                  </a:lnTo>
                  <a:lnTo>
                    <a:pt x="160" y="426"/>
                  </a:lnTo>
                  <a:lnTo>
                    <a:pt x="158" y="424"/>
                  </a:lnTo>
                  <a:lnTo>
                    <a:pt x="158" y="419"/>
                  </a:lnTo>
                  <a:lnTo>
                    <a:pt x="158" y="416"/>
                  </a:lnTo>
                  <a:lnTo>
                    <a:pt x="153" y="409"/>
                  </a:lnTo>
                  <a:lnTo>
                    <a:pt x="151" y="407"/>
                  </a:lnTo>
                  <a:lnTo>
                    <a:pt x="151" y="402"/>
                  </a:lnTo>
                  <a:lnTo>
                    <a:pt x="151" y="402"/>
                  </a:lnTo>
                  <a:lnTo>
                    <a:pt x="151" y="400"/>
                  </a:lnTo>
                  <a:lnTo>
                    <a:pt x="153" y="398"/>
                  </a:lnTo>
                  <a:lnTo>
                    <a:pt x="153" y="400"/>
                  </a:lnTo>
                  <a:lnTo>
                    <a:pt x="156" y="400"/>
                  </a:lnTo>
                  <a:lnTo>
                    <a:pt x="156" y="400"/>
                  </a:lnTo>
                  <a:lnTo>
                    <a:pt x="156" y="400"/>
                  </a:lnTo>
                  <a:lnTo>
                    <a:pt x="158" y="402"/>
                  </a:lnTo>
                  <a:lnTo>
                    <a:pt x="163" y="402"/>
                  </a:lnTo>
                  <a:lnTo>
                    <a:pt x="168" y="405"/>
                  </a:lnTo>
                  <a:lnTo>
                    <a:pt x="175" y="407"/>
                  </a:lnTo>
                  <a:lnTo>
                    <a:pt x="177" y="407"/>
                  </a:lnTo>
                  <a:lnTo>
                    <a:pt x="184" y="407"/>
                  </a:lnTo>
                  <a:lnTo>
                    <a:pt x="189" y="407"/>
                  </a:lnTo>
                  <a:lnTo>
                    <a:pt x="191" y="405"/>
                  </a:lnTo>
                  <a:lnTo>
                    <a:pt x="198" y="402"/>
                  </a:lnTo>
                  <a:lnTo>
                    <a:pt x="198" y="400"/>
                  </a:lnTo>
                  <a:lnTo>
                    <a:pt x="198" y="398"/>
                  </a:lnTo>
                  <a:lnTo>
                    <a:pt x="194" y="393"/>
                  </a:lnTo>
                  <a:lnTo>
                    <a:pt x="194" y="390"/>
                  </a:lnTo>
                  <a:lnTo>
                    <a:pt x="194" y="388"/>
                  </a:lnTo>
                  <a:lnTo>
                    <a:pt x="191" y="383"/>
                  </a:lnTo>
                  <a:lnTo>
                    <a:pt x="194" y="383"/>
                  </a:lnTo>
                  <a:lnTo>
                    <a:pt x="194" y="383"/>
                  </a:lnTo>
                  <a:lnTo>
                    <a:pt x="196" y="381"/>
                  </a:lnTo>
                  <a:lnTo>
                    <a:pt x="194" y="376"/>
                  </a:lnTo>
                  <a:lnTo>
                    <a:pt x="194" y="374"/>
                  </a:lnTo>
                  <a:lnTo>
                    <a:pt x="194" y="374"/>
                  </a:lnTo>
                  <a:lnTo>
                    <a:pt x="191" y="371"/>
                  </a:lnTo>
                  <a:lnTo>
                    <a:pt x="194" y="371"/>
                  </a:lnTo>
                  <a:lnTo>
                    <a:pt x="191" y="371"/>
                  </a:lnTo>
                  <a:lnTo>
                    <a:pt x="189" y="369"/>
                  </a:lnTo>
                  <a:lnTo>
                    <a:pt x="189" y="369"/>
                  </a:lnTo>
                  <a:lnTo>
                    <a:pt x="186" y="367"/>
                  </a:lnTo>
                  <a:lnTo>
                    <a:pt x="186" y="364"/>
                  </a:lnTo>
                  <a:lnTo>
                    <a:pt x="184" y="360"/>
                  </a:lnTo>
                  <a:lnTo>
                    <a:pt x="184" y="360"/>
                  </a:lnTo>
                  <a:lnTo>
                    <a:pt x="186" y="360"/>
                  </a:lnTo>
                  <a:lnTo>
                    <a:pt x="191" y="362"/>
                  </a:lnTo>
                  <a:lnTo>
                    <a:pt x="194" y="362"/>
                  </a:lnTo>
                  <a:lnTo>
                    <a:pt x="198" y="364"/>
                  </a:lnTo>
                  <a:lnTo>
                    <a:pt x="203" y="364"/>
                  </a:lnTo>
                  <a:lnTo>
                    <a:pt x="208" y="364"/>
                  </a:lnTo>
                  <a:lnTo>
                    <a:pt x="210" y="364"/>
                  </a:lnTo>
                  <a:lnTo>
                    <a:pt x="229" y="360"/>
                  </a:lnTo>
                  <a:lnTo>
                    <a:pt x="231" y="360"/>
                  </a:lnTo>
                  <a:lnTo>
                    <a:pt x="241" y="357"/>
                  </a:lnTo>
                  <a:lnTo>
                    <a:pt x="255" y="353"/>
                  </a:lnTo>
                  <a:lnTo>
                    <a:pt x="262" y="345"/>
                  </a:lnTo>
                  <a:lnTo>
                    <a:pt x="265" y="345"/>
                  </a:lnTo>
                  <a:lnTo>
                    <a:pt x="265" y="341"/>
                  </a:lnTo>
                  <a:lnTo>
                    <a:pt x="265" y="336"/>
                  </a:lnTo>
                  <a:lnTo>
                    <a:pt x="269" y="331"/>
                  </a:lnTo>
                  <a:lnTo>
                    <a:pt x="272" y="319"/>
                  </a:lnTo>
                  <a:lnTo>
                    <a:pt x="272" y="317"/>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 name="Freeform 216"/>
            <p:cNvSpPr>
              <a:spLocks noEditPoints="1"/>
            </p:cNvSpPr>
            <p:nvPr/>
          </p:nvSpPr>
          <p:spPr bwMode="auto">
            <a:xfrm>
              <a:off x="1611" y="2426"/>
              <a:ext cx="5" cy="14"/>
            </a:xfrm>
            <a:custGeom>
              <a:avLst/>
              <a:gdLst>
                <a:gd name="T0" fmla="*/ 2 w 5"/>
                <a:gd name="T1" fmla="*/ 12 h 14"/>
                <a:gd name="T2" fmla="*/ 2 w 5"/>
                <a:gd name="T3" fmla="*/ 12 h 14"/>
                <a:gd name="T4" fmla="*/ 0 w 5"/>
                <a:gd name="T5" fmla="*/ 12 h 14"/>
                <a:gd name="T6" fmla="*/ 0 w 5"/>
                <a:gd name="T7" fmla="*/ 14 h 14"/>
                <a:gd name="T8" fmla="*/ 0 w 5"/>
                <a:gd name="T9" fmla="*/ 14 h 14"/>
                <a:gd name="T10" fmla="*/ 2 w 5"/>
                <a:gd name="T11" fmla="*/ 14 h 14"/>
                <a:gd name="T12" fmla="*/ 5 w 5"/>
                <a:gd name="T13" fmla="*/ 14 h 14"/>
                <a:gd name="T14" fmla="*/ 5 w 5"/>
                <a:gd name="T15" fmla="*/ 14 h 14"/>
                <a:gd name="T16" fmla="*/ 5 w 5"/>
                <a:gd name="T17" fmla="*/ 14 h 14"/>
                <a:gd name="T18" fmla="*/ 5 w 5"/>
                <a:gd name="T19" fmla="*/ 12 h 14"/>
                <a:gd name="T20" fmla="*/ 5 w 5"/>
                <a:gd name="T21" fmla="*/ 12 h 14"/>
                <a:gd name="T22" fmla="*/ 2 w 5"/>
                <a:gd name="T23" fmla="*/ 12 h 14"/>
                <a:gd name="T24" fmla="*/ 5 w 5"/>
                <a:gd name="T25" fmla="*/ 2 h 14"/>
                <a:gd name="T26" fmla="*/ 5 w 5"/>
                <a:gd name="T27" fmla="*/ 2 h 14"/>
                <a:gd name="T28" fmla="*/ 5 w 5"/>
                <a:gd name="T29" fmla="*/ 0 h 14"/>
                <a:gd name="T30" fmla="*/ 5 w 5"/>
                <a:gd name="T31" fmla="*/ 0 h 14"/>
                <a:gd name="T32" fmla="*/ 2 w 5"/>
                <a:gd name="T33" fmla="*/ 0 h 14"/>
                <a:gd name="T34" fmla="*/ 2 w 5"/>
                <a:gd name="T35" fmla="*/ 0 h 14"/>
                <a:gd name="T36" fmla="*/ 2 w 5"/>
                <a:gd name="T37" fmla="*/ 0 h 14"/>
                <a:gd name="T38" fmla="*/ 2 w 5"/>
                <a:gd name="T39" fmla="*/ 0 h 14"/>
                <a:gd name="T40" fmla="*/ 2 w 5"/>
                <a:gd name="T41" fmla="*/ 2 h 14"/>
                <a:gd name="T42" fmla="*/ 5 w 5"/>
                <a:gd name="T43" fmla="*/ 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 h="14">
                  <a:moveTo>
                    <a:pt x="2" y="12"/>
                  </a:moveTo>
                  <a:lnTo>
                    <a:pt x="2" y="12"/>
                  </a:lnTo>
                  <a:lnTo>
                    <a:pt x="0" y="12"/>
                  </a:lnTo>
                  <a:lnTo>
                    <a:pt x="0" y="14"/>
                  </a:lnTo>
                  <a:lnTo>
                    <a:pt x="0" y="14"/>
                  </a:lnTo>
                  <a:lnTo>
                    <a:pt x="2" y="14"/>
                  </a:lnTo>
                  <a:lnTo>
                    <a:pt x="5" y="14"/>
                  </a:lnTo>
                  <a:lnTo>
                    <a:pt x="5" y="14"/>
                  </a:lnTo>
                  <a:lnTo>
                    <a:pt x="5" y="14"/>
                  </a:lnTo>
                  <a:lnTo>
                    <a:pt x="5" y="12"/>
                  </a:lnTo>
                  <a:lnTo>
                    <a:pt x="5" y="12"/>
                  </a:lnTo>
                  <a:lnTo>
                    <a:pt x="2" y="12"/>
                  </a:lnTo>
                  <a:close/>
                  <a:moveTo>
                    <a:pt x="5" y="2"/>
                  </a:moveTo>
                  <a:lnTo>
                    <a:pt x="5" y="2"/>
                  </a:lnTo>
                  <a:lnTo>
                    <a:pt x="5" y="0"/>
                  </a:lnTo>
                  <a:lnTo>
                    <a:pt x="5" y="0"/>
                  </a:lnTo>
                  <a:lnTo>
                    <a:pt x="2" y="0"/>
                  </a:lnTo>
                  <a:lnTo>
                    <a:pt x="2" y="0"/>
                  </a:lnTo>
                  <a:lnTo>
                    <a:pt x="2" y="0"/>
                  </a:lnTo>
                  <a:lnTo>
                    <a:pt x="2" y="0"/>
                  </a:lnTo>
                  <a:lnTo>
                    <a:pt x="2" y="2"/>
                  </a:lnTo>
                  <a:lnTo>
                    <a:pt x="5" y="2"/>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 name="Freeform 217"/>
            <p:cNvSpPr>
              <a:spLocks/>
            </p:cNvSpPr>
            <p:nvPr/>
          </p:nvSpPr>
          <p:spPr bwMode="auto">
            <a:xfrm>
              <a:off x="1590" y="2414"/>
              <a:ext cx="4" cy="2"/>
            </a:xfrm>
            <a:custGeom>
              <a:avLst/>
              <a:gdLst>
                <a:gd name="T0" fmla="*/ 2 w 4"/>
                <a:gd name="T1" fmla="*/ 0 h 2"/>
                <a:gd name="T2" fmla="*/ 0 w 4"/>
                <a:gd name="T3" fmla="*/ 2 h 2"/>
                <a:gd name="T4" fmla="*/ 0 w 4"/>
                <a:gd name="T5" fmla="*/ 2 h 2"/>
                <a:gd name="T6" fmla="*/ 4 w 4"/>
                <a:gd name="T7" fmla="*/ 0 h 2"/>
                <a:gd name="T8" fmla="*/ 4 w 4"/>
                <a:gd name="T9" fmla="*/ 0 h 2"/>
                <a:gd name="T10" fmla="*/ 2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2" y="0"/>
                  </a:moveTo>
                  <a:lnTo>
                    <a:pt x="0" y="2"/>
                  </a:lnTo>
                  <a:lnTo>
                    <a:pt x="0" y="2"/>
                  </a:lnTo>
                  <a:lnTo>
                    <a:pt x="4" y="0"/>
                  </a:lnTo>
                  <a:lnTo>
                    <a:pt x="4" y="0"/>
                  </a:lnTo>
                  <a:lnTo>
                    <a:pt x="2" y="0"/>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 name="Freeform 218"/>
            <p:cNvSpPr>
              <a:spLocks noEditPoints="1"/>
            </p:cNvSpPr>
            <p:nvPr/>
          </p:nvSpPr>
          <p:spPr bwMode="auto">
            <a:xfrm>
              <a:off x="2969" y="2895"/>
              <a:ext cx="227" cy="286"/>
            </a:xfrm>
            <a:custGeom>
              <a:avLst/>
              <a:gdLst>
                <a:gd name="T0" fmla="*/ 224 w 227"/>
                <a:gd name="T1" fmla="*/ 135 h 286"/>
                <a:gd name="T2" fmla="*/ 217 w 227"/>
                <a:gd name="T3" fmla="*/ 137 h 286"/>
                <a:gd name="T4" fmla="*/ 198 w 227"/>
                <a:gd name="T5" fmla="*/ 139 h 286"/>
                <a:gd name="T6" fmla="*/ 194 w 227"/>
                <a:gd name="T7" fmla="*/ 139 h 286"/>
                <a:gd name="T8" fmla="*/ 194 w 227"/>
                <a:gd name="T9" fmla="*/ 128 h 286"/>
                <a:gd name="T10" fmla="*/ 189 w 227"/>
                <a:gd name="T11" fmla="*/ 111 h 286"/>
                <a:gd name="T12" fmla="*/ 186 w 227"/>
                <a:gd name="T13" fmla="*/ 83 h 286"/>
                <a:gd name="T14" fmla="*/ 186 w 227"/>
                <a:gd name="T15" fmla="*/ 59 h 286"/>
                <a:gd name="T16" fmla="*/ 163 w 227"/>
                <a:gd name="T17" fmla="*/ 59 h 286"/>
                <a:gd name="T18" fmla="*/ 156 w 227"/>
                <a:gd name="T19" fmla="*/ 52 h 286"/>
                <a:gd name="T20" fmla="*/ 142 w 227"/>
                <a:gd name="T21" fmla="*/ 61 h 286"/>
                <a:gd name="T22" fmla="*/ 137 w 227"/>
                <a:gd name="T23" fmla="*/ 73 h 286"/>
                <a:gd name="T24" fmla="*/ 120 w 227"/>
                <a:gd name="T25" fmla="*/ 73 h 286"/>
                <a:gd name="T26" fmla="*/ 108 w 227"/>
                <a:gd name="T27" fmla="*/ 75 h 286"/>
                <a:gd name="T28" fmla="*/ 99 w 227"/>
                <a:gd name="T29" fmla="*/ 61 h 286"/>
                <a:gd name="T30" fmla="*/ 92 w 227"/>
                <a:gd name="T31" fmla="*/ 47 h 286"/>
                <a:gd name="T32" fmla="*/ 90 w 227"/>
                <a:gd name="T33" fmla="*/ 35 h 286"/>
                <a:gd name="T34" fmla="*/ 80 w 227"/>
                <a:gd name="T35" fmla="*/ 28 h 286"/>
                <a:gd name="T36" fmla="*/ 47 w 227"/>
                <a:gd name="T37" fmla="*/ 31 h 286"/>
                <a:gd name="T38" fmla="*/ 28 w 227"/>
                <a:gd name="T39" fmla="*/ 28 h 286"/>
                <a:gd name="T40" fmla="*/ 19 w 227"/>
                <a:gd name="T41" fmla="*/ 33 h 286"/>
                <a:gd name="T42" fmla="*/ 11 w 227"/>
                <a:gd name="T43" fmla="*/ 40 h 286"/>
                <a:gd name="T44" fmla="*/ 28 w 227"/>
                <a:gd name="T45" fmla="*/ 85 h 286"/>
                <a:gd name="T46" fmla="*/ 23 w 227"/>
                <a:gd name="T47" fmla="*/ 94 h 286"/>
                <a:gd name="T48" fmla="*/ 26 w 227"/>
                <a:gd name="T49" fmla="*/ 104 h 286"/>
                <a:gd name="T50" fmla="*/ 33 w 227"/>
                <a:gd name="T51" fmla="*/ 125 h 286"/>
                <a:gd name="T52" fmla="*/ 37 w 227"/>
                <a:gd name="T53" fmla="*/ 149 h 286"/>
                <a:gd name="T54" fmla="*/ 21 w 227"/>
                <a:gd name="T55" fmla="*/ 175 h 286"/>
                <a:gd name="T56" fmla="*/ 4 w 227"/>
                <a:gd name="T57" fmla="*/ 227 h 286"/>
                <a:gd name="T58" fmla="*/ 0 w 227"/>
                <a:gd name="T59" fmla="*/ 241 h 286"/>
                <a:gd name="T60" fmla="*/ 2 w 227"/>
                <a:gd name="T61" fmla="*/ 270 h 286"/>
                <a:gd name="T62" fmla="*/ 14 w 227"/>
                <a:gd name="T63" fmla="*/ 270 h 286"/>
                <a:gd name="T64" fmla="*/ 26 w 227"/>
                <a:gd name="T65" fmla="*/ 265 h 286"/>
                <a:gd name="T66" fmla="*/ 35 w 227"/>
                <a:gd name="T67" fmla="*/ 270 h 286"/>
                <a:gd name="T68" fmla="*/ 47 w 227"/>
                <a:gd name="T69" fmla="*/ 272 h 286"/>
                <a:gd name="T70" fmla="*/ 101 w 227"/>
                <a:gd name="T71" fmla="*/ 272 h 286"/>
                <a:gd name="T72" fmla="*/ 123 w 227"/>
                <a:gd name="T73" fmla="*/ 274 h 286"/>
                <a:gd name="T74" fmla="*/ 134 w 227"/>
                <a:gd name="T75" fmla="*/ 281 h 286"/>
                <a:gd name="T76" fmla="*/ 158 w 227"/>
                <a:gd name="T77" fmla="*/ 284 h 286"/>
                <a:gd name="T78" fmla="*/ 175 w 227"/>
                <a:gd name="T79" fmla="*/ 284 h 286"/>
                <a:gd name="T80" fmla="*/ 198 w 227"/>
                <a:gd name="T81" fmla="*/ 281 h 286"/>
                <a:gd name="T82" fmla="*/ 198 w 227"/>
                <a:gd name="T83" fmla="*/ 263 h 286"/>
                <a:gd name="T84" fmla="*/ 186 w 227"/>
                <a:gd name="T85" fmla="*/ 241 h 286"/>
                <a:gd name="T86" fmla="*/ 189 w 227"/>
                <a:gd name="T87" fmla="*/ 203 h 286"/>
                <a:gd name="T88" fmla="*/ 224 w 227"/>
                <a:gd name="T89" fmla="*/ 180 h 286"/>
                <a:gd name="T90" fmla="*/ 224 w 227"/>
                <a:gd name="T91" fmla="*/ 170 h 286"/>
                <a:gd name="T92" fmla="*/ 227 w 227"/>
                <a:gd name="T93" fmla="*/ 154 h 286"/>
                <a:gd name="T94" fmla="*/ 227 w 227"/>
                <a:gd name="T95" fmla="*/ 147 h 286"/>
                <a:gd name="T96" fmla="*/ 7 w 227"/>
                <a:gd name="T97" fmla="*/ 26 h 286"/>
                <a:gd name="T98" fmla="*/ 14 w 227"/>
                <a:gd name="T99" fmla="*/ 19 h 286"/>
                <a:gd name="T100" fmla="*/ 14 w 227"/>
                <a:gd name="T101" fmla="*/ 12 h 286"/>
                <a:gd name="T102" fmla="*/ 23 w 227"/>
                <a:gd name="T103" fmla="*/ 2 h 286"/>
                <a:gd name="T104" fmla="*/ 16 w 227"/>
                <a:gd name="T105" fmla="*/ 0 h 286"/>
                <a:gd name="T106" fmla="*/ 9 w 227"/>
                <a:gd name="T107" fmla="*/ 7 h 286"/>
                <a:gd name="T108" fmla="*/ 4 w 227"/>
                <a:gd name="T109" fmla="*/ 14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27" h="286">
                  <a:moveTo>
                    <a:pt x="227" y="147"/>
                  </a:moveTo>
                  <a:lnTo>
                    <a:pt x="227" y="144"/>
                  </a:lnTo>
                  <a:lnTo>
                    <a:pt x="227" y="142"/>
                  </a:lnTo>
                  <a:lnTo>
                    <a:pt x="227" y="137"/>
                  </a:lnTo>
                  <a:lnTo>
                    <a:pt x="224" y="135"/>
                  </a:lnTo>
                  <a:lnTo>
                    <a:pt x="224" y="135"/>
                  </a:lnTo>
                  <a:lnTo>
                    <a:pt x="224" y="137"/>
                  </a:lnTo>
                  <a:lnTo>
                    <a:pt x="224" y="137"/>
                  </a:lnTo>
                  <a:lnTo>
                    <a:pt x="222" y="137"/>
                  </a:lnTo>
                  <a:lnTo>
                    <a:pt x="220" y="137"/>
                  </a:lnTo>
                  <a:lnTo>
                    <a:pt x="217" y="137"/>
                  </a:lnTo>
                  <a:lnTo>
                    <a:pt x="217" y="137"/>
                  </a:lnTo>
                  <a:lnTo>
                    <a:pt x="215" y="137"/>
                  </a:lnTo>
                  <a:lnTo>
                    <a:pt x="210" y="139"/>
                  </a:lnTo>
                  <a:lnTo>
                    <a:pt x="208" y="139"/>
                  </a:lnTo>
                  <a:lnTo>
                    <a:pt x="203" y="139"/>
                  </a:lnTo>
                  <a:lnTo>
                    <a:pt x="201" y="139"/>
                  </a:lnTo>
                  <a:lnTo>
                    <a:pt x="198" y="139"/>
                  </a:lnTo>
                  <a:lnTo>
                    <a:pt x="198" y="139"/>
                  </a:lnTo>
                  <a:lnTo>
                    <a:pt x="196" y="142"/>
                  </a:lnTo>
                  <a:lnTo>
                    <a:pt x="194" y="142"/>
                  </a:lnTo>
                  <a:lnTo>
                    <a:pt x="194" y="142"/>
                  </a:lnTo>
                  <a:lnTo>
                    <a:pt x="194" y="142"/>
                  </a:lnTo>
                  <a:lnTo>
                    <a:pt x="194" y="139"/>
                  </a:lnTo>
                  <a:lnTo>
                    <a:pt x="194" y="137"/>
                  </a:lnTo>
                  <a:lnTo>
                    <a:pt x="191" y="135"/>
                  </a:lnTo>
                  <a:lnTo>
                    <a:pt x="194" y="135"/>
                  </a:lnTo>
                  <a:lnTo>
                    <a:pt x="194" y="132"/>
                  </a:lnTo>
                  <a:lnTo>
                    <a:pt x="194" y="130"/>
                  </a:lnTo>
                  <a:lnTo>
                    <a:pt x="194" y="128"/>
                  </a:lnTo>
                  <a:lnTo>
                    <a:pt x="194" y="125"/>
                  </a:lnTo>
                  <a:lnTo>
                    <a:pt x="194" y="125"/>
                  </a:lnTo>
                  <a:lnTo>
                    <a:pt x="194" y="123"/>
                  </a:lnTo>
                  <a:lnTo>
                    <a:pt x="194" y="118"/>
                  </a:lnTo>
                  <a:lnTo>
                    <a:pt x="191" y="113"/>
                  </a:lnTo>
                  <a:lnTo>
                    <a:pt x="189" y="111"/>
                  </a:lnTo>
                  <a:lnTo>
                    <a:pt x="186" y="109"/>
                  </a:lnTo>
                  <a:lnTo>
                    <a:pt x="186" y="106"/>
                  </a:lnTo>
                  <a:lnTo>
                    <a:pt x="186" y="99"/>
                  </a:lnTo>
                  <a:lnTo>
                    <a:pt x="186" y="94"/>
                  </a:lnTo>
                  <a:lnTo>
                    <a:pt x="186" y="90"/>
                  </a:lnTo>
                  <a:lnTo>
                    <a:pt x="186" y="83"/>
                  </a:lnTo>
                  <a:lnTo>
                    <a:pt x="186" y="75"/>
                  </a:lnTo>
                  <a:lnTo>
                    <a:pt x="186" y="71"/>
                  </a:lnTo>
                  <a:lnTo>
                    <a:pt x="186" y="66"/>
                  </a:lnTo>
                  <a:lnTo>
                    <a:pt x="186" y="61"/>
                  </a:lnTo>
                  <a:lnTo>
                    <a:pt x="186" y="59"/>
                  </a:lnTo>
                  <a:lnTo>
                    <a:pt x="186" y="59"/>
                  </a:lnTo>
                  <a:lnTo>
                    <a:pt x="184" y="59"/>
                  </a:lnTo>
                  <a:lnTo>
                    <a:pt x="179" y="59"/>
                  </a:lnTo>
                  <a:lnTo>
                    <a:pt x="175" y="59"/>
                  </a:lnTo>
                  <a:lnTo>
                    <a:pt x="170" y="59"/>
                  </a:lnTo>
                  <a:lnTo>
                    <a:pt x="163" y="59"/>
                  </a:lnTo>
                  <a:lnTo>
                    <a:pt x="163" y="59"/>
                  </a:lnTo>
                  <a:lnTo>
                    <a:pt x="163" y="57"/>
                  </a:lnTo>
                  <a:lnTo>
                    <a:pt x="163" y="57"/>
                  </a:lnTo>
                  <a:lnTo>
                    <a:pt x="163" y="52"/>
                  </a:lnTo>
                  <a:lnTo>
                    <a:pt x="163" y="52"/>
                  </a:lnTo>
                  <a:lnTo>
                    <a:pt x="160" y="52"/>
                  </a:lnTo>
                  <a:lnTo>
                    <a:pt x="156" y="52"/>
                  </a:lnTo>
                  <a:lnTo>
                    <a:pt x="153" y="52"/>
                  </a:lnTo>
                  <a:lnTo>
                    <a:pt x="151" y="52"/>
                  </a:lnTo>
                  <a:lnTo>
                    <a:pt x="146" y="54"/>
                  </a:lnTo>
                  <a:lnTo>
                    <a:pt x="144" y="57"/>
                  </a:lnTo>
                  <a:lnTo>
                    <a:pt x="142" y="59"/>
                  </a:lnTo>
                  <a:lnTo>
                    <a:pt x="142" y="61"/>
                  </a:lnTo>
                  <a:lnTo>
                    <a:pt x="142" y="64"/>
                  </a:lnTo>
                  <a:lnTo>
                    <a:pt x="142" y="66"/>
                  </a:lnTo>
                  <a:lnTo>
                    <a:pt x="142" y="66"/>
                  </a:lnTo>
                  <a:lnTo>
                    <a:pt x="142" y="68"/>
                  </a:lnTo>
                  <a:lnTo>
                    <a:pt x="139" y="73"/>
                  </a:lnTo>
                  <a:lnTo>
                    <a:pt x="137" y="73"/>
                  </a:lnTo>
                  <a:lnTo>
                    <a:pt x="132" y="73"/>
                  </a:lnTo>
                  <a:lnTo>
                    <a:pt x="132" y="73"/>
                  </a:lnTo>
                  <a:lnTo>
                    <a:pt x="127" y="73"/>
                  </a:lnTo>
                  <a:lnTo>
                    <a:pt x="125" y="73"/>
                  </a:lnTo>
                  <a:lnTo>
                    <a:pt x="125" y="73"/>
                  </a:lnTo>
                  <a:lnTo>
                    <a:pt x="120" y="73"/>
                  </a:lnTo>
                  <a:lnTo>
                    <a:pt x="118" y="75"/>
                  </a:lnTo>
                  <a:lnTo>
                    <a:pt x="116" y="75"/>
                  </a:lnTo>
                  <a:lnTo>
                    <a:pt x="116" y="75"/>
                  </a:lnTo>
                  <a:lnTo>
                    <a:pt x="113" y="75"/>
                  </a:lnTo>
                  <a:lnTo>
                    <a:pt x="111" y="75"/>
                  </a:lnTo>
                  <a:lnTo>
                    <a:pt x="108" y="75"/>
                  </a:lnTo>
                  <a:lnTo>
                    <a:pt x="106" y="75"/>
                  </a:lnTo>
                  <a:lnTo>
                    <a:pt x="106" y="75"/>
                  </a:lnTo>
                  <a:lnTo>
                    <a:pt x="104" y="71"/>
                  </a:lnTo>
                  <a:lnTo>
                    <a:pt x="101" y="66"/>
                  </a:lnTo>
                  <a:lnTo>
                    <a:pt x="99" y="64"/>
                  </a:lnTo>
                  <a:lnTo>
                    <a:pt x="99" y="61"/>
                  </a:lnTo>
                  <a:lnTo>
                    <a:pt x="97" y="61"/>
                  </a:lnTo>
                  <a:lnTo>
                    <a:pt x="97" y="59"/>
                  </a:lnTo>
                  <a:lnTo>
                    <a:pt x="97" y="57"/>
                  </a:lnTo>
                  <a:lnTo>
                    <a:pt x="97" y="54"/>
                  </a:lnTo>
                  <a:lnTo>
                    <a:pt x="94" y="52"/>
                  </a:lnTo>
                  <a:lnTo>
                    <a:pt x="92" y="47"/>
                  </a:lnTo>
                  <a:lnTo>
                    <a:pt x="92" y="45"/>
                  </a:lnTo>
                  <a:lnTo>
                    <a:pt x="92" y="42"/>
                  </a:lnTo>
                  <a:lnTo>
                    <a:pt x="92" y="40"/>
                  </a:lnTo>
                  <a:lnTo>
                    <a:pt x="92" y="38"/>
                  </a:lnTo>
                  <a:lnTo>
                    <a:pt x="92" y="35"/>
                  </a:lnTo>
                  <a:lnTo>
                    <a:pt x="90" y="35"/>
                  </a:lnTo>
                  <a:lnTo>
                    <a:pt x="90" y="33"/>
                  </a:lnTo>
                  <a:lnTo>
                    <a:pt x="90" y="33"/>
                  </a:lnTo>
                  <a:lnTo>
                    <a:pt x="87" y="31"/>
                  </a:lnTo>
                  <a:lnTo>
                    <a:pt x="85" y="31"/>
                  </a:lnTo>
                  <a:lnTo>
                    <a:pt x="85" y="28"/>
                  </a:lnTo>
                  <a:lnTo>
                    <a:pt x="80" y="28"/>
                  </a:lnTo>
                  <a:lnTo>
                    <a:pt x="73" y="28"/>
                  </a:lnTo>
                  <a:lnTo>
                    <a:pt x="68" y="28"/>
                  </a:lnTo>
                  <a:lnTo>
                    <a:pt x="61" y="28"/>
                  </a:lnTo>
                  <a:lnTo>
                    <a:pt x="54" y="31"/>
                  </a:lnTo>
                  <a:lnTo>
                    <a:pt x="54" y="31"/>
                  </a:lnTo>
                  <a:lnTo>
                    <a:pt x="47" y="31"/>
                  </a:lnTo>
                  <a:lnTo>
                    <a:pt x="45" y="28"/>
                  </a:lnTo>
                  <a:lnTo>
                    <a:pt x="42" y="28"/>
                  </a:lnTo>
                  <a:lnTo>
                    <a:pt x="40" y="28"/>
                  </a:lnTo>
                  <a:lnTo>
                    <a:pt x="35" y="28"/>
                  </a:lnTo>
                  <a:lnTo>
                    <a:pt x="35" y="28"/>
                  </a:lnTo>
                  <a:lnTo>
                    <a:pt x="28" y="28"/>
                  </a:lnTo>
                  <a:lnTo>
                    <a:pt x="28" y="28"/>
                  </a:lnTo>
                  <a:lnTo>
                    <a:pt x="28" y="31"/>
                  </a:lnTo>
                  <a:lnTo>
                    <a:pt x="26" y="28"/>
                  </a:lnTo>
                  <a:lnTo>
                    <a:pt x="23" y="28"/>
                  </a:lnTo>
                  <a:lnTo>
                    <a:pt x="23" y="31"/>
                  </a:lnTo>
                  <a:lnTo>
                    <a:pt x="19" y="33"/>
                  </a:lnTo>
                  <a:lnTo>
                    <a:pt x="14" y="33"/>
                  </a:lnTo>
                  <a:lnTo>
                    <a:pt x="11" y="33"/>
                  </a:lnTo>
                  <a:lnTo>
                    <a:pt x="9" y="33"/>
                  </a:lnTo>
                  <a:lnTo>
                    <a:pt x="9" y="35"/>
                  </a:lnTo>
                  <a:lnTo>
                    <a:pt x="9" y="35"/>
                  </a:lnTo>
                  <a:lnTo>
                    <a:pt x="11" y="40"/>
                  </a:lnTo>
                  <a:lnTo>
                    <a:pt x="14" y="45"/>
                  </a:lnTo>
                  <a:lnTo>
                    <a:pt x="19" y="52"/>
                  </a:lnTo>
                  <a:lnTo>
                    <a:pt x="19" y="59"/>
                  </a:lnTo>
                  <a:lnTo>
                    <a:pt x="23" y="68"/>
                  </a:lnTo>
                  <a:lnTo>
                    <a:pt x="28" y="83"/>
                  </a:lnTo>
                  <a:lnTo>
                    <a:pt x="28" y="85"/>
                  </a:lnTo>
                  <a:lnTo>
                    <a:pt x="28" y="85"/>
                  </a:lnTo>
                  <a:lnTo>
                    <a:pt x="28" y="87"/>
                  </a:lnTo>
                  <a:lnTo>
                    <a:pt x="28" y="90"/>
                  </a:lnTo>
                  <a:lnTo>
                    <a:pt x="23" y="94"/>
                  </a:lnTo>
                  <a:lnTo>
                    <a:pt x="23" y="94"/>
                  </a:lnTo>
                  <a:lnTo>
                    <a:pt x="23" y="94"/>
                  </a:lnTo>
                  <a:lnTo>
                    <a:pt x="23" y="92"/>
                  </a:lnTo>
                  <a:lnTo>
                    <a:pt x="23" y="94"/>
                  </a:lnTo>
                  <a:lnTo>
                    <a:pt x="21" y="94"/>
                  </a:lnTo>
                  <a:lnTo>
                    <a:pt x="21" y="97"/>
                  </a:lnTo>
                  <a:lnTo>
                    <a:pt x="23" y="99"/>
                  </a:lnTo>
                  <a:lnTo>
                    <a:pt x="26" y="104"/>
                  </a:lnTo>
                  <a:lnTo>
                    <a:pt x="26" y="106"/>
                  </a:lnTo>
                  <a:lnTo>
                    <a:pt x="26" y="111"/>
                  </a:lnTo>
                  <a:lnTo>
                    <a:pt x="28" y="113"/>
                  </a:lnTo>
                  <a:lnTo>
                    <a:pt x="28" y="116"/>
                  </a:lnTo>
                  <a:lnTo>
                    <a:pt x="30" y="123"/>
                  </a:lnTo>
                  <a:lnTo>
                    <a:pt x="33" y="125"/>
                  </a:lnTo>
                  <a:lnTo>
                    <a:pt x="33" y="128"/>
                  </a:lnTo>
                  <a:lnTo>
                    <a:pt x="35" y="130"/>
                  </a:lnTo>
                  <a:lnTo>
                    <a:pt x="35" y="132"/>
                  </a:lnTo>
                  <a:lnTo>
                    <a:pt x="37" y="137"/>
                  </a:lnTo>
                  <a:lnTo>
                    <a:pt x="37" y="139"/>
                  </a:lnTo>
                  <a:lnTo>
                    <a:pt x="37" y="149"/>
                  </a:lnTo>
                  <a:lnTo>
                    <a:pt x="37" y="154"/>
                  </a:lnTo>
                  <a:lnTo>
                    <a:pt x="35" y="161"/>
                  </a:lnTo>
                  <a:lnTo>
                    <a:pt x="33" y="165"/>
                  </a:lnTo>
                  <a:lnTo>
                    <a:pt x="30" y="170"/>
                  </a:lnTo>
                  <a:lnTo>
                    <a:pt x="26" y="173"/>
                  </a:lnTo>
                  <a:lnTo>
                    <a:pt x="21" y="175"/>
                  </a:lnTo>
                  <a:lnTo>
                    <a:pt x="21" y="180"/>
                  </a:lnTo>
                  <a:lnTo>
                    <a:pt x="14" y="189"/>
                  </a:lnTo>
                  <a:lnTo>
                    <a:pt x="11" y="196"/>
                  </a:lnTo>
                  <a:lnTo>
                    <a:pt x="11" y="201"/>
                  </a:lnTo>
                  <a:lnTo>
                    <a:pt x="9" y="215"/>
                  </a:lnTo>
                  <a:lnTo>
                    <a:pt x="4" y="227"/>
                  </a:lnTo>
                  <a:lnTo>
                    <a:pt x="4" y="234"/>
                  </a:lnTo>
                  <a:lnTo>
                    <a:pt x="2" y="237"/>
                  </a:lnTo>
                  <a:lnTo>
                    <a:pt x="2" y="237"/>
                  </a:lnTo>
                  <a:lnTo>
                    <a:pt x="0" y="239"/>
                  </a:lnTo>
                  <a:lnTo>
                    <a:pt x="0" y="239"/>
                  </a:lnTo>
                  <a:lnTo>
                    <a:pt x="0" y="241"/>
                  </a:lnTo>
                  <a:lnTo>
                    <a:pt x="0" y="244"/>
                  </a:lnTo>
                  <a:lnTo>
                    <a:pt x="0" y="253"/>
                  </a:lnTo>
                  <a:lnTo>
                    <a:pt x="0" y="258"/>
                  </a:lnTo>
                  <a:lnTo>
                    <a:pt x="0" y="263"/>
                  </a:lnTo>
                  <a:lnTo>
                    <a:pt x="0" y="270"/>
                  </a:lnTo>
                  <a:lnTo>
                    <a:pt x="2" y="270"/>
                  </a:lnTo>
                  <a:lnTo>
                    <a:pt x="4" y="267"/>
                  </a:lnTo>
                  <a:lnTo>
                    <a:pt x="4" y="267"/>
                  </a:lnTo>
                  <a:lnTo>
                    <a:pt x="7" y="270"/>
                  </a:lnTo>
                  <a:lnTo>
                    <a:pt x="9" y="270"/>
                  </a:lnTo>
                  <a:lnTo>
                    <a:pt x="9" y="270"/>
                  </a:lnTo>
                  <a:lnTo>
                    <a:pt x="14" y="270"/>
                  </a:lnTo>
                  <a:lnTo>
                    <a:pt x="16" y="267"/>
                  </a:lnTo>
                  <a:lnTo>
                    <a:pt x="19" y="267"/>
                  </a:lnTo>
                  <a:lnTo>
                    <a:pt x="19" y="265"/>
                  </a:lnTo>
                  <a:lnTo>
                    <a:pt x="21" y="265"/>
                  </a:lnTo>
                  <a:lnTo>
                    <a:pt x="23" y="265"/>
                  </a:lnTo>
                  <a:lnTo>
                    <a:pt x="26" y="265"/>
                  </a:lnTo>
                  <a:lnTo>
                    <a:pt x="26" y="265"/>
                  </a:lnTo>
                  <a:lnTo>
                    <a:pt x="28" y="265"/>
                  </a:lnTo>
                  <a:lnTo>
                    <a:pt x="30" y="265"/>
                  </a:lnTo>
                  <a:lnTo>
                    <a:pt x="33" y="267"/>
                  </a:lnTo>
                  <a:lnTo>
                    <a:pt x="35" y="270"/>
                  </a:lnTo>
                  <a:lnTo>
                    <a:pt x="35" y="270"/>
                  </a:lnTo>
                  <a:lnTo>
                    <a:pt x="37" y="272"/>
                  </a:lnTo>
                  <a:lnTo>
                    <a:pt x="40" y="272"/>
                  </a:lnTo>
                  <a:lnTo>
                    <a:pt x="40" y="272"/>
                  </a:lnTo>
                  <a:lnTo>
                    <a:pt x="40" y="272"/>
                  </a:lnTo>
                  <a:lnTo>
                    <a:pt x="45" y="272"/>
                  </a:lnTo>
                  <a:lnTo>
                    <a:pt x="47" y="272"/>
                  </a:lnTo>
                  <a:lnTo>
                    <a:pt x="52" y="272"/>
                  </a:lnTo>
                  <a:lnTo>
                    <a:pt x="66" y="272"/>
                  </a:lnTo>
                  <a:lnTo>
                    <a:pt x="73" y="272"/>
                  </a:lnTo>
                  <a:lnTo>
                    <a:pt x="80" y="272"/>
                  </a:lnTo>
                  <a:lnTo>
                    <a:pt x="94" y="272"/>
                  </a:lnTo>
                  <a:lnTo>
                    <a:pt x="101" y="272"/>
                  </a:lnTo>
                  <a:lnTo>
                    <a:pt x="108" y="272"/>
                  </a:lnTo>
                  <a:lnTo>
                    <a:pt x="111" y="272"/>
                  </a:lnTo>
                  <a:lnTo>
                    <a:pt x="116" y="272"/>
                  </a:lnTo>
                  <a:lnTo>
                    <a:pt x="120" y="272"/>
                  </a:lnTo>
                  <a:lnTo>
                    <a:pt x="123" y="272"/>
                  </a:lnTo>
                  <a:lnTo>
                    <a:pt x="123" y="274"/>
                  </a:lnTo>
                  <a:lnTo>
                    <a:pt x="123" y="274"/>
                  </a:lnTo>
                  <a:lnTo>
                    <a:pt x="125" y="277"/>
                  </a:lnTo>
                  <a:lnTo>
                    <a:pt x="127" y="279"/>
                  </a:lnTo>
                  <a:lnTo>
                    <a:pt x="130" y="281"/>
                  </a:lnTo>
                  <a:lnTo>
                    <a:pt x="132" y="281"/>
                  </a:lnTo>
                  <a:lnTo>
                    <a:pt x="134" y="281"/>
                  </a:lnTo>
                  <a:lnTo>
                    <a:pt x="134" y="281"/>
                  </a:lnTo>
                  <a:lnTo>
                    <a:pt x="139" y="281"/>
                  </a:lnTo>
                  <a:lnTo>
                    <a:pt x="144" y="284"/>
                  </a:lnTo>
                  <a:lnTo>
                    <a:pt x="149" y="284"/>
                  </a:lnTo>
                  <a:lnTo>
                    <a:pt x="153" y="284"/>
                  </a:lnTo>
                  <a:lnTo>
                    <a:pt x="158" y="284"/>
                  </a:lnTo>
                  <a:lnTo>
                    <a:pt x="160" y="284"/>
                  </a:lnTo>
                  <a:lnTo>
                    <a:pt x="163" y="286"/>
                  </a:lnTo>
                  <a:lnTo>
                    <a:pt x="163" y="286"/>
                  </a:lnTo>
                  <a:lnTo>
                    <a:pt x="168" y="286"/>
                  </a:lnTo>
                  <a:lnTo>
                    <a:pt x="170" y="284"/>
                  </a:lnTo>
                  <a:lnTo>
                    <a:pt x="175" y="284"/>
                  </a:lnTo>
                  <a:lnTo>
                    <a:pt x="175" y="286"/>
                  </a:lnTo>
                  <a:lnTo>
                    <a:pt x="177" y="286"/>
                  </a:lnTo>
                  <a:lnTo>
                    <a:pt x="182" y="284"/>
                  </a:lnTo>
                  <a:lnTo>
                    <a:pt x="186" y="284"/>
                  </a:lnTo>
                  <a:lnTo>
                    <a:pt x="194" y="281"/>
                  </a:lnTo>
                  <a:lnTo>
                    <a:pt x="198" y="281"/>
                  </a:lnTo>
                  <a:lnTo>
                    <a:pt x="208" y="279"/>
                  </a:lnTo>
                  <a:lnTo>
                    <a:pt x="213" y="279"/>
                  </a:lnTo>
                  <a:lnTo>
                    <a:pt x="210" y="274"/>
                  </a:lnTo>
                  <a:lnTo>
                    <a:pt x="205" y="270"/>
                  </a:lnTo>
                  <a:lnTo>
                    <a:pt x="201" y="265"/>
                  </a:lnTo>
                  <a:lnTo>
                    <a:pt x="198" y="263"/>
                  </a:lnTo>
                  <a:lnTo>
                    <a:pt x="196" y="260"/>
                  </a:lnTo>
                  <a:lnTo>
                    <a:pt x="194" y="258"/>
                  </a:lnTo>
                  <a:lnTo>
                    <a:pt x="191" y="255"/>
                  </a:lnTo>
                  <a:lnTo>
                    <a:pt x="191" y="255"/>
                  </a:lnTo>
                  <a:lnTo>
                    <a:pt x="189" y="248"/>
                  </a:lnTo>
                  <a:lnTo>
                    <a:pt x="186" y="241"/>
                  </a:lnTo>
                  <a:lnTo>
                    <a:pt x="186" y="237"/>
                  </a:lnTo>
                  <a:lnTo>
                    <a:pt x="186" y="232"/>
                  </a:lnTo>
                  <a:lnTo>
                    <a:pt x="186" y="225"/>
                  </a:lnTo>
                  <a:lnTo>
                    <a:pt x="186" y="218"/>
                  </a:lnTo>
                  <a:lnTo>
                    <a:pt x="189" y="210"/>
                  </a:lnTo>
                  <a:lnTo>
                    <a:pt x="189" y="203"/>
                  </a:lnTo>
                  <a:lnTo>
                    <a:pt x="189" y="196"/>
                  </a:lnTo>
                  <a:lnTo>
                    <a:pt x="189" y="189"/>
                  </a:lnTo>
                  <a:lnTo>
                    <a:pt x="189" y="182"/>
                  </a:lnTo>
                  <a:lnTo>
                    <a:pt x="189" y="180"/>
                  </a:lnTo>
                  <a:lnTo>
                    <a:pt x="222" y="180"/>
                  </a:lnTo>
                  <a:lnTo>
                    <a:pt x="224" y="180"/>
                  </a:lnTo>
                  <a:lnTo>
                    <a:pt x="224" y="180"/>
                  </a:lnTo>
                  <a:lnTo>
                    <a:pt x="224" y="180"/>
                  </a:lnTo>
                  <a:lnTo>
                    <a:pt x="224" y="175"/>
                  </a:lnTo>
                  <a:lnTo>
                    <a:pt x="224" y="175"/>
                  </a:lnTo>
                  <a:lnTo>
                    <a:pt x="224" y="173"/>
                  </a:lnTo>
                  <a:lnTo>
                    <a:pt x="224" y="170"/>
                  </a:lnTo>
                  <a:lnTo>
                    <a:pt x="227" y="168"/>
                  </a:lnTo>
                  <a:lnTo>
                    <a:pt x="227" y="165"/>
                  </a:lnTo>
                  <a:lnTo>
                    <a:pt x="224" y="161"/>
                  </a:lnTo>
                  <a:lnTo>
                    <a:pt x="224" y="158"/>
                  </a:lnTo>
                  <a:lnTo>
                    <a:pt x="224" y="156"/>
                  </a:lnTo>
                  <a:lnTo>
                    <a:pt x="227" y="154"/>
                  </a:lnTo>
                  <a:lnTo>
                    <a:pt x="224" y="151"/>
                  </a:lnTo>
                  <a:lnTo>
                    <a:pt x="227" y="149"/>
                  </a:lnTo>
                  <a:lnTo>
                    <a:pt x="227" y="149"/>
                  </a:lnTo>
                  <a:lnTo>
                    <a:pt x="227" y="147"/>
                  </a:lnTo>
                  <a:lnTo>
                    <a:pt x="227" y="147"/>
                  </a:lnTo>
                  <a:lnTo>
                    <a:pt x="227" y="147"/>
                  </a:lnTo>
                  <a:close/>
                  <a:moveTo>
                    <a:pt x="4" y="14"/>
                  </a:moveTo>
                  <a:lnTo>
                    <a:pt x="7" y="19"/>
                  </a:lnTo>
                  <a:lnTo>
                    <a:pt x="7" y="21"/>
                  </a:lnTo>
                  <a:lnTo>
                    <a:pt x="7" y="21"/>
                  </a:lnTo>
                  <a:lnTo>
                    <a:pt x="7" y="23"/>
                  </a:lnTo>
                  <a:lnTo>
                    <a:pt x="7" y="26"/>
                  </a:lnTo>
                  <a:lnTo>
                    <a:pt x="7" y="26"/>
                  </a:lnTo>
                  <a:lnTo>
                    <a:pt x="9" y="26"/>
                  </a:lnTo>
                  <a:lnTo>
                    <a:pt x="11" y="26"/>
                  </a:lnTo>
                  <a:lnTo>
                    <a:pt x="11" y="26"/>
                  </a:lnTo>
                  <a:lnTo>
                    <a:pt x="14" y="26"/>
                  </a:lnTo>
                  <a:lnTo>
                    <a:pt x="14" y="19"/>
                  </a:lnTo>
                  <a:lnTo>
                    <a:pt x="14" y="14"/>
                  </a:lnTo>
                  <a:lnTo>
                    <a:pt x="11" y="14"/>
                  </a:lnTo>
                  <a:lnTo>
                    <a:pt x="11" y="12"/>
                  </a:lnTo>
                  <a:lnTo>
                    <a:pt x="11" y="12"/>
                  </a:lnTo>
                  <a:lnTo>
                    <a:pt x="14" y="12"/>
                  </a:lnTo>
                  <a:lnTo>
                    <a:pt x="14" y="12"/>
                  </a:lnTo>
                  <a:lnTo>
                    <a:pt x="14" y="9"/>
                  </a:lnTo>
                  <a:lnTo>
                    <a:pt x="16" y="9"/>
                  </a:lnTo>
                  <a:lnTo>
                    <a:pt x="19" y="4"/>
                  </a:lnTo>
                  <a:lnTo>
                    <a:pt x="21" y="4"/>
                  </a:lnTo>
                  <a:lnTo>
                    <a:pt x="23" y="4"/>
                  </a:lnTo>
                  <a:lnTo>
                    <a:pt x="23" y="2"/>
                  </a:lnTo>
                  <a:lnTo>
                    <a:pt x="23" y="2"/>
                  </a:lnTo>
                  <a:lnTo>
                    <a:pt x="21" y="2"/>
                  </a:lnTo>
                  <a:lnTo>
                    <a:pt x="21" y="0"/>
                  </a:lnTo>
                  <a:lnTo>
                    <a:pt x="19" y="0"/>
                  </a:lnTo>
                  <a:lnTo>
                    <a:pt x="19" y="0"/>
                  </a:lnTo>
                  <a:lnTo>
                    <a:pt x="16" y="0"/>
                  </a:lnTo>
                  <a:lnTo>
                    <a:pt x="16" y="0"/>
                  </a:lnTo>
                  <a:lnTo>
                    <a:pt x="14" y="2"/>
                  </a:lnTo>
                  <a:lnTo>
                    <a:pt x="11" y="2"/>
                  </a:lnTo>
                  <a:lnTo>
                    <a:pt x="11" y="4"/>
                  </a:lnTo>
                  <a:lnTo>
                    <a:pt x="9" y="4"/>
                  </a:lnTo>
                  <a:lnTo>
                    <a:pt x="9" y="7"/>
                  </a:lnTo>
                  <a:lnTo>
                    <a:pt x="7" y="7"/>
                  </a:lnTo>
                  <a:lnTo>
                    <a:pt x="7" y="7"/>
                  </a:lnTo>
                  <a:lnTo>
                    <a:pt x="4" y="9"/>
                  </a:lnTo>
                  <a:lnTo>
                    <a:pt x="4" y="12"/>
                  </a:lnTo>
                  <a:lnTo>
                    <a:pt x="4" y="12"/>
                  </a:lnTo>
                  <a:lnTo>
                    <a:pt x="4" y="14"/>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 name="Freeform 219"/>
            <p:cNvSpPr>
              <a:spLocks/>
            </p:cNvSpPr>
            <p:nvPr/>
          </p:nvSpPr>
          <p:spPr bwMode="auto">
            <a:xfrm>
              <a:off x="2791" y="1900"/>
              <a:ext cx="5" cy="5"/>
            </a:xfrm>
            <a:custGeom>
              <a:avLst/>
              <a:gdLst>
                <a:gd name="T0" fmla="*/ 5 w 5"/>
                <a:gd name="T1" fmla="*/ 0 h 5"/>
                <a:gd name="T2" fmla="*/ 3 w 5"/>
                <a:gd name="T3" fmla="*/ 0 h 5"/>
                <a:gd name="T4" fmla="*/ 3 w 5"/>
                <a:gd name="T5" fmla="*/ 0 h 5"/>
                <a:gd name="T6" fmla="*/ 0 w 5"/>
                <a:gd name="T7" fmla="*/ 0 h 5"/>
                <a:gd name="T8" fmla="*/ 0 w 5"/>
                <a:gd name="T9" fmla="*/ 0 h 5"/>
                <a:gd name="T10" fmla="*/ 0 w 5"/>
                <a:gd name="T11" fmla="*/ 3 h 5"/>
                <a:gd name="T12" fmla="*/ 0 w 5"/>
                <a:gd name="T13" fmla="*/ 3 h 5"/>
                <a:gd name="T14" fmla="*/ 0 w 5"/>
                <a:gd name="T15" fmla="*/ 3 h 5"/>
                <a:gd name="T16" fmla="*/ 0 w 5"/>
                <a:gd name="T17" fmla="*/ 5 h 5"/>
                <a:gd name="T18" fmla="*/ 0 w 5"/>
                <a:gd name="T19" fmla="*/ 5 h 5"/>
                <a:gd name="T20" fmla="*/ 0 w 5"/>
                <a:gd name="T21" fmla="*/ 5 h 5"/>
                <a:gd name="T22" fmla="*/ 3 w 5"/>
                <a:gd name="T23" fmla="*/ 5 h 5"/>
                <a:gd name="T24" fmla="*/ 3 w 5"/>
                <a:gd name="T25" fmla="*/ 5 h 5"/>
                <a:gd name="T26" fmla="*/ 5 w 5"/>
                <a:gd name="T27" fmla="*/ 3 h 5"/>
                <a:gd name="T28" fmla="*/ 5 w 5"/>
                <a:gd name="T29" fmla="*/ 3 h 5"/>
                <a:gd name="T30" fmla="*/ 5 w 5"/>
                <a:gd name="T31" fmla="*/ 3 h 5"/>
                <a:gd name="T32" fmla="*/ 5 w 5"/>
                <a:gd name="T33" fmla="*/ 3 h 5"/>
                <a:gd name="T34" fmla="*/ 5 w 5"/>
                <a:gd name="T35" fmla="*/ 3 h 5"/>
                <a:gd name="T36" fmla="*/ 5 w 5"/>
                <a:gd name="T3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5">
                  <a:moveTo>
                    <a:pt x="5" y="0"/>
                  </a:moveTo>
                  <a:lnTo>
                    <a:pt x="3" y="0"/>
                  </a:lnTo>
                  <a:lnTo>
                    <a:pt x="3" y="0"/>
                  </a:lnTo>
                  <a:lnTo>
                    <a:pt x="0" y="0"/>
                  </a:lnTo>
                  <a:lnTo>
                    <a:pt x="0" y="0"/>
                  </a:lnTo>
                  <a:lnTo>
                    <a:pt x="0" y="3"/>
                  </a:lnTo>
                  <a:lnTo>
                    <a:pt x="0" y="3"/>
                  </a:lnTo>
                  <a:lnTo>
                    <a:pt x="0" y="3"/>
                  </a:lnTo>
                  <a:lnTo>
                    <a:pt x="0" y="5"/>
                  </a:lnTo>
                  <a:lnTo>
                    <a:pt x="0" y="5"/>
                  </a:lnTo>
                  <a:lnTo>
                    <a:pt x="0" y="5"/>
                  </a:lnTo>
                  <a:lnTo>
                    <a:pt x="3" y="5"/>
                  </a:lnTo>
                  <a:lnTo>
                    <a:pt x="3" y="5"/>
                  </a:lnTo>
                  <a:lnTo>
                    <a:pt x="5" y="3"/>
                  </a:lnTo>
                  <a:lnTo>
                    <a:pt x="5" y="3"/>
                  </a:lnTo>
                  <a:lnTo>
                    <a:pt x="5" y="3"/>
                  </a:lnTo>
                  <a:lnTo>
                    <a:pt x="5" y="3"/>
                  </a:lnTo>
                  <a:lnTo>
                    <a:pt x="5" y="3"/>
                  </a:lnTo>
                  <a:lnTo>
                    <a:pt x="5" y="0"/>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 name="Freeform 220"/>
            <p:cNvSpPr>
              <a:spLocks/>
            </p:cNvSpPr>
            <p:nvPr/>
          </p:nvSpPr>
          <p:spPr bwMode="auto">
            <a:xfrm>
              <a:off x="2597" y="2016"/>
              <a:ext cx="374" cy="384"/>
            </a:xfrm>
            <a:custGeom>
              <a:avLst/>
              <a:gdLst>
                <a:gd name="T0" fmla="*/ 360 w 374"/>
                <a:gd name="T1" fmla="*/ 268 h 384"/>
                <a:gd name="T2" fmla="*/ 343 w 374"/>
                <a:gd name="T3" fmla="*/ 263 h 384"/>
                <a:gd name="T4" fmla="*/ 331 w 374"/>
                <a:gd name="T5" fmla="*/ 237 h 384"/>
                <a:gd name="T6" fmla="*/ 336 w 374"/>
                <a:gd name="T7" fmla="*/ 223 h 384"/>
                <a:gd name="T8" fmla="*/ 334 w 374"/>
                <a:gd name="T9" fmla="*/ 206 h 384"/>
                <a:gd name="T10" fmla="*/ 336 w 374"/>
                <a:gd name="T11" fmla="*/ 168 h 384"/>
                <a:gd name="T12" fmla="*/ 329 w 374"/>
                <a:gd name="T13" fmla="*/ 149 h 384"/>
                <a:gd name="T14" fmla="*/ 327 w 374"/>
                <a:gd name="T15" fmla="*/ 133 h 384"/>
                <a:gd name="T16" fmla="*/ 322 w 374"/>
                <a:gd name="T17" fmla="*/ 104 h 384"/>
                <a:gd name="T18" fmla="*/ 308 w 374"/>
                <a:gd name="T19" fmla="*/ 88 h 384"/>
                <a:gd name="T20" fmla="*/ 298 w 374"/>
                <a:gd name="T21" fmla="*/ 78 h 384"/>
                <a:gd name="T22" fmla="*/ 296 w 374"/>
                <a:gd name="T23" fmla="*/ 62 h 384"/>
                <a:gd name="T24" fmla="*/ 308 w 374"/>
                <a:gd name="T25" fmla="*/ 52 h 384"/>
                <a:gd name="T26" fmla="*/ 310 w 374"/>
                <a:gd name="T27" fmla="*/ 38 h 384"/>
                <a:gd name="T28" fmla="*/ 308 w 374"/>
                <a:gd name="T29" fmla="*/ 26 h 384"/>
                <a:gd name="T30" fmla="*/ 308 w 374"/>
                <a:gd name="T31" fmla="*/ 12 h 384"/>
                <a:gd name="T32" fmla="*/ 315 w 374"/>
                <a:gd name="T33" fmla="*/ 5 h 384"/>
                <a:gd name="T34" fmla="*/ 298 w 374"/>
                <a:gd name="T35" fmla="*/ 0 h 384"/>
                <a:gd name="T36" fmla="*/ 279 w 374"/>
                <a:gd name="T37" fmla="*/ 0 h 384"/>
                <a:gd name="T38" fmla="*/ 260 w 374"/>
                <a:gd name="T39" fmla="*/ 7 h 384"/>
                <a:gd name="T40" fmla="*/ 230 w 374"/>
                <a:gd name="T41" fmla="*/ 3 h 384"/>
                <a:gd name="T42" fmla="*/ 199 w 374"/>
                <a:gd name="T43" fmla="*/ 10 h 384"/>
                <a:gd name="T44" fmla="*/ 166 w 374"/>
                <a:gd name="T45" fmla="*/ 22 h 384"/>
                <a:gd name="T46" fmla="*/ 147 w 374"/>
                <a:gd name="T47" fmla="*/ 29 h 384"/>
                <a:gd name="T48" fmla="*/ 130 w 374"/>
                <a:gd name="T49" fmla="*/ 43 h 384"/>
                <a:gd name="T50" fmla="*/ 130 w 374"/>
                <a:gd name="T51" fmla="*/ 50 h 384"/>
                <a:gd name="T52" fmla="*/ 133 w 374"/>
                <a:gd name="T53" fmla="*/ 55 h 384"/>
                <a:gd name="T54" fmla="*/ 133 w 374"/>
                <a:gd name="T55" fmla="*/ 69 h 384"/>
                <a:gd name="T56" fmla="*/ 135 w 374"/>
                <a:gd name="T57" fmla="*/ 90 h 384"/>
                <a:gd name="T58" fmla="*/ 142 w 374"/>
                <a:gd name="T59" fmla="*/ 97 h 384"/>
                <a:gd name="T60" fmla="*/ 137 w 374"/>
                <a:gd name="T61" fmla="*/ 107 h 384"/>
                <a:gd name="T62" fmla="*/ 119 w 374"/>
                <a:gd name="T63" fmla="*/ 104 h 384"/>
                <a:gd name="T64" fmla="*/ 109 w 374"/>
                <a:gd name="T65" fmla="*/ 109 h 384"/>
                <a:gd name="T66" fmla="*/ 95 w 374"/>
                <a:gd name="T67" fmla="*/ 114 h 384"/>
                <a:gd name="T68" fmla="*/ 92 w 374"/>
                <a:gd name="T69" fmla="*/ 121 h 384"/>
                <a:gd name="T70" fmla="*/ 95 w 374"/>
                <a:gd name="T71" fmla="*/ 126 h 384"/>
                <a:gd name="T72" fmla="*/ 92 w 374"/>
                <a:gd name="T73" fmla="*/ 131 h 384"/>
                <a:gd name="T74" fmla="*/ 74 w 374"/>
                <a:gd name="T75" fmla="*/ 138 h 384"/>
                <a:gd name="T76" fmla="*/ 59 w 374"/>
                <a:gd name="T77" fmla="*/ 152 h 384"/>
                <a:gd name="T78" fmla="*/ 45 w 374"/>
                <a:gd name="T79" fmla="*/ 154 h 384"/>
                <a:gd name="T80" fmla="*/ 43 w 374"/>
                <a:gd name="T81" fmla="*/ 159 h 384"/>
                <a:gd name="T82" fmla="*/ 31 w 374"/>
                <a:gd name="T83" fmla="*/ 159 h 384"/>
                <a:gd name="T84" fmla="*/ 22 w 374"/>
                <a:gd name="T85" fmla="*/ 164 h 384"/>
                <a:gd name="T86" fmla="*/ 7 w 374"/>
                <a:gd name="T87" fmla="*/ 173 h 384"/>
                <a:gd name="T88" fmla="*/ 3 w 374"/>
                <a:gd name="T89" fmla="*/ 185 h 384"/>
                <a:gd name="T90" fmla="*/ 5 w 374"/>
                <a:gd name="T91" fmla="*/ 209 h 384"/>
                <a:gd name="T92" fmla="*/ 24 w 374"/>
                <a:gd name="T93" fmla="*/ 223 h 384"/>
                <a:gd name="T94" fmla="*/ 45 w 374"/>
                <a:gd name="T95" fmla="*/ 237 h 384"/>
                <a:gd name="T96" fmla="*/ 66 w 374"/>
                <a:gd name="T97" fmla="*/ 254 h 384"/>
                <a:gd name="T98" fmla="*/ 97 w 374"/>
                <a:gd name="T99" fmla="*/ 277 h 384"/>
                <a:gd name="T100" fmla="*/ 133 w 374"/>
                <a:gd name="T101" fmla="*/ 303 h 384"/>
                <a:gd name="T102" fmla="*/ 168 w 374"/>
                <a:gd name="T103" fmla="*/ 332 h 384"/>
                <a:gd name="T104" fmla="*/ 178 w 374"/>
                <a:gd name="T105" fmla="*/ 344 h 384"/>
                <a:gd name="T106" fmla="*/ 187 w 374"/>
                <a:gd name="T107" fmla="*/ 353 h 384"/>
                <a:gd name="T108" fmla="*/ 199 w 374"/>
                <a:gd name="T109" fmla="*/ 360 h 384"/>
                <a:gd name="T110" fmla="*/ 213 w 374"/>
                <a:gd name="T111" fmla="*/ 365 h 384"/>
                <a:gd name="T112" fmla="*/ 215 w 374"/>
                <a:gd name="T113" fmla="*/ 374 h 384"/>
                <a:gd name="T114" fmla="*/ 211 w 374"/>
                <a:gd name="T115" fmla="*/ 379 h 384"/>
                <a:gd name="T116" fmla="*/ 218 w 374"/>
                <a:gd name="T117" fmla="*/ 381 h 384"/>
                <a:gd name="T118" fmla="*/ 242 w 374"/>
                <a:gd name="T119" fmla="*/ 377 h 384"/>
                <a:gd name="T120" fmla="*/ 270 w 374"/>
                <a:gd name="T121" fmla="*/ 365 h 384"/>
                <a:gd name="T122" fmla="*/ 298 w 374"/>
                <a:gd name="T123" fmla="*/ 339 h 384"/>
                <a:gd name="T124" fmla="*/ 355 w 374"/>
                <a:gd name="T125" fmla="*/ 301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74" h="384">
                  <a:moveTo>
                    <a:pt x="372" y="282"/>
                  </a:moveTo>
                  <a:lnTo>
                    <a:pt x="372" y="280"/>
                  </a:lnTo>
                  <a:lnTo>
                    <a:pt x="369" y="275"/>
                  </a:lnTo>
                  <a:lnTo>
                    <a:pt x="367" y="270"/>
                  </a:lnTo>
                  <a:lnTo>
                    <a:pt x="367" y="270"/>
                  </a:lnTo>
                  <a:lnTo>
                    <a:pt x="360" y="268"/>
                  </a:lnTo>
                  <a:lnTo>
                    <a:pt x="350" y="265"/>
                  </a:lnTo>
                  <a:lnTo>
                    <a:pt x="346" y="265"/>
                  </a:lnTo>
                  <a:lnTo>
                    <a:pt x="346" y="265"/>
                  </a:lnTo>
                  <a:lnTo>
                    <a:pt x="346" y="265"/>
                  </a:lnTo>
                  <a:lnTo>
                    <a:pt x="343" y="263"/>
                  </a:lnTo>
                  <a:lnTo>
                    <a:pt x="343" y="263"/>
                  </a:lnTo>
                  <a:lnTo>
                    <a:pt x="341" y="261"/>
                  </a:lnTo>
                  <a:lnTo>
                    <a:pt x="339" y="254"/>
                  </a:lnTo>
                  <a:lnTo>
                    <a:pt x="339" y="251"/>
                  </a:lnTo>
                  <a:lnTo>
                    <a:pt x="339" y="249"/>
                  </a:lnTo>
                  <a:lnTo>
                    <a:pt x="334" y="242"/>
                  </a:lnTo>
                  <a:lnTo>
                    <a:pt x="331" y="237"/>
                  </a:lnTo>
                  <a:lnTo>
                    <a:pt x="329" y="232"/>
                  </a:lnTo>
                  <a:lnTo>
                    <a:pt x="329" y="232"/>
                  </a:lnTo>
                  <a:lnTo>
                    <a:pt x="329" y="230"/>
                  </a:lnTo>
                  <a:lnTo>
                    <a:pt x="329" y="228"/>
                  </a:lnTo>
                  <a:lnTo>
                    <a:pt x="334" y="225"/>
                  </a:lnTo>
                  <a:lnTo>
                    <a:pt x="336" y="223"/>
                  </a:lnTo>
                  <a:lnTo>
                    <a:pt x="336" y="220"/>
                  </a:lnTo>
                  <a:lnTo>
                    <a:pt x="336" y="216"/>
                  </a:lnTo>
                  <a:lnTo>
                    <a:pt x="336" y="216"/>
                  </a:lnTo>
                  <a:lnTo>
                    <a:pt x="336" y="213"/>
                  </a:lnTo>
                  <a:lnTo>
                    <a:pt x="334" y="209"/>
                  </a:lnTo>
                  <a:lnTo>
                    <a:pt x="334" y="206"/>
                  </a:lnTo>
                  <a:lnTo>
                    <a:pt x="336" y="202"/>
                  </a:lnTo>
                  <a:lnTo>
                    <a:pt x="336" y="197"/>
                  </a:lnTo>
                  <a:lnTo>
                    <a:pt x="336" y="192"/>
                  </a:lnTo>
                  <a:lnTo>
                    <a:pt x="336" y="180"/>
                  </a:lnTo>
                  <a:lnTo>
                    <a:pt x="336" y="171"/>
                  </a:lnTo>
                  <a:lnTo>
                    <a:pt x="336" y="168"/>
                  </a:lnTo>
                  <a:lnTo>
                    <a:pt x="336" y="168"/>
                  </a:lnTo>
                  <a:lnTo>
                    <a:pt x="334" y="164"/>
                  </a:lnTo>
                  <a:lnTo>
                    <a:pt x="334" y="159"/>
                  </a:lnTo>
                  <a:lnTo>
                    <a:pt x="331" y="157"/>
                  </a:lnTo>
                  <a:lnTo>
                    <a:pt x="331" y="154"/>
                  </a:lnTo>
                  <a:lnTo>
                    <a:pt x="329" y="149"/>
                  </a:lnTo>
                  <a:lnTo>
                    <a:pt x="327" y="147"/>
                  </a:lnTo>
                  <a:lnTo>
                    <a:pt x="329" y="147"/>
                  </a:lnTo>
                  <a:lnTo>
                    <a:pt x="331" y="145"/>
                  </a:lnTo>
                  <a:lnTo>
                    <a:pt x="329" y="140"/>
                  </a:lnTo>
                  <a:lnTo>
                    <a:pt x="329" y="135"/>
                  </a:lnTo>
                  <a:lnTo>
                    <a:pt x="327" y="133"/>
                  </a:lnTo>
                  <a:lnTo>
                    <a:pt x="327" y="126"/>
                  </a:lnTo>
                  <a:lnTo>
                    <a:pt x="324" y="121"/>
                  </a:lnTo>
                  <a:lnTo>
                    <a:pt x="324" y="116"/>
                  </a:lnTo>
                  <a:lnTo>
                    <a:pt x="322" y="112"/>
                  </a:lnTo>
                  <a:lnTo>
                    <a:pt x="322" y="107"/>
                  </a:lnTo>
                  <a:lnTo>
                    <a:pt x="322" y="104"/>
                  </a:lnTo>
                  <a:lnTo>
                    <a:pt x="320" y="104"/>
                  </a:lnTo>
                  <a:lnTo>
                    <a:pt x="315" y="102"/>
                  </a:lnTo>
                  <a:lnTo>
                    <a:pt x="312" y="100"/>
                  </a:lnTo>
                  <a:lnTo>
                    <a:pt x="310" y="97"/>
                  </a:lnTo>
                  <a:lnTo>
                    <a:pt x="308" y="93"/>
                  </a:lnTo>
                  <a:lnTo>
                    <a:pt x="308" y="88"/>
                  </a:lnTo>
                  <a:lnTo>
                    <a:pt x="305" y="86"/>
                  </a:lnTo>
                  <a:lnTo>
                    <a:pt x="305" y="86"/>
                  </a:lnTo>
                  <a:lnTo>
                    <a:pt x="301" y="83"/>
                  </a:lnTo>
                  <a:lnTo>
                    <a:pt x="298" y="81"/>
                  </a:lnTo>
                  <a:lnTo>
                    <a:pt x="298" y="81"/>
                  </a:lnTo>
                  <a:lnTo>
                    <a:pt x="298" y="78"/>
                  </a:lnTo>
                  <a:lnTo>
                    <a:pt x="296" y="76"/>
                  </a:lnTo>
                  <a:lnTo>
                    <a:pt x="296" y="71"/>
                  </a:lnTo>
                  <a:lnTo>
                    <a:pt x="296" y="69"/>
                  </a:lnTo>
                  <a:lnTo>
                    <a:pt x="296" y="67"/>
                  </a:lnTo>
                  <a:lnTo>
                    <a:pt x="296" y="64"/>
                  </a:lnTo>
                  <a:lnTo>
                    <a:pt x="296" y="62"/>
                  </a:lnTo>
                  <a:lnTo>
                    <a:pt x="298" y="59"/>
                  </a:lnTo>
                  <a:lnTo>
                    <a:pt x="301" y="57"/>
                  </a:lnTo>
                  <a:lnTo>
                    <a:pt x="303" y="55"/>
                  </a:lnTo>
                  <a:lnTo>
                    <a:pt x="305" y="55"/>
                  </a:lnTo>
                  <a:lnTo>
                    <a:pt x="305" y="52"/>
                  </a:lnTo>
                  <a:lnTo>
                    <a:pt x="308" y="52"/>
                  </a:lnTo>
                  <a:lnTo>
                    <a:pt x="308" y="50"/>
                  </a:lnTo>
                  <a:lnTo>
                    <a:pt x="308" y="48"/>
                  </a:lnTo>
                  <a:lnTo>
                    <a:pt x="308" y="45"/>
                  </a:lnTo>
                  <a:lnTo>
                    <a:pt x="310" y="43"/>
                  </a:lnTo>
                  <a:lnTo>
                    <a:pt x="310" y="41"/>
                  </a:lnTo>
                  <a:lnTo>
                    <a:pt x="310" y="38"/>
                  </a:lnTo>
                  <a:lnTo>
                    <a:pt x="310" y="36"/>
                  </a:lnTo>
                  <a:lnTo>
                    <a:pt x="310" y="31"/>
                  </a:lnTo>
                  <a:lnTo>
                    <a:pt x="310" y="31"/>
                  </a:lnTo>
                  <a:lnTo>
                    <a:pt x="310" y="29"/>
                  </a:lnTo>
                  <a:lnTo>
                    <a:pt x="308" y="26"/>
                  </a:lnTo>
                  <a:lnTo>
                    <a:pt x="308" y="26"/>
                  </a:lnTo>
                  <a:lnTo>
                    <a:pt x="310" y="22"/>
                  </a:lnTo>
                  <a:lnTo>
                    <a:pt x="310" y="19"/>
                  </a:lnTo>
                  <a:lnTo>
                    <a:pt x="310" y="14"/>
                  </a:lnTo>
                  <a:lnTo>
                    <a:pt x="310" y="14"/>
                  </a:lnTo>
                  <a:lnTo>
                    <a:pt x="310" y="12"/>
                  </a:lnTo>
                  <a:lnTo>
                    <a:pt x="308" y="12"/>
                  </a:lnTo>
                  <a:lnTo>
                    <a:pt x="308" y="12"/>
                  </a:lnTo>
                  <a:lnTo>
                    <a:pt x="308" y="12"/>
                  </a:lnTo>
                  <a:lnTo>
                    <a:pt x="310" y="10"/>
                  </a:lnTo>
                  <a:lnTo>
                    <a:pt x="312" y="7"/>
                  </a:lnTo>
                  <a:lnTo>
                    <a:pt x="312" y="5"/>
                  </a:lnTo>
                  <a:lnTo>
                    <a:pt x="315" y="5"/>
                  </a:lnTo>
                  <a:lnTo>
                    <a:pt x="315" y="3"/>
                  </a:lnTo>
                  <a:lnTo>
                    <a:pt x="315" y="3"/>
                  </a:lnTo>
                  <a:lnTo>
                    <a:pt x="308" y="3"/>
                  </a:lnTo>
                  <a:lnTo>
                    <a:pt x="303" y="5"/>
                  </a:lnTo>
                  <a:lnTo>
                    <a:pt x="301" y="3"/>
                  </a:lnTo>
                  <a:lnTo>
                    <a:pt x="298" y="0"/>
                  </a:lnTo>
                  <a:lnTo>
                    <a:pt x="294" y="0"/>
                  </a:lnTo>
                  <a:lnTo>
                    <a:pt x="291" y="0"/>
                  </a:lnTo>
                  <a:lnTo>
                    <a:pt x="291" y="3"/>
                  </a:lnTo>
                  <a:lnTo>
                    <a:pt x="289" y="3"/>
                  </a:lnTo>
                  <a:lnTo>
                    <a:pt x="286" y="3"/>
                  </a:lnTo>
                  <a:lnTo>
                    <a:pt x="279" y="0"/>
                  </a:lnTo>
                  <a:lnTo>
                    <a:pt x="277" y="0"/>
                  </a:lnTo>
                  <a:lnTo>
                    <a:pt x="275" y="0"/>
                  </a:lnTo>
                  <a:lnTo>
                    <a:pt x="275" y="3"/>
                  </a:lnTo>
                  <a:lnTo>
                    <a:pt x="270" y="5"/>
                  </a:lnTo>
                  <a:lnTo>
                    <a:pt x="265" y="5"/>
                  </a:lnTo>
                  <a:lnTo>
                    <a:pt x="260" y="7"/>
                  </a:lnTo>
                  <a:lnTo>
                    <a:pt x="258" y="10"/>
                  </a:lnTo>
                  <a:lnTo>
                    <a:pt x="256" y="7"/>
                  </a:lnTo>
                  <a:lnTo>
                    <a:pt x="251" y="5"/>
                  </a:lnTo>
                  <a:lnTo>
                    <a:pt x="251" y="5"/>
                  </a:lnTo>
                  <a:lnTo>
                    <a:pt x="249" y="3"/>
                  </a:lnTo>
                  <a:lnTo>
                    <a:pt x="230" y="3"/>
                  </a:lnTo>
                  <a:lnTo>
                    <a:pt x="227" y="5"/>
                  </a:lnTo>
                  <a:lnTo>
                    <a:pt x="215" y="5"/>
                  </a:lnTo>
                  <a:lnTo>
                    <a:pt x="215" y="7"/>
                  </a:lnTo>
                  <a:lnTo>
                    <a:pt x="211" y="10"/>
                  </a:lnTo>
                  <a:lnTo>
                    <a:pt x="206" y="10"/>
                  </a:lnTo>
                  <a:lnTo>
                    <a:pt x="199" y="10"/>
                  </a:lnTo>
                  <a:lnTo>
                    <a:pt x="187" y="12"/>
                  </a:lnTo>
                  <a:lnTo>
                    <a:pt x="182" y="12"/>
                  </a:lnTo>
                  <a:lnTo>
                    <a:pt x="178" y="14"/>
                  </a:lnTo>
                  <a:lnTo>
                    <a:pt x="173" y="17"/>
                  </a:lnTo>
                  <a:lnTo>
                    <a:pt x="171" y="19"/>
                  </a:lnTo>
                  <a:lnTo>
                    <a:pt x="166" y="22"/>
                  </a:lnTo>
                  <a:lnTo>
                    <a:pt x="166" y="24"/>
                  </a:lnTo>
                  <a:lnTo>
                    <a:pt x="163" y="26"/>
                  </a:lnTo>
                  <a:lnTo>
                    <a:pt x="161" y="26"/>
                  </a:lnTo>
                  <a:lnTo>
                    <a:pt x="159" y="26"/>
                  </a:lnTo>
                  <a:lnTo>
                    <a:pt x="156" y="26"/>
                  </a:lnTo>
                  <a:lnTo>
                    <a:pt x="147" y="29"/>
                  </a:lnTo>
                  <a:lnTo>
                    <a:pt x="145" y="31"/>
                  </a:lnTo>
                  <a:lnTo>
                    <a:pt x="142" y="33"/>
                  </a:lnTo>
                  <a:lnTo>
                    <a:pt x="140" y="36"/>
                  </a:lnTo>
                  <a:lnTo>
                    <a:pt x="137" y="38"/>
                  </a:lnTo>
                  <a:lnTo>
                    <a:pt x="135" y="41"/>
                  </a:lnTo>
                  <a:lnTo>
                    <a:pt x="130" y="43"/>
                  </a:lnTo>
                  <a:lnTo>
                    <a:pt x="128" y="43"/>
                  </a:lnTo>
                  <a:lnTo>
                    <a:pt x="123" y="43"/>
                  </a:lnTo>
                  <a:lnTo>
                    <a:pt x="126" y="43"/>
                  </a:lnTo>
                  <a:lnTo>
                    <a:pt x="126" y="45"/>
                  </a:lnTo>
                  <a:lnTo>
                    <a:pt x="130" y="48"/>
                  </a:lnTo>
                  <a:lnTo>
                    <a:pt x="130" y="50"/>
                  </a:lnTo>
                  <a:lnTo>
                    <a:pt x="130" y="50"/>
                  </a:lnTo>
                  <a:lnTo>
                    <a:pt x="130" y="52"/>
                  </a:lnTo>
                  <a:lnTo>
                    <a:pt x="130" y="52"/>
                  </a:lnTo>
                  <a:lnTo>
                    <a:pt x="130" y="55"/>
                  </a:lnTo>
                  <a:lnTo>
                    <a:pt x="133" y="55"/>
                  </a:lnTo>
                  <a:lnTo>
                    <a:pt x="133" y="55"/>
                  </a:lnTo>
                  <a:lnTo>
                    <a:pt x="133" y="57"/>
                  </a:lnTo>
                  <a:lnTo>
                    <a:pt x="130" y="57"/>
                  </a:lnTo>
                  <a:lnTo>
                    <a:pt x="133" y="62"/>
                  </a:lnTo>
                  <a:lnTo>
                    <a:pt x="133" y="67"/>
                  </a:lnTo>
                  <a:lnTo>
                    <a:pt x="133" y="69"/>
                  </a:lnTo>
                  <a:lnTo>
                    <a:pt x="133" y="69"/>
                  </a:lnTo>
                  <a:lnTo>
                    <a:pt x="133" y="71"/>
                  </a:lnTo>
                  <a:lnTo>
                    <a:pt x="133" y="74"/>
                  </a:lnTo>
                  <a:lnTo>
                    <a:pt x="133" y="81"/>
                  </a:lnTo>
                  <a:lnTo>
                    <a:pt x="133" y="83"/>
                  </a:lnTo>
                  <a:lnTo>
                    <a:pt x="135" y="86"/>
                  </a:lnTo>
                  <a:lnTo>
                    <a:pt x="135" y="90"/>
                  </a:lnTo>
                  <a:lnTo>
                    <a:pt x="135" y="90"/>
                  </a:lnTo>
                  <a:lnTo>
                    <a:pt x="137" y="93"/>
                  </a:lnTo>
                  <a:lnTo>
                    <a:pt x="137" y="93"/>
                  </a:lnTo>
                  <a:lnTo>
                    <a:pt x="140" y="95"/>
                  </a:lnTo>
                  <a:lnTo>
                    <a:pt x="142" y="95"/>
                  </a:lnTo>
                  <a:lnTo>
                    <a:pt x="142" y="97"/>
                  </a:lnTo>
                  <a:lnTo>
                    <a:pt x="140" y="100"/>
                  </a:lnTo>
                  <a:lnTo>
                    <a:pt x="140" y="100"/>
                  </a:lnTo>
                  <a:lnTo>
                    <a:pt x="140" y="102"/>
                  </a:lnTo>
                  <a:lnTo>
                    <a:pt x="140" y="104"/>
                  </a:lnTo>
                  <a:lnTo>
                    <a:pt x="140" y="104"/>
                  </a:lnTo>
                  <a:lnTo>
                    <a:pt x="137" y="107"/>
                  </a:lnTo>
                  <a:lnTo>
                    <a:pt x="135" y="107"/>
                  </a:lnTo>
                  <a:lnTo>
                    <a:pt x="133" y="107"/>
                  </a:lnTo>
                  <a:lnTo>
                    <a:pt x="128" y="104"/>
                  </a:lnTo>
                  <a:lnTo>
                    <a:pt x="123" y="104"/>
                  </a:lnTo>
                  <a:lnTo>
                    <a:pt x="121" y="104"/>
                  </a:lnTo>
                  <a:lnTo>
                    <a:pt x="119" y="104"/>
                  </a:lnTo>
                  <a:lnTo>
                    <a:pt x="116" y="104"/>
                  </a:lnTo>
                  <a:lnTo>
                    <a:pt x="114" y="107"/>
                  </a:lnTo>
                  <a:lnTo>
                    <a:pt x="109" y="107"/>
                  </a:lnTo>
                  <a:lnTo>
                    <a:pt x="109" y="107"/>
                  </a:lnTo>
                  <a:lnTo>
                    <a:pt x="109" y="107"/>
                  </a:lnTo>
                  <a:lnTo>
                    <a:pt x="109" y="109"/>
                  </a:lnTo>
                  <a:lnTo>
                    <a:pt x="107" y="112"/>
                  </a:lnTo>
                  <a:lnTo>
                    <a:pt x="107" y="112"/>
                  </a:lnTo>
                  <a:lnTo>
                    <a:pt x="100" y="114"/>
                  </a:lnTo>
                  <a:lnTo>
                    <a:pt x="97" y="114"/>
                  </a:lnTo>
                  <a:lnTo>
                    <a:pt x="95" y="114"/>
                  </a:lnTo>
                  <a:lnTo>
                    <a:pt x="95" y="114"/>
                  </a:lnTo>
                  <a:lnTo>
                    <a:pt x="92" y="114"/>
                  </a:lnTo>
                  <a:lnTo>
                    <a:pt x="92" y="116"/>
                  </a:lnTo>
                  <a:lnTo>
                    <a:pt x="92" y="116"/>
                  </a:lnTo>
                  <a:lnTo>
                    <a:pt x="92" y="119"/>
                  </a:lnTo>
                  <a:lnTo>
                    <a:pt x="92" y="119"/>
                  </a:lnTo>
                  <a:lnTo>
                    <a:pt x="92" y="121"/>
                  </a:lnTo>
                  <a:lnTo>
                    <a:pt x="92" y="123"/>
                  </a:lnTo>
                  <a:lnTo>
                    <a:pt x="92" y="123"/>
                  </a:lnTo>
                  <a:lnTo>
                    <a:pt x="92" y="126"/>
                  </a:lnTo>
                  <a:lnTo>
                    <a:pt x="92" y="126"/>
                  </a:lnTo>
                  <a:lnTo>
                    <a:pt x="92" y="126"/>
                  </a:lnTo>
                  <a:lnTo>
                    <a:pt x="95" y="126"/>
                  </a:lnTo>
                  <a:lnTo>
                    <a:pt x="95" y="126"/>
                  </a:lnTo>
                  <a:lnTo>
                    <a:pt x="95" y="128"/>
                  </a:lnTo>
                  <a:lnTo>
                    <a:pt x="95" y="128"/>
                  </a:lnTo>
                  <a:lnTo>
                    <a:pt x="95" y="131"/>
                  </a:lnTo>
                  <a:lnTo>
                    <a:pt x="95" y="131"/>
                  </a:lnTo>
                  <a:lnTo>
                    <a:pt x="92" y="131"/>
                  </a:lnTo>
                  <a:lnTo>
                    <a:pt x="90" y="131"/>
                  </a:lnTo>
                  <a:lnTo>
                    <a:pt x="85" y="133"/>
                  </a:lnTo>
                  <a:lnTo>
                    <a:pt x="83" y="135"/>
                  </a:lnTo>
                  <a:lnTo>
                    <a:pt x="78" y="138"/>
                  </a:lnTo>
                  <a:lnTo>
                    <a:pt x="78" y="138"/>
                  </a:lnTo>
                  <a:lnTo>
                    <a:pt x="74" y="138"/>
                  </a:lnTo>
                  <a:lnTo>
                    <a:pt x="71" y="140"/>
                  </a:lnTo>
                  <a:lnTo>
                    <a:pt x="69" y="142"/>
                  </a:lnTo>
                  <a:lnTo>
                    <a:pt x="66" y="147"/>
                  </a:lnTo>
                  <a:lnTo>
                    <a:pt x="64" y="149"/>
                  </a:lnTo>
                  <a:lnTo>
                    <a:pt x="62" y="152"/>
                  </a:lnTo>
                  <a:lnTo>
                    <a:pt x="59" y="152"/>
                  </a:lnTo>
                  <a:lnTo>
                    <a:pt x="57" y="152"/>
                  </a:lnTo>
                  <a:lnTo>
                    <a:pt x="52" y="154"/>
                  </a:lnTo>
                  <a:lnTo>
                    <a:pt x="50" y="154"/>
                  </a:lnTo>
                  <a:lnTo>
                    <a:pt x="48" y="154"/>
                  </a:lnTo>
                  <a:lnTo>
                    <a:pt x="45" y="154"/>
                  </a:lnTo>
                  <a:lnTo>
                    <a:pt x="45" y="154"/>
                  </a:lnTo>
                  <a:lnTo>
                    <a:pt x="43" y="154"/>
                  </a:lnTo>
                  <a:lnTo>
                    <a:pt x="43" y="154"/>
                  </a:lnTo>
                  <a:lnTo>
                    <a:pt x="43" y="154"/>
                  </a:lnTo>
                  <a:lnTo>
                    <a:pt x="43" y="157"/>
                  </a:lnTo>
                  <a:lnTo>
                    <a:pt x="43" y="157"/>
                  </a:lnTo>
                  <a:lnTo>
                    <a:pt x="43" y="159"/>
                  </a:lnTo>
                  <a:lnTo>
                    <a:pt x="40" y="159"/>
                  </a:lnTo>
                  <a:lnTo>
                    <a:pt x="40" y="159"/>
                  </a:lnTo>
                  <a:lnTo>
                    <a:pt x="38" y="159"/>
                  </a:lnTo>
                  <a:lnTo>
                    <a:pt x="36" y="159"/>
                  </a:lnTo>
                  <a:lnTo>
                    <a:pt x="33" y="159"/>
                  </a:lnTo>
                  <a:lnTo>
                    <a:pt x="31" y="159"/>
                  </a:lnTo>
                  <a:lnTo>
                    <a:pt x="31" y="159"/>
                  </a:lnTo>
                  <a:lnTo>
                    <a:pt x="29" y="159"/>
                  </a:lnTo>
                  <a:lnTo>
                    <a:pt x="29" y="161"/>
                  </a:lnTo>
                  <a:lnTo>
                    <a:pt x="26" y="161"/>
                  </a:lnTo>
                  <a:lnTo>
                    <a:pt x="24" y="164"/>
                  </a:lnTo>
                  <a:lnTo>
                    <a:pt x="22" y="164"/>
                  </a:lnTo>
                  <a:lnTo>
                    <a:pt x="22" y="164"/>
                  </a:lnTo>
                  <a:lnTo>
                    <a:pt x="17" y="168"/>
                  </a:lnTo>
                  <a:lnTo>
                    <a:pt x="14" y="168"/>
                  </a:lnTo>
                  <a:lnTo>
                    <a:pt x="10" y="171"/>
                  </a:lnTo>
                  <a:lnTo>
                    <a:pt x="10" y="173"/>
                  </a:lnTo>
                  <a:lnTo>
                    <a:pt x="7" y="173"/>
                  </a:lnTo>
                  <a:lnTo>
                    <a:pt x="5" y="175"/>
                  </a:lnTo>
                  <a:lnTo>
                    <a:pt x="3" y="178"/>
                  </a:lnTo>
                  <a:lnTo>
                    <a:pt x="3" y="178"/>
                  </a:lnTo>
                  <a:lnTo>
                    <a:pt x="3" y="178"/>
                  </a:lnTo>
                  <a:lnTo>
                    <a:pt x="3" y="183"/>
                  </a:lnTo>
                  <a:lnTo>
                    <a:pt x="3" y="185"/>
                  </a:lnTo>
                  <a:lnTo>
                    <a:pt x="3" y="190"/>
                  </a:lnTo>
                  <a:lnTo>
                    <a:pt x="3" y="194"/>
                  </a:lnTo>
                  <a:lnTo>
                    <a:pt x="3" y="199"/>
                  </a:lnTo>
                  <a:lnTo>
                    <a:pt x="3" y="204"/>
                  </a:lnTo>
                  <a:lnTo>
                    <a:pt x="0" y="206"/>
                  </a:lnTo>
                  <a:lnTo>
                    <a:pt x="5" y="209"/>
                  </a:lnTo>
                  <a:lnTo>
                    <a:pt x="7" y="211"/>
                  </a:lnTo>
                  <a:lnTo>
                    <a:pt x="12" y="213"/>
                  </a:lnTo>
                  <a:lnTo>
                    <a:pt x="14" y="216"/>
                  </a:lnTo>
                  <a:lnTo>
                    <a:pt x="17" y="218"/>
                  </a:lnTo>
                  <a:lnTo>
                    <a:pt x="22" y="220"/>
                  </a:lnTo>
                  <a:lnTo>
                    <a:pt x="24" y="223"/>
                  </a:lnTo>
                  <a:lnTo>
                    <a:pt x="29" y="225"/>
                  </a:lnTo>
                  <a:lnTo>
                    <a:pt x="31" y="228"/>
                  </a:lnTo>
                  <a:lnTo>
                    <a:pt x="33" y="230"/>
                  </a:lnTo>
                  <a:lnTo>
                    <a:pt x="38" y="232"/>
                  </a:lnTo>
                  <a:lnTo>
                    <a:pt x="40" y="235"/>
                  </a:lnTo>
                  <a:lnTo>
                    <a:pt x="45" y="237"/>
                  </a:lnTo>
                  <a:lnTo>
                    <a:pt x="48" y="239"/>
                  </a:lnTo>
                  <a:lnTo>
                    <a:pt x="50" y="242"/>
                  </a:lnTo>
                  <a:lnTo>
                    <a:pt x="55" y="244"/>
                  </a:lnTo>
                  <a:lnTo>
                    <a:pt x="57" y="247"/>
                  </a:lnTo>
                  <a:lnTo>
                    <a:pt x="62" y="249"/>
                  </a:lnTo>
                  <a:lnTo>
                    <a:pt x="66" y="254"/>
                  </a:lnTo>
                  <a:lnTo>
                    <a:pt x="69" y="256"/>
                  </a:lnTo>
                  <a:lnTo>
                    <a:pt x="76" y="261"/>
                  </a:lnTo>
                  <a:lnTo>
                    <a:pt x="81" y="263"/>
                  </a:lnTo>
                  <a:lnTo>
                    <a:pt x="85" y="268"/>
                  </a:lnTo>
                  <a:lnTo>
                    <a:pt x="92" y="273"/>
                  </a:lnTo>
                  <a:lnTo>
                    <a:pt x="97" y="277"/>
                  </a:lnTo>
                  <a:lnTo>
                    <a:pt x="104" y="282"/>
                  </a:lnTo>
                  <a:lnTo>
                    <a:pt x="109" y="287"/>
                  </a:lnTo>
                  <a:lnTo>
                    <a:pt x="114" y="292"/>
                  </a:lnTo>
                  <a:lnTo>
                    <a:pt x="121" y="296"/>
                  </a:lnTo>
                  <a:lnTo>
                    <a:pt x="126" y="299"/>
                  </a:lnTo>
                  <a:lnTo>
                    <a:pt x="133" y="303"/>
                  </a:lnTo>
                  <a:lnTo>
                    <a:pt x="137" y="308"/>
                  </a:lnTo>
                  <a:lnTo>
                    <a:pt x="145" y="313"/>
                  </a:lnTo>
                  <a:lnTo>
                    <a:pt x="149" y="318"/>
                  </a:lnTo>
                  <a:lnTo>
                    <a:pt x="156" y="322"/>
                  </a:lnTo>
                  <a:lnTo>
                    <a:pt x="161" y="327"/>
                  </a:lnTo>
                  <a:lnTo>
                    <a:pt x="168" y="332"/>
                  </a:lnTo>
                  <a:lnTo>
                    <a:pt x="173" y="337"/>
                  </a:lnTo>
                  <a:lnTo>
                    <a:pt x="178" y="339"/>
                  </a:lnTo>
                  <a:lnTo>
                    <a:pt x="178" y="339"/>
                  </a:lnTo>
                  <a:lnTo>
                    <a:pt x="178" y="341"/>
                  </a:lnTo>
                  <a:lnTo>
                    <a:pt x="178" y="344"/>
                  </a:lnTo>
                  <a:lnTo>
                    <a:pt x="178" y="344"/>
                  </a:lnTo>
                  <a:lnTo>
                    <a:pt x="178" y="346"/>
                  </a:lnTo>
                  <a:lnTo>
                    <a:pt x="180" y="346"/>
                  </a:lnTo>
                  <a:lnTo>
                    <a:pt x="185" y="351"/>
                  </a:lnTo>
                  <a:lnTo>
                    <a:pt x="185" y="351"/>
                  </a:lnTo>
                  <a:lnTo>
                    <a:pt x="185" y="351"/>
                  </a:lnTo>
                  <a:lnTo>
                    <a:pt x="187" y="353"/>
                  </a:lnTo>
                  <a:lnTo>
                    <a:pt x="187" y="355"/>
                  </a:lnTo>
                  <a:lnTo>
                    <a:pt x="189" y="355"/>
                  </a:lnTo>
                  <a:lnTo>
                    <a:pt x="189" y="355"/>
                  </a:lnTo>
                  <a:lnTo>
                    <a:pt x="197" y="355"/>
                  </a:lnTo>
                  <a:lnTo>
                    <a:pt x="197" y="358"/>
                  </a:lnTo>
                  <a:lnTo>
                    <a:pt x="199" y="360"/>
                  </a:lnTo>
                  <a:lnTo>
                    <a:pt x="201" y="360"/>
                  </a:lnTo>
                  <a:lnTo>
                    <a:pt x="204" y="363"/>
                  </a:lnTo>
                  <a:lnTo>
                    <a:pt x="206" y="363"/>
                  </a:lnTo>
                  <a:lnTo>
                    <a:pt x="208" y="363"/>
                  </a:lnTo>
                  <a:lnTo>
                    <a:pt x="211" y="363"/>
                  </a:lnTo>
                  <a:lnTo>
                    <a:pt x="213" y="365"/>
                  </a:lnTo>
                  <a:lnTo>
                    <a:pt x="213" y="365"/>
                  </a:lnTo>
                  <a:lnTo>
                    <a:pt x="213" y="367"/>
                  </a:lnTo>
                  <a:lnTo>
                    <a:pt x="213" y="367"/>
                  </a:lnTo>
                  <a:lnTo>
                    <a:pt x="213" y="370"/>
                  </a:lnTo>
                  <a:lnTo>
                    <a:pt x="213" y="372"/>
                  </a:lnTo>
                  <a:lnTo>
                    <a:pt x="215" y="374"/>
                  </a:lnTo>
                  <a:lnTo>
                    <a:pt x="215" y="374"/>
                  </a:lnTo>
                  <a:lnTo>
                    <a:pt x="213" y="374"/>
                  </a:lnTo>
                  <a:lnTo>
                    <a:pt x="213" y="377"/>
                  </a:lnTo>
                  <a:lnTo>
                    <a:pt x="213" y="377"/>
                  </a:lnTo>
                  <a:lnTo>
                    <a:pt x="213" y="377"/>
                  </a:lnTo>
                  <a:lnTo>
                    <a:pt x="211" y="379"/>
                  </a:lnTo>
                  <a:lnTo>
                    <a:pt x="213" y="379"/>
                  </a:lnTo>
                  <a:lnTo>
                    <a:pt x="213" y="381"/>
                  </a:lnTo>
                  <a:lnTo>
                    <a:pt x="215" y="381"/>
                  </a:lnTo>
                  <a:lnTo>
                    <a:pt x="215" y="381"/>
                  </a:lnTo>
                  <a:lnTo>
                    <a:pt x="215" y="384"/>
                  </a:lnTo>
                  <a:lnTo>
                    <a:pt x="218" y="381"/>
                  </a:lnTo>
                  <a:lnTo>
                    <a:pt x="218" y="381"/>
                  </a:lnTo>
                  <a:lnTo>
                    <a:pt x="223" y="381"/>
                  </a:lnTo>
                  <a:lnTo>
                    <a:pt x="227" y="381"/>
                  </a:lnTo>
                  <a:lnTo>
                    <a:pt x="232" y="379"/>
                  </a:lnTo>
                  <a:lnTo>
                    <a:pt x="237" y="379"/>
                  </a:lnTo>
                  <a:lnTo>
                    <a:pt x="242" y="377"/>
                  </a:lnTo>
                  <a:lnTo>
                    <a:pt x="246" y="377"/>
                  </a:lnTo>
                  <a:lnTo>
                    <a:pt x="253" y="374"/>
                  </a:lnTo>
                  <a:lnTo>
                    <a:pt x="260" y="374"/>
                  </a:lnTo>
                  <a:lnTo>
                    <a:pt x="263" y="372"/>
                  </a:lnTo>
                  <a:lnTo>
                    <a:pt x="268" y="367"/>
                  </a:lnTo>
                  <a:lnTo>
                    <a:pt x="270" y="365"/>
                  </a:lnTo>
                  <a:lnTo>
                    <a:pt x="275" y="360"/>
                  </a:lnTo>
                  <a:lnTo>
                    <a:pt x="279" y="355"/>
                  </a:lnTo>
                  <a:lnTo>
                    <a:pt x="284" y="351"/>
                  </a:lnTo>
                  <a:lnTo>
                    <a:pt x="289" y="346"/>
                  </a:lnTo>
                  <a:lnTo>
                    <a:pt x="291" y="344"/>
                  </a:lnTo>
                  <a:lnTo>
                    <a:pt x="298" y="339"/>
                  </a:lnTo>
                  <a:lnTo>
                    <a:pt x="308" y="332"/>
                  </a:lnTo>
                  <a:lnTo>
                    <a:pt x="317" y="325"/>
                  </a:lnTo>
                  <a:lnTo>
                    <a:pt x="327" y="320"/>
                  </a:lnTo>
                  <a:lnTo>
                    <a:pt x="336" y="313"/>
                  </a:lnTo>
                  <a:lnTo>
                    <a:pt x="346" y="306"/>
                  </a:lnTo>
                  <a:lnTo>
                    <a:pt x="355" y="301"/>
                  </a:lnTo>
                  <a:lnTo>
                    <a:pt x="365" y="294"/>
                  </a:lnTo>
                  <a:lnTo>
                    <a:pt x="374" y="287"/>
                  </a:lnTo>
                  <a:lnTo>
                    <a:pt x="372" y="282"/>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 name="Freeform 221"/>
            <p:cNvSpPr>
              <a:spLocks/>
            </p:cNvSpPr>
            <p:nvPr/>
          </p:nvSpPr>
          <p:spPr bwMode="auto">
            <a:xfrm>
              <a:off x="3094" y="1900"/>
              <a:ext cx="31" cy="59"/>
            </a:xfrm>
            <a:custGeom>
              <a:avLst/>
              <a:gdLst>
                <a:gd name="T0" fmla="*/ 31 w 31"/>
                <a:gd name="T1" fmla="*/ 41 h 59"/>
                <a:gd name="T2" fmla="*/ 31 w 31"/>
                <a:gd name="T3" fmla="*/ 38 h 59"/>
                <a:gd name="T4" fmla="*/ 31 w 31"/>
                <a:gd name="T5" fmla="*/ 36 h 59"/>
                <a:gd name="T6" fmla="*/ 26 w 31"/>
                <a:gd name="T7" fmla="*/ 36 h 59"/>
                <a:gd name="T8" fmla="*/ 26 w 31"/>
                <a:gd name="T9" fmla="*/ 33 h 59"/>
                <a:gd name="T10" fmla="*/ 24 w 31"/>
                <a:gd name="T11" fmla="*/ 31 h 59"/>
                <a:gd name="T12" fmla="*/ 21 w 31"/>
                <a:gd name="T13" fmla="*/ 26 h 59"/>
                <a:gd name="T14" fmla="*/ 21 w 31"/>
                <a:gd name="T15" fmla="*/ 24 h 59"/>
                <a:gd name="T16" fmla="*/ 21 w 31"/>
                <a:gd name="T17" fmla="*/ 22 h 59"/>
                <a:gd name="T18" fmla="*/ 21 w 31"/>
                <a:gd name="T19" fmla="*/ 19 h 59"/>
                <a:gd name="T20" fmla="*/ 24 w 31"/>
                <a:gd name="T21" fmla="*/ 17 h 59"/>
                <a:gd name="T22" fmla="*/ 24 w 31"/>
                <a:gd name="T23" fmla="*/ 12 h 59"/>
                <a:gd name="T24" fmla="*/ 21 w 31"/>
                <a:gd name="T25" fmla="*/ 10 h 59"/>
                <a:gd name="T26" fmla="*/ 19 w 31"/>
                <a:gd name="T27" fmla="*/ 7 h 59"/>
                <a:gd name="T28" fmla="*/ 17 w 31"/>
                <a:gd name="T29" fmla="*/ 5 h 59"/>
                <a:gd name="T30" fmla="*/ 14 w 31"/>
                <a:gd name="T31" fmla="*/ 3 h 59"/>
                <a:gd name="T32" fmla="*/ 12 w 31"/>
                <a:gd name="T33" fmla="*/ 3 h 59"/>
                <a:gd name="T34" fmla="*/ 9 w 31"/>
                <a:gd name="T35" fmla="*/ 3 h 59"/>
                <a:gd name="T36" fmla="*/ 7 w 31"/>
                <a:gd name="T37" fmla="*/ 3 h 59"/>
                <a:gd name="T38" fmla="*/ 7 w 31"/>
                <a:gd name="T39" fmla="*/ 0 h 59"/>
                <a:gd name="T40" fmla="*/ 7 w 31"/>
                <a:gd name="T41" fmla="*/ 0 h 59"/>
                <a:gd name="T42" fmla="*/ 5 w 31"/>
                <a:gd name="T43" fmla="*/ 3 h 59"/>
                <a:gd name="T44" fmla="*/ 2 w 31"/>
                <a:gd name="T45" fmla="*/ 7 h 59"/>
                <a:gd name="T46" fmla="*/ 0 w 31"/>
                <a:gd name="T47" fmla="*/ 10 h 59"/>
                <a:gd name="T48" fmla="*/ 2 w 31"/>
                <a:gd name="T49" fmla="*/ 12 h 59"/>
                <a:gd name="T50" fmla="*/ 2 w 31"/>
                <a:gd name="T51" fmla="*/ 14 h 59"/>
                <a:gd name="T52" fmla="*/ 2 w 31"/>
                <a:gd name="T53" fmla="*/ 17 h 59"/>
                <a:gd name="T54" fmla="*/ 5 w 31"/>
                <a:gd name="T55" fmla="*/ 17 h 59"/>
                <a:gd name="T56" fmla="*/ 5 w 31"/>
                <a:gd name="T57" fmla="*/ 22 h 59"/>
                <a:gd name="T58" fmla="*/ 5 w 31"/>
                <a:gd name="T59" fmla="*/ 26 h 59"/>
                <a:gd name="T60" fmla="*/ 5 w 31"/>
                <a:gd name="T61" fmla="*/ 29 h 59"/>
                <a:gd name="T62" fmla="*/ 5 w 31"/>
                <a:gd name="T63" fmla="*/ 36 h 59"/>
                <a:gd name="T64" fmla="*/ 2 w 31"/>
                <a:gd name="T65" fmla="*/ 41 h 59"/>
                <a:gd name="T66" fmla="*/ 5 w 31"/>
                <a:gd name="T67" fmla="*/ 45 h 59"/>
                <a:gd name="T68" fmla="*/ 5 w 31"/>
                <a:gd name="T69" fmla="*/ 48 h 59"/>
                <a:gd name="T70" fmla="*/ 2 w 31"/>
                <a:gd name="T71" fmla="*/ 45 h 59"/>
                <a:gd name="T72" fmla="*/ 2 w 31"/>
                <a:gd name="T73" fmla="*/ 48 h 59"/>
                <a:gd name="T74" fmla="*/ 5 w 31"/>
                <a:gd name="T75" fmla="*/ 50 h 59"/>
                <a:gd name="T76" fmla="*/ 14 w 31"/>
                <a:gd name="T77" fmla="*/ 55 h 59"/>
                <a:gd name="T78" fmla="*/ 14 w 31"/>
                <a:gd name="T79" fmla="*/ 59 h 59"/>
                <a:gd name="T80" fmla="*/ 17 w 31"/>
                <a:gd name="T81" fmla="*/ 59 h 59"/>
                <a:gd name="T82" fmla="*/ 19 w 31"/>
                <a:gd name="T83" fmla="*/ 59 h 59"/>
                <a:gd name="T84" fmla="*/ 19 w 31"/>
                <a:gd name="T85" fmla="*/ 59 h 59"/>
                <a:gd name="T86" fmla="*/ 19 w 31"/>
                <a:gd name="T87" fmla="*/ 57 h 59"/>
                <a:gd name="T88" fmla="*/ 21 w 31"/>
                <a:gd name="T89" fmla="*/ 57 h 59"/>
                <a:gd name="T90" fmla="*/ 21 w 31"/>
                <a:gd name="T91" fmla="*/ 57 h 59"/>
                <a:gd name="T92" fmla="*/ 19 w 31"/>
                <a:gd name="T93" fmla="*/ 55 h 59"/>
                <a:gd name="T94" fmla="*/ 21 w 31"/>
                <a:gd name="T95" fmla="*/ 52 h 59"/>
                <a:gd name="T96" fmla="*/ 21 w 31"/>
                <a:gd name="T97" fmla="*/ 55 h 59"/>
                <a:gd name="T98" fmla="*/ 24 w 31"/>
                <a:gd name="T99" fmla="*/ 52 h 59"/>
                <a:gd name="T100" fmla="*/ 26 w 31"/>
                <a:gd name="T101" fmla="*/ 52 h 59"/>
                <a:gd name="T102" fmla="*/ 26 w 31"/>
                <a:gd name="T103" fmla="*/ 50 h 59"/>
                <a:gd name="T104" fmla="*/ 26 w 31"/>
                <a:gd name="T105" fmla="*/ 48 h 59"/>
                <a:gd name="T106" fmla="*/ 28 w 31"/>
                <a:gd name="T107" fmla="*/ 45 h 59"/>
                <a:gd name="T108" fmla="*/ 31 w 31"/>
                <a:gd name="T109" fmla="*/ 45 h 59"/>
                <a:gd name="T110" fmla="*/ 31 w 31"/>
                <a:gd name="T111" fmla="*/ 4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 h="59">
                  <a:moveTo>
                    <a:pt x="31" y="41"/>
                  </a:moveTo>
                  <a:lnTo>
                    <a:pt x="31" y="41"/>
                  </a:lnTo>
                  <a:lnTo>
                    <a:pt x="31" y="38"/>
                  </a:lnTo>
                  <a:lnTo>
                    <a:pt x="31" y="38"/>
                  </a:lnTo>
                  <a:lnTo>
                    <a:pt x="31" y="36"/>
                  </a:lnTo>
                  <a:lnTo>
                    <a:pt x="31" y="36"/>
                  </a:lnTo>
                  <a:lnTo>
                    <a:pt x="28" y="36"/>
                  </a:lnTo>
                  <a:lnTo>
                    <a:pt x="26" y="36"/>
                  </a:lnTo>
                  <a:lnTo>
                    <a:pt x="26" y="36"/>
                  </a:lnTo>
                  <a:lnTo>
                    <a:pt x="26" y="33"/>
                  </a:lnTo>
                  <a:lnTo>
                    <a:pt x="24" y="33"/>
                  </a:lnTo>
                  <a:lnTo>
                    <a:pt x="24" y="31"/>
                  </a:lnTo>
                  <a:lnTo>
                    <a:pt x="21" y="29"/>
                  </a:lnTo>
                  <a:lnTo>
                    <a:pt x="21" y="26"/>
                  </a:lnTo>
                  <a:lnTo>
                    <a:pt x="21" y="26"/>
                  </a:lnTo>
                  <a:lnTo>
                    <a:pt x="21" y="24"/>
                  </a:lnTo>
                  <a:lnTo>
                    <a:pt x="21" y="22"/>
                  </a:lnTo>
                  <a:lnTo>
                    <a:pt x="21" y="22"/>
                  </a:lnTo>
                  <a:lnTo>
                    <a:pt x="21" y="22"/>
                  </a:lnTo>
                  <a:lnTo>
                    <a:pt x="21" y="19"/>
                  </a:lnTo>
                  <a:lnTo>
                    <a:pt x="21" y="17"/>
                  </a:lnTo>
                  <a:lnTo>
                    <a:pt x="24" y="17"/>
                  </a:lnTo>
                  <a:lnTo>
                    <a:pt x="24" y="14"/>
                  </a:lnTo>
                  <a:lnTo>
                    <a:pt x="24" y="12"/>
                  </a:lnTo>
                  <a:lnTo>
                    <a:pt x="21" y="10"/>
                  </a:lnTo>
                  <a:lnTo>
                    <a:pt x="21" y="10"/>
                  </a:lnTo>
                  <a:lnTo>
                    <a:pt x="19" y="7"/>
                  </a:lnTo>
                  <a:lnTo>
                    <a:pt x="19" y="7"/>
                  </a:lnTo>
                  <a:lnTo>
                    <a:pt x="17" y="7"/>
                  </a:lnTo>
                  <a:lnTo>
                    <a:pt x="17" y="5"/>
                  </a:lnTo>
                  <a:lnTo>
                    <a:pt x="14" y="3"/>
                  </a:lnTo>
                  <a:lnTo>
                    <a:pt x="14" y="3"/>
                  </a:lnTo>
                  <a:lnTo>
                    <a:pt x="14" y="3"/>
                  </a:lnTo>
                  <a:lnTo>
                    <a:pt x="12" y="3"/>
                  </a:lnTo>
                  <a:lnTo>
                    <a:pt x="9" y="3"/>
                  </a:lnTo>
                  <a:lnTo>
                    <a:pt x="9" y="3"/>
                  </a:lnTo>
                  <a:lnTo>
                    <a:pt x="9" y="3"/>
                  </a:lnTo>
                  <a:lnTo>
                    <a:pt x="7" y="3"/>
                  </a:lnTo>
                  <a:lnTo>
                    <a:pt x="7" y="0"/>
                  </a:lnTo>
                  <a:lnTo>
                    <a:pt x="7" y="0"/>
                  </a:lnTo>
                  <a:lnTo>
                    <a:pt x="7" y="0"/>
                  </a:lnTo>
                  <a:lnTo>
                    <a:pt x="7" y="0"/>
                  </a:lnTo>
                  <a:lnTo>
                    <a:pt x="5" y="3"/>
                  </a:lnTo>
                  <a:lnTo>
                    <a:pt x="5" y="3"/>
                  </a:lnTo>
                  <a:lnTo>
                    <a:pt x="2" y="5"/>
                  </a:lnTo>
                  <a:lnTo>
                    <a:pt x="2" y="7"/>
                  </a:lnTo>
                  <a:lnTo>
                    <a:pt x="2" y="7"/>
                  </a:lnTo>
                  <a:lnTo>
                    <a:pt x="0" y="10"/>
                  </a:lnTo>
                  <a:lnTo>
                    <a:pt x="2" y="10"/>
                  </a:lnTo>
                  <a:lnTo>
                    <a:pt x="2" y="12"/>
                  </a:lnTo>
                  <a:lnTo>
                    <a:pt x="2" y="12"/>
                  </a:lnTo>
                  <a:lnTo>
                    <a:pt x="2" y="14"/>
                  </a:lnTo>
                  <a:lnTo>
                    <a:pt x="2" y="14"/>
                  </a:lnTo>
                  <a:lnTo>
                    <a:pt x="2" y="17"/>
                  </a:lnTo>
                  <a:lnTo>
                    <a:pt x="5" y="17"/>
                  </a:lnTo>
                  <a:lnTo>
                    <a:pt x="5" y="17"/>
                  </a:lnTo>
                  <a:lnTo>
                    <a:pt x="7" y="22"/>
                  </a:lnTo>
                  <a:lnTo>
                    <a:pt x="5" y="22"/>
                  </a:lnTo>
                  <a:lnTo>
                    <a:pt x="5" y="22"/>
                  </a:lnTo>
                  <a:lnTo>
                    <a:pt x="5" y="26"/>
                  </a:lnTo>
                  <a:lnTo>
                    <a:pt x="5" y="26"/>
                  </a:lnTo>
                  <a:lnTo>
                    <a:pt x="5" y="29"/>
                  </a:lnTo>
                  <a:lnTo>
                    <a:pt x="5" y="31"/>
                  </a:lnTo>
                  <a:lnTo>
                    <a:pt x="5" y="36"/>
                  </a:lnTo>
                  <a:lnTo>
                    <a:pt x="2" y="38"/>
                  </a:lnTo>
                  <a:lnTo>
                    <a:pt x="2" y="41"/>
                  </a:lnTo>
                  <a:lnTo>
                    <a:pt x="2" y="43"/>
                  </a:lnTo>
                  <a:lnTo>
                    <a:pt x="5" y="45"/>
                  </a:lnTo>
                  <a:lnTo>
                    <a:pt x="5" y="45"/>
                  </a:lnTo>
                  <a:lnTo>
                    <a:pt x="5" y="48"/>
                  </a:lnTo>
                  <a:lnTo>
                    <a:pt x="5" y="48"/>
                  </a:lnTo>
                  <a:lnTo>
                    <a:pt x="2" y="45"/>
                  </a:lnTo>
                  <a:lnTo>
                    <a:pt x="2" y="45"/>
                  </a:lnTo>
                  <a:lnTo>
                    <a:pt x="2" y="48"/>
                  </a:lnTo>
                  <a:lnTo>
                    <a:pt x="5" y="50"/>
                  </a:lnTo>
                  <a:lnTo>
                    <a:pt x="5" y="50"/>
                  </a:lnTo>
                  <a:lnTo>
                    <a:pt x="12" y="55"/>
                  </a:lnTo>
                  <a:lnTo>
                    <a:pt x="14" y="55"/>
                  </a:lnTo>
                  <a:lnTo>
                    <a:pt x="14" y="57"/>
                  </a:lnTo>
                  <a:lnTo>
                    <a:pt x="14" y="59"/>
                  </a:lnTo>
                  <a:lnTo>
                    <a:pt x="14" y="59"/>
                  </a:lnTo>
                  <a:lnTo>
                    <a:pt x="17" y="59"/>
                  </a:lnTo>
                  <a:lnTo>
                    <a:pt x="17" y="59"/>
                  </a:lnTo>
                  <a:lnTo>
                    <a:pt x="19" y="59"/>
                  </a:lnTo>
                  <a:lnTo>
                    <a:pt x="19" y="59"/>
                  </a:lnTo>
                  <a:lnTo>
                    <a:pt x="19" y="59"/>
                  </a:lnTo>
                  <a:lnTo>
                    <a:pt x="19" y="59"/>
                  </a:lnTo>
                  <a:lnTo>
                    <a:pt x="19" y="57"/>
                  </a:lnTo>
                  <a:lnTo>
                    <a:pt x="19" y="57"/>
                  </a:lnTo>
                  <a:lnTo>
                    <a:pt x="21" y="57"/>
                  </a:lnTo>
                  <a:lnTo>
                    <a:pt x="21" y="57"/>
                  </a:lnTo>
                  <a:lnTo>
                    <a:pt x="21" y="57"/>
                  </a:lnTo>
                  <a:lnTo>
                    <a:pt x="21" y="55"/>
                  </a:lnTo>
                  <a:lnTo>
                    <a:pt x="19" y="55"/>
                  </a:lnTo>
                  <a:lnTo>
                    <a:pt x="19" y="55"/>
                  </a:lnTo>
                  <a:lnTo>
                    <a:pt x="21" y="52"/>
                  </a:lnTo>
                  <a:lnTo>
                    <a:pt x="21" y="55"/>
                  </a:lnTo>
                  <a:lnTo>
                    <a:pt x="21" y="55"/>
                  </a:lnTo>
                  <a:lnTo>
                    <a:pt x="21" y="52"/>
                  </a:lnTo>
                  <a:lnTo>
                    <a:pt x="24" y="52"/>
                  </a:lnTo>
                  <a:lnTo>
                    <a:pt x="26" y="52"/>
                  </a:lnTo>
                  <a:lnTo>
                    <a:pt x="26" y="52"/>
                  </a:lnTo>
                  <a:lnTo>
                    <a:pt x="26" y="52"/>
                  </a:lnTo>
                  <a:lnTo>
                    <a:pt x="26" y="50"/>
                  </a:lnTo>
                  <a:lnTo>
                    <a:pt x="26" y="48"/>
                  </a:lnTo>
                  <a:lnTo>
                    <a:pt x="26" y="48"/>
                  </a:lnTo>
                  <a:lnTo>
                    <a:pt x="28" y="48"/>
                  </a:lnTo>
                  <a:lnTo>
                    <a:pt x="28" y="45"/>
                  </a:lnTo>
                  <a:lnTo>
                    <a:pt x="28" y="45"/>
                  </a:lnTo>
                  <a:lnTo>
                    <a:pt x="31" y="45"/>
                  </a:lnTo>
                  <a:lnTo>
                    <a:pt x="31" y="43"/>
                  </a:lnTo>
                  <a:lnTo>
                    <a:pt x="31" y="43"/>
                  </a:lnTo>
                  <a:lnTo>
                    <a:pt x="31" y="41"/>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 name="Freeform 222"/>
            <p:cNvSpPr>
              <a:spLocks noEditPoints="1"/>
            </p:cNvSpPr>
            <p:nvPr/>
          </p:nvSpPr>
          <p:spPr bwMode="auto">
            <a:xfrm>
              <a:off x="3080" y="1540"/>
              <a:ext cx="16" cy="7"/>
            </a:xfrm>
            <a:custGeom>
              <a:avLst/>
              <a:gdLst>
                <a:gd name="T0" fmla="*/ 16 w 16"/>
                <a:gd name="T1" fmla="*/ 7 h 7"/>
                <a:gd name="T2" fmla="*/ 14 w 16"/>
                <a:gd name="T3" fmla="*/ 5 h 7"/>
                <a:gd name="T4" fmla="*/ 14 w 16"/>
                <a:gd name="T5" fmla="*/ 7 h 7"/>
                <a:gd name="T6" fmla="*/ 14 w 16"/>
                <a:gd name="T7" fmla="*/ 7 h 7"/>
                <a:gd name="T8" fmla="*/ 14 w 16"/>
                <a:gd name="T9" fmla="*/ 7 h 7"/>
                <a:gd name="T10" fmla="*/ 14 w 16"/>
                <a:gd name="T11" fmla="*/ 7 h 7"/>
                <a:gd name="T12" fmla="*/ 16 w 16"/>
                <a:gd name="T13" fmla="*/ 7 h 7"/>
                <a:gd name="T14" fmla="*/ 16 w 16"/>
                <a:gd name="T15" fmla="*/ 7 h 7"/>
                <a:gd name="T16" fmla="*/ 16 w 16"/>
                <a:gd name="T17" fmla="*/ 7 h 7"/>
                <a:gd name="T18" fmla="*/ 16 w 16"/>
                <a:gd name="T19" fmla="*/ 7 h 7"/>
                <a:gd name="T20" fmla="*/ 2 w 16"/>
                <a:gd name="T21" fmla="*/ 3 h 7"/>
                <a:gd name="T22" fmla="*/ 0 w 16"/>
                <a:gd name="T23" fmla="*/ 3 h 7"/>
                <a:gd name="T24" fmla="*/ 0 w 16"/>
                <a:gd name="T25" fmla="*/ 5 h 7"/>
                <a:gd name="T26" fmla="*/ 0 w 16"/>
                <a:gd name="T27" fmla="*/ 5 h 7"/>
                <a:gd name="T28" fmla="*/ 2 w 16"/>
                <a:gd name="T29" fmla="*/ 5 h 7"/>
                <a:gd name="T30" fmla="*/ 2 w 16"/>
                <a:gd name="T31" fmla="*/ 5 h 7"/>
                <a:gd name="T32" fmla="*/ 2 w 16"/>
                <a:gd name="T33" fmla="*/ 5 h 7"/>
                <a:gd name="T34" fmla="*/ 2 w 16"/>
                <a:gd name="T35" fmla="*/ 5 h 7"/>
                <a:gd name="T36" fmla="*/ 2 w 16"/>
                <a:gd name="T37" fmla="*/ 5 h 7"/>
                <a:gd name="T38" fmla="*/ 2 w 16"/>
                <a:gd name="T39" fmla="*/ 3 h 7"/>
                <a:gd name="T40" fmla="*/ 9 w 16"/>
                <a:gd name="T41" fmla="*/ 3 h 7"/>
                <a:gd name="T42" fmla="*/ 9 w 16"/>
                <a:gd name="T43" fmla="*/ 3 h 7"/>
                <a:gd name="T44" fmla="*/ 9 w 16"/>
                <a:gd name="T45" fmla="*/ 0 h 7"/>
                <a:gd name="T46" fmla="*/ 7 w 16"/>
                <a:gd name="T47" fmla="*/ 0 h 7"/>
                <a:gd name="T48" fmla="*/ 7 w 16"/>
                <a:gd name="T49" fmla="*/ 0 h 7"/>
                <a:gd name="T50" fmla="*/ 7 w 16"/>
                <a:gd name="T51" fmla="*/ 0 h 7"/>
                <a:gd name="T52" fmla="*/ 7 w 16"/>
                <a:gd name="T53" fmla="*/ 0 h 7"/>
                <a:gd name="T54" fmla="*/ 7 w 16"/>
                <a:gd name="T55" fmla="*/ 0 h 7"/>
                <a:gd name="T56" fmla="*/ 5 w 16"/>
                <a:gd name="T57" fmla="*/ 0 h 7"/>
                <a:gd name="T58" fmla="*/ 5 w 16"/>
                <a:gd name="T59" fmla="*/ 0 h 7"/>
                <a:gd name="T60" fmla="*/ 5 w 16"/>
                <a:gd name="T61" fmla="*/ 0 h 7"/>
                <a:gd name="T62" fmla="*/ 5 w 16"/>
                <a:gd name="T63" fmla="*/ 0 h 7"/>
                <a:gd name="T64" fmla="*/ 5 w 16"/>
                <a:gd name="T65" fmla="*/ 3 h 7"/>
                <a:gd name="T66" fmla="*/ 5 w 16"/>
                <a:gd name="T67" fmla="*/ 3 h 7"/>
                <a:gd name="T68" fmla="*/ 5 w 16"/>
                <a:gd name="T69" fmla="*/ 3 h 7"/>
                <a:gd name="T70" fmla="*/ 5 w 16"/>
                <a:gd name="T71" fmla="*/ 3 h 7"/>
                <a:gd name="T72" fmla="*/ 5 w 16"/>
                <a:gd name="T73" fmla="*/ 3 h 7"/>
                <a:gd name="T74" fmla="*/ 5 w 16"/>
                <a:gd name="T75" fmla="*/ 3 h 7"/>
                <a:gd name="T76" fmla="*/ 2 w 16"/>
                <a:gd name="T77" fmla="*/ 3 h 7"/>
                <a:gd name="T78" fmla="*/ 2 w 16"/>
                <a:gd name="T79" fmla="*/ 3 h 7"/>
                <a:gd name="T80" fmla="*/ 5 w 16"/>
                <a:gd name="T81" fmla="*/ 5 h 7"/>
                <a:gd name="T82" fmla="*/ 5 w 16"/>
                <a:gd name="T83" fmla="*/ 5 h 7"/>
                <a:gd name="T84" fmla="*/ 9 w 16"/>
                <a:gd name="T85" fmla="*/ 5 h 7"/>
                <a:gd name="T86" fmla="*/ 9 w 16"/>
                <a:gd name="T87" fmla="*/ 5 h 7"/>
                <a:gd name="T88" fmla="*/ 9 w 16"/>
                <a:gd name="T89" fmla="*/ 5 h 7"/>
                <a:gd name="T90" fmla="*/ 9 w 16"/>
                <a:gd name="T91" fmla="*/ 5 h 7"/>
                <a:gd name="T92" fmla="*/ 9 w 16"/>
                <a:gd name="T93" fmla="*/ 3 h 7"/>
                <a:gd name="T94" fmla="*/ 9 w 16"/>
                <a:gd name="T95" fmla="*/ 5 h 7"/>
                <a:gd name="T96" fmla="*/ 12 w 16"/>
                <a:gd name="T97" fmla="*/ 5 h 7"/>
                <a:gd name="T98" fmla="*/ 12 w 16"/>
                <a:gd name="T99" fmla="*/ 3 h 7"/>
                <a:gd name="T100" fmla="*/ 12 w 16"/>
                <a:gd name="T101" fmla="*/ 3 h 7"/>
                <a:gd name="T102" fmla="*/ 9 w 16"/>
                <a:gd name="T103"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6" h="7">
                  <a:moveTo>
                    <a:pt x="16" y="7"/>
                  </a:moveTo>
                  <a:lnTo>
                    <a:pt x="14" y="5"/>
                  </a:lnTo>
                  <a:lnTo>
                    <a:pt x="14" y="7"/>
                  </a:lnTo>
                  <a:lnTo>
                    <a:pt x="14" y="7"/>
                  </a:lnTo>
                  <a:lnTo>
                    <a:pt x="14" y="7"/>
                  </a:lnTo>
                  <a:lnTo>
                    <a:pt x="14" y="7"/>
                  </a:lnTo>
                  <a:lnTo>
                    <a:pt x="16" y="7"/>
                  </a:lnTo>
                  <a:lnTo>
                    <a:pt x="16" y="7"/>
                  </a:lnTo>
                  <a:lnTo>
                    <a:pt x="16" y="7"/>
                  </a:lnTo>
                  <a:lnTo>
                    <a:pt x="16" y="7"/>
                  </a:lnTo>
                  <a:close/>
                  <a:moveTo>
                    <a:pt x="2" y="3"/>
                  </a:moveTo>
                  <a:lnTo>
                    <a:pt x="0" y="3"/>
                  </a:lnTo>
                  <a:lnTo>
                    <a:pt x="0" y="5"/>
                  </a:lnTo>
                  <a:lnTo>
                    <a:pt x="0" y="5"/>
                  </a:lnTo>
                  <a:lnTo>
                    <a:pt x="2" y="5"/>
                  </a:lnTo>
                  <a:lnTo>
                    <a:pt x="2" y="5"/>
                  </a:lnTo>
                  <a:lnTo>
                    <a:pt x="2" y="5"/>
                  </a:lnTo>
                  <a:lnTo>
                    <a:pt x="2" y="5"/>
                  </a:lnTo>
                  <a:lnTo>
                    <a:pt x="2" y="5"/>
                  </a:lnTo>
                  <a:lnTo>
                    <a:pt x="2" y="3"/>
                  </a:lnTo>
                  <a:close/>
                  <a:moveTo>
                    <a:pt x="9" y="3"/>
                  </a:moveTo>
                  <a:lnTo>
                    <a:pt x="9" y="3"/>
                  </a:lnTo>
                  <a:lnTo>
                    <a:pt x="9" y="0"/>
                  </a:lnTo>
                  <a:lnTo>
                    <a:pt x="7" y="0"/>
                  </a:lnTo>
                  <a:lnTo>
                    <a:pt x="7" y="0"/>
                  </a:lnTo>
                  <a:lnTo>
                    <a:pt x="7" y="0"/>
                  </a:lnTo>
                  <a:lnTo>
                    <a:pt x="7" y="0"/>
                  </a:lnTo>
                  <a:lnTo>
                    <a:pt x="7" y="0"/>
                  </a:lnTo>
                  <a:lnTo>
                    <a:pt x="5" y="0"/>
                  </a:lnTo>
                  <a:lnTo>
                    <a:pt x="5" y="0"/>
                  </a:lnTo>
                  <a:lnTo>
                    <a:pt x="5" y="0"/>
                  </a:lnTo>
                  <a:lnTo>
                    <a:pt x="5" y="0"/>
                  </a:lnTo>
                  <a:lnTo>
                    <a:pt x="5" y="3"/>
                  </a:lnTo>
                  <a:lnTo>
                    <a:pt x="5" y="3"/>
                  </a:lnTo>
                  <a:lnTo>
                    <a:pt x="5" y="3"/>
                  </a:lnTo>
                  <a:lnTo>
                    <a:pt x="5" y="3"/>
                  </a:lnTo>
                  <a:lnTo>
                    <a:pt x="5" y="3"/>
                  </a:lnTo>
                  <a:lnTo>
                    <a:pt x="5" y="3"/>
                  </a:lnTo>
                  <a:lnTo>
                    <a:pt x="2" y="3"/>
                  </a:lnTo>
                  <a:lnTo>
                    <a:pt x="2" y="3"/>
                  </a:lnTo>
                  <a:lnTo>
                    <a:pt x="5" y="5"/>
                  </a:lnTo>
                  <a:lnTo>
                    <a:pt x="5" y="5"/>
                  </a:lnTo>
                  <a:lnTo>
                    <a:pt x="9" y="5"/>
                  </a:lnTo>
                  <a:lnTo>
                    <a:pt x="9" y="5"/>
                  </a:lnTo>
                  <a:lnTo>
                    <a:pt x="9" y="5"/>
                  </a:lnTo>
                  <a:lnTo>
                    <a:pt x="9" y="5"/>
                  </a:lnTo>
                  <a:lnTo>
                    <a:pt x="9" y="3"/>
                  </a:lnTo>
                  <a:lnTo>
                    <a:pt x="9" y="5"/>
                  </a:lnTo>
                  <a:lnTo>
                    <a:pt x="12" y="5"/>
                  </a:lnTo>
                  <a:lnTo>
                    <a:pt x="12" y="3"/>
                  </a:lnTo>
                  <a:lnTo>
                    <a:pt x="12" y="3"/>
                  </a:lnTo>
                  <a:lnTo>
                    <a:pt x="9" y="3"/>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 name="Freeform 223"/>
            <p:cNvSpPr>
              <a:spLocks/>
            </p:cNvSpPr>
            <p:nvPr/>
          </p:nvSpPr>
          <p:spPr bwMode="auto">
            <a:xfrm>
              <a:off x="3827" y="1985"/>
              <a:ext cx="239" cy="195"/>
            </a:xfrm>
            <a:custGeom>
              <a:avLst/>
              <a:gdLst>
                <a:gd name="T0" fmla="*/ 230 w 239"/>
                <a:gd name="T1" fmla="*/ 24 h 195"/>
                <a:gd name="T2" fmla="*/ 218 w 239"/>
                <a:gd name="T3" fmla="*/ 27 h 195"/>
                <a:gd name="T4" fmla="*/ 218 w 239"/>
                <a:gd name="T5" fmla="*/ 22 h 195"/>
                <a:gd name="T6" fmla="*/ 201 w 239"/>
                <a:gd name="T7" fmla="*/ 31 h 195"/>
                <a:gd name="T8" fmla="*/ 185 w 239"/>
                <a:gd name="T9" fmla="*/ 38 h 195"/>
                <a:gd name="T10" fmla="*/ 180 w 239"/>
                <a:gd name="T11" fmla="*/ 15 h 195"/>
                <a:gd name="T12" fmla="*/ 173 w 239"/>
                <a:gd name="T13" fmla="*/ 12 h 195"/>
                <a:gd name="T14" fmla="*/ 161 w 239"/>
                <a:gd name="T15" fmla="*/ 3 h 195"/>
                <a:gd name="T16" fmla="*/ 156 w 239"/>
                <a:gd name="T17" fmla="*/ 15 h 195"/>
                <a:gd name="T18" fmla="*/ 149 w 239"/>
                <a:gd name="T19" fmla="*/ 19 h 195"/>
                <a:gd name="T20" fmla="*/ 145 w 239"/>
                <a:gd name="T21" fmla="*/ 29 h 195"/>
                <a:gd name="T22" fmla="*/ 135 w 239"/>
                <a:gd name="T23" fmla="*/ 24 h 195"/>
                <a:gd name="T24" fmla="*/ 130 w 239"/>
                <a:gd name="T25" fmla="*/ 27 h 195"/>
                <a:gd name="T26" fmla="*/ 123 w 239"/>
                <a:gd name="T27" fmla="*/ 34 h 195"/>
                <a:gd name="T28" fmla="*/ 114 w 239"/>
                <a:gd name="T29" fmla="*/ 27 h 195"/>
                <a:gd name="T30" fmla="*/ 100 w 239"/>
                <a:gd name="T31" fmla="*/ 24 h 195"/>
                <a:gd name="T32" fmla="*/ 78 w 239"/>
                <a:gd name="T33" fmla="*/ 19 h 195"/>
                <a:gd name="T34" fmla="*/ 67 w 239"/>
                <a:gd name="T35" fmla="*/ 29 h 195"/>
                <a:gd name="T36" fmla="*/ 62 w 239"/>
                <a:gd name="T37" fmla="*/ 45 h 195"/>
                <a:gd name="T38" fmla="*/ 55 w 239"/>
                <a:gd name="T39" fmla="*/ 53 h 195"/>
                <a:gd name="T40" fmla="*/ 41 w 239"/>
                <a:gd name="T41" fmla="*/ 57 h 195"/>
                <a:gd name="T42" fmla="*/ 41 w 239"/>
                <a:gd name="T43" fmla="*/ 67 h 195"/>
                <a:gd name="T44" fmla="*/ 31 w 239"/>
                <a:gd name="T45" fmla="*/ 69 h 195"/>
                <a:gd name="T46" fmla="*/ 22 w 239"/>
                <a:gd name="T47" fmla="*/ 64 h 195"/>
                <a:gd name="T48" fmla="*/ 10 w 239"/>
                <a:gd name="T49" fmla="*/ 62 h 195"/>
                <a:gd name="T50" fmla="*/ 7 w 239"/>
                <a:gd name="T51" fmla="*/ 69 h 195"/>
                <a:gd name="T52" fmla="*/ 7 w 239"/>
                <a:gd name="T53" fmla="*/ 76 h 195"/>
                <a:gd name="T54" fmla="*/ 5 w 239"/>
                <a:gd name="T55" fmla="*/ 83 h 195"/>
                <a:gd name="T56" fmla="*/ 5 w 239"/>
                <a:gd name="T57" fmla="*/ 88 h 195"/>
                <a:gd name="T58" fmla="*/ 3 w 239"/>
                <a:gd name="T59" fmla="*/ 105 h 195"/>
                <a:gd name="T60" fmla="*/ 7 w 239"/>
                <a:gd name="T61" fmla="*/ 109 h 195"/>
                <a:gd name="T62" fmla="*/ 12 w 239"/>
                <a:gd name="T63" fmla="*/ 133 h 195"/>
                <a:gd name="T64" fmla="*/ 15 w 239"/>
                <a:gd name="T65" fmla="*/ 150 h 195"/>
                <a:gd name="T66" fmla="*/ 33 w 239"/>
                <a:gd name="T67" fmla="*/ 164 h 195"/>
                <a:gd name="T68" fmla="*/ 43 w 239"/>
                <a:gd name="T69" fmla="*/ 190 h 195"/>
                <a:gd name="T70" fmla="*/ 81 w 239"/>
                <a:gd name="T71" fmla="*/ 192 h 195"/>
                <a:gd name="T72" fmla="*/ 97 w 239"/>
                <a:gd name="T73" fmla="*/ 190 h 195"/>
                <a:gd name="T74" fmla="*/ 119 w 239"/>
                <a:gd name="T75" fmla="*/ 183 h 195"/>
                <a:gd name="T76" fmla="*/ 116 w 239"/>
                <a:gd name="T77" fmla="*/ 169 h 195"/>
                <a:gd name="T78" fmla="*/ 121 w 239"/>
                <a:gd name="T79" fmla="*/ 157 h 195"/>
                <a:gd name="T80" fmla="*/ 138 w 239"/>
                <a:gd name="T81" fmla="*/ 154 h 195"/>
                <a:gd name="T82" fmla="*/ 135 w 239"/>
                <a:gd name="T83" fmla="*/ 147 h 195"/>
                <a:gd name="T84" fmla="*/ 149 w 239"/>
                <a:gd name="T85" fmla="*/ 145 h 195"/>
                <a:gd name="T86" fmla="*/ 159 w 239"/>
                <a:gd name="T87" fmla="*/ 145 h 195"/>
                <a:gd name="T88" fmla="*/ 164 w 239"/>
                <a:gd name="T89" fmla="*/ 126 h 195"/>
                <a:gd name="T90" fmla="*/ 171 w 239"/>
                <a:gd name="T91" fmla="*/ 114 h 195"/>
                <a:gd name="T92" fmla="*/ 166 w 239"/>
                <a:gd name="T93" fmla="*/ 98 h 195"/>
                <a:gd name="T94" fmla="*/ 185 w 239"/>
                <a:gd name="T95" fmla="*/ 98 h 195"/>
                <a:gd name="T96" fmla="*/ 185 w 239"/>
                <a:gd name="T97" fmla="*/ 86 h 195"/>
                <a:gd name="T98" fmla="*/ 190 w 239"/>
                <a:gd name="T99" fmla="*/ 76 h 195"/>
                <a:gd name="T100" fmla="*/ 192 w 239"/>
                <a:gd name="T101" fmla="*/ 69 h 195"/>
                <a:gd name="T102" fmla="*/ 190 w 239"/>
                <a:gd name="T103" fmla="*/ 62 h 195"/>
                <a:gd name="T104" fmla="*/ 182 w 239"/>
                <a:gd name="T105" fmla="*/ 50 h 195"/>
                <a:gd name="T106" fmla="*/ 190 w 239"/>
                <a:gd name="T107" fmla="*/ 43 h 195"/>
                <a:gd name="T108" fmla="*/ 201 w 239"/>
                <a:gd name="T109" fmla="*/ 36 h 195"/>
                <a:gd name="T110" fmla="*/ 223 w 239"/>
                <a:gd name="T111" fmla="*/ 34 h 195"/>
                <a:gd name="T112" fmla="*/ 234 w 239"/>
                <a:gd name="T113" fmla="*/ 31 h 195"/>
                <a:gd name="T114" fmla="*/ 237 w 239"/>
                <a:gd name="T115" fmla="*/ 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9" h="195">
                  <a:moveTo>
                    <a:pt x="239" y="27"/>
                  </a:moveTo>
                  <a:lnTo>
                    <a:pt x="239" y="27"/>
                  </a:lnTo>
                  <a:lnTo>
                    <a:pt x="237" y="24"/>
                  </a:lnTo>
                  <a:lnTo>
                    <a:pt x="234" y="24"/>
                  </a:lnTo>
                  <a:lnTo>
                    <a:pt x="232" y="24"/>
                  </a:lnTo>
                  <a:lnTo>
                    <a:pt x="232" y="24"/>
                  </a:lnTo>
                  <a:lnTo>
                    <a:pt x="230" y="24"/>
                  </a:lnTo>
                  <a:lnTo>
                    <a:pt x="227" y="24"/>
                  </a:lnTo>
                  <a:lnTo>
                    <a:pt x="227" y="24"/>
                  </a:lnTo>
                  <a:lnTo>
                    <a:pt x="227" y="24"/>
                  </a:lnTo>
                  <a:lnTo>
                    <a:pt x="225" y="24"/>
                  </a:lnTo>
                  <a:lnTo>
                    <a:pt x="223" y="27"/>
                  </a:lnTo>
                  <a:lnTo>
                    <a:pt x="220" y="27"/>
                  </a:lnTo>
                  <a:lnTo>
                    <a:pt x="218" y="27"/>
                  </a:lnTo>
                  <a:lnTo>
                    <a:pt x="218" y="27"/>
                  </a:lnTo>
                  <a:lnTo>
                    <a:pt x="218" y="27"/>
                  </a:lnTo>
                  <a:lnTo>
                    <a:pt x="220" y="24"/>
                  </a:lnTo>
                  <a:lnTo>
                    <a:pt x="220" y="24"/>
                  </a:lnTo>
                  <a:lnTo>
                    <a:pt x="218" y="24"/>
                  </a:lnTo>
                  <a:lnTo>
                    <a:pt x="218" y="22"/>
                  </a:lnTo>
                  <a:lnTo>
                    <a:pt x="218" y="22"/>
                  </a:lnTo>
                  <a:lnTo>
                    <a:pt x="216" y="22"/>
                  </a:lnTo>
                  <a:lnTo>
                    <a:pt x="216" y="22"/>
                  </a:lnTo>
                  <a:lnTo>
                    <a:pt x="213" y="22"/>
                  </a:lnTo>
                  <a:lnTo>
                    <a:pt x="211" y="24"/>
                  </a:lnTo>
                  <a:lnTo>
                    <a:pt x="206" y="27"/>
                  </a:lnTo>
                  <a:lnTo>
                    <a:pt x="204" y="29"/>
                  </a:lnTo>
                  <a:lnTo>
                    <a:pt x="201" y="31"/>
                  </a:lnTo>
                  <a:lnTo>
                    <a:pt x="197" y="34"/>
                  </a:lnTo>
                  <a:lnTo>
                    <a:pt x="194" y="34"/>
                  </a:lnTo>
                  <a:lnTo>
                    <a:pt x="192" y="36"/>
                  </a:lnTo>
                  <a:lnTo>
                    <a:pt x="190" y="38"/>
                  </a:lnTo>
                  <a:lnTo>
                    <a:pt x="187" y="38"/>
                  </a:lnTo>
                  <a:lnTo>
                    <a:pt x="187" y="38"/>
                  </a:lnTo>
                  <a:lnTo>
                    <a:pt x="185" y="38"/>
                  </a:lnTo>
                  <a:lnTo>
                    <a:pt x="182" y="36"/>
                  </a:lnTo>
                  <a:lnTo>
                    <a:pt x="182" y="31"/>
                  </a:lnTo>
                  <a:lnTo>
                    <a:pt x="180" y="29"/>
                  </a:lnTo>
                  <a:lnTo>
                    <a:pt x="180" y="27"/>
                  </a:lnTo>
                  <a:lnTo>
                    <a:pt x="180" y="22"/>
                  </a:lnTo>
                  <a:lnTo>
                    <a:pt x="180" y="19"/>
                  </a:lnTo>
                  <a:lnTo>
                    <a:pt x="180" y="15"/>
                  </a:lnTo>
                  <a:lnTo>
                    <a:pt x="180" y="15"/>
                  </a:lnTo>
                  <a:lnTo>
                    <a:pt x="180" y="12"/>
                  </a:lnTo>
                  <a:lnTo>
                    <a:pt x="178" y="12"/>
                  </a:lnTo>
                  <a:lnTo>
                    <a:pt x="178" y="12"/>
                  </a:lnTo>
                  <a:lnTo>
                    <a:pt x="175" y="12"/>
                  </a:lnTo>
                  <a:lnTo>
                    <a:pt x="175" y="12"/>
                  </a:lnTo>
                  <a:lnTo>
                    <a:pt x="173" y="12"/>
                  </a:lnTo>
                  <a:lnTo>
                    <a:pt x="173" y="10"/>
                  </a:lnTo>
                  <a:lnTo>
                    <a:pt x="173" y="8"/>
                  </a:lnTo>
                  <a:lnTo>
                    <a:pt x="171" y="5"/>
                  </a:lnTo>
                  <a:lnTo>
                    <a:pt x="168" y="3"/>
                  </a:lnTo>
                  <a:lnTo>
                    <a:pt x="164" y="0"/>
                  </a:lnTo>
                  <a:lnTo>
                    <a:pt x="161" y="0"/>
                  </a:lnTo>
                  <a:lnTo>
                    <a:pt x="161" y="3"/>
                  </a:lnTo>
                  <a:lnTo>
                    <a:pt x="159" y="8"/>
                  </a:lnTo>
                  <a:lnTo>
                    <a:pt x="159" y="10"/>
                  </a:lnTo>
                  <a:lnTo>
                    <a:pt x="156" y="10"/>
                  </a:lnTo>
                  <a:lnTo>
                    <a:pt x="156" y="12"/>
                  </a:lnTo>
                  <a:lnTo>
                    <a:pt x="156" y="12"/>
                  </a:lnTo>
                  <a:lnTo>
                    <a:pt x="156" y="12"/>
                  </a:lnTo>
                  <a:lnTo>
                    <a:pt x="156" y="15"/>
                  </a:lnTo>
                  <a:lnTo>
                    <a:pt x="156" y="17"/>
                  </a:lnTo>
                  <a:lnTo>
                    <a:pt x="156" y="19"/>
                  </a:lnTo>
                  <a:lnTo>
                    <a:pt x="156" y="19"/>
                  </a:lnTo>
                  <a:lnTo>
                    <a:pt x="154" y="19"/>
                  </a:lnTo>
                  <a:lnTo>
                    <a:pt x="154" y="19"/>
                  </a:lnTo>
                  <a:lnTo>
                    <a:pt x="152" y="19"/>
                  </a:lnTo>
                  <a:lnTo>
                    <a:pt x="149" y="19"/>
                  </a:lnTo>
                  <a:lnTo>
                    <a:pt x="147" y="19"/>
                  </a:lnTo>
                  <a:lnTo>
                    <a:pt x="145" y="19"/>
                  </a:lnTo>
                  <a:lnTo>
                    <a:pt x="145" y="22"/>
                  </a:lnTo>
                  <a:lnTo>
                    <a:pt x="145" y="24"/>
                  </a:lnTo>
                  <a:lnTo>
                    <a:pt x="145" y="27"/>
                  </a:lnTo>
                  <a:lnTo>
                    <a:pt x="145" y="27"/>
                  </a:lnTo>
                  <a:lnTo>
                    <a:pt x="145" y="29"/>
                  </a:lnTo>
                  <a:lnTo>
                    <a:pt x="142" y="29"/>
                  </a:lnTo>
                  <a:lnTo>
                    <a:pt x="142" y="29"/>
                  </a:lnTo>
                  <a:lnTo>
                    <a:pt x="140" y="29"/>
                  </a:lnTo>
                  <a:lnTo>
                    <a:pt x="138" y="27"/>
                  </a:lnTo>
                  <a:lnTo>
                    <a:pt x="138" y="24"/>
                  </a:lnTo>
                  <a:lnTo>
                    <a:pt x="135" y="24"/>
                  </a:lnTo>
                  <a:lnTo>
                    <a:pt x="135" y="24"/>
                  </a:lnTo>
                  <a:lnTo>
                    <a:pt x="135" y="24"/>
                  </a:lnTo>
                  <a:lnTo>
                    <a:pt x="135" y="27"/>
                  </a:lnTo>
                  <a:lnTo>
                    <a:pt x="135" y="27"/>
                  </a:lnTo>
                  <a:lnTo>
                    <a:pt x="133" y="27"/>
                  </a:lnTo>
                  <a:lnTo>
                    <a:pt x="133" y="27"/>
                  </a:lnTo>
                  <a:lnTo>
                    <a:pt x="133" y="27"/>
                  </a:lnTo>
                  <a:lnTo>
                    <a:pt x="130" y="27"/>
                  </a:lnTo>
                  <a:lnTo>
                    <a:pt x="130" y="29"/>
                  </a:lnTo>
                  <a:lnTo>
                    <a:pt x="128" y="29"/>
                  </a:lnTo>
                  <a:lnTo>
                    <a:pt x="126" y="31"/>
                  </a:lnTo>
                  <a:lnTo>
                    <a:pt x="126" y="31"/>
                  </a:lnTo>
                  <a:lnTo>
                    <a:pt x="126" y="31"/>
                  </a:lnTo>
                  <a:lnTo>
                    <a:pt x="126" y="31"/>
                  </a:lnTo>
                  <a:lnTo>
                    <a:pt x="123" y="34"/>
                  </a:lnTo>
                  <a:lnTo>
                    <a:pt x="121" y="34"/>
                  </a:lnTo>
                  <a:lnTo>
                    <a:pt x="119" y="31"/>
                  </a:lnTo>
                  <a:lnTo>
                    <a:pt x="116" y="29"/>
                  </a:lnTo>
                  <a:lnTo>
                    <a:pt x="116" y="29"/>
                  </a:lnTo>
                  <a:lnTo>
                    <a:pt x="116" y="29"/>
                  </a:lnTo>
                  <a:lnTo>
                    <a:pt x="114" y="27"/>
                  </a:lnTo>
                  <a:lnTo>
                    <a:pt x="114" y="27"/>
                  </a:lnTo>
                  <a:lnTo>
                    <a:pt x="111" y="27"/>
                  </a:lnTo>
                  <a:lnTo>
                    <a:pt x="111" y="27"/>
                  </a:lnTo>
                  <a:lnTo>
                    <a:pt x="109" y="27"/>
                  </a:lnTo>
                  <a:lnTo>
                    <a:pt x="109" y="27"/>
                  </a:lnTo>
                  <a:lnTo>
                    <a:pt x="107" y="27"/>
                  </a:lnTo>
                  <a:lnTo>
                    <a:pt x="104" y="24"/>
                  </a:lnTo>
                  <a:lnTo>
                    <a:pt x="100" y="24"/>
                  </a:lnTo>
                  <a:lnTo>
                    <a:pt x="95" y="24"/>
                  </a:lnTo>
                  <a:lnTo>
                    <a:pt x="93" y="24"/>
                  </a:lnTo>
                  <a:lnTo>
                    <a:pt x="90" y="24"/>
                  </a:lnTo>
                  <a:lnTo>
                    <a:pt x="85" y="24"/>
                  </a:lnTo>
                  <a:lnTo>
                    <a:pt x="83" y="22"/>
                  </a:lnTo>
                  <a:lnTo>
                    <a:pt x="81" y="19"/>
                  </a:lnTo>
                  <a:lnTo>
                    <a:pt x="78" y="19"/>
                  </a:lnTo>
                  <a:lnTo>
                    <a:pt x="78" y="22"/>
                  </a:lnTo>
                  <a:lnTo>
                    <a:pt x="78" y="22"/>
                  </a:lnTo>
                  <a:lnTo>
                    <a:pt x="78" y="24"/>
                  </a:lnTo>
                  <a:lnTo>
                    <a:pt x="78" y="27"/>
                  </a:lnTo>
                  <a:lnTo>
                    <a:pt x="74" y="27"/>
                  </a:lnTo>
                  <a:lnTo>
                    <a:pt x="69" y="27"/>
                  </a:lnTo>
                  <a:lnTo>
                    <a:pt x="67" y="29"/>
                  </a:lnTo>
                  <a:lnTo>
                    <a:pt x="64" y="29"/>
                  </a:lnTo>
                  <a:lnTo>
                    <a:pt x="64" y="31"/>
                  </a:lnTo>
                  <a:lnTo>
                    <a:pt x="64" y="34"/>
                  </a:lnTo>
                  <a:lnTo>
                    <a:pt x="64" y="38"/>
                  </a:lnTo>
                  <a:lnTo>
                    <a:pt x="64" y="41"/>
                  </a:lnTo>
                  <a:lnTo>
                    <a:pt x="64" y="45"/>
                  </a:lnTo>
                  <a:lnTo>
                    <a:pt x="62" y="45"/>
                  </a:lnTo>
                  <a:lnTo>
                    <a:pt x="62" y="48"/>
                  </a:lnTo>
                  <a:lnTo>
                    <a:pt x="57" y="50"/>
                  </a:lnTo>
                  <a:lnTo>
                    <a:pt x="57" y="50"/>
                  </a:lnTo>
                  <a:lnTo>
                    <a:pt x="57" y="53"/>
                  </a:lnTo>
                  <a:lnTo>
                    <a:pt x="57" y="53"/>
                  </a:lnTo>
                  <a:lnTo>
                    <a:pt x="55" y="53"/>
                  </a:lnTo>
                  <a:lnTo>
                    <a:pt x="55" y="53"/>
                  </a:lnTo>
                  <a:lnTo>
                    <a:pt x="52" y="53"/>
                  </a:lnTo>
                  <a:lnTo>
                    <a:pt x="50" y="55"/>
                  </a:lnTo>
                  <a:lnTo>
                    <a:pt x="48" y="55"/>
                  </a:lnTo>
                  <a:lnTo>
                    <a:pt x="43" y="57"/>
                  </a:lnTo>
                  <a:lnTo>
                    <a:pt x="41" y="57"/>
                  </a:lnTo>
                  <a:lnTo>
                    <a:pt x="41" y="57"/>
                  </a:lnTo>
                  <a:lnTo>
                    <a:pt x="41" y="57"/>
                  </a:lnTo>
                  <a:lnTo>
                    <a:pt x="41" y="60"/>
                  </a:lnTo>
                  <a:lnTo>
                    <a:pt x="41" y="60"/>
                  </a:lnTo>
                  <a:lnTo>
                    <a:pt x="43" y="60"/>
                  </a:lnTo>
                  <a:lnTo>
                    <a:pt x="41" y="62"/>
                  </a:lnTo>
                  <a:lnTo>
                    <a:pt x="41" y="62"/>
                  </a:lnTo>
                  <a:lnTo>
                    <a:pt x="41" y="67"/>
                  </a:lnTo>
                  <a:lnTo>
                    <a:pt x="41" y="67"/>
                  </a:lnTo>
                  <a:lnTo>
                    <a:pt x="38" y="67"/>
                  </a:lnTo>
                  <a:lnTo>
                    <a:pt x="36" y="69"/>
                  </a:lnTo>
                  <a:lnTo>
                    <a:pt x="36" y="69"/>
                  </a:lnTo>
                  <a:lnTo>
                    <a:pt x="33" y="69"/>
                  </a:lnTo>
                  <a:lnTo>
                    <a:pt x="33" y="69"/>
                  </a:lnTo>
                  <a:lnTo>
                    <a:pt x="31" y="69"/>
                  </a:lnTo>
                  <a:lnTo>
                    <a:pt x="31" y="69"/>
                  </a:lnTo>
                  <a:lnTo>
                    <a:pt x="29" y="72"/>
                  </a:lnTo>
                  <a:lnTo>
                    <a:pt x="29" y="72"/>
                  </a:lnTo>
                  <a:lnTo>
                    <a:pt x="26" y="69"/>
                  </a:lnTo>
                  <a:lnTo>
                    <a:pt x="26" y="69"/>
                  </a:lnTo>
                  <a:lnTo>
                    <a:pt x="24" y="67"/>
                  </a:lnTo>
                  <a:lnTo>
                    <a:pt x="22" y="67"/>
                  </a:lnTo>
                  <a:lnTo>
                    <a:pt x="22" y="64"/>
                  </a:lnTo>
                  <a:lnTo>
                    <a:pt x="19" y="67"/>
                  </a:lnTo>
                  <a:lnTo>
                    <a:pt x="17" y="67"/>
                  </a:lnTo>
                  <a:lnTo>
                    <a:pt x="17" y="67"/>
                  </a:lnTo>
                  <a:lnTo>
                    <a:pt x="15" y="64"/>
                  </a:lnTo>
                  <a:lnTo>
                    <a:pt x="12" y="64"/>
                  </a:lnTo>
                  <a:lnTo>
                    <a:pt x="10" y="62"/>
                  </a:lnTo>
                  <a:lnTo>
                    <a:pt x="10" y="62"/>
                  </a:lnTo>
                  <a:lnTo>
                    <a:pt x="10" y="62"/>
                  </a:lnTo>
                  <a:lnTo>
                    <a:pt x="10" y="64"/>
                  </a:lnTo>
                  <a:lnTo>
                    <a:pt x="10" y="64"/>
                  </a:lnTo>
                  <a:lnTo>
                    <a:pt x="10" y="64"/>
                  </a:lnTo>
                  <a:lnTo>
                    <a:pt x="10" y="67"/>
                  </a:lnTo>
                  <a:lnTo>
                    <a:pt x="7" y="67"/>
                  </a:lnTo>
                  <a:lnTo>
                    <a:pt x="7" y="69"/>
                  </a:lnTo>
                  <a:lnTo>
                    <a:pt x="7" y="69"/>
                  </a:lnTo>
                  <a:lnTo>
                    <a:pt x="7" y="69"/>
                  </a:lnTo>
                  <a:lnTo>
                    <a:pt x="7" y="72"/>
                  </a:lnTo>
                  <a:lnTo>
                    <a:pt x="7" y="72"/>
                  </a:lnTo>
                  <a:lnTo>
                    <a:pt x="10" y="74"/>
                  </a:lnTo>
                  <a:lnTo>
                    <a:pt x="7" y="74"/>
                  </a:lnTo>
                  <a:lnTo>
                    <a:pt x="7" y="76"/>
                  </a:lnTo>
                  <a:lnTo>
                    <a:pt x="7" y="76"/>
                  </a:lnTo>
                  <a:lnTo>
                    <a:pt x="7" y="79"/>
                  </a:lnTo>
                  <a:lnTo>
                    <a:pt x="7" y="79"/>
                  </a:lnTo>
                  <a:lnTo>
                    <a:pt x="7" y="81"/>
                  </a:lnTo>
                  <a:lnTo>
                    <a:pt x="7" y="81"/>
                  </a:lnTo>
                  <a:lnTo>
                    <a:pt x="7" y="83"/>
                  </a:lnTo>
                  <a:lnTo>
                    <a:pt x="5" y="83"/>
                  </a:lnTo>
                  <a:lnTo>
                    <a:pt x="5" y="83"/>
                  </a:lnTo>
                  <a:lnTo>
                    <a:pt x="5" y="86"/>
                  </a:lnTo>
                  <a:lnTo>
                    <a:pt x="3" y="86"/>
                  </a:lnTo>
                  <a:lnTo>
                    <a:pt x="3" y="86"/>
                  </a:lnTo>
                  <a:lnTo>
                    <a:pt x="3" y="86"/>
                  </a:lnTo>
                  <a:lnTo>
                    <a:pt x="5" y="86"/>
                  </a:lnTo>
                  <a:lnTo>
                    <a:pt x="5" y="88"/>
                  </a:lnTo>
                  <a:lnTo>
                    <a:pt x="7" y="90"/>
                  </a:lnTo>
                  <a:lnTo>
                    <a:pt x="3" y="90"/>
                  </a:lnTo>
                  <a:lnTo>
                    <a:pt x="3" y="93"/>
                  </a:lnTo>
                  <a:lnTo>
                    <a:pt x="0" y="95"/>
                  </a:lnTo>
                  <a:lnTo>
                    <a:pt x="3" y="100"/>
                  </a:lnTo>
                  <a:lnTo>
                    <a:pt x="3" y="102"/>
                  </a:lnTo>
                  <a:lnTo>
                    <a:pt x="3" y="105"/>
                  </a:lnTo>
                  <a:lnTo>
                    <a:pt x="3" y="105"/>
                  </a:lnTo>
                  <a:lnTo>
                    <a:pt x="5" y="105"/>
                  </a:lnTo>
                  <a:lnTo>
                    <a:pt x="7" y="105"/>
                  </a:lnTo>
                  <a:lnTo>
                    <a:pt x="10" y="107"/>
                  </a:lnTo>
                  <a:lnTo>
                    <a:pt x="10" y="107"/>
                  </a:lnTo>
                  <a:lnTo>
                    <a:pt x="10" y="107"/>
                  </a:lnTo>
                  <a:lnTo>
                    <a:pt x="7" y="109"/>
                  </a:lnTo>
                  <a:lnTo>
                    <a:pt x="7" y="112"/>
                  </a:lnTo>
                  <a:lnTo>
                    <a:pt x="5" y="114"/>
                  </a:lnTo>
                  <a:lnTo>
                    <a:pt x="5" y="117"/>
                  </a:lnTo>
                  <a:lnTo>
                    <a:pt x="5" y="119"/>
                  </a:lnTo>
                  <a:lnTo>
                    <a:pt x="7" y="121"/>
                  </a:lnTo>
                  <a:lnTo>
                    <a:pt x="10" y="126"/>
                  </a:lnTo>
                  <a:lnTo>
                    <a:pt x="12" y="133"/>
                  </a:lnTo>
                  <a:lnTo>
                    <a:pt x="12" y="135"/>
                  </a:lnTo>
                  <a:lnTo>
                    <a:pt x="12" y="140"/>
                  </a:lnTo>
                  <a:lnTo>
                    <a:pt x="12" y="140"/>
                  </a:lnTo>
                  <a:lnTo>
                    <a:pt x="15" y="145"/>
                  </a:lnTo>
                  <a:lnTo>
                    <a:pt x="15" y="145"/>
                  </a:lnTo>
                  <a:lnTo>
                    <a:pt x="15" y="150"/>
                  </a:lnTo>
                  <a:lnTo>
                    <a:pt x="15" y="150"/>
                  </a:lnTo>
                  <a:lnTo>
                    <a:pt x="19" y="150"/>
                  </a:lnTo>
                  <a:lnTo>
                    <a:pt x="24" y="152"/>
                  </a:lnTo>
                  <a:lnTo>
                    <a:pt x="31" y="152"/>
                  </a:lnTo>
                  <a:lnTo>
                    <a:pt x="31" y="154"/>
                  </a:lnTo>
                  <a:lnTo>
                    <a:pt x="33" y="159"/>
                  </a:lnTo>
                  <a:lnTo>
                    <a:pt x="33" y="162"/>
                  </a:lnTo>
                  <a:lnTo>
                    <a:pt x="33" y="164"/>
                  </a:lnTo>
                  <a:lnTo>
                    <a:pt x="31" y="169"/>
                  </a:lnTo>
                  <a:lnTo>
                    <a:pt x="26" y="173"/>
                  </a:lnTo>
                  <a:lnTo>
                    <a:pt x="24" y="178"/>
                  </a:lnTo>
                  <a:lnTo>
                    <a:pt x="19" y="183"/>
                  </a:lnTo>
                  <a:lnTo>
                    <a:pt x="26" y="185"/>
                  </a:lnTo>
                  <a:lnTo>
                    <a:pt x="33" y="188"/>
                  </a:lnTo>
                  <a:lnTo>
                    <a:pt x="43" y="190"/>
                  </a:lnTo>
                  <a:lnTo>
                    <a:pt x="48" y="192"/>
                  </a:lnTo>
                  <a:lnTo>
                    <a:pt x="50" y="192"/>
                  </a:lnTo>
                  <a:lnTo>
                    <a:pt x="69" y="192"/>
                  </a:lnTo>
                  <a:lnTo>
                    <a:pt x="78" y="192"/>
                  </a:lnTo>
                  <a:lnTo>
                    <a:pt x="81" y="195"/>
                  </a:lnTo>
                  <a:lnTo>
                    <a:pt x="81" y="192"/>
                  </a:lnTo>
                  <a:lnTo>
                    <a:pt x="81" y="192"/>
                  </a:lnTo>
                  <a:lnTo>
                    <a:pt x="83" y="192"/>
                  </a:lnTo>
                  <a:lnTo>
                    <a:pt x="85" y="190"/>
                  </a:lnTo>
                  <a:lnTo>
                    <a:pt x="88" y="190"/>
                  </a:lnTo>
                  <a:lnTo>
                    <a:pt x="90" y="190"/>
                  </a:lnTo>
                  <a:lnTo>
                    <a:pt x="93" y="190"/>
                  </a:lnTo>
                  <a:lnTo>
                    <a:pt x="95" y="190"/>
                  </a:lnTo>
                  <a:lnTo>
                    <a:pt x="97" y="190"/>
                  </a:lnTo>
                  <a:lnTo>
                    <a:pt x="100" y="190"/>
                  </a:lnTo>
                  <a:lnTo>
                    <a:pt x="104" y="188"/>
                  </a:lnTo>
                  <a:lnTo>
                    <a:pt x="107" y="188"/>
                  </a:lnTo>
                  <a:lnTo>
                    <a:pt x="111" y="185"/>
                  </a:lnTo>
                  <a:lnTo>
                    <a:pt x="116" y="185"/>
                  </a:lnTo>
                  <a:lnTo>
                    <a:pt x="116" y="183"/>
                  </a:lnTo>
                  <a:lnTo>
                    <a:pt x="119" y="183"/>
                  </a:lnTo>
                  <a:lnTo>
                    <a:pt x="119" y="180"/>
                  </a:lnTo>
                  <a:lnTo>
                    <a:pt x="116" y="180"/>
                  </a:lnTo>
                  <a:lnTo>
                    <a:pt x="116" y="178"/>
                  </a:lnTo>
                  <a:lnTo>
                    <a:pt x="116" y="176"/>
                  </a:lnTo>
                  <a:lnTo>
                    <a:pt x="116" y="173"/>
                  </a:lnTo>
                  <a:lnTo>
                    <a:pt x="116" y="171"/>
                  </a:lnTo>
                  <a:lnTo>
                    <a:pt x="116" y="169"/>
                  </a:lnTo>
                  <a:lnTo>
                    <a:pt x="116" y="164"/>
                  </a:lnTo>
                  <a:lnTo>
                    <a:pt x="116" y="162"/>
                  </a:lnTo>
                  <a:lnTo>
                    <a:pt x="119" y="162"/>
                  </a:lnTo>
                  <a:lnTo>
                    <a:pt x="119" y="159"/>
                  </a:lnTo>
                  <a:lnTo>
                    <a:pt x="119" y="159"/>
                  </a:lnTo>
                  <a:lnTo>
                    <a:pt x="121" y="159"/>
                  </a:lnTo>
                  <a:lnTo>
                    <a:pt x="121" y="157"/>
                  </a:lnTo>
                  <a:lnTo>
                    <a:pt x="123" y="154"/>
                  </a:lnTo>
                  <a:lnTo>
                    <a:pt x="123" y="154"/>
                  </a:lnTo>
                  <a:lnTo>
                    <a:pt x="126" y="154"/>
                  </a:lnTo>
                  <a:lnTo>
                    <a:pt x="128" y="154"/>
                  </a:lnTo>
                  <a:lnTo>
                    <a:pt x="130" y="154"/>
                  </a:lnTo>
                  <a:lnTo>
                    <a:pt x="135" y="154"/>
                  </a:lnTo>
                  <a:lnTo>
                    <a:pt x="138" y="154"/>
                  </a:lnTo>
                  <a:lnTo>
                    <a:pt x="138" y="154"/>
                  </a:lnTo>
                  <a:lnTo>
                    <a:pt x="140" y="152"/>
                  </a:lnTo>
                  <a:lnTo>
                    <a:pt x="138" y="152"/>
                  </a:lnTo>
                  <a:lnTo>
                    <a:pt x="138" y="152"/>
                  </a:lnTo>
                  <a:lnTo>
                    <a:pt x="135" y="150"/>
                  </a:lnTo>
                  <a:lnTo>
                    <a:pt x="135" y="150"/>
                  </a:lnTo>
                  <a:lnTo>
                    <a:pt x="135" y="147"/>
                  </a:lnTo>
                  <a:lnTo>
                    <a:pt x="138" y="147"/>
                  </a:lnTo>
                  <a:lnTo>
                    <a:pt x="142" y="145"/>
                  </a:lnTo>
                  <a:lnTo>
                    <a:pt x="145" y="145"/>
                  </a:lnTo>
                  <a:lnTo>
                    <a:pt x="145" y="143"/>
                  </a:lnTo>
                  <a:lnTo>
                    <a:pt x="145" y="143"/>
                  </a:lnTo>
                  <a:lnTo>
                    <a:pt x="147" y="143"/>
                  </a:lnTo>
                  <a:lnTo>
                    <a:pt x="149" y="145"/>
                  </a:lnTo>
                  <a:lnTo>
                    <a:pt x="152" y="143"/>
                  </a:lnTo>
                  <a:lnTo>
                    <a:pt x="152" y="143"/>
                  </a:lnTo>
                  <a:lnTo>
                    <a:pt x="154" y="145"/>
                  </a:lnTo>
                  <a:lnTo>
                    <a:pt x="154" y="145"/>
                  </a:lnTo>
                  <a:lnTo>
                    <a:pt x="156" y="147"/>
                  </a:lnTo>
                  <a:lnTo>
                    <a:pt x="159" y="147"/>
                  </a:lnTo>
                  <a:lnTo>
                    <a:pt x="159" y="145"/>
                  </a:lnTo>
                  <a:lnTo>
                    <a:pt x="161" y="145"/>
                  </a:lnTo>
                  <a:lnTo>
                    <a:pt x="164" y="143"/>
                  </a:lnTo>
                  <a:lnTo>
                    <a:pt x="164" y="140"/>
                  </a:lnTo>
                  <a:lnTo>
                    <a:pt x="164" y="133"/>
                  </a:lnTo>
                  <a:lnTo>
                    <a:pt x="161" y="131"/>
                  </a:lnTo>
                  <a:lnTo>
                    <a:pt x="161" y="128"/>
                  </a:lnTo>
                  <a:lnTo>
                    <a:pt x="164" y="126"/>
                  </a:lnTo>
                  <a:lnTo>
                    <a:pt x="164" y="124"/>
                  </a:lnTo>
                  <a:lnTo>
                    <a:pt x="164" y="124"/>
                  </a:lnTo>
                  <a:lnTo>
                    <a:pt x="164" y="121"/>
                  </a:lnTo>
                  <a:lnTo>
                    <a:pt x="164" y="117"/>
                  </a:lnTo>
                  <a:lnTo>
                    <a:pt x="166" y="117"/>
                  </a:lnTo>
                  <a:lnTo>
                    <a:pt x="168" y="117"/>
                  </a:lnTo>
                  <a:lnTo>
                    <a:pt x="171" y="114"/>
                  </a:lnTo>
                  <a:lnTo>
                    <a:pt x="173" y="114"/>
                  </a:lnTo>
                  <a:lnTo>
                    <a:pt x="175" y="112"/>
                  </a:lnTo>
                  <a:lnTo>
                    <a:pt x="175" y="109"/>
                  </a:lnTo>
                  <a:lnTo>
                    <a:pt x="175" y="107"/>
                  </a:lnTo>
                  <a:lnTo>
                    <a:pt x="173" y="105"/>
                  </a:lnTo>
                  <a:lnTo>
                    <a:pt x="171" y="102"/>
                  </a:lnTo>
                  <a:lnTo>
                    <a:pt x="166" y="98"/>
                  </a:lnTo>
                  <a:lnTo>
                    <a:pt x="166" y="95"/>
                  </a:lnTo>
                  <a:lnTo>
                    <a:pt x="168" y="95"/>
                  </a:lnTo>
                  <a:lnTo>
                    <a:pt x="173" y="98"/>
                  </a:lnTo>
                  <a:lnTo>
                    <a:pt x="175" y="98"/>
                  </a:lnTo>
                  <a:lnTo>
                    <a:pt x="175" y="98"/>
                  </a:lnTo>
                  <a:lnTo>
                    <a:pt x="180" y="98"/>
                  </a:lnTo>
                  <a:lnTo>
                    <a:pt x="185" y="98"/>
                  </a:lnTo>
                  <a:lnTo>
                    <a:pt x="187" y="95"/>
                  </a:lnTo>
                  <a:lnTo>
                    <a:pt x="187" y="93"/>
                  </a:lnTo>
                  <a:lnTo>
                    <a:pt x="187" y="93"/>
                  </a:lnTo>
                  <a:lnTo>
                    <a:pt x="187" y="90"/>
                  </a:lnTo>
                  <a:lnTo>
                    <a:pt x="187" y="88"/>
                  </a:lnTo>
                  <a:lnTo>
                    <a:pt x="185" y="88"/>
                  </a:lnTo>
                  <a:lnTo>
                    <a:pt x="185" y="86"/>
                  </a:lnTo>
                  <a:lnTo>
                    <a:pt x="185" y="86"/>
                  </a:lnTo>
                  <a:lnTo>
                    <a:pt x="185" y="86"/>
                  </a:lnTo>
                  <a:lnTo>
                    <a:pt x="185" y="83"/>
                  </a:lnTo>
                  <a:lnTo>
                    <a:pt x="185" y="81"/>
                  </a:lnTo>
                  <a:lnTo>
                    <a:pt x="187" y="81"/>
                  </a:lnTo>
                  <a:lnTo>
                    <a:pt x="187" y="79"/>
                  </a:lnTo>
                  <a:lnTo>
                    <a:pt x="190" y="76"/>
                  </a:lnTo>
                  <a:lnTo>
                    <a:pt x="190" y="76"/>
                  </a:lnTo>
                  <a:lnTo>
                    <a:pt x="192" y="74"/>
                  </a:lnTo>
                  <a:lnTo>
                    <a:pt x="192" y="74"/>
                  </a:lnTo>
                  <a:lnTo>
                    <a:pt x="192" y="72"/>
                  </a:lnTo>
                  <a:lnTo>
                    <a:pt x="192" y="72"/>
                  </a:lnTo>
                  <a:lnTo>
                    <a:pt x="192" y="72"/>
                  </a:lnTo>
                  <a:lnTo>
                    <a:pt x="192" y="69"/>
                  </a:lnTo>
                  <a:lnTo>
                    <a:pt x="190" y="69"/>
                  </a:lnTo>
                  <a:lnTo>
                    <a:pt x="190" y="69"/>
                  </a:lnTo>
                  <a:lnTo>
                    <a:pt x="192" y="67"/>
                  </a:lnTo>
                  <a:lnTo>
                    <a:pt x="192" y="67"/>
                  </a:lnTo>
                  <a:lnTo>
                    <a:pt x="190" y="64"/>
                  </a:lnTo>
                  <a:lnTo>
                    <a:pt x="190" y="64"/>
                  </a:lnTo>
                  <a:lnTo>
                    <a:pt x="190" y="62"/>
                  </a:lnTo>
                  <a:lnTo>
                    <a:pt x="187" y="60"/>
                  </a:lnTo>
                  <a:lnTo>
                    <a:pt x="187" y="57"/>
                  </a:lnTo>
                  <a:lnTo>
                    <a:pt x="185" y="57"/>
                  </a:lnTo>
                  <a:lnTo>
                    <a:pt x="185" y="55"/>
                  </a:lnTo>
                  <a:lnTo>
                    <a:pt x="182" y="53"/>
                  </a:lnTo>
                  <a:lnTo>
                    <a:pt x="180" y="53"/>
                  </a:lnTo>
                  <a:lnTo>
                    <a:pt x="182" y="50"/>
                  </a:lnTo>
                  <a:lnTo>
                    <a:pt x="182" y="50"/>
                  </a:lnTo>
                  <a:lnTo>
                    <a:pt x="185" y="48"/>
                  </a:lnTo>
                  <a:lnTo>
                    <a:pt x="185" y="45"/>
                  </a:lnTo>
                  <a:lnTo>
                    <a:pt x="187" y="45"/>
                  </a:lnTo>
                  <a:lnTo>
                    <a:pt x="190" y="45"/>
                  </a:lnTo>
                  <a:lnTo>
                    <a:pt x="190" y="45"/>
                  </a:lnTo>
                  <a:lnTo>
                    <a:pt x="190" y="43"/>
                  </a:lnTo>
                  <a:lnTo>
                    <a:pt x="192" y="43"/>
                  </a:lnTo>
                  <a:lnTo>
                    <a:pt x="194" y="41"/>
                  </a:lnTo>
                  <a:lnTo>
                    <a:pt x="194" y="38"/>
                  </a:lnTo>
                  <a:lnTo>
                    <a:pt x="197" y="38"/>
                  </a:lnTo>
                  <a:lnTo>
                    <a:pt x="197" y="38"/>
                  </a:lnTo>
                  <a:lnTo>
                    <a:pt x="199" y="38"/>
                  </a:lnTo>
                  <a:lnTo>
                    <a:pt x="201" y="36"/>
                  </a:lnTo>
                  <a:lnTo>
                    <a:pt x="201" y="36"/>
                  </a:lnTo>
                  <a:lnTo>
                    <a:pt x="206" y="36"/>
                  </a:lnTo>
                  <a:lnTo>
                    <a:pt x="208" y="36"/>
                  </a:lnTo>
                  <a:lnTo>
                    <a:pt x="211" y="36"/>
                  </a:lnTo>
                  <a:lnTo>
                    <a:pt x="216" y="34"/>
                  </a:lnTo>
                  <a:lnTo>
                    <a:pt x="223" y="34"/>
                  </a:lnTo>
                  <a:lnTo>
                    <a:pt x="223" y="34"/>
                  </a:lnTo>
                  <a:lnTo>
                    <a:pt x="225" y="36"/>
                  </a:lnTo>
                  <a:lnTo>
                    <a:pt x="227" y="36"/>
                  </a:lnTo>
                  <a:lnTo>
                    <a:pt x="227" y="36"/>
                  </a:lnTo>
                  <a:lnTo>
                    <a:pt x="230" y="34"/>
                  </a:lnTo>
                  <a:lnTo>
                    <a:pt x="234" y="34"/>
                  </a:lnTo>
                  <a:lnTo>
                    <a:pt x="234" y="31"/>
                  </a:lnTo>
                  <a:lnTo>
                    <a:pt x="234" y="31"/>
                  </a:lnTo>
                  <a:lnTo>
                    <a:pt x="234" y="31"/>
                  </a:lnTo>
                  <a:lnTo>
                    <a:pt x="232" y="29"/>
                  </a:lnTo>
                  <a:lnTo>
                    <a:pt x="232" y="29"/>
                  </a:lnTo>
                  <a:lnTo>
                    <a:pt x="234" y="27"/>
                  </a:lnTo>
                  <a:lnTo>
                    <a:pt x="237" y="27"/>
                  </a:lnTo>
                  <a:lnTo>
                    <a:pt x="237" y="27"/>
                  </a:lnTo>
                  <a:lnTo>
                    <a:pt x="237" y="27"/>
                  </a:lnTo>
                  <a:lnTo>
                    <a:pt x="237" y="27"/>
                  </a:lnTo>
                  <a:lnTo>
                    <a:pt x="239" y="27"/>
                  </a:lnTo>
                  <a:lnTo>
                    <a:pt x="239" y="27"/>
                  </a:lnTo>
                  <a:lnTo>
                    <a:pt x="239" y="27"/>
                  </a:lnTo>
                  <a:close/>
                </a:path>
              </a:pathLst>
            </a:custGeom>
            <a:solidFill>
              <a:srgbClr val="878787"/>
            </a:solid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234" name="Text Placeholder 233"/>
          <p:cNvSpPr>
            <a:spLocks noGrp="1"/>
          </p:cNvSpPr>
          <p:nvPr>
            <p:ph type="body" sz="quarter" idx="10" hasCustomPrompt="1"/>
          </p:nvPr>
        </p:nvSpPr>
        <p:spPr>
          <a:xfrm>
            <a:off x="5606667" y="6026219"/>
            <a:ext cx="5386387" cy="722313"/>
          </a:xfrm>
        </p:spPr>
        <p:txBody>
          <a:bodyPr>
            <a:normAutofit/>
          </a:bodyPr>
          <a:lstStyle>
            <a:lvl1pPr marL="0" indent="0">
              <a:buNone/>
              <a:defRPr sz="3600" b="1">
                <a:solidFill>
                  <a:schemeClr val="accent5">
                    <a:lumMod val="75000"/>
                  </a:schemeClr>
                </a:solidFill>
              </a:defRPr>
            </a:lvl1pPr>
          </a:lstStyle>
          <a:p>
            <a:pPr lvl="0"/>
            <a:r>
              <a:rPr lang="en-US" dirty="0" smtClean="0"/>
              <a:t>Title or Keywords</a:t>
            </a:r>
            <a:endParaRPr lang="en-US" dirty="0"/>
          </a:p>
        </p:txBody>
      </p:sp>
      <p:sp>
        <p:nvSpPr>
          <p:cNvPr id="236" name="Text Placeholder 235"/>
          <p:cNvSpPr>
            <a:spLocks noGrp="1"/>
          </p:cNvSpPr>
          <p:nvPr>
            <p:ph type="body" sz="quarter" idx="11" hasCustomPrompt="1"/>
          </p:nvPr>
        </p:nvSpPr>
        <p:spPr>
          <a:xfrm>
            <a:off x="269875" y="3749675"/>
            <a:ext cx="2279650" cy="2811463"/>
          </a:xfrm>
        </p:spPr>
        <p:txBody>
          <a:bodyPr>
            <a:normAutofit/>
          </a:bodyPr>
          <a:lstStyle>
            <a:lvl1pPr marL="0" indent="0">
              <a:buNone/>
              <a:defRPr sz="2400" baseline="0"/>
            </a:lvl1pPr>
          </a:lstStyle>
          <a:p>
            <a:pPr lvl="0"/>
            <a:r>
              <a:rPr lang="en-US" dirty="0" smtClean="0"/>
              <a:t>Add content    [tip – add location icons to map]</a:t>
            </a:r>
          </a:p>
          <a:p>
            <a:pPr lvl="0"/>
            <a:endParaRPr lang="en-US" dirty="0" smtClean="0"/>
          </a:p>
          <a:p>
            <a:pPr lvl="0"/>
            <a:endParaRPr lang="en-US" dirty="0"/>
          </a:p>
        </p:txBody>
      </p:sp>
    </p:spTree>
    <p:extLst>
      <p:ext uri="{BB962C8B-B14F-4D97-AF65-F5344CB8AC3E}">
        <p14:creationId xmlns:p14="http://schemas.microsoft.com/office/powerpoint/2010/main" val="3104454519"/>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duotone>
              <a:prstClr val="black"/>
              <a:schemeClr val="accent3">
                <a:tint val="45000"/>
                <a:satMod val="400000"/>
              </a:schemeClr>
            </a:duotone>
            <a:extLst>
              <a:ext uri="{28A0092B-C50C-407E-A947-70E740481C1C}">
                <a14:useLocalDpi xmlns:a14="http://schemas.microsoft.com/office/drawing/2010/main" val="0"/>
              </a:ext>
            </a:extLst>
          </a:blip>
          <a:srcRect l="47259" t="5883" r="23402" b="13038"/>
          <a:stretch/>
        </p:blipFill>
        <p:spPr>
          <a:xfrm>
            <a:off x="0" y="-14516"/>
            <a:ext cx="3730173" cy="6872515"/>
          </a:xfrm>
          <a:prstGeom prst="rect">
            <a:avLst/>
          </a:prstGeom>
        </p:spPr>
      </p:pic>
      <p:sp>
        <p:nvSpPr>
          <p:cNvPr id="43" name="Rectangle 42"/>
          <p:cNvSpPr/>
          <p:nvPr userDrawn="1"/>
        </p:nvSpPr>
        <p:spPr>
          <a:xfrm>
            <a:off x="0" y="0"/>
            <a:ext cx="3724275" cy="6858000"/>
          </a:xfrm>
          <a:prstGeom prst="rect">
            <a:avLst/>
          </a:prstGeom>
          <a:solidFill>
            <a:schemeClr val="tx1">
              <a:lumMod val="50000"/>
              <a:lumOff val="50000"/>
              <a:alpha val="74902"/>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p:cNvSpPr/>
          <p:nvPr/>
        </p:nvSpPr>
        <p:spPr>
          <a:xfrm>
            <a:off x="431800" y="3135750"/>
            <a:ext cx="683674" cy="105946"/>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9" name="Rectangle 8"/>
          <p:cNvSpPr/>
          <p:nvPr userDrawn="1"/>
        </p:nvSpPr>
        <p:spPr>
          <a:xfrm>
            <a:off x="4220306" y="514105"/>
            <a:ext cx="703386" cy="703384"/>
          </a:xfrm>
          <a:prstGeom prst="rect">
            <a:avLst/>
          </a:prstGeom>
          <a:solidFill>
            <a:schemeClr val="tx1">
              <a:lumMod val="75000"/>
              <a:lumOff val="25000"/>
              <a:alpha val="48000"/>
            </a:schemeClr>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0" name="Rectangle 9"/>
          <p:cNvSpPr/>
          <p:nvPr userDrawn="1"/>
        </p:nvSpPr>
        <p:spPr>
          <a:xfrm>
            <a:off x="4220306" y="5516930"/>
            <a:ext cx="703386" cy="703384"/>
          </a:xfrm>
          <a:prstGeom prst="rect">
            <a:avLst/>
          </a:prstGeom>
          <a:solidFill>
            <a:schemeClr val="tx1">
              <a:lumMod val="75000"/>
              <a:lumOff val="25000"/>
              <a:alpha val="48000"/>
            </a:schemeClr>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p:cNvSpPr/>
          <p:nvPr userDrawn="1"/>
        </p:nvSpPr>
        <p:spPr>
          <a:xfrm>
            <a:off x="4220306" y="4266223"/>
            <a:ext cx="703386" cy="703384"/>
          </a:xfrm>
          <a:prstGeom prst="rect">
            <a:avLst/>
          </a:prstGeom>
          <a:solidFill>
            <a:schemeClr val="tx1">
              <a:lumMod val="75000"/>
              <a:lumOff val="25000"/>
              <a:alpha val="48000"/>
            </a:schemeClr>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p:cNvSpPr/>
          <p:nvPr userDrawn="1"/>
        </p:nvSpPr>
        <p:spPr>
          <a:xfrm>
            <a:off x="4220306" y="3015517"/>
            <a:ext cx="703386" cy="703384"/>
          </a:xfrm>
          <a:prstGeom prst="rect">
            <a:avLst/>
          </a:prstGeom>
          <a:solidFill>
            <a:schemeClr val="tx1">
              <a:lumMod val="75000"/>
              <a:lumOff val="25000"/>
              <a:alpha val="48000"/>
            </a:schemeClr>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p:cNvSpPr/>
          <p:nvPr userDrawn="1"/>
        </p:nvSpPr>
        <p:spPr>
          <a:xfrm>
            <a:off x="4220306" y="1764811"/>
            <a:ext cx="703386" cy="703384"/>
          </a:xfrm>
          <a:prstGeom prst="rect">
            <a:avLst/>
          </a:prstGeom>
          <a:solidFill>
            <a:schemeClr val="tx1">
              <a:lumMod val="75000"/>
              <a:lumOff val="25000"/>
              <a:alpha val="48000"/>
            </a:schemeClr>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Box 13"/>
          <p:cNvSpPr txBox="1"/>
          <p:nvPr userDrawn="1"/>
        </p:nvSpPr>
        <p:spPr>
          <a:xfrm>
            <a:off x="4375631" y="681131"/>
            <a:ext cx="392736" cy="369332"/>
          </a:xfrm>
          <a:prstGeom prst="rect">
            <a:avLst/>
          </a:prstGeom>
          <a:noFill/>
        </p:spPr>
        <p:txBody>
          <a:bodyPr wrap="none" lIns="0" tIns="0" rIns="0" bIns="0" rtlCol="0">
            <a:spAutoFit/>
          </a:bodyPr>
          <a:lstStyle/>
          <a:p>
            <a:pPr algn="ctr"/>
            <a:r>
              <a:rPr lang="en-US" sz="2400" b="1" dirty="0" smtClean="0">
                <a:solidFill>
                  <a:schemeClr val="bg1"/>
                </a:solidFill>
                <a:latin typeface="+mj-lt"/>
              </a:rPr>
              <a:t>01.</a:t>
            </a:r>
            <a:endParaRPr lang="en-US" sz="2400" b="1" dirty="0">
              <a:solidFill>
                <a:schemeClr val="bg1"/>
              </a:solidFill>
              <a:latin typeface="+mj-lt"/>
            </a:endParaRPr>
          </a:p>
        </p:txBody>
      </p:sp>
      <p:sp>
        <p:nvSpPr>
          <p:cNvPr id="15" name="TextBox 14"/>
          <p:cNvSpPr txBox="1"/>
          <p:nvPr userDrawn="1"/>
        </p:nvSpPr>
        <p:spPr>
          <a:xfrm>
            <a:off x="4375631" y="1931837"/>
            <a:ext cx="392736" cy="369332"/>
          </a:xfrm>
          <a:prstGeom prst="rect">
            <a:avLst/>
          </a:prstGeom>
          <a:noFill/>
        </p:spPr>
        <p:txBody>
          <a:bodyPr wrap="none" lIns="0" tIns="0" rIns="0" bIns="0" rtlCol="0">
            <a:spAutoFit/>
          </a:bodyPr>
          <a:lstStyle/>
          <a:p>
            <a:pPr algn="ctr"/>
            <a:r>
              <a:rPr lang="en-US" sz="2400" b="1" dirty="0" smtClean="0">
                <a:solidFill>
                  <a:schemeClr val="bg1"/>
                </a:solidFill>
                <a:latin typeface="+mj-lt"/>
              </a:rPr>
              <a:t>02.</a:t>
            </a:r>
            <a:endParaRPr lang="en-US" sz="2400" b="1" dirty="0">
              <a:solidFill>
                <a:schemeClr val="bg1"/>
              </a:solidFill>
              <a:latin typeface="+mj-lt"/>
            </a:endParaRPr>
          </a:p>
        </p:txBody>
      </p:sp>
      <p:sp>
        <p:nvSpPr>
          <p:cNvPr id="16" name="TextBox 15"/>
          <p:cNvSpPr txBox="1"/>
          <p:nvPr userDrawn="1"/>
        </p:nvSpPr>
        <p:spPr>
          <a:xfrm>
            <a:off x="4375631" y="3182543"/>
            <a:ext cx="392736" cy="369332"/>
          </a:xfrm>
          <a:prstGeom prst="rect">
            <a:avLst/>
          </a:prstGeom>
          <a:noFill/>
        </p:spPr>
        <p:txBody>
          <a:bodyPr wrap="none" lIns="0" tIns="0" rIns="0" bIns="0" rtlCol="0">
            <a:spAutoFit/>
          </a:bodyPr>
          <a:lstStyle/>
          <a:p>
            <a:pPr algn="ctr"/>
            <a:r>
              <a:rPr lang="en-US" sz="2400" b="1" dirty="0" smtClean="0">
                <a:solidFill>
                  <a:schemeClr val="bg1"/>
                </a:solidFill>
                <a:latin typeface="+mj-lt"/>
              </a:rPr>
              <a:t>03.</a:t>
            </a:r>
            <a:endParaRPr lang="en-US" sz="2400" b="1" dirty="0">
              <a:solidFill>
                <a:schemeClr val="bg1"/>
              </a:solidFill>
              <a:latin typeface="+mj-lt"/>
            </a:endParaRPr>
          </a:p>
        </p:txBody>
      </p:sp>
      <p:sp>
        <p:nvSpPr>
          <p:cNvPr id="17" name="TextBox 16"/>
          <p:cNvSpPr txBox="1"/>
          <p:nvPr userDrawn="1"/>
        </p:nvSpPr>
        <p:spPr>
          <a:xfrm>
            <a:off x="4375631" y="4433249"/>
            <a:ext cx="392736" cy="369332"/>
          </a:xfrm>
          <a:prstGeom prst="rect">
            <a:avLst/>
          </a:prstGeom>
          <a:noFill/>
        </p:spPr>
        <p:txBody>
          <a:bodyPr wrap="none" lIns="0" tIns="0" rIns="0" bIns="0" rtlCol="0">
            <a:spAutoFit/>
          </a:bodyPr>
          <a:lstStyle/>
          <a:p>
            <a:pPr algn="ctr"/>
            <a:r>
              <a:rPr lang="en-US" sz="2400" b="1" dirty="0" smtClean="0">
                <a:solidFill>
                  <a:schemeClr val="bg1"/>
                </a:solidFill>
                <a:latin typeface="+mj-lt"/>
              </a:rPr>
              <a:t>04.</a:t>
            </a:r>
            <a:endParaRPr lang="en-US" sz="2400" b="1" dirty="0">
              <a:solidFill>
                <a:schemeClr val="bg1"/>
              </a:solidFill>
              <a:latin typeface="+mj-lt"/>
            </a:endParaRPr>
          </a:p>
        </p:txBody>
      </p:sp>
      <p:sp>
        <p:nvSpPr>
          <p:cNvPr id="18" name="TextBox 17"/>
          <p:cNvSpPr txBox="1"/>
          <p:nvPr userDrawn="1"/>
        </p:nvSpPr>
        <p:spPr>
          <a:xfrm>
            <a:off x="4375631" y="5707290"/>
            <a:ext cx="392736" cy="369332"/>
          </a:xfrm>
          <a:prstGeom prst="rect">
            <a:avLst/>
          </a:prstGeom>
          <a:noFill/>
        </p:spPr>
        <p:txBody>
          <a:bodyPr wrap="none" lIns="0" tIns="0" rIns="0" bIns="0" rtlCol="0">
            <a:spAutoFit/>
          </a:bodyPr>
          <a:lstStyle/>
          <a:p>
            <a:pPr algn="ctr"/>
            <a:r>
              <a:rPr lang="en-US" sz="2400" b="1" dirty="0" smtClean="0">
                <a:solidFill>
                  <a:schemeClr val="bg1"/>
                </a:solidFill>
                <a:latin typeface="+mj-lt"/>
              </a:rPr>
              <a:t>05.</a:t>
            </a:r>
            <a:endParaRPr lang="en-US" sz="2400" b="1" dirty="0">
              <a:solidFill>
                <a:schemeClr val="bg1"/>
              </a:solidFill>
              <a:latin typeface="+mj-lt"/>
            </a:endParaRPr>
          </a:p>
        </p:txBody>
      </p:sp>
      <p:sp>
        <p:nvSpPr>
          <p:cNvPr id="35" name="Text Placeholder 34"/>
          <p:cNvSpPr>
            <a:spLocks noGrp="1"/>
          </p:cNvSpPr>
          <p:nvPr>
            <p:ph type="body" sz="quarter" idx="10" hasCustomPrompt="1"/>
          </p:nvPr>
        </p:nvSpPr>
        <p:spPr>
          <a:xfrm>
            <a:off x="431800" y="2314258"/>
            <a:ext cx="2457450" cy="620712"/>
          </a:xfrm>
        </p:spPr>
        <p:txBody>
          <a:bodyPr>
            <a:normAutofit/>
          </a:bodyPr>
          <a:lstStyle>
            <a:lvl1pPr marL="0" indent="0">
              <a:buNone/>
              <a:defRPr sz="3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Title</a:t>
            </a:r>
            <a:endParaRPr lang="en-US" dirty="0"/>
          </a:p>
        </p:txBody>
      </p:sp>
      <p:sp>
        <p:nvSpPr>
          <p:cNvPr id="37" name="Text Placeholder 36"/>
          <p:cNvSpPr>
            <a:spLocks noGrp="1"/>
          </p:cNvSpPr>
          <p:nvPr>
            <p:ph type="body" sz="quarter" idx="11" hasCustomPrompt="1"/>
          </p:nvPr>
        </p:nvSpPr>
        <p:spPr>
          <a:xfrm>
            <a:off x="493713" y="3609975"/>
            <a:ext cx="2582862" cy="2957802"/>
          </a:xfrm>
        </p:spPr>
        <p:txBody>
          <a:bodyPr>
            <a:noAutofit/>
          </a:bodyPr>
          <a:lstStyle>
            <a:lvl1pPr marL="0" indent="0">
              <a:buNone/>
              <a:defRPr sz="20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ontent                        [tip – delete any of the number boxes you don’t need. Make font larger if you only need a title by each number] </a:t>
            </a:r>
            <a:endParaRPr lang="en-US" dirty="0"/>
          </a:p>
        </p:txBody>
      </p:sp>
      <p:sp>
        <p:nvSpPr>
          <p:cNvPr id="38" name="Text Placeholder 73"/>
          <p:cNvSpPr>
            <a:spLocks noGrp="1"/>
          </p:cNvSpPr>
          <p:nvPr>
            <p:ph type="body" sz="quarter" idx="12" hasCustomPrompt="1"/>
          </p:nvPr>
        </p:nvSpPr>
        <p:spPr>
          <a:xfrm>
            <a:off x="5413825" y="528985"/>
            <a:ext cx="6203031" cy="709628"/>
          </a:xfrm>
        </p:spPr>
        <p:txBody>
          <a:bodyPr>
            <a:noAutofit/>
          </a:bodyPr>
          <a:lstStyle>
            <a:lvl1pPr marL="0" indent="0">
              <a:buNone/>
              <a:defRPr sz="1400" baseline="0"/>
            </a:lvl1pPr>
          </a:lstStyle>
          <a:p>
            <a:pPr lvl="0"/>
            <a:r>
              <a:rPr lang="en-US" dirty="0" smtClean="0"/>
              <a:t>Lorem Ipsum is simply dummy text of the printing and typesetting industry.  Lorem Ipsum has been the industry’s standard dummy text ever since the 1500s.  </a:t>
            </a:r>
            <a:endParaRPr lang="en-US" dirty="0"/>
          </a:p>
        </p:txBody>
      </p:sp>
      <p:sp>
        <p:nvSpPr>
          <p:cNvPr id="39" name="Text Placeholder 73"/>
          <p:cNvSpPr>
            <a:spLocks noGrp="1"/>
          </p:cNvSpPr>
          <p:nvPr>
            <p:ph type="body" sz="quarter" idx="13" hasCustomPrompt="1"/>
          </p:nvPr>
        </p:nvSpPr>
        <p:spPr>
          <a:xfrm>
            <a:off x="5413823" y="1769128"/>
            <a:ext cx="6203031" cy="709628"/>
          </a:xfrm>
        </p:spPr>
        <p:txBody>
          <a:bodyPr>
            <a:noAutofit/>
          </a:bodyPr>
          <a:lstStyle>
            <a:lvl1pPr marL="0" indent="0">
              <a:buNone/>
              <a:defRPr sz="1400" baseline="0"/>
            </a:lvl1pPr>
          </a:lstStyle>
          <a:p>
            <a:pPr lvl="0"/>
            <a:r>
              <a:rPr lang="en-US" dirty="0" smtClean="0"/>
              <a:t>Lorem Ipsum is simply dummy text of the printing and typesetting industry.  Lorem Ipsum has been the industry’s standard dummy text ever since the 1500s.  </a:t>
            </a:r>
            <a:endParaRPr lang="en-US" dirty="0"/>
          </a:p>
        </p:txBody>
      </p:sp>
      <p:sp>
        <p:nvSpPr>
          <p:cNvPr id="40" name="Text Placeholder 73"/>
          <p:cNvSpPr>
            <a:spLocks noGrp="1"/>
          </p:cNvSpPr>
          <p:nvPr>
            <p:ph type="body" sz="quarter" idx="14" hasCustomPrompt="1"/>
          </p:nvPr>
        </p:nvSpPr>
        <p:spPr>
          <a:xfrm>
            <a:off x="5413823" y="5510686"/>
            <a:ext cx="6203031" cy="709628"/>
          </a:xfrm>
        </p:spPr>
        <p:txBody>
          <a:bodyPr>
            <a:noAutofit/>
          </a:bodyPr>
          <a:lstStyle>
            <a:lvl1pPr marL="0" indent="0">
              <a:buNone/>
              <a:defRPr sz="1400" baseline="0"/>
            </a:lvl1pPr>
          </a:lstStyle>
          <a:p>
            <a:pPr lvl="0"/>
            <a:r>
              <a:rPr lang="en-US" dirty="0" smtClean="0"/>
              <a:t>Lorem Ipsum is simply dummy text of the printing and typesetting industry.  Lorem Ipsum has been the industry’s standard dummy text ever since the 1500s.  </a:t>
            </a:r>
            <a:endParaRPr lang="en-US" dirty="0"/>
          </a:p>
        </p:txBody>
      </p:sp>
      <p:sp>
        <p:nvSpPr>
          <p:cNvPr id="41" name="Text Placeholder 73"/>
          <p:cNvSpPr>
            <a:spLocks noGrp="1"/>
          </p:cNvSpPr>
          <p:nvPr>
            <p:ph type="body" sz="quarter" idx="15" hasCustomPrompt="1"/>
          </p:nvPr>
        </p:nvSpPr>
        <p:spPr>
          <a:xfrm>
            <a:off x="5413823" y="4276574"/>
            <a:ext cx="6203031" cy="709628"/>
          </a:xfrm>
        </p:spPr>
        <p:txBody>
          <a:bodyPr>
            <a:noAutofit/>
          </a:bodyPr>
          <a:lstStyle>
            <a:lvl1pPr marL="0" indent="0">
              <a:buNone/>
              <a:defRPr sz="1400" baseline="0"/>
            </a:lvl1pPr>
          </a:lstStyle>
          <a:p>
            <a:pPr lvl="0"/>
            <a:r>
              <a:rPr lang="en-US" dirty="0" smtClean="0"/>
              <a:t>Lorem Ipsum is simply dummy text of the printing and typesetting industry.  Lorem Ipsum has been the industry’s standard dummy text ever since the 1500s.  </a:t>
            </a:r>
            <a:endParaRPr lang="en-US" dirty="0"/>
          </a:p>
        </p:txBody>
      </p:sp>
      <p:sp>
        <p:nvSpPr>
          <p:cNvPr id="42" name="Text Placeholder 73"/>
          <p:cNvSpPr>
            <a:spLocks noGrp="1"/>
          </p:cNvSpPr>
          <p:nvPr>
            <p:ph type="body" sz="quarter" idx="16" hasCustomPrompt="1"/>
          </p:nvPr>
        </p:nvSpPr>
        <p:spPr>
          <a:xfrm>
            <a:off x="5413823" y="3009271"/>
            <a:ext cx="6203031" cy="709628"/>
          </a:xfrm>
        </p:spPr>
        <p:txBody>
          <a:bodyPr>
            <a:noAutofit/>
          </a:bodyPr>
          <a:lstStyle>
            <a:lvl1pPr marL="0" indent="0">
              <a:buNone/>
              <a:defRPr sz="1400" baseline="0"/>
            </a:lvl1pPr>
          </a:lstStyle>
          <a:p>
            <a:pPr lvl="0"/>
            <a:r>
              <a:rPr lang="en-US" dirty="0" smtClean="0"/>
              <a:t>Lorem Ipsum is simply dummy text of the printing and typesetting industry.  Lorem Ipsum has been the industry’s standard dummy text ever since the 1500s.  </a:t>
            </a:r>
            <a:endParaRPr lang="en-US" dirty="0"/>
          </a:p>
        </p:txBody>
      </p:sp>
    </p:spTree>
    <p:extLst>
      <p:ext uri="{BB962C8B-B14F-4D97-AF65-F5344CB8AC3E}">
        <p14:creationId xmlns:p14="http://schemas.microsoft.com/office/powerpoint/2010/main" val="183983869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Photo content 1">
    <p:spTree>
      <p:nvGrpSpPr>
        <p:cNvPr id="1" name=""/>
        <p:cNvGrpSpPr/>
        <p:nvPr/>
      </p:nvGrpSpPr>
      <p:grpSpPr>
        <a:xfrm>
          <a:off x="0" y="0"/>
          <a:ext cx="0" cy="0"/>
          <a:chOff x="0" y="0"/>
          <a:chExt cx="0" cy="0"/>
        </a:xfrm>
      </p:grpSpPr>
      <p:sp>
        <p:nvSpPr>
          <p:cNvPr id="9" name="Rectangle 8"/>
          <p:cNvSpPr/>
          <p:nvPr userDrawn="1"/>
        </p:nvSpPr>
        <p:spPr>
          <a:xfrm>
            <a:off x="2268058" y="0"/>
            <a:ext cx="2286000" cy="2295525"/>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9" name="Picture 18"/>
          <p:cNvPicPr>
            <a:picLocks noChangeAspect="1"/>
          </p:cNvPicPr>
          <p:nvPr userDrawn="1"/>
        </p:nvPicPr>
        <p:blipFill rotWithShape="1">
          <a:blip r:embed="rId3" cstate="print">
            <a:duotone>
              <a:prstClr val="black"/>
              <a:schemeClr val="accent3">
                <a:tint val="45000"/>
                <a:satMod val="400000"/>
              </a:schemeClr>
            </a:duotone>
            <a:extLst>
              <a:ext uri="{28A0092B-C50C-407E-A947-70E740481C1C}">
                <a14:useLocalDpi xmlns:a14="http://schemas.microsoft.com/office/drawing/2010/main" val="0"/>
              </a:ext>
            </a:extLst>
          </a:blip>
          <a:srcRect l="15307" t="-408" r="18027" b="408"/>
          <a:stretch/>
        </p:blipFill>
        <p:spPr>
          <a:xfrm>
            <a:off x="-19050" y="4563291"/>
            <a:ext cx="2305050" cy="2305050"/>
          </a:xfrm>
          <a:prstGeom prst="rect">
            <a:avLst/>
          </a:prstGeom>
        </p:spPr>
      </p:pic>
      <p:pic>
        <p:nvPicPr>
          <p:cNvPr id="20" name="Picture 19"/>
          <p:cNvPicPr>
            <a:picLocks noChangeAspect="1"/>
          </p:cNvPicPr>
          <p:nvPr userDrawn="1"/>
        </p:nvPicPr>
        <p:blipFill rotWithShape="1">
          <a:blip r:embed="rId4" cstate="print">
            <a:duotone>
              <a:prstClr val="black"/>
              <a:schemeClr val="accent3">
                <a:tint val="45000"/>
                <a:satMod val="400000"/>
              </a:schemeClr>
            </a:duotone>
            <a:extLst>
              <a:ext uri="{28A0092B-C50C-407E-A947-70E740481C1C}">
                <a14:useLocalDpi xmlns:a14="http://schemas.microsoft.com/office/drawing/2010/main" val="0"/>
              </a:ext>
            </a:extLst>
          </a:blip>
          <a:srcRect l="12495" r="20839"/>
          <a:stretch/>
        </p:blipFill>
        <p:spPr>
          <a:xfrm>
            <a:off x="2268058" y="2295525"/>
            <a:ext cx="2286000" cy="2286000"/>
          </a:xfrm>
          <a:prstGeom prst="rect">
            <a:avLst/>
          </a:prstGeom>
        </p:spPr>
      </p:pic>
      <p:pic>
        <p:nvPicPr>
          <p:cNvPr id="21" name="Picture 20"/>
          <p:cNvPicPr>
            <a:picLocks noChangeAspect="1"/>
          </p:cNvPicPr>
          <p:nvPr userDrawn="1"/>
        </p:nvPicPr>
        <p:blipFill rotWithShape="1">
          <a:blip r:embed="rId5" cstate="print">
            <a:duotone>
              <a:prstClr val="black"/>
              <a:schemeClr val="accent3">
                <a:tint val="45000"/>
                <a:satMod val="400000"/>
              </a:schemeClr>
            </a:duotone>
            <a:extLst>
              <a:ext uri="{28A0092B-C50C-407E-A947-70E740481C1C}">
                <a14:useLocalDpi xmlns:a14="http://schemas.microsoft.com/office/drawing/2010/main" val="0"/>
              </a:ext>
            </a:extLst>
          </a:blip>
          <a:srcRect l="12093" t="-425" r="20673" b="425"/>
          <a:stretch/>
        </p:blipFill>
        <p:spPr>
          <a:xfrm>
            <a:off x="-4478" y="-8709"/>
            <a:ext cx="2286000" cy="2286000"/>
          </a:xfrm>
          <a:prstGeom prst="rect">
            <a:avLst/>
          </a:prstGeom>
        </p:spPr>
      </p:pic>
      <p:sp>
        <p:nvSpPr>
          <p:cNvPr id="22" name="Rectangle 21"/>
          <p:cNvSpPr/>
          <p:nvPr userDrawn="1"/>
        </p:nvSpPr>
        <p:spPr>
          <a:xfrm>
            <a:off x="2268058" y="4572000"/>
            <a:ext cx="2286000" cy="2286000"/>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ectangle 22"/>
          <p:cNvSpPr/>
          <p:nvPr userDrawn="1"/>
        </p:nvSpPr>
        <p:spPr>
          <a:xfrm>
            <a:off x="-11210" y="2277291"/>
            <a:ext cx="2286000" cy="2295525"/>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Freeform 4347"/>
          <p:cNvSpPr>
            <a:spLocks/>
          </p:cNvSpPr>
          <p:nvPr userDrawn="1"/>
        </p:nvSpPr>
        <p:spPr bwMode="auto">
          <a:xfrm>
            <a:off x="2922620" y="5231324"/>
            <a:ext cx="976876" cy="976876"/>
          </a:xfrm>
          <a:custGeom>
            <a:avLst/>
            <a:gdLst>
              <a:gd name="T0" fmla="*/ 795 w 891"/>
              <a:gd name="T1" fmla="*/ 575 h 893"/>
              <a:gd name="T2" fmla="*/ 727 w 891"/>
              <a:gd name="T3" fmla="*/ 560 h 893"/>
              <a:gd name="T4" fmla="*/ 546 w 891"/>
              <a:gd name="T5" fmla="*/ 446 h 893"/>
              <a:gd name="T6" fmla="*/ 742 w 891"/>
              <a:gd name="T7" fmla="*/ 331 h 893"/>
              <a:gd name="T8" fmla="*/ 831 w 891"/>
              <a:gd name="T9" fmla="*/ 295 h 893"/>
              <a:gd name="T10" fmla="*/ 877 w 891"/>
              <a:gd name="T11" fmla="*/ 233 h 893"/>
              <a:gd name="T12" fmla="*/ 891 w 891"/>
              <a:gd name="T13" fmla="*/ 163 h 893"/>
              <a:gd name="T14" fmla="*/ 876 w 891"/>
              <a:gd name="T15" fmla="*/ 101 h 893"/>
              <a:gd name="T16" fmla="*/ 856 w 891"/>
              <a:gd name="T17" fmla="*/ 98 h 893"/>
              <a:gd name="T18" fmla="*/ 797 w 891"/>
              <a:gd name="T19" fmla="*/ 36 h 893"/>
              <a:gd name="T20" fmla="*/ 794 w 891"/>
              <a:gd name="T21" fmla="*/ 15 h 893"/>
              <a:gd name="T22" fmla="*/ 709 w 891"/>
              <a:gd name="T23" fmla="*/ 1 h 893"/>
              <a:gd name="T24" fmla="*/ 620 w 891"/>
              <a:gd name="T25" fmla="*/ 38 h 893"/>
              <a:gd name="T26" fmla="*/ 574 w 891"/>
              <a:gd name="T27" fmla="*/ 97 h 893"/>
              <a:gd name="T28" fmla="*/ 559 w 891"/>
              <a:gd name="T29" fmla="*/ 163 h 893"/>
              <a:gd name="T30" fmla="*/ 446 w 891"/>
              <a:gd name="T31" fmla="*/ 345 h 893"/>
              <a:gd name="T32" fmla="*/ 331 w 891"/>
              <a:gd name="T33" fmla="*/ 163 h 893"/>
              <a:gd name="T34" fmla="*/ 316 w 891"/>
              <a:gd name="T35" fmla="*/ 97 h 893"/>
              <a:gd name="T36" fmla="*/ 274 w 891"/>
              <a:gd name="T37" fmla="*/ 40 h 893"/>
              <a:gd name="T38" fmla="*/ 209 w 891"/>
              <a:gd name="T39" fmla="*/ 6 h 893"/>
              <a:gd name="T40" fmla="*/ 139 w 891"/>
              <a:gd name="T41" fmla="*/ 3 h 893"/>
              <a:gd name="T42" fmla="*/ 96 w 891"/>
              <a:gd name="T43" fmla="*/ 21 h 893"/>
              <a:gd name="T44" fmla="*/ 179 w 891"/>
              <a:gd name="T45" fmla="*/ 105 h 893"/>
              <a:gd name="T46" fmla="*/ 28 w 891"/>
              <a:gd name="T47" fmla="*/ 95 h 893"/>
              <a:gd name="T48" fmla="*/ 8 w 891"/>
              <a:gd name="T49" fmla="*/ 116 h 893"/>
              <a:gd name="T50" fmla="*/ 1 w 891"/>
              <a:gd name="T51" fmla="*/ 188 h 893"/>
              <a:gd name="T52" fmla="*/ 24 w 891"/>
              <a:gd name="T53" fmla="*/ 256 h 893"/>
              <a:gd name="T54" fmla="*/ 76 w 891"/>
              <a:gd name="T55" fmla="*/ 308 h 893"/>
              <a:gd name="T56" fmla="*/ 140 w 891"/>
              <a:gd name="T57" fmla="*/ 331 h 893"/>
              <a:gd name="T58" fmla="*/ 209 w 891"/>
              <a:gd name="T59" fmla="*/ 327 h 893"/>
              <a:gd name="T60" fmla="*/ 179 w 891"/>
              <a:gd name="T61" fmla="*/ 561 h 893"/>
              <a:gd name="T62" fmla="*/ 87 w 891"/>
              <a:gd name="T63" fmla="*/ 580 h 893"/>
              <a:gd name="T64" fmla="*/ 24 w 891"/>
              <a:gd name="T65" fmla="*/ 638 h 893"/>
              <a:gd name="T66" fmla="*/ 1 w 891"/>
              <a:gd name="T67" fmla="*/ 707 h 893"/>
              <a:gd name="T68" fmla="*/ 8 w 891"/>
              <a:gd name="T69" fmla="*/ 778 h 893"/>
              <a:gd name="T70" fmla="*/ 28 w 891"/>
              <a:gd name="T71" fmla="*/ 800 h 893"/>
              <a:gd name="T72" fmla="*/ 179 w 891"/>
              <a:gd name="T73" fmla="*/ 786 h 893"/>
              <a:gd name="T74" fmla="*/ 96 w 891"/>
              <a:gd name="T75" fmla="*/ 871 h 893"/>
              <a:gd name="T76" fmla="*/ 152 w 891"/>
              <a:gd name="T77" fmla="*/ 892 h 893"/>
              <a:gd name="T78" fmla="*/ 231 w 891"/>
              <a:gd name="T79" fmla="*/ 879 h 893"/>
              <a:gd name="T80" fmla="*/ 299 w 891"/>
              <a:gd name="T81" fmla="*/ 825 h 893"/>
              <a:gd name="T82" fmla="*/ 328 w 891"/>
              <a:gd name="T83" fmla="*/ 763 h 893"/>
              <a:gd name="T84" fmla="*/ 328 w 891"/>
              <a:gd name="T85" fmla="*/ 694 h 893"/>
              <a:gd name="T86" fmla="*/ 563 w 891"/>
              <a:gd name="T87" fmla="*/ 694 h 893"/>
              <a:gd name="T88" fmla="*/ 564 w 891"/>
              <a:gd name="T89" fmla="*/ 762 h 893"/>
              <a:gd name="T90" fmla="*/ 592 w 891"/>
              <a:gd name="T91" fmla="*/ 825 h 893"/>
              <a:gd name="T92" fmla="*/ 662 w 891"/>
              <a:gd name="T93" fmla="*/ 879 h 893"/>
              <a:gd name="T94" fmla="*/ 758 w 891"/>
              <a:gd name="T95" fmla="*/ 889 h 893"/>
              <a:gd name="T96" fmla="*/ 799 w 891"/>
              <a:gd name="T97" fmla="*/ 867 h 893"/>
              <a:gd name="T98" fmla="*/ 718 w 891"/>
              <a:gd name="T99" fmla="*/ 717 h 893"/>
              <a:gd name="T100" fmla="*/ 866 w 891"/>
              <a:gd name="T101" fmla="*/ 800 h 893"/>
              <a:gd name="T102" fmla="*/ 886 w 891"/>
              <a:gd name="T103" fmla="*/ 767 h 893"/>
              <a:gd name="T104" fmla="*/ 889 w 891"/>
              <a:gd name="T105" fmla="*/ 695 h 893"/>
              <a:gd name="T106" fmla="*/ 859 w 891"/>
              <a:gd name="T107" fmla="*/ 628 h 8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91" h="893">
                <a:moveTo>
                  <a:pt x="843" y="608"/>
                </a:moveTo>
                <a:lnTo>
                  <a:pt x="834" y="600"/>
                </a:lnTo>
                <a:lnTo>
                  <a:pt x="825" y="593"/>
                </a:lnTo>
                <a:lnTo>
                  <a:pt x="815" y="586"/>
                </a:lnTo>
                <a:lnTo>
                  <a:pt x="805" y="580"/>
                </a:lnTo>
                <a:lnTo>
                  <a:pt x="795" y="575"/>
                </a:lnTo>
                <a:lnTo>
                  <a:pt x="784" y="571"/>
                </a:lnTo>
                <a:lnTo>
                  <a:pt x="773" y="567"/>
                </a:lnTo>
                <a:lnTo>
                  <a:pt x="762" y="564"/>
                </a:lnTo>
                <a:lnTo>
                  <a:pt x="751" y="562"/>
                </a:lnTo>
                <a:lnTo>
                  <a:pt x="739" y="560"/>
                </a:lnTo>
                <a:lnTo>
                  <a:pt x="727" y="560"/>
                </a:lnTo>
                <a:lnTo>
                  <a:pt x="717" y="560"/>
                </a:lnTo>
                <a:lnTo>
                  <a:pt x="705" y="561"/>
                </a:lnTo>
                <a:lnTo>
                  <a:pt x="693" y="563"/>
                </a:lnTo>
                <a:lnTo>
                  <a:pt x="681" y="566"/>
                </a:lnTo>
                <a:lnTo>
                  <a:pt x="671" y="570"/>
                </a:lnTo>
                <a:lnTo>
                  <a:pt x="546" y="446"/>
                </a:lnTo>
                <a:lnTo>
                  <a:pt x="671" y="323"/>
                </a:lnTo>
                <a:lnTo>
                  <a:pt x="683" y="327"/>
                </a:lnTo>
                <a:lnTo>
                  <a:pt x="697" y="329"/>
                </a:lnTo>
                <a:lnTo>
                  <a:pt x="711" y="331"/>
                </a:lnTo>
                <a:lnTo>
                  <a:pt x="725" y="331"/>
                </a:lnTo>
                <a:lnTo>
                  <a:pt x="742" y="331"/>
                </a:lnTo>
                <a:lnTo>
                  <a:pt x="758" y="329"/>
                </a:lnTo>
                <a:lnTo>
                  <a:pt x="774" y="325"/>
                </a:lnTo>
                <a:lnTo>
                  <a:pt x="789" y="319"/>
                </a:lnTo>
                <a:lnTo>
                  <a:pt x="803" y="313"/>
                </a:lnTo>
                <a:lnTo>
                  <a:pt x="817" y="304"/>
                </a:lnTo>
                <a:lnTo>
                  <a:pt x="831" y="295"/>
                </a:lnTo>
                <a:lnTo>
                  <a:pt x="843" y="284"/>
                </a:lnTo>
                <a:lnTo>
                  <a:pt x="851" y="275"/>
                </a:lnTo>
                <a:lnTo>
                  <a:pt x="859" y="265"/>
                </a:lnTo>
                <a:lnTo>
                  <a:pt x="866" y="254"/>
                </a:lnTo>
                <a:lnTo>
                  <a:pt x="873" y="243"/>
                </a:lnTo>
                <a:lnTo>
                  <a:pt x="877" y="233"/>
                </a:lnTo>
                <a:lnTo>
                  <a:pt x="882" y="221"/>
                </a:lnTo>
                <a:lnTo>
                  <a:pt x="886" y="210"/>
                </a:lnTo>
                <a:lnTo>
                  <a:pt x="889" y="199"/>
                </a:lnTo>
                <a:lnTo>
                  <a:pt x="890" y="187"/>
                </a:lnTo>
                <a:lnTo>
                  <a:pt x="891" y="175"/>
                </a:lnTo>
                <a:lnTo>
                  <a:pt x="891" y="163"/>
                </a:lnTo>
                <a:lnTo>
                  <a:pt x="891" y="151"/>
                </a:lnTo>
                <a:lnTo>
                  <a:pt x="889" y="140"/>
                </a:lnTo>
                <a:lnTo>
                  <a:pt x="886" y="128"/>
                </a:lnTo>
                <a:lnTo>
                  <a:pt x="882" y="116"/>
                </a:lnTo>
                <a:lnTo>
                  <a:pt x="878" y="104"/>
                </a:lnTo>
                <a:lnTo>
                  <a:pt x="876" y="101"/>
                </a:lnTo>
                <a:lnTo>
                  <a:pt x="874" y="98"/>
                </a:lnTo>
                <a:lnTo>
                  <a:pt x="871" y="96"/>
                </a:lnTo>
                <a:lnTo>
                  <a:pt x="866" y="96"/>
                </a:lnTo>
                <a:lnTo>
                  <a:pt x="863" y="95"/>
                </a:lnTo>
                <a:lnTo>
                  <a:pt x="859" y="96"/>
                </a:lnTo>
                <a:lnTo>
                  <a:pt x="856" y="98"/>
                </a:lnTo>
                <a:lnTo>
                  <a:pt x="852" y="100"/>
                </a:lnTo>
                <a:lnTo>
                  <a:pt x="785" y="179"/>
                </a:lnTo>
                <a:lnTo>
                  <a:pt x="718" y="179"/>
                </a:lnTo>
                <a:lnTo>
                  <a:pt x="718" y="105"/>
                </a:lnTo>
                <a:lnTo>
                  <a:pt x="795" y="38"/>
                </a:lnTo>
                <a:lnTo>
                  <a:pt x="797" y="36"/>
                </a:lnTo>
                <a:lnTo>
                  <a:pt x="799" y="33"/>
                </a:lnTo>
                <a:lnTo>
                  <a:pt x="799" y="28"/>
                </a:lnTo>
                <a:lnTo>
                  <a:pt x="799" y="25"/>
                </a:lnTo>
                <a:lnTo>
                  <a:pt x="798" y="21"/>
                </a:lnTo>
                <a:lnTo>
                  <a:pt x="796" y="18"/>
                </a:lnTo>
                <a:lnTo>
                  <a:pt x="794" y="15"/>
                </a:lnTo>
                <a:lnTo>
                  <a:pt x="790" y="13"/>
                </a:lnTo>
                <a:lnTo>
                  <a:pt x="774" y="7"/>
                </a:lnTo>
                <a:lnTo>
                  <a:pt x="758" y="3"/>
                </a:lnTo>
                <a:lnTo>
                  <a:pt x="742" y="1"/>
                </a:lnTo>
                <a:lnTo>
                  <a:pt x="725" y="0"/>
                </a:lnTo>
                <a:lnTo>
                  <a:pt x="709" y="1"/>
                </a:lnTo>
                <a:lnTo>
                  <a:pt x="693" y="3"/>
                </a:lnTo>
                <a:lnTo>
                  <a:pt x="677" y="7"/>
                </a:lnTo>
                <a:lnTo>
                  <a:pt x="662" y="12"/>
                </a:lnTo>
                <a:lnTo>
                  <a:pt x="647" y="20"/>
                </a:lnTo>
                <a:lnTo>
                  <a:pt x="633" y="28"/>
                </a:lnTo>
                <a:lnTo>
                  <a:pt x="620" y="38"/>
                </a:lnTo>
                <a:lnTo>
                  <a:pt x="609" y="49"/>
                </a:lnTo>
                <a:lnTo>
                  <a:pt x="600" y="57"/>
                </a:lnTo>
                <a:lnTo>
                  <a:pt x="592" y="67"/>
                </a:lnTo>
                <a:lnTo>
                  <a:pt x="586" y="77"/>
                </a:lnTo>
                <a:lnTo>
                  <a:pt x="580" y="86"/>
                </a:lnTo>
                <a:lnTo>
                  <a:pt x="574" y="97"/>
                </a:lnTo>
                <a:lnTo>
                  <a:pt x="570" y="108"/>
                </a:lnTo>
                <a:lnTo>
                  <a:pt x="567" y="118"/>
                </a:lnTo>
                <a:lnTo>
                  <a:pt x="564" y="129"/>
                </a:lnTo>
                <a:lnTo>
                  <a:pt x="561" y="141"/>
                </a:lnTo>
                <a:lnTo>
                  <a:pt x="560" y="153"/>
                </a:lnTo>
                <a:lnTo>
                  <a:pt x="559" y="163"/>
                </a:lnTo>
                <a:lnTo>
                  <a:pt x="560" y="175"/>
                </a:lnTo>
                <a:lnTo>
                  <a:pt x="561" y="187"/>
                </a:lnTo>
                <a:lnTo>
                  <a:pt x="563" y="199"/>
                </a:lnTo>
                <a:lnTo>
                  <a:pt x="566" y="209"/>
                </a:lnTo>
                <a:lnTo>
                  <a:pt x="569" y="221"/>
                </a:lnTo>
                <a:lnTo>
                  <a:pt x="446" y="345"/>
                </a:lnTo>
                <a:lnTo>
                  <a:pt x="322" y="221"/>
                </a:lnTo>
                <a:lnTo>
                  <a:pt x="325" y="209"/>
                </a:lnTo>
                <a:lnTo>
                  <a:pt x="328" y="199"/>
                </a:lnTo>
                <a:lnTo>
                  <a:pt x="330" y="187"/>
                </a:lnTo>
                <a:lnTo>
                  <a:pt x="331" y="175"/>
                </a:lnTo>
                <a:lnTo>
                  <a:pt x="331" y="163"/>
                </a:lnTo>
                <a:lnTo>
                  <a:pt x="330" y="153"/>
                </a:lnTo>
                <a:lnTo>
                  <a:pt x="329" y="141"/>
                </a:lnTo>
                <a:lnTo>
                  <a:pt x="327" y="129"/>
                </a:lnTo>
                <a:lnTo>
                  <a:pt x="324" y="118"/>
                </a:lnTo>
                <a:lnTo>
                  <a:pt x="321" y="108"/>
                </a:lnTo>
                <a:lnTo>
                  <a:pt x="316" y="97"/>
                </a:lnTo>
                <a:lnTo>
                  <a:pt x="311" y="86"/>
                </a:lnTo>
                <a:lnTo>
                  <a:pt x="305" y="77"/>
                </a:lnTo>
                <a:lnTo>
                  <a:pt x="298" y="67"/>
                </a:lnTo>
                <a:lnTo>
                  <a:pt x="291" y="57"/>
                </a:lnTo>
                <a:lnTo>
                  <a:pt x="282" y="49"/>
                </a:lnTo>
                <a:lnTo>
                  <a:pt x="274" y="40"/>
                </a:lnTo>
                <a:lnTo>
                  <a:pt x="264" y="33"/>
                </a:lnTo>
                <a:lnTo>
                  <a:pt x="253" y="25"/>
                </a:lnTo>
                <a:lnTo>
                  <a:pt x="243" y="20"/>
                </a:lnTo>
                <a:lnTo>
                  <a:pt x="232" y="15"/>
                </a:lnTo>
                <a:lnTo>
                  <a:pt x="221" y="10"/>
                </a:lnTo>
                <a:lnTo>
                  <a:pt x="209" y="6"/>
                </a:lnTo>
                <a:lnTo>
                  <a:pt x="199" y="4"/>
                </a:lnTo>
                <a:lnTo>
                  <a:pt x="187" y="2"/>
                </a:lnTo>
                <a:lnTo>
                  <a:pt x="175" y="1"/>
                </a:lnTo>
                <a:lnTo>
                  <a:pt x="162" y="1"/>
                </a:lnTo>
                <a:lnTo>
                  <a:pt x="151" y="2"/>
                </a:lnTo>
                <a:lnTo>
                  <a:pt x="139" y="3"/>
                </a:lnTo>
                <a:lnTo>
                  <a:pt x="127" y="5"/>
                </a:lnTo>
                <a:lnTo>
                  <a:pt x="115" y="9"/>
                </a:lnTo>
                <a:lnTo>
                  <a:pt x="103" y="13"/>
                </a:lnTo>
                <a:lnTo>
                  <a:pt x="100" y="16"/>
                </a:lnTo>
                <a:lnTo>
                  <a:pt x="97" y="18"/>
                </a:lnTo>
                <a:lnTo>
                  <a:pt x="96" y="21"/>
                </a:lnTo>
                <a:lnTo>
                  <a:pt x="95" y="25"/>
                </a:lnTo>
                <a:lnTo>
                  <a:pt x="94" y="28"/>
                </a:lnTo>
                <a:lnTo>
                  <a:pt x="95" y="33"/>
                </a:lnTo>
                <a:lnTo>
                  <a:pt x="97" y="36"/>
                </a:lnTo>
                <a:lnTo>
                  <a:pt x="99" y="38"/>
                </a:lnTo>
                <a:lnTo>
                  <a:pt x="179" y="105"/>
                </a:lnTo>
                <a:lnTo>
                  <a:pt x="179" y="179"/>
                </a:lnTo>
                <a:lnTo>
                  <a:pt x="106" y="179"/>
                </a:lnTo>
                <a:lnTo>
                  <a:pt x="38" y="100"/>
                </a:lnTo>
                <a:lnTo>
                  <a:pt x="35" y="98"/>
                </a:lnTo>
                <a:lnTo>
                  <a:pt x="32" y="96"/>
                </a:lnTo>
                <a:lnTo>
                  <a:pt x="28" y="95"/>
                </a:lnTo>
                <a:lnTo>
                  <a:pt x="24" y="96"/>
                </a:lnTo>
                <a:lnTo>
                  <a:pt x="20" y="96"/>
                </a:lnTo>
                <a:lnTo>
                  <a:pt x="17" y="98"/>
                </a:lnTo>
                <a:lnTo>
                  <a:pt x="15" y="101"/>
                </a:lnTo>
                <a:lnTo>
                  <a:pt x="13" y="104"/>
                </a:lnTo>
                <a:lnTo>
                  <a:pt x="8" y="116"/>
                </a:lnTo>
                <a:lnTo>
                  <a:pt x="5" y="128"/>
                </a:lnTo>
                <a:lnTo>
                  <a:pt x="2" y="140"/>
                </a:lnTo>
                <a:lnTo>
                  <a:pt x="1" y="151"/>
                </a:lnTo>
                <a:lnTo>
                  <a:pt x="0" y="164"/>
                </a:lnTo>
                <a:lnTo>
                  <a:pt x="0" y="176"/>
                </a:lnTo>
                <a:lnTo>
                  <a:pt x="1" y="188"/>
                </a:lnTo>
                <a:lnTo>
                  <a:pt x="3" y="200"/>
                </a:lnTo>
                <a:lnTo>
                  <a:pt x="5" y="211"/>
                </a:lnTo>
                <a:lnTo>
                  <a:pt x="9" y="223"/>
                </a:lnTo>
                <a:lnTo>
                  <a:pt x="14" y="235"/>
                </a:lnTo>
                <a:lnTo>
                  <a:pt x="19" y="246"/>
                </a:lnTo>
                <a:lnTo>
                  <a:pt x="24" y="256"/>
                </a:lnTo>
                <a:lnTo>
                  <a:pt x="32" y="266"/>
                </a:lnTo>
                <a:lnTo>
                  <a:pt x="39" y="276"/>
                </a:lnTo>
                <a:lnTo>
                  <a:pt x="48" y="285"/>
                </a:lnTo>
                <a:lnTo>
                  <a:pt x="56" y="294"/>
                </a:lnTo>
                <a:lnTo>
                  <a:pt x="66" y="300"/>
                </a:lnTo>
                <a:lnTo>
                  <a:pt x="76" y="308"/>
                </a:lnTo>
                <a:lnTo>
                  <a:pt x="85" y="313"/>
                </a:lnTo>
                <a:lnTo>
                  <a:pt x="96" y="318"/>
                </a:lnTo>
                <a:lnTo>
                  <a:pt x="107" y="323"/>
                </a:lnTo>
                <a:lnTo>
                  <a:pt x="117" y="326"/>
                </a:lnTo>
                <a:lnTo>
                  <a:pt x="128" y="329"/>
                </a:lnTo>
                <a:lnTo>
                  <a:pt x="140" y="331"/>
                </a:lnTo>
                <a:lnTo>
                  <a:pt x="152" y="332"/>
                </a:lnTo>
                <a:lnTo>
                  <a:pt x="162" y="333"/>
                </a:lnTo>
                <a:lnTo>
                  <a:pt x="174" y="332"/>
                </a:lnTo>
                <a:lnTo>
                  <a:pt x="186" y="331"/>
                </a:lnTo>
                <a:lnTo>
                  <a:pt x="198" y="329"/>
                </a:lnTo>
                <a:lnTo>
                  <a:pt x="209" y="327"/>
                </a:lnTo>
                <a:lnTo>
                  <a:pt x="220" y="323"/>
                </a:lnTo>
                <a:lnTo>
                  <a:pt x="344" y="447"/>
                </a:lnTo>
                <a:lnTo>
                  <a:pt x="220" y="570"/>
                </a:lnTo>
                <a:lnTo>
                  <a:pt x="207" y="566"/>
                </a:lnTo>
                <a:lnTo>
                  <a:pt x="193" y="562"/>
                </a:lnTo>
                <a:lnTo>
                  <a:pt x="179" y="561"/>
                </a:lnTo>
                <a:lnTo>
                  <a:pt x="166" y="560"/>
                </a:lnTo>
                <a:lnTo>
                  <a:pt x="148" y="561"/>
                </a:lnTo>
                <a:lnTo>
                  <a:pt x="132" y="563"/>
                </a:lnTo>
                <a:lnTo>
                  <a:pt x="117" y="568"/>
                </a:lnTo>
                <a:lnTo>
                  <a:pt x="101" y="573"/>
                </a:lnTo>
                <a:lnTo>
                  <a:pt x="87" y="580"/>
                </a:lnTo>
                <a:lnTo>
                  <a:pt x="74" y="588"/>
                </a:lnTo>
                <a:lnTo>
                  <a:pt x="61" y="598"/>
                </a:lnTo>
                <a:lnTo>
                  <a:pt x="48" y="608"/>
                </a:lnTo>
                <a:lnTo>
                  <a:pt x="39" y="618"/>
                </a:lnTo>
                <a:lnTo>
                  <a:pt x="32" y="628"/>
                </a:lnTo>
                <a:lnTo>
                  <a:pt x="24" y="638"/>
                </a:lnTo>
                <a:lnTo>
                  <a:pt x="19" y="649"/>
                </a:lnTo>
                <a:lnTo>
                  <a:pt x="14" y="660"/>
                </a:lnTo>
                <a:lnTo>
                  <a:pt x="9" y="671"/>
                </a:lnTo>
                <a:lnTo>
                  <a:pt x="5" y="683"/>
                </a:lnTo>
                <a:lnTo>
                  <a:pt x="3" y="695"/>
                </a:lnTo>
                <a:lnTo>
                  <a:pt x="1" y="707"/>
                </a:lnTo>
                <a:lnTo>
                  <a:pt x="0" y="719"/>
                </a:lnTo>
                <a:lnTo>
                  <a:pt x="0" y="730"/>
                </a:lnTo>
                <a:lnTo>
                  <a:pt x="1" y="743"/>
                </a:lnTo>
                <a:lnTo>
                  <a:pt x="2" y="755"/>
                </a:lnTo>
                <a:lnTo>
                  <a:pt x="5" y="767"/>
                </a:lnTo>
                <a:lnTo>
                  <a:pt x="8" y="778"/>
                </a:lnTo>
                <a:lnTo>
                  <a:pt x="13" y="790"/>
                </a:lnTo>
                <a:lnTo>
                  <a:pt x="15" y="793"/>
                </a:lnTo>
                <a:lnTo>
                  <a:pt x="17" y="797"/>
                </a:lnTo>
                <a:lnTo>
                  <a:pt x="20" y="799"/>
                </a:lnTo>
                <a:lnTo>
                  <a:pt x="24" y="800"/>
                </a:lnTo>
                <a:lnTo>
                  <a:pt x="28" y="800"/>
                </a:lnTo>
                <a:lnTo>
                  <a:pt x="32" y="799"/>
                </a:lnTo>
                <a:lnTo>
                  <a:pt x="35" y="798"/>
                </a:lnTo>
                <a:lnTo>
                  <a:pt x="38" y="796"/>
                </a:lnTo>
                <a:lnTo>
                  <a:pt x="106" y="717"/>
                </a:lnTo>
                <a:lnTo>
                  <a:pt x="179" y="717"/>
                </a:lnTo>
                <a:lnTo>
                  <a:pt x="179" y="786"/>
                </a:lnTo>
                <a:lnTo>
                  <a:pt x="99" y="853"/>
                </a:lnTo>
                <a:lnTo>
                  <a:pt x="97" y="857"/>
                </a:lnTo>
                <a:lnTo>
                  <a:pt x="95" y="860"/>
                </a:lnTo>
                <a:lnTo>
                  <a:pt x="94" y="863"/>
                </a:lnTo>
                <a:lnTo>
                  <a:pt x="95" y="867"/>
                </a:lnTo>
                <a:lnTo>
                  <a:pt x="96" y="871"/>
                </a:lnTo>
                <a:lnTo>
                  <a:pt x="97" y="875"/>
                </a:lnTo>
                <a:lnTo>
                  <a:pt x="100" y="877"/>
                </a:lnTo>
                <a:lnTo>
                  <a:pt x="103" y="879"/>
                </a:lnTo>
                <a:lnTo>
                  <a:pt x="120" y="884"/>
                </a:lnTo>
                <a:lnTo>
                  <a:pt x="135" y="889"/>
                </a:lnTo>
                <a:lnTo>
                  <a:pt x="152" y="892"/>
                </a:lnTo>
                <a:lnTo>
                  <a:pt x="168" y="893"/>
                </a:lnTo>
                <a:lnTo>
                  <a:pt x="168" y="893"/>
                </a:lnTo>
                <a:lnTo>
                  <a:pt x="184" y="892"/>
                </a:lnTo>
                <a:lnTo>
                  <a:pt x="200" y="889"/>
                </a:lnTo>
                <a:lnTo>
                  <a:pt x="216" y="885"/>
                </a:lnTo>
                <a:lnTo>
                  <a:pt x="231" y="879"/>
                </a:lnTo>
                <a:lnTo>
                  <a:pt x="245" y="873"/>
                </a:lnTo>
                <a:lnTo>
                  <a:pt x="259" y="864"/>
                </a:lnTo>
                <a:lnTo>
                  <a:pt x="271" y="854"/>
                </a:lnTo>
                <a:lnTo>
                  <a:pt x="284" y="843"/>
                </a:lnTo>
                <a:lnTo>
                  <a:pt x="292" y="834"/>
                </a:lnTo>
                <a:lnTo>
                  <a:pt x="299" y="825"/>
                </a:lnTo>
                <a:lnTo>
                  <a:pt x="306" y="816"/>
                </a:lnTo>
                <a:lnTo>
                  <a:pt x="312" y="806"/>
                </a:lnTo>
                <a:lnTo>
                  <a:pt x="317" y="796"/>
                </a:lnTo>
                <a:lnTo>
                  <a:pt x="322" y="785"/>
                </a:lnTo>
                <a:lnTo>
                  <a:pt x="325" y="774"/>
                </a:lnTo>
                <a:lnTo>
                  <a:pt x="328" y="763"/>
                </a:lnTo>
                <a:lnTo>
                  <a:pt x="330" y="752"/>
                </a:lnTo>
                <a:lnTo>
                  <a:pt x="331" y="741"/>
                </a:lnTo>
                <a:lnTo>
                  <a:pt x="331" y="729"/>
                </a:lnTo>
                <a:lnTo>
                  <a:pt x="331" y="717"/>
                </a:lnTo>
                <a:lnTo>
                  <a:pt x="330" y="706"/>
                </a:lnTo>
                <a:lnTo>
                  <a:pt x="328" y="694"/>
                </a:lnTo>
                <a:lnTo>
                  <a:pt x="325" y="682"/>
                </a:lnTo>
                <a:lnTo>
                  <a:pt x="322" y="671"/>
                </a:lnTo>
                <a:lnTo>
                  <a:pt x="446" y="547"/>
                </a:lnTo>
                <a:lnTo>
                  <a:pt x="569" y="671"/>
                </a:lnTo>
                <a:lnTo>
                  <a:pt x="566" y="682"/>
                </a:lnTo>
                <a:lnTo>
                  <a:pt x="563" y="694"/>
                </a:lnTo>
                <a:lnTo>
                  <a:pt x="561" y="706"/>
                </a:lnTo>
                <a:lnTo>
                  <a:pt x="560" y="716"/>
                </a:lnTo>
                <a:lnTo>
                  <a:pt x="559" y="728"/>
                </a:lnTo>
                <a:lnTo>
                  <a:pt x="560" y="740"/>
                </a:lnTo>
                <a:lnTo>
                  <a:pt x="561" y="752"/>
                </a:lnTo>
                <a:lnTo>
                  <a:pt x="564" y="762"/>
                </a:lnTo>
                <a:lnTo>
                  <a:pt x="567" y="774"/>
                </a:lnTo>
                <a:lnTo>
                  <a:pt x="570" y="785"/>
                </a:lnTo>
                <a:lnTo>
                  <a:pt x="574" y="796"/>
                </a:lnTo>
                <a:lnTo>
                  <a:pt x="580" y="805"/>
                </a:lnTo>
                <a:lnTo>
                  <a:pt x="586" y="816"/>
                </a:lnTo>
                <a:lnTo>
                  <a:pt x="592" y="825"/>
                </a:lnTo>
                <a:lnTo>
                  <a:pt x="600" y="834"/>
                </a:lnTo>
                <a:lnTo>
                  <a:pt x="609" y="843"/>
                </a:lnTo>
                <a:lnTo>
                  <a:pt x="620" y="854"/>
                </a:lnTo>
                <a:lnTo>
                  <a:pt x="634" y="864"/>
                </a:lnTo>
                <a:lnTo>
                  <a:pt x="648" y="873"/>
                </a:lnTo>
                <a:lnTo>
                  <a:pt x="662" y="879"/>
                </a:lnTo>
                <a:lnTo>
                  <a:pt x="678" y="885"/>
                </a:lnTo>
                <a:lnTo>
                  <a:pt x="693" y="889"/>
                </a:lnTo>
                <a:lnTo>
                  <a:pt x="709" y="892"/>
                </a:lnTo>
                <a:lnTo>
                  <a:pt x="725" y="893"/>
                </a:lnTo>
                <a:lnTo>
                  <a:pt x="741" y="892"/>
                </a:lnTo>
                <a:lnTo>
                  <a:pt x="758" y="889"/>
                </a:lnTo>
                <a:lnTo>
                  <a:pt x="774" y="884"/>
                </a:lnTo>
                <a:lnTo>
                  <a:pt x="790" y="879"/>
                </a:lnTo>
                <a:lnTo>
                  <a:pt x="794" y="877"/>
                </a:lnTo>
                <a:lnTo>
                  <a:pt x="796" y="875"/>
                </a:lnTo>
                <a:lnTo>
                  <a:pt x="798" y="871"/>
                </a:lnTo>
                <a:lnTo>
                  <a:pt x="799" y="867"/>
                </a:lnTo>
                <a:lnTo>
                  <a:pt x="799" y="863"/>
                </a:lnTo>
                <a:lnTo>
                  <a:pt x="799" y="860"/>
                </a:lnTo>
                <a:lnTo>
                  <a:pt x="797" y="857"/>
                </a:lnTo>
                <a:lnTo>
                  <a:pt x="795" y="853"/>
                </a:lnTo>
                <a:lnTo>
                  <a:pt x="718" y="786"/>
                </a:lnTo>
                <a:lnTo>
                  <a:pt x="718" y="717"/>
                </a:lnTo>
                <a:lnTo>
                  <a:pt x="785" y="717"/>
                </a:lnTo>
                <a:lnTo>
                  <a:pt x="854" y="796"/>
                </a:lnTo>
                <a:lnTo>
                  <a:pt x="856" y="798"/>
                </a:lnTo>
                <a:lnTo>
                  <a:pt x="859" y="799"/>
                </a:lnTo>
                <a:lnTo>
                  <a:pt x="863" y="800"/>
                </a:lnTo>
                <a:lnTo>
                  <a:pt x="866" y="800"/>
                </a:lnTo>
                <a:lnTo>
                  <a:pt x="871" y="799"/>
                </a:lnTo>
                <a:lnTo>
                  <a:pt x="874" y="797"/>
                </a:lnTo>
                <a:lnTo>
                  <a:pt x="876" y="793"/>
                </a:lnTo>
                <a:lnTo>
                  <a:pt x="878" y="790"/>
                </a:lnTo>
                <a:lnTo>
                  <a:pt x="882" y="778"/>
                </a:lnTo>
                <a:lnTo>
                  <a:pt x="886" y="767"/>
                </a:lnTo>
                <a:lnTo>
                  <a:pt x="889" y="755"/>
                </a:lnTo>
                <a:lnTo>
                  <a:pt x="891" y="743"/>
                </a:lnTo>
                <a:lnTo>
                  <a:pt x="891" y="730"/>
                </a:lnTo>
                <a:lnTo>
                  <a:pt x="891" y="719"/>
                </a:lnTo>
                <a:lnTo>
                  <a:pt x="890" y="707"/>
                </a:lnTo>
                <a:lnTo>
                  <a:pt x="889" y="695"/>
                </a:lnTo>
                <a:lnTo>
                  <a:pt x="886" y="683"/>
                </a:lnTo>
                <a:lnTo>
                  <a:pt x="882" y="671"/>
                </a:lnTo>
                <a:lnTo>
                  <a:pt x="877" y="660"/>
                </a:lnTo>
                <a:lnTo>
                  <a:pt x="872" y="649"/>
                </a:lnTo>
                <a:lnTo>
                  <a:pt x="866" y="638"/>
                </a:lnTo>
                <a:lnTo>
                  <a:pt x="859" y="628"/>
                </a:lnTo>
                <a:lnTo>
                  <a:pt x="851" y="618"/>
                </a:lnTo>
                <a:lnTo>
                  <a:pt x="843" y="608"/>
                </a:lnTo>
                <a:close/>
              </a:path>
            </a:pathLst>
          </a:custGeom>
          <a:solidFill>
            <a:schemeClr val="bg1"/>
          </a:solidFill>
          <a:ln>
            <a:noFill/>
          </a:ln>
          <a:effectLst>
            <a:outerShdw blurRad="25400" dist="38100" dir="2400000" algn="ctr" rotWithShape="0">
              <a:srgbClr val="000000">
                <a:alpha val="10000"/>
              </a:srgbClr>
            </a:outerShdw>
          </a:effectLst>
          <a:extLst/>
        </p:spPr>
        <p:txBody>
          <a:bodyPr vert="horz" wrap="square" lIns="91440" tIns="45720" rIns="91440" bIns="45720" numCol="1" anchor="t" anchorCtr="0" compatLnSpc="1">
            <a:prstTxWarp prst="textNoShape">
              <a:avLst/>
            </a:prstTxWarp>
          </a:bodyPr>
          <a:lstStyle/>
          <a:p>
            <a:endParaRPr lang="en-US" dirty="0"/>
          </a:p>
        </p:txBody>
      </p:sp>
      <p:grpSp>
        <p:nvGrpSpPr>
          <p:cNvPr id="14" name="Group 13"/>
          <p:cNvGrpSpPr/>
          <p:nvPr userDrawn="1"/>
        </p:nvGrpSpPr>
        <p:grpSpPr>
          <a:xfrm>
            <a:off x="2803386" y="630059"/>
            <a:ext cx="1015666" cy="1015666"/>
            <a:chOff x="4319588" y="2492375"/>
            <a:chExt cx="287338" cy="287338"/>
          </a:xfrm>
          <a:solidFill>
            <a:schemeClr val="bg1"/>
          </a:solidFill>
          <a:effectLst>
            <a:outerShdw blurRad="25400" dist="38100" dir="2400000" algn="ctr" rotWithShape="0">
              <a:srgbClr val="000000">
                <a:alpha val="10000"/>
              </a:srgbClr>
            </a:outerShdw>
          </a:effectLst>
        </p:grpSpPr>
        <p:sp>
          <p:nvSpPr>
            <p:cNvPr id="15" name="Freeform 372"/>
            <p:cNvSpPr>
              <a:spLocks/>
            </p:cNvSpPr>
            <p:nvPr/>
          </p:nvSpPr>
          <p:spPr bwMode="auto">
            <a:xfrm>
              <a:off x="4319588" y="2587625"/>
              <a:ext cx="287338" cy="192088"/>
            </a:xfrm>
            <a:custGeom>
              <a:avLst/>
              <a:gdLst>
                <a:gd name="T0" fmla="*/ 843 w 904"/>
                <a:gd name="T1" fmla="*/ 572 h 602"/>
                <a:gd name="T2" fmla="*/ 843 w 904"/>
                <a:gd name="T3" fmla="*/ 12 h 602"/>
                <a:gd name="T4" fmla="*/ 841 w 904"/>
                <a:gd name="T5" fmla="*/ 7 h 602"/>
                <a:gd name="T6" fmla="*/ 836 w 904"/>
                <a:gd name="T7" fmla="*/ 3 h 602"/>
                <a:gd name="T8" fmla="*/ 831 w 904"/>
                <a:gd name="T9" fmla="*/ 1 h 602"/>
                <a:gd name="T10" fmla="*/ 708 w 904"/>
                <a:gd name="T11" fmla="*/ 0 h 602"/>
                <a:gd name="T12" fmla="*/ 702 w 904"/>
                <a:gd name="T13" fmla="*/ 2 h 602"/>
                <a:gd name="T14" fmla="*/ 697 w 904"/>
                <a:gd name="T15" fmla="*/ 5 h 602"/>
                <a:gd name="T16" fmla="*/ 694 w 904"/>
                <a:gd name="T17" fmla="*/ 9 h 602"/>
                <a:gd name="T18" fmla="*/ 693 w 904"/>
                <a:gd name="T19" fmla="*/ 16 h 602"/>
                <a:gd name="T20" fmla="*/ 632 w 904"/>
                <a:gd name="T21" fmla="*/ 572 h 602"/>
                <a:gd name="T22" fmla="*/ 632 w 904"/>
                <a:gd name="T23" fmla="*/ 283 h 602"/>
                <a:gd name="T24" fmla="*/ 630 w 904"/>
                <a:gd name="T25" fmla="*/ 277 h 602"/>
                <a:gd name="T26" fmla="*/ 626 w 904"/>
                <a:gd name="T27" fmla="*/ 274 h 602"/>
                <a:gd name="T28" fmla="*/ 621 w 904"/>
                <a:gd name="T29" fmla="*/ 271 h 602"/>
                <a:gd name="T30" fmla="*/ 497 w 904"/>
                <a:gd name="T31" fmla="*/ 271 h 602"/>
                <a:gd name="T32" fmla="*/ 491 w 904"/>
                <a:gd name="T33" fmla="*/ 272 h 602"/>
                <a:gd name="T34" fmla="*/ 487 w 904"/>
                <a:gd name="T35" fmla="*/ 275 h 602"/>
                <a:gd name="T36" fmla="*/ 483 w 904"/>
                <a:gd name="T37" fmla="*/ 281 h 602"/>
                <a:gd name="T38" fmla="*/ 482 w 904"/>
                <a:gd name="T39" fmla="*/ 286 h 602"/>
                <a:gd name="T40" fmla="*/ 421 w 904"/>
                <a:gd name="T41" fmla="*/ 572 h 602"/>
                <a:gd name="T42" fmla="*/ 421 w 904"/>
                <a:gd name="T43" fmla="*/ 193 h 602"/>
                <a:gd name="T44" fmla="*/ 419 w 904"/>
                <a:gd name="T45" fmla="*/ 187 h 602"/>
                <a:gd name="T46" fmla="*/ 415 w 904"/>
                <a:gd name="T47" fmla="*/ 183 h 602"/>
                <a:gd name="T48" fmla="*/ 409 w 904"/>
                <a:gd name="T49" fmla="*/ 181 h 602"/>
                <a:gd name="T50" fmla="*/ 286 w 904"/>
                <a:gd name="T51" fmla="*/ 181 h 602"/>
                <a:gd name="T52" fmla="*/ 281 w 904"/>
                <a:gd name="T53" fmla="*/ 182 h 602"/>
                <a:gd name="T54" fmla="*/ 275 w 904"/>
                <a:gd name="T55" fmla="*/ 185 h 602"/>
                <a:gd name="T56" fmla="*/ 272 w 904"/>
                <a:gd name="T57" fmla="*/ 190 h 602"/>
                <a:gd name="T58" fmla="*/ 271 w 904"/>
                <a:gd name="T59" fmla="*/ 196 h 602"/>
                <a:gd name="T60" fmla="*/ 211 w 904"/>
                <a:gd name="T61" fmla="*/ 572 h 602"/>
                <a:gd name="T62" fmla="*/ 211 w 904"/>
                <a:gd name="T63" fmla="*/ 404 h 602"/>
                <a:gd name="T64" fmla="*/ 209 w 904"/>
                <a:gd name="T65" fmla="*/ 399 h 602"/>
                <a:gd name="T66" fmla="*/ 205 w 904"/>
                <a:gd name="T67" fmla="*/ 394 h 602"/>
                <a:gd name="T68" fmla="*/ 199 w 904"/>
                <a:gd name="T69" fmla="*/ 392 h 602"/>
                <a:gd name="T70" fmla="*/ 76 w 904"/>
                <a:gd name="T71" fmla="*/ 391 h 602"/>
                <a:gd name="T72" fmla="*/ 69 w 904"/>
                <a:gd name="T73" fmla="*/ 392 h 602"/>
                <a:gd name="T74" fmla="*/ 65 w 904"/>
                <a:gd name="T75" fmla="*/ 396 h 602"/>
                <a:gd name="T76" fmla="*/ 62 w 904"/>
                <a:gd name="T77" fmla="*/ 401 h 602"/>
                <a:gd name="T78" fmla="*/ 61 w 904"/>
                <a:gd name="T79" fmla="*/ 406 h 602"/>
                <a:gd name="T80" fmla="*/ 15 w 904"/>
                <a:gd name="T81" fmla="*/ 572 h 602"/>
                <a:gd name="T82" fmla="*/ 9 w 904"/>
                <a:gd name="T83" fmla="*/ 573 h 602"/>
                <a:gd name="T84" fmla="*/ 5 w 904"/>
                <a:gd name="T85" fmla="*/ 577 h 602"/>
                <a:gd name="T86" fmla="*/ 2 w 904"/>
                <a:gd name="T87" fmla="*/ 581 h 602"/>
                <a:gd name="T88" fmla="*/ 0 w 904"/>
                <a:gd name="T89" fmla="*/ 587 h 602"/>
                <a:gd name="T90" fmla="*/ 2 w 904"/>
                <a:gd name="T91" fmla="*/ 593 h 602"/>
                <a:gd name="T92" fmla="*/ 5 w 904"/>
                <a:gd name="T93" fmla="*/ 598 h 602"/>
                <a:gd name="T94" fmla="*/ 9 w 904"/>
                <a:gd name="T95" fmla="*/ 601 h 602"/>
                <a:gd name="T96" fmla="*/ 15 w 904"/>
                <a:gd name="T97" fmla="*/ 602 h 602"/>
                <a:gd name="T98" fmla="*/ 196 w 904"/>
                <a:gd name="T99" fmla="*/ 602 h 602"/>
                <a:gd name="T100" fmla="*/ 406 w 904"/>
                <a:gd name="T101" fmla="*/ 602 h 602"/>
                <a:gd name="T102" fmla="*/ 617 w 904"/>
                <a:gd name="T103" fmla="*/ 602 h 602"/>
                <a:gd name="T104" fmla="*/ 828 w 904"/>
                <a:gd name="T105" fmla="*/ 602 h 602"/>
                <a:gd name="T106" fmla="*/ 891 w 904"/>
                <a:gd name="T107" fmla="*/ 602 h 602"/>
                <a:gd name="T108" fmla="*/ 896 w 904"/>
                <a:gd name="T109" fmla="*/ 600 h 602"/>
                <a:gd name="T110" fmla="*/ 901 w 904"/>
                <a:gd name="T111" fmla="*/ 596 h 602"/>
                <a:gd name="T112" fmla="*/ 903 w 904"/>
                <a:gd name="T113" fmla="*/ 591 h 602"/>
                <a:gd name="T114" fmla="*/ 903 w 904"/>
                <a:gd name="T115" fmla="*/ 584 h 602"/>
                <a:gd name="T116" fmla="*/ 901 w 904"/>
                <a:gd name="T117" fmla="*/ 579 h 602"/>
                <a:gd name="T118" fmla="*/ 896 w 904"/>
                <a:gd name="T119" fmla="*/ 575 h 602"/>
                <a:gd name="T120" fmla="*/ 891 w 904"/>
                <a:gd name="T121" fmla="*/ 572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04" h="602">
                  <a:moveTo>
                    <a:pt x="889" y="572"/>
                  </a:moveTo>
                  <a:lnTo>
                    <a:pt x="843" y="572"/>
                  </a:lnTo>
                  <a:lnTo>
                    <a:pt x="843" y="16"/>
                  </a:lnTo>
                  <a:lnTo>
                    <a:pt x="843" y="12"/>
                  </a:lnTo>
                  <a:lnTo>
                    <a:pt x="842" y="9"/>
                  </a:lnTo>
                  <a:lnTo>
                    <a:pt x="841" y="7"/>
                  </a:lnTo>
                  <a:lnTo>
                    <a:pt x="838" y="5"/>
                  </a:lnTo>
                  <a:lnTo>
                    <a:pt x="836" y="3"/>
                  </a:lnTo>
                  <a:lnTo>
                    <a:pt x="834" y="2"/>
                  </a:lnTo>
                  <a:lnTo>
                    <a:pt x="831" y="1"/>
                  </a:lnTo>
                  <a:lnTo>
                    <a:pt x="828" y="1"/>
                  </a:lnTo>
                  <a:lnTo>
                    <a:pt x="708" y="0"/>
                  </a:lnTo>
                  <a:lnTo>
                    <a:pt x="704" y="1"/>
                  </a:lnTo>
                  <a:lnTo>
                    <a:pt x="702" y="2"/>
                  </a:lnTo>
                  <a:lnTo>
                    <a:pt x="699" y="3"/>
                  </a:lnTo>
                  <a:lnTo>
                    <a:pt x="697" y="5"/>
                  </a:lnTo>
                  <a:lnTo>
                    <a:pt x="695" y="7"/>
                  </a:lnTo>
                  <a:lnTo>
                    <a:pt x="694" y="9"/>
                  </a:lnTo>
                  <a:lnTo>
                    <a:pt x="693" y="12"/>
                  </a:lnTo>
                  <a:lnTo>
                    <a:pt x="693" y="16"/>
                  </a:lnTo>
                  <a:lnTo>
                    <a:pt x="693" y="572"/>
                  </a:lnTo>
                  <a:lnTo>
                    <a:pt x="632" y="572"/>
                  </a:lnTo>
                  <a:lnTo>
                    <a:pt x="632" y="286"/>
                  </a:lnTo>
                  <a:lnTo>
                    <a:pt x="632" y="283"/>
                  </a:lnTo>
                  <a:lnTo>
                    <a:pt x="631" y="281"/>
                  </a:lnTo>
                  <a:lnTo>
                    <a:pt x="630" y="277"/>
                  </a:lnTo>
                  <a:lnTo>
                    <a:pt x="628" y="275"/>
                  </a:lnTo>
                  <a:lnTo>
                    <a:pt x="626" y="274"/>
                  </a:lnTo>
                  <a:lnTo>
                    <a:pt x="623" y="272"/>
                  </a:lnTo>
                  <a:lnTo>
                    <a:pt x="621" y="271"/>
                  </a:lnTo>
                  <a:lnTo>
                    <a:pt x="617" y="271"/>
                  </a:lnTo>
                  <a:lnTo>
                    <a:pt x="497" y="271"/>
                  </a:lnTo>
                  <a:lnTo>
                    <a:pt x="494" y="271"/>
                  </a:lnTo>
                  <a:lnTo>
                    <a:pt x="491" y="272"/>
                  </a:lnTo>
                  <a:lnTo>
                    <a:pt x="489" y="274"/>
                  </a:lnTo>
                  <a:lnTo>
                    <a:pt x="487" y="275"/>
                  </a:lnTo>
                  <a:lnTo>
                    <a:pt x="484" y="277"/>
                  </a:lnTo>
                  <a:lnTo>
                    <a:pt x="483" y="281"/>
                  </a:lnTo>
                  <a:lnTo>
                    <a:pt x="482" y="283"/>
                  </a:lnTo>
                  <a:lnTo>
                    <a:pt x="482" y="286"/>
                  </a:lnTo>
                  <a:lnTo>
                    <a:pt x="482" y="572"/>
                  </a:lnTo>
                  <a:lnTo>
                    <a:pt x="421" y="572"/>
                  </a:lnTo>
                  <a:lnTo>
                    <a:pt x="421" y="196"/>
                  </a:lnTo>
                  <a:lnTo>
                    <a:pt x="421" y="193"/>
                  </a:lnTo>
                  <a:lnTo>
                    <a:pt x="420" y="190"/>
                  </a:lnTo>
                  <a:lnTo>
                    <a:pt x="419" y="187"/>
                  </a:lnTo>
                  <a:lnTo>
                    <a:pt x="417" y="185"/>
                  </a:lnTo>
                  <a:lnTo>
                    <a:pt x="415" y="183"/>
                  </a:lnTo>
                  <a:lnTo>
                    <a:pt x="413" y="182"/>
                  </a:lnTo>
                  <a:lnTo>
                    <a:pt x="409" y="181"/>
                  </a:lnTo>
                  <a:lnTo>
                    <a:pt x="406" y="181"/>
                  </a:lnTo>
                  <a:lnTo>
                    <a:pt x="286" y="181"/>
                  </a:lnTo>
                  <a:lnTo>
                    <a:pt x="283" y="181"/>
                  </a:lnTo>
                  <a:lnTo>
                    <a:pt x="281" y="182"/>
                  </a:lnTo>
                  <a:lnTo>
                    <a:pt x="277" y="183"/>
                  </a:lnTo>
                  <a:lnTo>
                    <a:pt x="275" y="185"/>
                  </a:lnTo>
                  <a:lnTo>
                    <a:pt x="273" y="187"/>
                  </a:lnTo>
                  <a:lnTo>
                    <a:pt x="272" y="190"/>
                  </a:lnTo>
                  <a:lnTo>
                    <a:pt x="271" y="193"/>
                  </a:lnTo>
                  <a:lnTo>
                    <a:pt x="271" y="196"/>
                  </a:lnTo>
                  <a:lnTo>
                    <a:pt x="271" y="572"/>
                  </a:lnTo>
                  <a:lnTo>
                    <a:pt x="211" y="572"/>
                  </a:lnTo>
                  <a:lnTo>
                    <a:pt x="211" y="406"/>
                  </a:lnTo>
                  <a:lnTo>
                    <a:pt x="211" y="404"/>
                  </a:lnTo>
                  <a:lnTo>
                    <a:pt x="210" y="401"/>
                  </a:lnTo>
                  <a:lnTo>
                    <a:pt x="209" y="399"/>
                  </a:lnTo>
                  <a:lnTo>
                    <a:pt x="207" y="396"/>
                  </a:lnTo>
                  <a:lnTo>
                    <a:pt x="205" y="394"/>
                  </a:lnTo>
                  <a:lnTo>
                    <a:pt x="201" y="393"/>
                  </a:lnTo>
                  <a:lnTo>
                    <a:pt x="199" y="392"/>
                  </a:lnTo>
                  <a:lnTo>
                    <a:pt x="196" y="391"/>
                  </a:lnTo>
                  <a:lnTo>
                    <a:pt x="76" y="391"/>
                  </a:lnTo>
                  <a:lnTo>
                    <a:pt x="73" y="392"/>
                  </a:lnTo>
                  <a:lnTo>
                    <a:pt x="69" y="392"/>
                  </a:lnTo>
                  <a:lnTo>
                    <a:pt x="67" y="394"/>
                  </a:lnTo>
                  <a:lnTo>
                    <a:pt x="65" y="396"/>
                  </a:lnTo>
                  <a:lnTo>
                    <a:pt x="63" y="399"/>
                  </a:lnTo>
                  <a:lnTo>
                    <a:pt x="62" y="401"/>
                  </a:lnTo>
                  <a:lnTo>
                    <a:pt x="61" y="404"/>
                  </a:lnTo>
                  <a:lnTo>
                    <a:pt x="61" y="406"/>
                  </a:lnTo>
                  <a:lnTo>
                    <a:pt x="61" y="572"/>
                  </a:lnTo>
                  <a:lnTo>
                    <a:pt x="15" y="572"/>
                  </a:lnTo>
                  <a:lnTo>
                    <a:pt x="13" y="572"/>
                  </a:lnTo>
                  <a:lnTo>
                    <a:pt x="9" y="573"/>
                  </a:lnTo>
                  <a:lnTo>
                    <a:pt x="7" y="575"/>
                  </a:lnTo>
                  <a:lnTo>
                    <a:pt x="5" y="577"/>
                  </a:lnTo>
                  <a:lnTo>
                    <a:pt x="3" y="579"/>
                  </a:lnTo>
                  <a:lnTo>
                    <a:pt x="2" y="581"/>
                  </a:lnTo>
                  <a:lnTo>
                    <a:pt x="1" y="584"/>
                  </a:lnTo>
                  <a:lnTo>
                    <a:pt x="0" y="587"/>
                  </a:lnTo>
                  <a:lnTo>
                    <a:pt x="1" y="591"/>
                  </a:lnTo>
                  <a:lnTo>
                    <a:pt x="2" y="593"/>
                  </a:lnTo>
                  <a:lnTo>
                    <a:pt x="3" y="596"/>
                  </a:lnTo>
                  <a:lnTo>
                    <a:pt x="5" y="598"/>
                  </a:lnTo>
                  <a:lnTo>
                    <a:pt x="7" y="600"/>
                  </a:lnTo>
                  <a:lnTo>
                    <a:pt x="9" y="601"/>
                  </a:lnTo>
                  <a:lnTo>
                    <a:pt x="13" y="602"/>
                  </a:lnTo>
                  <a:lnTo>
                    <a:pt x="15" y="602"/>
                  </a:lnTo>
                  <a:lnTo>
                    <a:pt x="76" y="602"/>
                  </a:lnTo>
                  <a:lnTo>
                    <a:pt x="196" y="602"/>
                  </a:lnTo>
                  <a:lnTo>
                    <a:pt x="286" y="602"/>
                  </a:lnTo>
                  <a:lnTo>
                    <a:pt x="406" y="602"/>
                  </a:lnTo>
                  <a:lnTo>
                    <a:pt x="497" y="602"/>
                  </a:lnTo>
                  <a:lnTo>
                    <a:pt x="617" y="602"/>
                  </a:lnTo>
                  <a:lnTo>
                    <a:pt x="708" y="602"/>
                  </a:lnTo>
                  <a:lnTo>
                    <a:pt x="828" y="602"/>
                  </a:lnTo>
                  <a:lnTo>
                    <a:pt x="889" y="602"/>
                  </a:lnTo>
                  <a:lnTo>
                    <a:pt x="891" y="602"/>
                  </a:lnTo>
                  <a:lnTo>
                    <a:pt x="894" y="601"/>
                  </a:lnTo>
                  <a:lnTo>
                    <a:pt x="896" y="600"/>
                  </a:lnTo>
                  <a:lnTo>
                    <a:pt x="898" y="598"/>
                  </a:lnTo>
                  <a:lnTo>
                    <a:pt x="901" y="596"/>
                  </a:lnTo>
                  <a:lnTo>
                    <a:pt x="902" y="593"/>
                  </a:lnTo>
                  <a:lnTo>
                    <a:pt x="903" y="591"/>
                  </a:lnTo>
                  <a:lnTo>
                    <a:pt x="904" y="587"/>
                  </a:lnTo>
                  <a:lnTo>
                    <a:pt x="903" y="584"/>
                  </a:lnTo>
                  <a:lnTo>
                    <a:pt x="902" y="581"/>
                  </a:lnTo>
                  <a:lnTo>
                    <a:pt x="901" y="579"/>
                  </a:lnTo>
                  <a:lnTo>
                    <a:pt x="898" y="577"/>
                  </a:lnTo>
                  <a:lnTo>
                    <a:pt x="896" y="575"/>
                  </a:lnTo>
                  <a:lnTo>
                    <a:pt x="894" y="573"/>
                  </a:lnTo>
                  <a:lnTo>
                    <a:pt x="891" y="572"/>
                  </a:lnTo>
                  <a:lnTo>
                    <a:pt x="889" y="5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373"/>
            <p:cNvSpPr>
              <a:spLocks/>
            </p:cNvSpPr>
            <p:nvPr/>
          </p:nvSpPr>
          <p:spPr bwMode="auto">
            <a:xfrm>
              <a:off x="4338638" y="2492375"/>
              <a:ext cx="252413" cy="157163"/>
            </a:xfrm>
            <a:custGeom>
              <a:avLst/>
              <a:gdLst>
                <a:gd name="T0" fmla="*/ 77 w 797"/>
                <a:gd name="T1" fmla="*/ 494 h 497"/>
                <a:gd name="T2" fmla="*/ 97 w 797"/>
                <a:gd name="T3" fmla="*/ 483 h 497"/>
                <a:gd name="T4" fmla="*/ 112 w 797"/>
                <a:gd name="T5" fmla="*/ 466 h 497"/>
                <a:gd name="T6" fmla="*/ 120 w 797"/>
                <a:gd name="T7" fmla="*/ 443 h 497"/>
                <a:gd name="T8" fmla="*/ 116 w 797"/>
                <a:gd name="T9" fmla="*/ 416 h 497"/>
                <a:gd name="T10" fmla="*/ 267 w 797"/>
                <a:gd name="T11" fmla="*/ 298 h 497"/>
                <a:gd name="T12" fmla="*/ 300 w 797"/>
                <a:gd name="T13" fmla="*/ 299 h 497"/>
                <a:gd name="T14" fmla="*/ 325 w 797"/>
                <a:gd name="T15" fmla="*/ 287 h 497"/>
                <a:gd name="T16" fmla="*/ 451 w 797"/>
                <a:gd name="T17" fmla="*/ 327 h 497"/>
                <a:gd name="T18" fmla="*/ 454 w 797"/>
                <a:gd name="T19" fmla="*/ 349 h 497"/>
                <a:gd name="T20" fmla="*/ 464 w 797"/>
                <a:gd name="T21" fmla="*/ 369 h 497"/>
                <a:gd name="T22" fmla="*/ 482 w 797"/>
                <a:gd name="T23" fmla="*/ 384 h 497"/>
                <a:gd name="T24" fmla="*/ 505 w 797"/>
                <a:gd name="T25" fmla="*/ 391 h 497"/>
                <a:gd name="T26" fmla="*/ 529 w 797"/>
                <a:gd name="T27" fmla="*/ 389 h 497"/>
                <a:gd name="T28" fmla="*/ 550 w 797"/>
                <a:gd name="T29" fmla="*/ 378 h 497"/>
                <a:gd name="T30" fmla="*/ 564 w 797"/>
                <a:gd name="T31" fmla="*/ 360 h 497"/>
                <a:gd name="T32" fmla="*/ 571 w 797"/>
                <a:gd name="T33" fmla="*/ 337 h 497"/>
                <a:gd name="T34" fmla="*/ 565 w 797"/>
                <a:gd name="T35" fmla="*/ 304 h 497"/>
                <a:gd name="T36" fmla="*/ 724 w 797"/>
                <a:gd name="T37" fmla="*/ 119 h 497"/>
                <a:gd name="T38" fmla="*/ 750 w 797"/>
                <a:gd name="T39" fmla="*/ 119 h 497"/>
                <a:gd name="T40" fmla="*/ 771 w 797"/>
                <a:gd name="T41" fmla="*/ 110 h 497"/>
                <a:gd name="T42" fmla="*/ 787 w 797"/>
                <a:gd name="T43" fmla="*/ 94 h 497"/>
                <a:gd name="T44" fmla="*/ 796 w 797"/>
                <a:gd name="T45" fmla="*/ 72 h 497"/>
                <a:gd name="T46" fmla="*/ 796 w 797"/>
                <a:gd name="T47" fmla="*/ 48 h 497"/>
                <a:gd name="T48" fmla="*/ 787 w 797"/>
                <a:gd name="T49" fmla="*/ 27 h 497"/>
                <a:gd name="T50" fmla="*/ 771 w 797"/>
                <a:gd name="T51" fmla="*/ 10 h 497"/>
                <a:gd name="T52" fmla="*/ 750 w 797"/>
                <a:gd name="T53" fmla="*/ 1 h 497"/>
                <a:gd name="T54" fmla="*/ 725 w 797"/>
                <a:gd name="T55" fmla="*/ 1 h 497"/>
                <a:gd name="T56" fmla="*/ 703 w 797"/>
                <a:gd name="T57" fmla="*/ 10 h 497"/>
                <a:gd name="T58" fmla="*/ 687 w 797"/>
                <a:gd name="T59" fmla="*/ 27 h 497"/>
                <a:gd name="T60" fmla="*/ 678 w 797"/>
                <a:gd name="T61" fmla="*/ 48 h 497"/>
                <a:gd name="T62" fmla="*/ 680 w 797"/>
                <a:gd name="T63" fmla="*/ 79 h 497"/>
                <a:gd name="T64" fmla="*/ 531 w 797"/>
                <a:gd name="T65" fmla="*/ 275 h 497"/>
                <a:gd name="T66" fmla="*/ 504 w 797"/>
                <a:gd name="T67" fmla="*/ 272 h 497"/>
                <a:gd name="T68" fmla="*/ 478 w 797"/>
                <a:gd name="T69" fmla="*/ 281 h 497"/>
                <a:gd name="T70" fmla="*/ 345 w 797"/>
                <a:gd name="T71" fmla="*/ 248 h 497"/>
                <a:gd name="T72" fmla="*/ 344 w 797"/>
                <a:gd name="T73" fmla="*/ 229 h 497"/>
                <a:gd name="T74" fmla="*/ 336 w 797"/>
                <a:gd name="T75" fmla="*/ 207 h 497"/>
                <a:gd name="T76" fmla="*/ 319 w 797"/>
                <a:gd name="T77" fmla="*/ 191 h 497"/>
                <a:gd name="T78" fmla="*/ 298 w 797"/>
                <a:gd name="T79" fmla="*/ 181 h 497"/>
                <a:gd name="T80" fmla="*/ 273 w 797"/>
                <a:gd name="T81" fmla="*/ 181 h 497"/>
                <a:gd name="T82" fmla="*/ 252 w 797"/>
                <a:gd name="T83" fmla="*/ 191 h 497"/>
                <a:gd name="T84" fmla="*/ 236 w 797"/>
                <a:gd name="T85" fmla="*/ 207 h 497"/>
                <a:gd name="T86" fmla="*/ 226 w 797"/>
                <a:gd name="T87" fmla="*/ 229 h 497"/>
                <a:gd name="T88" fmla="*/ 227 w 797"/>
                <a:gd name="T89" fmla="*/ 254 h 497"/>
                <a:gd name="T90" fmla="*/ 86 w 797"/>
                <a:gd name="T91" fmla="*/ 382 h 497"/>
                <a:gd name="T92" fmla="*/ 53 w 797"/>
                <a:gd name="T93" fmla="*/ 377 h 497"/>
                <a:gd name="T94" fmla="*/ 31 w 797"/>
                <a:gd name="T95" fmla="*/ 383 h 497"/>
                <a:gd name="T96" fmla="*/ 13 w 797"/>
                <a:gd name="T97" fmla="*/ 398 h 497"/>
                <a:gd name="T98" fmla="*/ 2 w 797"/>
                <a:gd name="T99" fmla="*/ 419 h 497"/>
                <a:gd name="T100" fmla="*/ 0 w 797"/>
                <a:gd name="T101" fmla="*/ 443 h 497"/>
                <a:gd name="T102" fmla="*/ 6 w 797"/>
                <a:gd name="T103" fmla="*/ 466 h 497"/>
                <a:gd name="T104" fmla="*/ 21 w 797"/>
                <a:gd name="T105" fmla="*/ 483 h 497"/>
                <a:gd name="T106" fmla="*/ 42 w 797"/>
                <a:gd name="T107" fmla="*/ 494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97" h="497">
                  <a:moveTo>
                    <a:pt x="60" y="497"/>
                  </a:moveTo>
                  <a:lnTo>
                    <a:pt x="65" y="497"/>
                  </a:lnTo>
                  <a:lnTo>
                    <a:pt x="72" y="496"/>
                  </a:lnTo>
                  <a:lnTo>
                    <a:pt x="77" y="494"/>
                  </a:lnTo>
                  <a:lnTo>
                    <a:pt x="83" y="493"/>
                  </a:lnTo>
                  <a:lnTo>
                    <a:pt x="89" y="489"/>
                  </a:lnTo>
                  <a:lnTo>
                    <a:pt x="93" y="486"/>
                  </a:lnTo>
                  <a:lnTo>
                    <a:pt x="97" y="483"/>
                  </a:lnTo>
                  <a:lnTo>
                    <a:pt x="102" y="480"/>
                  </a:lnTo>
                  <a:lnTo>
                    <a:pt x="106" y="475"/>
                  </a:lnTo>
                  <a:lnTo>
                    <a:pt x="109" y="470"/>
                  </a:lnTo>
                  <a:lnTo>
                    <a:pt x="112" y="466"/>
                  </a:lnTo>
                  <a:lnTo>
                    <a:pt x="115" y="460"/>
                  </a:lnTo>
                  <a:lnTo>
                    <a:pt x="117" y="455"/>
                  </a:lnTo>
                  <a:lnTo>
                    <a:pt x="119" y="449"/>
                  </a:lnTo>
                  <a:lnTo>
                    <a:pt x="120" y="443"/>
                  </a:lnTo>
                  <a:lnTo>
                    <a:pt x="120" y="437"/>
                  </a:lnTo>
                  <a:lnTo>
                    <a:pt x="119" y="429"/>
                  </a:lnTo>
                  <a:lnTo>
                    <a:pt x="118" y="423"/>
                  </a:lnTo>
                  <a:lnTo>
                    <a:pt x="116" y="416"/>
                  </a:lnTo>
                  <a:lnTo>
                    <a:pt x="114" y="410"/>
                  </a:lnTo>
                  <a:lnTo>
                    <a:pt x="251" y="290"/>
                  </a:lnTo>
                  <a:lnTo>
                    <a:pt x="259" y="295"/>
                  </a:lnTo>
                  <a:lnTo>
                    <a:pt x="267" y="298"/>
                  </a:lnTo>
                  <a:lnTo>
                    <a:pt x="277" y="301"/>
                  </a:lnTo>
                  <a:lnTo>
                    <a:pt x="285" y="302"/>
                  </a:lnTo>
                  <a:lnTo>
                    <a:pt x="293" y="301"/>
                  </a:lnTo>
                  <a:lnTo>
                    <a:pt x="300" y="299"/>
                  </a:lnTo>
                  <a:lnTo>
                    <a:pt x="307" y="297"/>
                  </a:lnTo>
                  <a:lnTo>
                    <a:pt x="313" y="294"/>
                  </a:lnTo>
                  <a:lnTo>
                    <a:pt x="318" y="291"/>
                  </a:lnTo>
                  <a:lnTo>
                    <a:pt x="325" y="287"/>
                  </a:lnTo>
                  <a:lnTo>
                    <a:pt x="329" y="282"/>
                  </a:lnTo>
                  <a:lnTo>
                    <a:pt x="333" y="277"/>
                  </a:lnTo>
                  <a:lnTo>
                    <a:pt x="451" y="324"/>
                  </a:lnTo>
                  <a:lnTo>
                    <a:pt x="451" y="327"/>
                  </a:lnTo>
                  <a:lnTo>
                    <a:pt x="451" y="332"/>
                  </a:lnTo>
                  <a:lnTo>
                    <a:pt x="451" y="337"/>
                  </a:lnTo>
                  <a:lnTo>
                    <a:pt x="452" y="343"/>
                  </a:lnTo>
                  <a:lnTo>
                    <a:pt x="454" y="349"/>
                  </a:lnTo>
                  <a:lnTo>
                    <a:pt x="456" y="354"/>
                  </a:lnTo>
                  <a:lnTo>
                    <a:pt x="458" y="360"/>
                  </a:lnTo>
                  <a:lnTo>
                    <a:pt x="461" y="365"/>
                  </a:lnTo>
                  <a:lnTo>
                    <a:pt x="464" y="369"/>
                  </a:lnTo>
                  <a:lnTo>
                    <a:pt x="469" y="374"/>
                  </a:lnTo>
                  <a:lnTo>
                    <a:pt x="473" y="378"/>
                  </a:lnTo>
                  <a:lnTo>
                    <a:pt x="477" y="381"/>
                  </a:lnTo>
                  <a:lnTo>
                    <a:pt x="482" y="384"/>
                  </a:lnTo>
                  <a:lnTo>
                    <a:pt x="488" y="386"/>
                  </a:lnTo>
                  <a:lnTo>
                    <a:pt x="493" y="389"/>
                  </a:lnTo>
                  <a:lnTo>
                    <a:pt x="499" y="391"/>
                  </a:lnTo>
                  <a:lnTo>
                    <a:pt x="505" y="391"/>
                  </a:lnTo>
                  <a:lnTo>
                    <a:pt x="511" y="392"/>
                  </a:lnTo>
                  <a:lnTo>
                    <a:pt x="518" y="391"/>
                  </a:lnTo>
                  <a:lnTo>
                    <a:pt x="523" y="391"/>
                  </a:lnTo>
                  <a:lnTo>
                    <a:pt x="529" y="389"/>
                  </a:lnTo>
                  <a:lnTo>
                    <a:pt x="535" y="386"/>
                  </a:lnTo>
                  <a:lnTo>
                    <a:pt x="540" y="384"/>
                  </a:lnTo>
                  <a:lnTo>
                    <a:pt x="545" y="381"/>
                  </a:lnTo>
                  <a:lnTo>
                    <a:pt x="550" y="378"/>
                  </a:lnTo>
                  <a:lnTo>
                    <a:pt x="553" y="374"/>
                  </a:lnTo>
                  <a:lnTo>
                    <a:pt x="558" y="369"/>
                  </a:lnTo>
                  <a:lnTo>
                    <a:pt x="561" y="365"/>
                  </a:lnTo>
                  <a:lnTo>
                    <a:pt x="564" y="360"/>
                  </a:lnTo>
                  <a:lnTo>
                    <a:pt x="567" y="354"/>
                  </a:lnTo>
                  <a:lnTo>
                    <a:pt x="568" y="349"/>
                  </a:lnTo>
                  <a:lnTo>
                    <a:pt x="570" y="343"/>
                  </a:lnTo>
                  <a:lnTo>
                    <a:pt x="571" y="337"/>
                  </a:lnTo>
                  <a:lnTo>
                    <a:pt x="571" y="332"/>
                  </a:lnTo>
                  <a:lnTo>
                    <a:pt x="570" y="322"/>
                  </a:lnTo>
                  <a:lnTo>
                    <a:pt x="568" y="312"/>
                  </a:lnTo>
                  <a:lnTo>
                    <a:pt x="565" y="304"/>
                  </a:lnTo>
                  <a:lnTo>
                    <a:pt x="560" y="296"/>
                  </a:lnTo>
                  <a:lnTo>
                    <a:pt x="711" y="114"/>
                  </a:lnTo>
                  <a:lnTo>
                    <a:pt x="717" y="117"/>
                  </a:lnTo>
                  <a:lnTo>
                    <a:pt x="724" y="119"/>
                  </a:lnTo>
                  <a:lnTo>
                    <a:pt x="730" y="120"/>
                  </a:lnTo>
                  <a:lnTo>
                    <a:pt x="737" y="120"/>
                  </a:lnTo>
                  <a:lnTo>
                    <a:pt x="743" y="120"/>
                  </a:lnTo>
                  <a:lnTo>
                    <a:pt x="750" y="119"/>
                  </a:lnTo>
                  <a:lnTo>
                    <a:pt x="755" y="118"/>
                  </a:lnTo>
                  <a:lnTo>
                    <a:pt x="760" y="116"/>
                  </a:lnTo>
                  <a:lnTo>
                    <a:pt x="766" y="113"/>
                  </a:lnTo>
                  <a:lnTo>
                    <a:pt x="771" y="110"/>
                  </a:lnTo>
                  <a:lnTo>
                    <a:pt x="775" y="106"/>
                  </a:lnTo>
                  <a:lnTo>
                    <a:pt x="780" y="103"/>
                  </a:lnTo>
                  <a:lnTo>
                    <a:pt x="784" y="99"/>
                  </a:lnTo>
                  <a:lnTo>
                    <a:pt x="787" y="94"/>
                  </a:lnTo>
                  <a:lnTo>
                    <a:pt x="790" y="89"/>
                  </a:lnTo>
                  <a:lnTo>
                    <a:pt x="792" y="84"/>
                  </a:lnTo>
                  <a:lnTo>
                    <a:pt x="795" y="79"/>
                  </a:lnTo>
                  <a:lnTo>
                    <a:pt x="796" y="72"/>
                  </a:lnTo>
                  <a:lnTo>
                    <a:pt x="797" y="67"/>
                  </a:lnTo>
                  <a:lnTo>
                    <a:pt x="797" y="60"/>
                  </a:lnTo>
                  <a:lnTo>
                    <a:pt x="797" y="54"/>
                  </a:lnTo>
                  <a:lnTo>
                    <a:pt x="796" y="48"/>
                  </a:lnTo>
                  <a:lnTo>
                    <a:pt x="795" y="42"/>
                  </a:lnTo>
                  <a:lnTo>
                    <a:pt x="792" y="37"/>
                  </a:lnTo>
                  <a:lnTo>
                    <a:pt x="790" y="31"/>
                  </a:lnTo>
                  <a:lnTo>
                    <a:pt x="787" y="27"/>
                  </a:lnTo>
                  <a:lnTo>
                    <a:pt x="784" y="22"/>
                  </a:lnTo>
                  <a:lnTo>
                    <a:pt x="780" y="17"/>
                  </a:lnTo>
                  <a:lnTo>
                    <a:pt x="775" y="14"/>
                  </a:lnTo>
                  <a:lnTo>
                    <a:pt x="771" y="10"/>
                  </a:lnTo>
                  <a:lnTo>
                    <a:pt x="766" y="8"/>
                  </a:lnTo>
                  <a:lnTo>
                    <a:pt x="760" y="5"/>
                  </a:lnTo>
                  <a:lnTo>
                    <a:pt x="755" y="2"/>
                  </a:lnTo>
                  <a:lnTo>
                    <a:pt x="750" y="1"/>
                  </a:lnTo>
                  <a:lnTo>
                    <a:pt x="743" y="0"/>
                  </a:lnTo>
                  <a:lnTo>
                    <a:pt x="737" y="0"/>
                  </a:lnTo>
                  <a:lnTo>
                    <a:pt x="731" y="0"/>
                  </a:lnTo>
                  <a:lnTo>
                    <a:pt x="725" y="1"/>
                  </a:lnTo>
                  <a:lnTo>
                    <a:pt x="719" y="2"/>
                  </a:lnTo>
                  <a:lnTo>
                    <a:pt x="713" y="5"/>
                  </a:lnTo>
                  <a:lnTo>
                    <a:pt x="709" y="8"/>
                  </a:lnTo>
                  <a:lnTo>
                    <a:pt x="703" y="10"/>
                  </a:lnTo>
                  <a:lnTo>
                    <a:pt x="699" y="14"/>
                  </a:lnTo>
                  <a:lnTo>
                    <a:pt x="695" y="17"/>
                  </a:lnTo>
                  <a:lnTo>
                    <a:pt x="691" y="22"/>
                  </a:lnTo>
                  <a:lnTo>
                    <a:pt x="687" y="27"/>
                  </a:lnTo>
                  <a:lnTo>
                    <a:pt x="684" y="31"/>
                  </a:lnTo>
                  <a:lnTo>
                    <a:pt x="682" y="37"/>
                  </a:lnTo>
                  <a:lnTo>
                    <a:pt x="680" y="42"/>
                  </a:lnTo>
                  <a:lnTo>
                    <a:pt x="678" y="48"/>
                  </a:lnTo>
                  <a:lnTo>
                    <a:pt x="677" y="54"/>
                  </a:lnTo>
                  <a:lnTo>
                    <a:pt x="677" y="60"/>
                  </a:lnTo>
                  <a:lnTo>
                    <a:pt x="678" y="70"/>
                  </a:lnTo>
                  <a:lnTo>
                    <a:pt x="680" y="79"/>
                  </a:lnTo>
                  <a:lnTo>
                    <a:pt x="683" y="87"/>
                  </a:lnTo>
                  <a:lnTo>
                    <a:pt x="688" y="96"/>
                  </a:lnTo>
                  <a:lnTo>
                    <a:pt x="537" y="277"/>
                  </a:lnTo>
                  <a:lnTo>
                    <a:pt x="531" y="275"/>
                  </a:lnTo>
                  <a:lnTo>
                    <a:pt x="524" y="273"/>
                  </a:lnTo>
                  <a:lnTo>
                    <a:pt x="518" y="272"/>
                  </a:lnTo>
                  <a:lnTo>
                    <a:pt x="511" y="271"/>
                  </a:lnTo>
                  <a:lnTo>
                    <a:pt x="504" y="272"/>
                  </a:lnTo>
                  <a:lnTo>
                    <a:pt x="496" y="273"/>
                  </a:lnTo>
                  <a:lnTo>
                    <a:pt x="490" y="275"/>
                  </a:lnTo>
                  <a:lnTo>
                    <a:pt x="484" y="278"/>
                  </a:lnTo>
                  <a:lnTo>
                    <a:pt x="478" y="281"/>
                  </a:lnTo>
                  <a:lnTo>
                    <a:pt x="472" y="286"/>
                  </a:lnTo>
                  <a:lnTo>
                    <a:pt x="467" y="291"/>
                  </a:lnTo>
                  <a:lnTo>
                    <a:pt x="463" y="295"/>
                  </a:lnTo>
                  <a:lnTo>
                    <a:pt x="345" y="248"/>
                  </a:lnTo>
                  <a:lnTo>
                    <a:pt x="345" y="245"/>
                  </a:lnTo>
                  <a:lnTo>
                    <a:pt x="345" y="240"/>
                  </a:lnTo>
                  <a:lnTo>
                    <a:pt x="345" y="235"/>
                  </a:lnTo>
                  <a:lnTo>
                    <a:pt x="344" y="229"/>
                  </a:lnTo>
                  <a:lnTo>
                    <a:pt x="343" y="223"/>
                  </a:lnTo>
                  <a:lnTo>
                    <a:pt x="341" y="218"/>
                  </a:lnTo>
                  <a:lnTo>
                    <a:pt x="339" y="213"/>
                  </a:lnTo>
                  <a:lnTo>
                    <a:pt x="336" y="207"/>
                  </a:lnTo>
                  <a:lnTo>
                    <a:pt x="332" y="203"/>
                  </a:lnTo>
                  <a:lnTo>
                    <a:pt x="328" y="199"/>
                  </a:lnTo>
                  <a:lnTo>
                    <a:pt x="324" y="194"/>
                  </a:lnTo>
                  <a:lnTo>
                    <a:pt x="319" y="191"/>
                  </a:lnTo>
                  <a:lnTo>
                    <a:pt x="314" y="188"/>
                  </a:lnTo>
                  <a:lnTo>
                    <a:pt x="309" y="186"/>
                  </a:lnTo>
                  <a:lnTo>
                    <a:pt x="303" y="184"/>
                  </a:lnTo>
                  <a:lnTo>
                    <a:pt x="298" y="181"/>
                  </a:lnTo>
                  <a:lnTo>
                    <a:pt x="292" y="181"/>
                  </a:lnTo>
                  <a:lnTo>
                    <a:pt x="285" y="180"/>
                  </a:lnTo>
                  <a:lnTo>
                    <a:pt x="280" y="181"/>
                  </a:lnTo>
                  <a:lnTo>
                    <a:pt x="273" y="181"/>
                  </a:lnTo>
                  <a:lnTo>
                    <a:pt x="268" y="184"/>
                  </a:lnTo>
                  <a:lnTo>
                    <a:pt x="262" y="186"/>
                  </a:lnTo>
                  <a:lnTo>
                    <a:pt x="257" y="188"/>
                  </a:lnTo>
                  <a:lnTo>
                    <a:pt x="252" y="191"/>
                  </a:lnTo>
                  <a:lnTo>
                    <a:pt x="248" y="194"/>
                  </a:lnTo>
                  <a:lnTo>
                    <a:pt x="243" y="199"/>
                  </a:lnTo>
                  <a:lnTo>
                    <a:pt x="239" y="203"/>
                  </a:lnTo>
                  <a:lnTo>
                    <a:pt x="236" y="207"/>
                  </a:lnTo>
                  <a:lnTo>
                    <a:pt x="233" y="213"/>
                  </a:lnTo>
                  <a:lnTo>
                    <a:pt x="230" y="218"/>
                  </a:lnTo>
                  <a:lnTo>
                    <a:pt x="228" y="223"/>
                  </a:lnTo>
                  <a:lnTo>
                    <a:pt x="226" y="229"/>
                  </a:lnTo>
                  <a:lnTo>
                    <a:pt x="225" y="235"/>
                  </a:lnTo>
                  <a:lnTo>
                    <a:pt x="225" y="240"/>
                  </a:lnTo>
                  <a:lnTo>
                    <a:pt x="226" y="248"/>
                  </a:lnTo>
                  <a:lnTo>
                    <a:pt x="227" y="254"/>
                  </a:lnTo>
                  <a:lnTo>
                    <a:pt x="229" y="261"/>
                  </a:lnTo>
                  <a:lnTo>
                    <a:pt x="231" y="267"/>
                  </a:lnTo>
                  <a:lnTo>
                    <a:pt x="94" y="387"/>
                  </a:lnTo>
                  <a:lnTo>
                    <a:pt x="86" y="382"/>
                  </a:lnTo>
                  <a:lnTo>
                    <a:pt x="78" y="379"/>
                  </a:lnTo>
                  <a:lnTo>
                    <a:pt x="68" y="377"/>
                  </a:lnTo>
                  <a:lnTo>
                    <a:pt x="60" y="377"/>
                  </a:lnTo>
                  <a:lnTo>
                    <a:pt x="53" y="377"/>
                  </a:lnTo>
                  <a:lnTo>
                    <a:pt x="47" y="378"/>
                  </a:lnTo>
                  <a:lnTo>
                    <a:pt x="42" y="379"/>
                  </a:lnTo>
                  <a:lnTo>
                    <a:pt x="36" y="381"/>
                  </a:lnTo>
                  <a:lnTo>
                    <a:pt x="31" y="383"/>
                  </a:lnTo>
                  <a:lnTo>
                    <a:pt x="26" y="386"/>
                  </a:lnTo>
                  <a:lnTo>
                    <a:pt x="21" y="391"/>
                  </a:lnTo>
                  <a:lnTo>
                    <a:pt x="17" y="394"/>
                  </a:lnTo>
                  <a:lnTo>
                    <a:pt x="13" y="398"/>
                  </a:lnTo>
                  <a:lnTo>
                    <a:pt x="9" y="402"/>
                  </a:lnTo>
                  <a:lnTo>
                    <a:pt x="6" y="408"/>
                  </a:lnTo>
                  <a:lnTo>
                    <a:pt x="4" y="413"/>
                  </a:lnTo>
                  <a:lnTo>
                    <a:pt x="2" y="419"/>
                  </a:lnTo>
                  <a:lnTo>
                    <a:pt x="1" y="425"/>
                  </a:lnTo>
                  <a:lnTo>
                    <a:pt x="0" y="430"/>
                  </a:lnTo>
                  <a:lnTo>
                    <a:pt x="0" y="437"/>
                  </a:lnTo>
                  <a:lnTo>
                    <a:pt x="0" y="443"/>
                  </a:lnTo>
                  <a:lnTo>
                    <a:pt x="1" y="449"/>
                  </a:lnTo>
                  <a:lnTo>
                    <a:pt x="2" y="455"/>
                  </a:lnTo>
                  <a:lnTo>
                    <a:pt x="4" y="460"/>
                  </a:lnTo>
                  <a:lnTo>
                    <a:pt x="6" y="466"/>
                  </a:lnTo>
                  <a:lnTo>
                    <a:pt x="9" y="470"/>
                  </a:lnTo>
                  <a:lnTo>
                    <a:pt x="13" y="475"/>
                  </a:lnTo>
                  <a:lnTo>
                    <a:pt x="17" y="480"/>
                  </a:lnTo>
                  <a:lnTo>
                    <a:pt x="21" y="483"/>
                  </a:lnTo>
                  <a:lnTo>
                    <a:pt x="26" y="486"/>
                  </a:lnTo>
                  <a:lnTo>
                    <a:pt x="31" y="489"/>
                  </a:lnTo>
                  <a:lnTo>
                    <a:pt x="36" y="493"/>
                  </a:lnTo>
                  <a:lnTo>
                    <a:pt x="42" y="494"/>
                  </a:lnTo>
                  <a:lnTo>
                    <a:pt x="47" y="496"/>
                  </a:lnTo>
                  <a:lnTo>
                    <a:pt x="53" y="497"/>
                  </a:lnTo>
                  <a:lnTo>
                    <a:pt x="60" y="4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1" name="Rectangle 10"/>
          <p:cNvSpPr/>
          <p:nvPr userDrawn="1">
            <p:custDataLst>
              <p:tags r:id="rId1"/>
            </p:custDataLst>
          </p:nvPr>
        </p:nvSpPr>
        <p:spPr>
          <a:xfrm>
            <a:off x="0" y="3239571"/>
            <a:ext cx="2200275" cy="523220"/>
          </a:xfrm>
          <a:prstGeom prst="rect">
            <a:avLst/>
          </a:prstGeom>
        </p:spPr>
        <p:txBody>
          <a:bodyPr wrap="square">
            <a:spAutoFit/>
          </a:bodyPr>
          <a:lstStyle/>
          <a:p>
            <a:pPr algn="ctr"/>
            <a:r>
              <a:rPr lang="en-US" sz="2800" b="1" dirty="0" smtClean="0">
                <a:solidFill>
                  <a:schemeClr val="bg1"/>
                </a:solidFill>
                <a:latin typeface="Calibri Light" pitchFamily="34" charset="0"/>
              </a:rPr>
              <a:t>Title</a:t>
            </a:r>
            <a:endParaRPr lang="en-US" sz="2800" b="1" dirty="0">
              <a:solidFill>
                <a:schemeClr val="bg1"/>
              </a:solidFill>
              <a:latin typeface="Calibri Light" pitchFamily="34" charset="0"/>
            </a:endParaRPr>
          </a:p>
        </p:txBody>
      </p:sp>
      <p:sp>
        <p:nvSpPr>
          <p:cNvPr id="25" name="Text Placeholder 24"/>
          <p:cNvSpPr>
            <a:spLocks noGrp="1"/>
          </p:cNvSpPr>
          <p:nvPr>
            <p:ph type="body" sz="quarter" idx="10" hasCustomPrompt="1"/>
          </p:nvPr>
        </p:nvSpPr>
        <p:spPr>
          <a:xfrm>
            <a:off x="5429250" y="819150"/>
            <a:ext cx="6191250" cy="5389563"/>
          </a:xfrm>
        </p:spPr>
        <p:txBody>
          <a:bodyPr/>
          <a:lstStyle>
            <a:lvl1pPr marL="0" indent="0">
              <a:buNone/>
              <a:defRPr baseline="0"/>
            </a:lvl1pPr>
          </a:lstStyle>
          <a:p>
            <a:pPr lvl="0"/>
            <a:r>
              <a:rPr lang="en-US" dirty="0" smtClean="0"/>
              <a:t>Insert content</a:t>
            </a:r>
            <a:endParaRPr lang="en-US" dirty="0"/>
          </a:p>
        </p:txBody>
      </p:sp>
    </p:spTree>
    <p:extLst>
      <p:ext uri="{BB962C8B-B14F-4D97-AF65-F5344CB8AC3E}">
        <p14:creationId xmlns:p14="http://schemas.microsoft.com/office/powerpoint/2010/main" val="2385936477"/>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Photo content 2">
    <p:spTree>
      <p:nvGrpSpPr>
        <p:cNvPr id="1" name=""/>
        <p:cNvGrpSpPr/>
        <p:nvPr/>
      </p:nvGrpSpPr>
      <p:grpSpPr>
        <a:xfrm>
          <a:off x="0" y="0"/>
          <a:ext cx="0" cy="0"/>
          <a:chOff x="0" y="0"/>
          <a:chExt cx="0" cy="0"/>
        </a:xfrm>
      </p:grpSpPr>
      <p:sp>
        <p:nvSpPr>
          <p:cNvPr id="9" name="Rectangle 8"/>
          <p:cNvSpPr/>
          <p:nvPr userDrawn="1"/>
        </p:nvSpPr>
        <p:spPr>
          <a:xfrm>
            <a:off x="9945208" y="-9525"/>
            <a:ext cx="2286000" cy="229552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9" name="Picture 18"/>
          <p:cNvPicPr>
            <a:picLocks noChangeAspect="1"/>
          </p:cNvPicPr>
          <p:nvPr userDrawn="1"/>
        </p:nvPicPr>
        <p:blipFill rotWithShape="1">
          <a:blip r:embed="rId3">
            <a:duotone>
              <a:prstClr val="black"/>
              <a:schemeClr val="accent3">
                <a:tint val="45000"/>
                <a:satMod val="400000"/>
              </a:schemeClr>
            </a:duotone>
            <a:extLst>
              <a:ext uri="{28A0092B-C50C-407E-A947-70E740481C1C}">
                <a14:useLocalDpi xmlns:a14="http://schemas.microsoft.com/office/drawing/2010/main" val="0"/>
              </a:ext>
            </a:extLst>
          </a:blip>
          <a:srcRect l="312" t="615" r="31978" b="-615"/>
          <a:stretch/>
        </p:blipFill>
        <p:spPr>
          <a:xfrm>
            <a:off x="7677150" y="4552950"/>
            <a:ext cx="2305050" cy="2305050"/>
          </a:xfrm>
          <a:prstGeom prst="rect">
            <a:avLst/>
          </a:prstGeom>
        </p:spPr>
      </p:pic>
      <p:pic>
        <p:nvPicPr>
          <p:cNvPr id="20" name="Picture 19"/>
          <p:cNvPicPr>
            <a:picLocks noChangeAspect="1"/>
          </p:cNvPicPr>
          <p:nvPr userDrawn="1"/>
        </p:nvPicPr>
        <p:blipFill rotWithShape="1">
          <a:blip r:embed="rId4" cstate="print">
            <a:duotone>
              <a:prstClr val="black"/>
              <a:schemeClr val="accent3">
                <a:tint val="45000"/>
                <a:satMod val="400000"/>
              </a:schemeClr>
            </a:duotone>
            <a:extLst>
              <a:ext uri="{28A0092B-C50C-407E-A947-70E740481C1C}">
                <a14:useLocalDpi xmlns:a14="http://schemas.microsoft.com/office/drawing/2010/main" val="0"/>
              </a:ext>
            </a:extLst>
          </a:blip>
          <a:srcRect l="10834" r="22500"/>
          <a:stretch/>
        </p:blipFill>
        <p:spPr>
          <a:xfrm>
            <a:off x="9944445" y="2285184"/>
            <a:ext cx="2286000" cy="2286000"/>
          </a:xfrm>
          <a:prstGeom prst="rect">
            <a:avLst/>
          </a:prstGeom>
        </p:spPr>
      </p:pic>
      <p:pic>
        <p:nvPicPr>
          <p:cNvPr id="21" name="Picture 20"/>
          <p:cNvPicPr>
            <a:picLocks noChangeAspect="1"/>
          </p:cNvPicPr>
          <p:nvPr userDrawn="1"/>
        </p:nvPicPr>
        <p:blipFill rotWithShape="1">
          <a:blip r:embed="rId5" cstate="print">
            <a:duotone>
              <a:prstClr val="black"/>
              <a:schemeClr val="accent3">
                <a:tint val="45000"/>
                <a:satMod val="400000"/>
              </a:schemeClr>
            </a:duotone>
            <a:extLst>
              <a:ext uri="{28A0092B-C50C-407E-A947-70E740481C1C}">
                <a14:useLocalDpi xmlns:a14="http://schemas.microsoft.com/office/drawing/2010/main" val="0"/>
              </a:ext>
            </a:extLst>
          </a:blip>
          <a:srcRect l="24037" r="4871"/>
          <a:stretch/>
        </p:blipFill>
        <p:spPr>
          <a:xfrm>
            <a:off x="7665940" y="0"/>
            <a:ext cx="2286000" cy="2286000"/>
          </a:xfrm>
          <a:prstGeom prst="rect">
            <a:avLst/>
          </a:prstGeom>
        </p:spPr>
      </p:pic>
      <p:sp>
        <p:nvSpPr>
          <p:cNvPr id="22" name="Rectangle 21"/>
          <p:cNvSpPr/>
          <p:nvPr userDrawn="1"/>
        </p:nvSpPr>
        <p:spPr>
          <a:xfrm>
            <a:off x="9945208" y="4562475"/>
            <a:ext cx="2286000" cy="22860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ectangle 22"/>
          <p:cNvSpPr/>
          <p:nvPr userDrawn="1"/>
        </p:nvSpPr>
        <p:spPr>
          <a:xfrm>
            <a:off x="7665940" y="2276475"/>
            <a:ext cx="2286000" cy="229552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p:cNvSpPr/>
          <p:nvPr userDrawn="1">
            <p:custDataLst>
              <p:tags r:id="rId1"/>
            </p:custDataLst>
          </p:nvPr>
        </p:nvSpPr>
        <p:spPr>
          <a:xfrm>
            <a:off x="7677150" y="3230046"/>
            <a:ext cx="2200275" cy="523220"/>
          </a:xfrm>
          <a:prstGeom prst="rect">
            <a:avLst/>
          </a:prstGeom>
        </p:spPr>
        <p:txBody>
          <a:bodyPr wrap="square">
            <a:spAutoFit/>
          </a:bodyPr>
          <a:lstStyle/>
          <a:p>
            <a:pPr algn="ctr"/>
            <a:r>
              <a:rPr lang="en-US" sz="2800" b="1" dirty="0" smtClean="0">
                <a:solidFill>
                  <a:schemeClr val="tx1"/>
                </a:solidFill>
                <a:latin typeface="Calibri Light" pitchFamily="34" charset="0"/>
              </a:rPr>
              <a:t>Title</a:t>
            </a:r>
            <a:endParaRPr lang="en-US" sz="2800" b="1" dirty="0">
              <a:solidFill>
                <a:schemeClr val="tx1"/>
              </a:solidFill>
              <a:latin typeface="Calibri Light" pitchFamily="34" charset="0"/>
            </a:endParaRPr>
          </a:p>
        </p:txBody>
      </p:sp>
      <p:sp>
        <p:nvSpPr>
          <p:cNvPr id="25" name="Text Placeholder 24"/>
          <p:cNvSpPr>
            <a:spLocks noGrp="1"/>
          </p:cNvSpPr>
          <p:nvPr>
            <p:ph type="body" sz="quarter" idx="10" hasCustomPrompt="1"/>
          </p:nvPr>
        </p:nvSpPr>
        <p:spPr>
          <a:xfrm>
            <a:off x="820128" y="809112"/>
            <a:ext cx="6191250" cy="5389563"/>
          </a:xfrm>
        </p:spPr>
        <p:txBody>
          <a:bodyPr/>
          <a:lstStyle>
            <a:lvl1pPr marL="0" indent="0">
              <a:buNone/>
              <a:defRPr baseline="0"/>
            </a:lvl1pPr>
          </a:lstStyle>
          <a:p>
            <a:pPr lvl="0"/>
            <a:r>
              <a:rPr lang="en-US" dirty="0" smtClean="0"/>
              <a:t>Insert content</a:t>
            </a:r>
            <a:endParaRPr lang="en-US" dirty="0"/>
          </a:p>
        </p:txBody>
      </p:sp>
      <p:sp>
        <p:nvSpPr>
          <p:cNvPr id="18" name="AutoShape 135"/>
          <p:cNvSpPr>
            <a:spLocks/>
          </p:cNvSpPr>
          <p:nvPr userDrawn="1"/>
        </p:nvSpPr>
        <p:spPr bwMode="auto">
          <a:xfrm>
            <a:off x="10652805" y="871111"/>
            <a:ext cx="869280" cy="551671"/>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0249" y="18681"/>
                </a:moveTo>
                <a:lnTo>
                  <a:pt x="19651" y="18681"/>
                </a:lnTo>
                <a:lnTo>
                  <a:pt x="19575" y="18681"/>
                </a:lnTo>
                <a:lnTo>
                  <a:pt x="16874" y="14754"/>
                </a:lnTo>
                <a:lnTo>
                  <a:pt x="16874" y="14727"/>
                </a:lnTo>
                <a:lnTo>
                  <a:pt x="16199" y="13745"/>
                </a:lnTo>
                <a:lnTo>
                  <a:pt x="16199" y="7854"/>
                </a:lnTo>
                <a:lnTo>
                  <a:pt x="19575" y="2945"/>
                </a:lnTo>
                <a:lnTo>
                  <a:pt x="19651" y="2945"/>
                </a:lnTo>
                <a:lnTo>
                  <a:pt x="20249" y="2945"/>
                </a:lnTo>
                <a:cubicBezTo>
                  <a:pt x="20249" y="2945"/>
                  <a:pt x="20249" y="18681"/>
                  <a:pt x="20249" y="18681"/>
                </a:cubicBezTo>
                <a:close/>
                <a:moveTo>
                  <a:pt x="2024" y="19636"/>
                </a:moveTo>
                <a:cubicBezTo>
                  <a:pt x="1651" y="19636"/>
                  <a:pt x="1349" y="19195"/>
                  <a:pt x="1349" y="18654"/>
                </a:cubicBezTo>
                <a:lnTo>
                  <a:pt x="1349" y="2945"/>
                </a:lnTo>
                <a:cubicBezTo>
                  <a:pt x="1349" y="2402"/>
                  <a:pt x="1651" y="1963"/>
                  <a:pt x="2024" y="1963"/>
                </a:cubicBezTo>
                <a:lnTo>
                  <a:pt x="14849" y="1963"/>
                </a:lnTo>
                <a:cubicBezTo>
                  <a:pt x="15221" y="1963"/>
                  <a:pt x="15524" y="2403"/>
                  <a:pt x="15524" y="2945"/>
                </a:cubicBezTo>
                <a:lnTo>
                  <a:pt x="15524" y="18654"/>
                </a:lnTo>
                <a:cubicBezTo>
                  <a:pt x="15524" y="19195"/>
                  <a:pt x="15221" y="19636"/>
                  <a:pt x="14849" y="19636"/>
                </a:cubicBezTo>
                <a:cubicBezTo>
                  <a:pt x="14849" y="19636"/>
                  <a:pt x="2024" y="19636"/>
                  <a:pt x="2024" y="19636"/>
                </a:cubicBezTo>
                <a:close/>
                <a:moveTo>
                  <a:pt x="20249" y="981"/>
                </a:moveTo>
                <a:lnTo>
                  <a:pt x="19651" y="981"/>
                </a:lnTo>
                <a:cubicBezTo>
                  <a:pt x="19296" y="981"/>
                  <a:pt x="18956" y="1185"/>
                  <a:pt x="18703" y="1547"/>
                </a:cubicBezTo>
                <a:lnTo>
                  <a:pt x="16874" y="4170"/>
                </a:lnTo>
                <a:lnTo>
                  <a:pt x="16874" y="2945"/>
                </a:lnTo>
                <a:cubicBezTo>
                  <a:pt x="16874" y="1317"/>
                  <a:pt x="15967" y="0"/>
                  <a:pt x="14849" y="0"/>
                </a:cubicBezTo>
                <a:lnTo>
                  <a:pt x="2024" y="0"/>
                </a:lnTo>
                <a:cubicBezTo>
                  <a:pt x="908" y="0"/>
                  <a:pt x="0" y="1320"/>
                  <a:pt x="0" y="2945"/>
                </a:cubicBezTo>
                <a:lnTo>
                  <a:pt x="0" y="9789"/>
                </a:lnTo>
                <a:lnTo>
                  <a:pt x="0" y="18654"/>
                </a:lnTo>
                <a:cubicBezTo>
                  <a:pt x="0" y="20281"/>
                  <a:pt x="905" y="21599"/>
                  <a:pt x="2024" y="21599"/>
                </a:cubicBezTo>
                <a:lnTo>
                  <a:pt x="14849" y="21599"/>
                </a:lnTo>
                <a:cubicBezTo>
                  <a:pt x="15967" y="21599"/>
                  <a:pt x="16874" y="20281"/>
                  <a:pt x="16874" y="18654"/>
                </a:cubicBezTo>
                <a:lnTo>
                  <a:pt x="16874" y="17456"/>
                </a:lnTo>
                <a:lnTo>
                  <a:pt x="18703" y="20079"/>
                </a:lnTo>
                <a:cubicBezTo>
                  <a:pt x="18956" y="20442"/>
                  <a:pt x="19296" y="20645"/>
                  <a:pt x="19651" y="20645"/>
                </a:cubicBezTo>
                <a:lnTo>
                  <a:pt x="20249" y="20645"/>
                </a:lnTo>
                <a:cubicBezTo>
                  <a:pt x="20994" y="20645"/>
                  <a:pt x="21600" y="19765"/>
                  <a:pt x="21600" y="18681"/>
                </a:cubicBezTo>
                <a:lnTo>
                  <a:pt x="21600" y="2945"/>
                </a:lnTo>
                <a:cubicBezTo>
                  <a:pt x="21600" y="1860"/>
                  <a:pt x="20994" y="981"/>
                  <a:pt x="20249" y="981"/>
                </a:cubicBezTo>
              </a:path>
            </a:pathLst>
          </a:custGeom>
          <a:solidFill>
            <a:schemeClr val="tx1"/>
          </a:solidFill>
          <a:ln>
            <a:solidFill>
              <a:schemeClr val="tx1"/>
            </a:solidFill>
          </a:ln>
          <a:effectLst/>
          <a:extLs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50800" tIns="50800" rIns="50800" bIns="50800" anchor="ctr"/>
          <a:lstStyle/>
          <a:p>
            <a:pPr defTabSz="609585"/>
            <a:endParaRPr lang="en-US" sz="4000" dirty="0">
              <a:solidFill>
                <a:srgbClr val="FFFFFF"/>
              </a:solidFill>
              <a:effectLst>
                <a:outerShdw blurRad="38100" dist="38100" dir="2700000" algn="tl">
                  <a:srgbClr val="000000"/>
                </a:outerShdw>
              </a:effectLst>
            </a:endParaRPr>
          </a:p>
        </p:txBody>
      </p:sp>
      <p:grpSp>
        <p:nvGrpSpPr>
          <p:cNvPr id="24" name="Group 23"/>
          <p:cNvGrpSpPr/>
          <p:nvPr userDrawn="1"/>
        </p:nvGrpSpPr>
        <p:grpSpPr>
          <a:xfrm>
            <a:off x="10654286" y="5305069"/>
            <a:ext cx="867799" cy="800812"/>
            <a:chOff x="7111313" y="1066192"/>
            <a:chExt cx="488068" cy="488067"/>
          </a:xfrm>
          <a:solidFill>
            <a:schemeClr val="tx1"/>
          </a:solidFill>
        </p:grpSpPr>
        <p:sp>
          <p:nvSpPr>
            <p:cNvPr id="26" name="AutoShape 56"/>
            <p:cNvSpPr>
              <a:spLocks/>
            </p:cNvSpPr>
            <p:nvPr/>
          </p:nvSpPr>
          <p:spPr bwMode="auto">
            <a:xfrm>
              <a:off x="7111313" y="1066192"/>
              <a:ext cx="152677" cy="488067"/>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6988" y="7316"/>
                  </a:moveTo>
                  <a:cubicBezTo>
                    <a:pt x="16954" y="7352"/>
                    <a:pt x="16923" y="7387"/>
                    <a:pt x="16883" y="7423"/>
                  </a:cubicBezTo>
                  <a:cubicBezTo>
                    <a:pt x="16677" y="7601"/>
                    <a:pt x="16414" y="7770"/>
                    <a:pt x="16066" y="7920"/>
                  </a:cubicBezTo>
                  <a:cubicBezTo>
                    <a:pt x="16057" y="7924"/>
                    <a:pt x="16044" y="7927"/>
                    <a:pt x="16038" y="7931"/>
                  </a:cubicBezTo>
                  <a:cubicBezTo>
                    <a:pt x="15662" y="8092"/>
                    <a:pt x="15214" y="8234"/>
                    <a:pt x="14705" y="8354"/>
                  </a:cubicBezTo>
                  <a:cubicBezTo>
                    <a:pt x="14697" y="8357"/>
                    <a:pt x="14692" y="8358"/>
                    <a:pt x="14686" y="8359"/>
                  </a:cubicBezTo>
                  <a:cubicBezTo>
                    <a:pt x="14163" y="8482"/>
                    <a:pt x="13584" y="8581"/>
                    <a:pt x="12960" y="8649"/>
                  </a:cubicBezTo>
                  <a:cubicBezTo>
                    <a:pt x="12279" y="8726"/>
                    <a:pt x="11560" y="8774"/>
                    <a:pt x="10800" y="8774"/>
                  </a:cubicBezTo>
                  <a:cubicBezTo>
                    <a:pt x="10037" y="8774"/>
                    <a:pt x="9318" y="8726"/>
                    <a:pt x="8640" y="8649"/>
                  </a:cubicBezTo>
                  <a:cubicBezTo>
                    <a:pt x="8016" y="8581"/>
                    <a:pt x="7435" y="8482"/>
                    <a:pt x="6914" y="8359"/>
                  </a:cubicBezTo>
                  <a:cubicBezTo>
                    <a:pt x="6908" y="8358"/>
                    <a:pt x="6901" y="8357"/>
                    <a:pt x="6893" y="8354"/>
                  </a:cubicBezTo>
                  <a:cubicBezTo>
                    <a:pt x="6385" y="8234"/>
                    <a:pt x="5937" y="8092"/>
                    <a:pt x="5562" y="7931"/>
                  </a:cubicBezTo>
                  <a:cubicBezTo>
                    <a:pt x="5553" y="7927"/>
                    <a:pt x="5541" y="7924"/>
                    <a:pt x="5531" y="7920"/>
                  </a:cubicBezTo>
                  <a:cubicBezTo>
                    <a:pt x="5184" y="7770"/>
                    <a:pt x="4921" y="7601"/>
                    <a:pt x="4715" y="7423"/>
                  </a:cubicBezTo>
                  <a:cubicBezTo>
                    <a:pt x="4676" y="7387"/>
                    <a:pt x="4644" y="7352"/>
                    <a:pt x="4612" y="7316"/>
                  </a:cubicBezTo>
                  <a:cubicBezTo>
                    <a:pt x="4437" y="7136"/>
                    <a:pt x="4320" y="6947"/>
                    <a:pt x="4320" y="6750"/>
                  </a:cubicBezTo>
                  <a:cubicBezTo>
                    <a:pt x="4320" y="6550"/>
                    <a:pt x="4437" y="6362"/>
                    <a:pt x="4612" y="6181"/>
                  </a:cubicBezTo>
                  <a:cubicBezTo>
                    <a:pt x="4644" y="6146"/>
                    <a:pt x="4676" y="6110"/>
                    <a:pt x="4715" y="6076"/>
                  </a:cubicBezTo>
                  <a:cubicBezTo>
                    <a:pt x="4921" y="5898"/>
                    <a:pt x="5184" y="5729"/>
                    <a:pt x="5531" y="5577"/>
                  </a:cubicBezTo>
                  <a:cubicBezTo>
                    <a:pt x="5541" y="5574"/>
                    <a:pt x="5553" y="5571"/>
                    <a:pt x="5562" y="5567"/>
                  </a:cubicBezTo>
                  <a:cubicBezTo>
                    <a:pt x="5937" y="5407"/>
                    <a:pt x="6385" y="5264"/>
                    <a:pt x="6893" y="5144"/>
                  </a:cubicBezTo>
                  <a:cubicBezTo>
                    <a:pt x="6901" y="5142"/>
                    <a:pt x="6908" y="5140"/>
                    <a:pt x="6914" y="5138"/>
                  </a:cubicBezTo>
                  <a:cubicBezTo>
                    <a:pt x="7435" y="5017"/>
                    <a:pt x="8016" y="4918"/>
                    <a:pt x="8640" y="4848"/>
                  </a:cubicBezTo>
                  <a:cubicBezTo>
                    <a:pt x="9318" y="4773"/>
                    <a:pt x="10037" y="4725"/>
                    <a:pt x="10800" y="4725"/>
                  </a:cubicBezTo>
                  <a:cubicBezTo>
                    <a:pt x="11560" y="4725"/>
                    <a:pt x="12279" y="4773"/>
                    <a:pt x="12960" y="4848"/>
                  </a:cubicBezTo>
                  <a:cubicBezTo>
                    <a:pt x="13584" y="4918"/>
                    <a:pt x="14163" y="5017"/>
                    <a:pt x="14686" y="5138"/>
                  </a:cubicBezTo>
                  <a:cubicBezTo>
                    <a:pt x="14692" y="5140"/>
                    <a:pt x="14697" y="5142"/>
                    <a:pt x="14705" y="5144"/>
                  </a:cubicBezTo>
                  <a:cubicBezTo>
                    <a:pt x="15214" y="5264"/>
                    <a:pt x="15662" y="5407"/>
                    <a:pt x="16038" y="5567"/>
                  </a:cubicBezTo>
                  <a:cubicBezTo>
                    <a:pt x="16044" y="5571"/>
                    <a:pt x="16057" y="5574"/>
                    <a:pt x="16066" y="5577"/>
                  </a:cubicBezTo>
                  <a:cubicBezTo>
                    <a:pt x="16414" y="5729"/>
                    <a:pt x="16677" y="5898"/>
                    <a:pt x="16883" y="6076"/>
                  </a:cubicBezTo>
                  <a:cubicBezTo>
                    <a:pt x="16923" y="6110"/>
                    <a:pt x="16954" y="6146"/>
                    <a:pt x="16988" y="6181"/>
                  </a:cubicBezTo>
                  <a:cubicBezTo>
                    <a:pt x="17161" y="6362"/>
                    <a:pt x="17280" y="6550"/>
                    <a:pt x="17280" y="6750"/>
                  </a:cubicBezTo>
                  <a:cubicBezTo>
                    <a:pt x="17280" y="6947"/>
                    <a:pt x="17161" y="7136"/>
                    <a:pt x="16988" y="7316"/>
                  </a:cubicBezTo>
                  <a:moveTo>
                    <a:pt x="12960" y="19575"/>
                  </a:moveTo>
                  <a:cubicBezTo>
                    <a:pt x="12960" y="19948"/>
                    <a:pt x="11992" y="20249"/>
                    <a:pt x="10800" y="20249"/>
                  </a:cubicBezTo>
                  <a:cubicBezTo>
                    <a:pt x="9606" y="20249"/>
                    <a:pt x="8640" y="19948"/>
                    <a:pt x="8640" y="19575"/>
                  </a:cubicBezTo>
                  <a:lnTo>
                    <a:pt x="8640" y="10056"/>
                  </a:lnTo>
                  <a:cubicBezTo>
                    <a:pt x="9338" y="10101"/>
                    <a:pt x="10059" y="10124"/>
                    <a:pt x="10800" y="10124"/>
                  </a:cubicBezTo>
                  <a:cubicBezTo>
                    <a:pt x="11541" y="10124"/>
                    <a:pt x="12262" y="10101"/>
                    <a:pt x="12960" y="10056"/>
                  </a:cubicBezTo>
                  <a:cubicBezTo>
                    <a:pt x="12960" y="10056"/>
                    <a:pt x="12960" y="19575"/>
                    <a:pt x="12960" y="19575"/>
                  </a:cubicBezTo>
                  <a:close/>
                  <a:moveTo>
                    <a:pt x="8640" y="2025"/>
                  </a:moveTo>
                  <a:cubicBezTo>
                    <a:pt x="8640" y="1651"/>
                    <a:pt x="9606" y="1350"/>
                    <a:pt x="10800" y="1350"/>
                  </a:cubicBezTo>
                  <a:cubicBezTo>
                    <a:pt x="11992" y="1350"/>
                    <a:pt x="12960" y="1651"/>
                    <a:pt x="12960" y="2025"/>
                  </a:cubicBezTo>
                  <a:lnTo>
                    <a:pt x="12960" y="3442"/>
                  </a:lnTo>
                  <a:cubicBezTo>
                    <a:pt x="12262" y="3398"/>
                    <a:pt x="11541" y="3375"/>
                    <a:pt x="10800" y="3375"/>
                  </a:cubicBezTo>
                  <a:cubicBezTo>
                    <a:pt x="10059" y="3375"/>
                    <a:pt x="9338" y="3398"/>
                    <a:pt x="8640" y="3442"/>
                  </a:cubicBezTo>
                  <a:cubicBezTo>
                    <a:pt x="8640" y="3442"/>
                    <a:pt x="8640" y="2025"/>
                    <a:pt x="8640" y="2025"/>
                  </a:cubicBezTo>
                  <a:close/>
                  <a:moveTo>
                    <a:pt x="17280" y="4064"/>
                  </a:moveTo>
                  <a:lnTo>
                    <a:pt x="17280" y="2025"/>
                  </a:lnTo>
                  <a:cubicBezTo>
                    <a:pt x="17280" y="908"/>
                    <a:pt x="14373" y="0"/>
                    <a:pt x="10800" y="0"/>
                  </a:cubicBezTo>
                  <a:cubicBezTo>
                    <a:pt x="7225" y="0"/>
                    <a:pt x="4320" y="908"/>
                    <a:pt x="4320" y="2025"/>
                  </a:cubicBezTo>
                  <a:lnTo>
                    <a:pt x="4320" y="4064"/>
                  </a:lnTo>
                  <a:cubicBezTo>
                    <a:pt x="1710" y="4681"/>
                    <a:pt x="0" y="5649"/>
                    <a:pt x="0" y="6750"/>
                  </a:cubicBezTo>
                  <a:cubicBezTo>
                    <a:pt x="0" y="7850"/>
                    <a:pt x="1710" y="8818"/>
                    <a:pt x="4320" y="9434"/>
                  </a:cubicBezTo>
                  <a:lnTo>
                    <a:pt x="4320" y="19575"/>
                  </a:lnTo>
                  <a:cubicBezTo>
                    <a:pt x="4320" y="20691"/>
                    <a:pt x="7225" y="21599"/>
                    <a:pt x="10800" y="21599"/>
                  </a:cubicBezTo>
                  <a:cubicBezTo>
                    <a:pt x="14373" y="21599"/>
                    <a:pt x="17280" y="20691"/>
                    <a:pt x="17280" y="19575"/>
                  </a:cubicBezTo>
                  <a:lnTo>
                    <a:pt x="17280" y="9434"/>
                  </a:lnTo>
                  <a:cubicBezTo>
                    <a:pt x="19889" y="8818"/>
                    <a:pt x="21600" y="7850"/>
                    <a:pt x="21600" y="6750"/>
                  </a:cubicBezTo>
                  <a:cubicBezTo>
                    <a:pt x="21600" y="5649"/>
                    <a:pt x="19889" y="4681"/>
                    <a:pt x="17280" y="4064"/>
                  </a:cubicBezTo>
                </a:path>
              </a:pathLst>
            </a:custGeom>
            <a:grpFill/>
            <a:ln>
              <a:solidFill>
                <a:schemeClr val="tx1"/>
              </a:solidFill>
            </a:ln>
            <a:effectLst/>
            <a:extLs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50800" tIns="50800" rIns="50800" bIns="50800" anchor="ctr"/>
            <a:lstStyle/>
            <a:p>
              <a:pPr defTabSz="609585"/>
              <a:endParaRPr lang="en-US" sz="4000" dirty="0">
                <a:solidFill>
                  <a:srgbClr val="FFFFFF"/>
                </a:solidFill>
                <a:effectLst>
                  <a:outerShdw blurRad="38100" dist="38100" dir="2700000" algn="tl">
                    <a:srgbClr val="000000"/>
                  </a:outerShdw>
                </a:effectLst>
              </a:endParaRPr>
            </a:p>
          </p:txBody>
        </p:sp>
        <p:sp>
          <p:nvSpPr>
            <p:cNvPr id="27" name="AutoShape 57"/>
            <p:cNvSpPr>
              <a:spLocks/>
            </p:cNvSpPr>
            <p:nvPr/>
          </p:nvSpPr>
          <p:spPr bwMode="auto">
            <a:xfrm>
              <a:off x="7446704" y="1066192"/>
              <a:ext cx="152677" cy="488067"/>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6988" y="7316"/>
                  </a:moveTo>
                  <a:cubicBezTo>
                    <a:pt x="16954" y="7352"/>
                    <a:pt x="16923" y="7387"/>
                    <a:pt x="16883" y="7423"/>
                  </a:cubicBezTo>
                  <a:cubicBezTo>
                    <a:pt x="16677" y="7601"/>
                    <a:pt x="16414" y="7770"/>
                    <a:pt x="16066" y="7920"/>
                  </a:cubicBezTo>
                  <a:cubicBezTo>
                    <a:pt x="16057" y="7924"/>
                    <a:pt x="16044" y="7927"/>
                    <a:pt x="16038" y="7931"/>
                  </a:cubicBezTo>
                  <a:cubicBezTo>
                    <a:pt x="15662" y="8092"/>
                    <a:pt x="15214" y="8234"/>
                    <a:pt x="14705" y="8354"/>
                  </a:cubicBezTo>
                  <a:cubicBezTo>
                    <a:pt x="14697" y="8357"/>
                    <a:pt x="14692" y="8358"/>
                    <a:pt x="14686" y="8359"/>
                  </a:cubicBezTo>
                  <a:cubicBezTo>
                    <a:pt x="14163" y="8482"/>
                    <a:pt x="13584" y="8581"/>
                    <a:pt x="12960" y="8649"/>
                  </a:cubicBezTo>
                  <a:cubicBezTo>
                    <a:pt x="12279" y="8726"/>
                    <a:pt x="11560" y="8774"/>
                    <a:pt x="10800" y="8774"/>
                  </a:cubicBezTo>
                  <a:cubicBezTo>
                    <a:pt x="10037" y="8774"/>
                    <a:pt x="9318" y="8726"/>
                    <a:pt x="8640" y="8649"/>
                  </a:cubicBezTo>
                  <a:cubicBezTo>
                    <a:pt x="8016" y="8581"/>
                    <a:pt x="7435" y="8482"/>
                    <a:pt x="6914" y="8359"/>
                  </a:cubicBezTo>
                  <a:cubicBezTo>
                    <a:pt x="6908" y="8358"/>
                    <a:pt x="6901" y="8357"/>
                    <a:pt x="6893" y="8354"/>
                  </a:cubicBezTo>
                  <a:cubicBezTo>
                    <a:pt x="6385" y="8234"/>
                    <a:pt x="5937" y="8092"/>
                    <a:pt x="5562" y="7931"/>
                  </a:cubicBezTo>
                  <a:cubicBezTo>
                    <a:pt x="5553" y="7927"/>
                    <a:pt x="5541" y="7924"/>
                    <a:pt x="5531" y="7920"/>
                  </a:cubicBezTo>
                  <a:cubicBezTo>
                    <a:pt x="5184" y="7770"/>
                    <a:pt x="4921" y="7601"/>
                    <a:pt x="4715" y="7423"/>
                  </a:cubicBezTo>
                  <a:cubicBezTo>
                    <a:pt x="4676" y="7387"/>
                    <a:pt x="4644" y="7352"/>
                    <a:pt x="4612" y="7316"/>
                  </a:cubicBezTo>
                  <a:cubicBezTo>
                    <a:pt x="4437" y="7136"/>
                    <a:pt x="4320" y="6947"/>
                    <a:pt x="4320" y="6750"/>
                  </a:cubicBezTo>
                  <a:cubicBezTo>
                    <a:pt x="4320" y="6550"/>
                    <a:pt x="4437" y="6362"/>
                    <a:pt x="4612" y="6181"/>
                  </a:cubicBezTo>
                  <a:cubicBezTo>
                    <a:pt x="4644" y="6146"/>
                    <a:pt x="4676" y="6110"/>
                    <a:pt x="4715" y="6076"/>
                  </a:cubicBezTo>
                  <a:cubicBezTo>
                    <a:pt x="4921" y="5898"/>
                    <a:pt x="5184" y="5729"/>
                    <a:pt x="5531" y="5577"/>
                  </a:cubicBezTo>
                  <a:cubicBezTo>
                    <a:pt x="5541" y="5574"/>
                    <a:pt x="5553" y="5571"/>
                    <a:pt x="5562" y="5567"/>
                  </a:cubicBezTo>
                  <a:cubicBezTo>
                    <a:pt x="5937" y="5407"/>
                    <a:pt x="6385" y="5264"/>
                    <a:pt x="6893" y="5144"/>
                  </a:cubicBezTo>
                  <a:cubicBezTo>
                    <a:pt x="6901" y="5142"/>
                    <a:pt x="6908" y="5140"/>
                    <a:pt x="6914" y="5138"/>
                  </a:cubicBezTo>
                  <a:cubicBezTo>
                    <a:pt x="7435" y="5017"/>
                    <a:pt x="8016" y="4918"/>
                    <a:pt x="8640" y="4848"/>
                  </a:cubicBezTo>
                  <a:cubicBezTo>
                    <a:pt x="9318" y="4773"/>
                    <a:pt x="10037" y="4725"/>
                    <a:pt x="10800" y="4725"/>
                  </a:cubicBezTo>
                  <a:cubicBezTo>
                    <a:pt x="11560" y="4725"/>
                    <a:pt x="12279" y="4773"/>
                    <a:pt x="12960" y="4848"/>
                  </a:cubicBezTo>
                  <a:cubicBezTo>
                    <a:pt x="13584" y="4918"/>
                    <a:pt x="14163" y="5017"/>
                    <a:pt x="14686" y="5138"/>
                  </a:cubicBezTo>
                  <a:cubicBezTo>
                    <a:pt x="14692" y="5140"/>
                    <a:pt x="14697" y="5142"/>
                    <a:pt x="14705" y="5144"/>
                  </a:cubicBezTo>
                  <a:cubicBezTo>
                    <a:pt x="15214" y="5264"/>
                    <a:pt x="15662" y="5407"/>
                    <a:pt x="16038" y="5567"/>
                  </a:cubicBezTo>
                  <a:cubicBezTo>
                    <a:pt x="16044" y="5571"/>
                    <a:pt x="16057" y="5574"/>
                    <a:pt x="16066" y="5577"/>
                  </a:cubicBezTo>
                  <a:cubicBezTo>
                    <a:pt x="16414" y="5729"/>
                    <a:pt x="16677" y="5898"/>
                    <a:pt x="16883" y="6076"/>
                  </a:cubicBezTo>
                  <a:cubicBezTo>
                    <a:pt x="16923" y="6110"/>
                    <a:pt x="16954" y="6146"/>
                    <a:pt x="16988" y="6181"/>
                  </a:cubicBezTo>
                  <a:cubicBezTo>
                    <a:pt x="17161" y="6362"/>
                    <a:pt x="17280" y="6550"/>
                    <a:pt x="17280" y="6750"/>
                  </a:cubicBezTo>
                  <a:cubicBezTo>
                    <a:pt x="17280" y="6947"/>
                    <a:pt x="17161" y="7136"/>
                    <a:pt x="16988" y="7316"/>
                  </a:cubicBezTo>
                  <a:moveTo>
                    <a:pt x="12960" y="19575"/>
                  </a:moveTo>
                  <a:cubicBezTo>
                    <a:pt x="12960" y="19948"/>
                    <a:pt x="11992" y="20249"/>
                    <a:pt x="10800" y="20249"/>
                  </a:cubicBezTo>
                  <a:cubicBezTo>
                    <a:pt x="9606" y="20249"/>
                    <a:pt x="8640" y="19948"/>
                    <a:pt x="8640" y="19575"/>
                  </a:cubicBezTo>
                  <a:lnTo>
                    <a:pt x="8640" y="10056"/>
                  </a:lnTo>
                  <a:cubicBezTo>
                    <a:pt x="9338" y="10101"/>
                    <a:pt x="10059" y="10124"/>
                    <a:pt x="10800" y="10124"/>
                  </a:cubicBezTo>
                  <a:cubicBezTo>
                    <a:pt x="11541" y="10124"/>
                    <a:pt x="12262" y="10101"/>
                    <a:pt x="12960" y="10056"/>
                  </a:cubicBezTo>
                  <a:cubicBezTo>
                    <a:pt x="12960" y="10056"/>
                    <a:pt x="12960" y="19575"/>
                    <a:pt x="12960" y="19575"/>
                  </a:cubicBezTo>
                  <a:close/>
                  <a:moveTo>
                    <a:pt x="8640" y="2025"/>
                  </a:moveTo>
                  <a:cubicBezTo>
                    <a:pt x="8640" y="1651"/>
                    <a:pt x="9606" y="1350"/>
                    <a:pt x="10800" y="1350"/>
                  </a:cubicBezTo>
                  <a:cubicBezTo>
                    <a:pt x="11992" y="1350"/>
                    <a:pt x="12960" y="1651"/>
                    <a:pt x="12960" y="2025"/>
                  </a:cubicBezTo>
                  <a:lnTo>
                    <a:pt x="12960" y="3442"/>
                  </a:lnTo>
                  <a:cubicBezTo>
                    <a:pt x="12262" y="3398"/>
                    <a:pt x="11541" y="3375"/>
                    <a:pt x="10800" y="3375"/>
                  </a:cubicBezTo>
                  <a:cubicBezTo>
                    <a:pt x="10059" y="3375"/>
                    <a:pt x="9338" y="3398"/>
                    <a:pt x="8640" y="3442"/>
                  </a:cubicBezTo>
                  <a:cubicBezTo>
                    <a:pt x="8640" y="3442"/>
                    <a:pt x="8640" y="2025"/>
                    <a:pt x="8640" y="2025"/>
                  </a:cubicBezTo>
                  <a:close/>
                  <a:moveTo>
                    <a:pt x="17280" y="4064"/>
                  </a:moveTo>
                  <a:lnTo>
                    <a:pt x="17280" y="2025"/>
                  </a:lnTo>
                  <a:cubicBezTo>
                    <a:pt x="17280" y="908"/>
                    <a:pt x="14373" y="0"/>
                    <a:pt x="10800" y="0"/>
                  </a:cubicBezTo>
                  <a:cubicBezTo>
                    <a:pt x="7225" y="0"/>
                    <a:pt x="4320" y="908"/>
                    <a:pt x="4320" y="2025"/>
                  </a:cubicBezTo>
                  <a:lnTo>
                    <a:pt x="4320" y="4064"/>
                  </a:lnTo>
                  <a:cubicBezTo>
                    <a:pt x="1710" y="4681"/>
                    <a:pt x="0" y="5649"/>
                    <a:pt x="0" y="6750"/>
                  </a:cubicBezTo>
                  <a:cubicBezTo>
                    <a:pt x="0" y="7850"/>
                    <a:pt x="1710" y="8818"/>
                    <a:pt x="4320" y="9434"/>
                  </a:cubicBezTo>
                  <a:lnTo>
                    <a:pt x="4320" y="19575"/>
                  </a:lnTo>
                  <a:cubicBezTo>
                    <a:pt x="4320" y="20691"/>
                    <a:pt x="7225" y="21599"/>
                    <a:pt x="10800" y="21599"/>
                  </a:cubicBezTo>
                  <a:cubicBezTo>
                    <a:pt x="14373" y="21599"/>
                    <a:pt x="17280" y="20691"/>
                    <a:pt x="17280" y="19575"/>
                  </a:cubicBezTo>
                  <a:lnTo>
                    <a:pt x="17280" y="9434"/>
                  </a:lnTo>
                  <a:cubicBezTo>
                    <a:pt x="19889" y="8818"/>
                    <a:pt x="21600" y="7850"/>
                    <a:pt x="21600" y="6750"/>
                  </a:cubicBezTo>
                  <a:cubicBezTo>
                    <a:pt x="21600" y="5649"/>
                    <a:pt x="19889" y="4681"/>
                    <a:pt x="17280" y="4064"/>
                  </a:cubicBezTo>
                </a:path>
              </a:pathLst>
            </a:custGeom>
            <a:grpFill/>
            <a:ln>
              <a:solidFill>
                <a:schemeClr val="tx1"/>
              </a:solidFill>
            </a:ln>
            <a:effectLst/>
            <a:extLs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50800" tIns="50800" rIns="50800" bIns="50800" anchor="ctr"/>
            <a:lstStyle/>
            <a:p>
              <a:pPr defTabSz="609585"/>
              <a:endParaRPr lang="en-US" sz="4000" dirty="0">
                <a:solidFill>
                  <a:srgbClr val="FFFFFF"/>
                </a:solidFill>
                <a:effectLst>
                  <a:outerShdw blurRad="38100" dist="38100" dir="2700000" algn="tl">
                    <a:srgbClr val="000000"/>
                  </a:outerShdw>
                </a:effectLst>
              </a:endParaRPr>
            </a:p>
          </p:txBody>
        </p:sp>
        <p:sp>
          <p:nvSpPr>
            <p:cNvPr id="28" name="AutoShape 58"/>
            <p:cNvSpPr>
              <a:spLocks/>
            </p:cNvSpPr>
            <p:nvPr/>
          </p:nvSpPr>
          <p:spPr bwMode="auto">
            <a:xfrm>
              <a:off x="7279008" y="1066192"/>
              <a:ext cx="152677" cy="488067"/>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6988" y="15416"/>
                  </a:moveTo>
                  <a:cubicBezTo>
                    <a:pt x="16954" y="15452"/>
                    <a:pt x="16923" y="15487"/>
                    <a:pt x="16883" y="15523"/>
                  </a:cubicBezTo>
                  <a:cubicBezTo>
                    <a:pt x="16677" y="15701"/>
                    <a:pt x="16414" y="15870"/>
                    <a:pt x="16066" y="16020"/>
                  </a:cubicBezTo>
                  <a:cubicBezTo>
                    <a:pt x="16057" y="16024"/>
                    <a:pt x="16044" y="16027"/>
                    <a:pt x="16038" y="16031"/>
                  </a:cubicBezTo>
                  <a:cubicBezTo>
                    <a:pt x="15662" y="16192"/>
                    <a:pt x="15214" y="16334"/>
                    <a:pt x="14705" y="16454"/>
                  </a:cubicBezTo>
                  <a:cubicBezTo>
                    <a:pt x="14697" y="16457"/>
                    <a:pt x="14692" y="16458"/>
                    <a:pt x="14686" y="16459"/>
                  </a:cubicBezTo>
                  <a:cubicBezTo>
                    <a:pt x="14163" y="16582"/>
                    <a:pt x="13584" y="16681"/>
                    <a:pt x="12960" y="16749"/>
                  </a:cubicBezTo>
                  <a:cubicBezTo>
                    <a:pt x="12279" y="16826"/>
                    <a:pt x="11560" y="16875"/>
                    <a:pt x="10800" y="16875"/>
                  </a:cubicBezTo>
                  <a:cubicBezTo>
                    <a:pt x="10037" y="16875"/>
                    <a:pt x="9318" y="16826"/>
                    <a:pt x="8640" y="16749"/>
                  </a:cubicBezTo>
                  <a:cubicBezTo>
                    <a:pt x="8016" y="16681"/>
                    <a:pt x="7435" y="16582"/>
                    <a:pt x="6914" y="16459"/>
                  </a:cubicBezTo>
                  <a:cubicBezTo>
                    <a:pt x="6908" y="16458"/>
                    <a:pt x="6901" y="16457"/>
                    <a:pt x="6893" y="16454"/>
                  </a:cubicBezTo>
                  <a:cubicBezTo>
                    <a:pt x="6385" y="16334"/>
                    <a:pt x="5937" y="16192"/>
                    <a:pt x="5562" y="16031"/>
                  </a:cubicBezTo>
                  <a:cubicBezTo>
                    <a:pt x="5553" y="16027"/>
                    <a:pt x="5541" y="16024"/>
                    <a:pt x="5531" y="16020"/>
                  </a:cubicBezTo>
                  <a:cubicBezTo>
                    <a:pt x="5184" y="15870"/>
                    <a:pt x="4921" y="15701"/>
                    <a:pt x="4715" y="15523"/>
                  </a:cubicBezTo>
                  <a:cubicBezTo>
                    <a:pt x="4676" y="15487"/>
                    <a:pt x="4644" y="15452"/>
                    <a:pt x="4612" y="15416"/>
                  </a:cubicBezTo>
                  <a:cubicBezTo>
                    <a:pt x="4437" y="15236"/>
                    <a:pt x="4320" y="15047"/>
                    <a:pt x="4320" y="14850"/>
                  </a:cubicBezTo>
                  <a:cubicBezTo>
                    <a:pt x="4320" y="14650"/>
                    <a:pt x="4437" y="14462"/>
                    <a:pt x="4612" y="14281"/>
                  </a:cubicBezTo>
                  <a:cubicBezTo>
                    <a:pt x="4644" y="14246"/>
                    <a:pt x="4676" y="14210"/>
                    <a:pt x="4715" y="14176"/>
                  </a:cubicBezTo>
                  <a:cubicBezTo>
                    <a:pt x="4921" y="13998"/>
                    <a:pt x="5184" y="13829"/>
                    <a:pt x="5531" y="13677"/>
                  </a:cubicBezTo>
                  <a:cubicBezTo>
                    <a:pt x="5541" y="13674"/>
                    <a:pt x="5553" y="13671"/>
                    <a:pt x="5562" y="13667"/>
                  </a:cubicBezTo>
                  <a:cubicBezTo>
                    <a:pt x="5937" y="13507"/>
                    <a:pt x="6385" y="13364"/>
                    <a:pt x="6893" y="13244"/>
                  </a:cubicBezTo>
                  <a:cubicBezTo>
                    <a:pt x="6901" y="13242"/>
                    <a:pt x="6908" y="13240"/>
                    <a:pt x="6914" y="13238"/>
                  </a:cubicBezTo>
                  <a:cubicBezTo>
                    <a:pt x="7435" y="13117"/>
                    <a:pt x="8016" y="13018"/>
                    <a:pt x="8640" y="12948"/>
                  </a:cubicBezTo>
                  <a:cubicBezTo>
                    <a:pt x="9318" y="12873"/>
                    <a:pt x="10037" y="12825"/>
                    <a:pt x="10800" y="12825"/>
                  </a:cubicBezTo>
                  <a:cubicBezTo>
                    <a:pt x="11560" y="12825"/>
                    <a:pt x="12279" y="12873"/>
                    <a:pt x="12960" y="12948"/>
                  </a:cubicBezTo>
                  <a:cubicBezTo>
                    <a:pt x="13584" y="13018"/>
                    <a:pt x="14163" y="13117"/>
                    <a:pt x="14686" y="13238"/>
                  </a:cubicBezTo>
                  <a:cubicBezTo>
                    <a:pt x="14692" y="13240"/>
                    <a:pt x="14697" y="13242"/>
                    <a:pt x="14705" y="13244"/>
                  </a:cubicBezTo>
                  <a:cubicBezTo>
                    <a:pt x="15214" y="13364"/>
                    <a:pt x="15662" y="13507"/>
                    <a:pt x="16038" y="13667"/>
                  </a:cubicBezTo>
                  <a:cubicBezTo>
                    <a:pt x="16044" y="13671"/>
                    <a:pt x="16057" y="13674"/>
                    <a:pt x="16066" y="13677"/>
                  </a:cubicBezTo>
                  <a:cubicBezTo>
                    <a:pt x="16414" y="13829"/>
                    <a:pt x="16677" y="13998"/>
                    <a:pt x="16883" y="14176"/>
                  </a:cubicBezTo>
                  <a:cubicBezTo>
                    <a:pt x="16923" y="14210"/>
                    <a:pt x="16954" y="14246"/>
                    <a:pt x="16988" y="14281"/>
                  </a:cubicBezTo>
                  <a:cubicBezTo>
                    <a:pt x="17161" y="14462"/>
                    <a:pt x="17280" y="14650"/>
                    <a:pt x="17280" y="14850"/>
                  </a:cubicBezTo>
                  <a:cubicBezTo>
                    <a:pt x="17280" y="15047"/>
                    <a:pt x="17161" y="15236"/>
                    <a:pt x="16988" y="15416"/>
                  </a:cubicBezTo>
                  <a:moveTo>
                    <a:pt x="12960" y="19575"/>
                  </a:moveTo>
                  <a:cubicBezTo>
                    <a:pt x="12960" y="19948"/>
                    <a:pt x="11992" y="20249"/>
                    <a:pt x="10800" y="20249"/>
                  </a:cubicBezTo>
                  <a:cubicBezTo>
                    <a:pt x="9606" y="20249"/>
                    <a:pt x="8640" y="19948"/>
                    <a:pt x="8640" y="19575"/>
                  </a:cubicBezTo>
                  <a:lnTo>
                    <a:pt x="8640" y="18156"/>
                  </a:lnTo>
                  <a:cubicBezTo>
                    <a:pt x="9338" y="18201"/>
                    <a:pt x="10059" y="18225"/>
                    <a:pt x="10800" y="18225"/>
                  </a:cubicBezTo>
                  <a:cubicBezTo>
                    <a:pt x="11541" y="18225"/>
                    <a:pt x="12262" y="18201"/>
                    <a:pt x="12960" y="18156"/>
                  </a:cubicBezTo>
                  <a:cubicBezTo>
                    <a:pt x="12960" y="18156"/>
                    <a:pt x="12960" y="19575"/>
                    <a:pt x="12960" y="19575"/>
                  </a:cubicBezTo>
                  <a:close/>
                  <a:moveTo>
                    <a:pt x="8640" y="2025"/>
                  </a:moveTo>
                  <a:cubicBezTo>
                    <a:pt x="8640" y="1651"/>
                    <a:pt x="9606" y="1350"/>
                    <a:pt x="10800" y="1350"/>
                  </a:cubicBezTo>
                  <a:cubicBezTo>
                    <a:pt x="11992" y="1350"/>
                    <a:pt x="12960" y="1651"/>
                    <a:pt x="12960" y="2025"/>
                  </a:cubicBezTo>
                  <a:lnTo>
                    <a:pt x="12960" y="11542"/>
                  </a:lnTo>
                  <a:cubicBezTo>
                    <a:pt x="12262" y="11498"/>
                    <a:pt x="11541" y="11475"/>
                    <a:pt x="10800" y="11475"/>
                  </a:cubicBezTo>
                  <a:cubicBezTo>
                    <a:pt x="10059" y="11475"/>
                    <a:pt x="9338" y="11498"/>
                    <a:pt x="8640" y="11542"/>
                  </a:cubicBezTo>
                  <a:cubicBezTo>
                    <a:pt x="8640" y="11542"/>
                    <a:pt x="8640" y="2025"/>
                    <a:pt x="8640" y="2025"/>
                  </a:cubicBezTo>
                  <a:close/>
                  <a:moveTo>
                    <a:pt x="17280" y="12164"/>
                  </a:moveTo>
                  <a:lnTo>
                    <a:pt x="17280" y="2025"/>
                  </a:lnTo>
                  <a:cubicBezTo>
                    <a:pt x="17280" y="908"/>
                    <a:pt x="14373" y="0"/>
                    <a:pt x="10800" y="0"/>
                  </a:cubicBezTo>
                  <a:cubicBezTo>
                    <a:pt x="7225" y="0"/>
                    <a:pt x="4320" y="908"/>
                    <a:pt x="4320" y="2025"/>
                  </a:cubicBezTo>
                  <a:lnTo>
                    <a:pt x="4320" y="12164"/>
                  </a:lnTo>
                  <a:cubicBezTo>
                    <a:pt x="1710" y="12781"/>
                    <a:pt x="0" y="13749"/>
                    <a:pt x="0" y="14850"/>
                  </a:cubicBezTo>
                  <a:cubicBezTo>
                    <a:pt x="0" y="15950"/>
                    <a:pt x="1710" y="16918"/>
                    <a:pt x="4320" y="17534"/>
                  </a:cubicBezTo>
                  <a:lnTo>
                    <a:pt x="4320" y="19575"/>
                  </a:lnTo>
                  <a:cubicBezTo>
                    <a:pt x="4320" y="20691"/>
                    <a:pt x="7225" y="21599"/>
                    <a:pt x="10800" y="21599"/>
                  </a:cubicBezTo>
                  <a:cubicBezTo>
                    <a:pt x="14373" y="21599"/>
                    <a:pt x="17280" y="20691"/>
                    <a:pt x="17280" y="19575"/>
                  </a:cubicBezTo>
                  <a:lnTo>
                    <a:pt x="17280" y="17534"/>
                  </a:lnTo>
                  <a:cubicBezTo>
                    <a:pt x="19889" y="16918"/>
                    <a:pt x="21600" y="15950"/>
                    <a:pt x="21600" y="14850"/>
                  </a:cubicBezTo>
                  <a:cubicBezTo>
                    <a:pt x="21600" y="13749"/>
                    <a:pt x="19889" y="12781"/>
                    <a:pt x="17280" y="12164"/>
                  </a:cubicBezTo>
                </a:path>
              </a:pathLst>
            </a:custGeom>
            <a:grpFill/>
            <a:ln>
              <a:solidFill>
                <a:schemeClr val="tx1"/>
              </a:solidFill>
            </a:ln>
            <a:effectLst/>
            <a:extLs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50800" tIns="50800" rIns="50800" bIns="50800" anchor="ctr"/>
            <a:lstStyle/>
            <a:p>
              <a:pPr defTabSz="609585"/>
              <a:endParaRPr lang="en-US" sz="4000" dirty="0">
                <a:solidFill>
                  <a:srgbClr val="FFFFFF"/>
                </a:solidFill>
                <a:effectLst>
                  <a:outerShdw blurRad="38100" dist="38100" dir="2700000" algn="tl">
                    <a:srgbClr val="000000"/>
                  </a:outerShdw>
                </a:effectLst>
              </a:endParaRPr>
            </a:p>
          </p:txBody>
        </p:sp>
      </p:grpSp>
    </p:spTree>
    <p:extLst>
      <p:ext uri="{BB962C8B-B14F-4D97-AF65-F5344CB8AC3E}">
        <p14:creationId xmlns:p14="http://schemas.microsoft.com/office/powerpoint/2010/main" val="228107609"/>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Presenter intro 1 with social">
    <p:spTree>
      <p:nvGrpSpPr>
        <p:cNvPr id="1" name=""/>
        <p:cNvGrpSpPr/>
        <p:nvPr/>
      </p:nvGrpSpPr>
      <p:grpSpPr>
        <a:xfrm>
          <a:off x="0" y="0"/>
          <a:ext cx="0" cy="0"/>
          <a:chOff x="0" y="0"/>
          <a:chExt cx="0" cy="0"/>
        </a:xfrm>
      </p:grpSpPr>
      <p:sp>
        <p:nvSpPr>
          <p:cNvPr id="3" name="Rectangle 2"/>
          <p:cNvSpPr/>
          <p:nvPr userDrawn="1"/>
        </p:nvSpPr>
        <p:spPr>
          <a:xfrm>
            <a:off x="25989" y="0"/>
            <a:ext cx="12192000" cy="6858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Picture Placeholder 4"/>
          <p:cNvSpPr>
            <a:spLocks noGrp="1"/>
          </p:cNvSpPr>
          <p:nvPr>
            <p:ph type="pic" sz="quarter" idx="10"/>
          </p:nvPr>
        </p:nvSpPr>
        <p:spPr>
          <a:xfrm>
            <a:off x="476250" y="419100"/>
            <a:ext cx="4986336" cy="5000625"/>
          </a:xfrm>
          <a:ln w="57150">
            <a:solidFill>
              <a:schemeClr val="accent5">
                <a:lumMod val="50000"/>
              </a:schemeClr>
            </a:solidFill>
          </a:ln>
        </p:spPr>
        <p:txBody>
          <a:bodyPr/>
          <a:lstStyle/>
          <a:p>
            <a:endParaRPr lang="en-US" dirty="0"/>
          </a:p>
        </p:txBody>
      </p:sp>
      <p:sp>
        <p:nvSpPr>
          <p:cNvPr id="7" name="Text Placeholder 6"/>
          <p:cNvSpPr>
            <a:spLocks noGrp="1"/>
          </p:cNvSpPr>
          <p:nvPr>
            <p:ph type="body" sz="quarter" idx="11" hasCustomPrompt="1"/>
          </p:nvPr>
        </p:nvSpPr>
        <p:spPr>
          <a:xfrm>
            <a:off x="476250" y="5611013"/>
            <a:ext cx="4986336" cy="873368"/>
          </a:xfrm>
        </p:spPr>
        <p:txBody>
          <a:bodyPr/>
          <a:lstStyle>
            <a:lvl1pPr marL="0" indent="0" algn="ctr">
              <a:buNone/>
              <a:defRPr sz="2400" i="0" baseline="0"/>
            </a:lvl1pPr>
          </a:lstStyle>
          <a:p>
            <a:pPr lvl="0"/>
            <a:r>
              <a:rPr lang="en-US" dirty="0" smtClean="0"/>
              <a:t>Name                                                    Title </a:t>
            </a:r>
          </a:p>
        </p:txBody>
      </p:sp>
      <p:sp>
        <p:nvSpPr>
          <p:cNvPr id="9" name="Text Placeholder 8"/>
          <p:cNvSpPr>
            <a:spLocks noGrp="1"/>
          </p:cNvSpPr>
          <p:nvPr>
            <p:ph type="body" sz="quarter" idx="12" hasCustomPrompt="1"/>
          </p:nvPr>
        </p:nvSpPr>
        <p:spPr>
          <a:xfrm>
            <a:off x="6181723" y="2500226"/>
            <a:ext cx="5414964" cy="1615765"/>
          </a:xfrm>
        </p:spPr>
        <p:txBody>
          <a:bodyPr>
            <a:normAutofit/>
          </a:bodyPr>
          <a:lstStyle>
            <a:lvl1pPr marL="0" indent="0" algn="ctr">
              <a:buNone/>
              <a:defRPr sz="2000" i="1" baseline="0"/>
            </a:lvl1pPr>
          </a:lstStyle>
          <a:p>
            <a:pPr lvl="0"/>
            <a:r>
              <a:rPr lang="en-US" dirty="0" smtClean="0"/>
              <a:t>1-2 sentence bio</a:t>
            </a:r>
            <a:endParaRPr lang="en-US" dirty="0"/>
          </a:p>
        </p:txBody>
      </p:sp>
      <p:sp>
        <p:nvSpPr>
          <p:cNvPr id="10" name="Rectangle 9"/>
          <p:cNvSpPr/>
          <p:nvPr userDrawn="1"/>
        </p:nvSpPr>
        <p:spPr>
          <a:xfrm>
            <a:off x="7962900" y="4619774"/>
            <a:ext cx="3633787" cy="1864607"/>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extBox 10"/>
          <p:cNvSpPr txBox="1"/>
          <p:nvPr userDrawn="1"/>
        </p:nvSpPr>
        <p:spPr>
          <a:xfrm>
            <a:off x="9091612" y="4619774"/>
            <a:ext cx="2505075" cy="461665"/>
          </a:xfrm>
          <a:prstGeom prst="rect">
            <a:avLst/>
          </a:prstGeom>
          <a:noFill/>
        </p:spPr>
        <p:txBody>
          <a:bodyPr wrap="square" rtlCol="0">
            <a:spAutoFit/>
          </a:bodyPr>
          <a:lstStyle/>
          <a:p>
            <a:pPr algn="r"/>
            <a:r>
              <a:rPr lang="en-US" sz="2400" dirty="0" smtClean="0">
                <a:solidFill>
                  <a:schemeClr val="bg1">
                    <a:lumMod val="95000"/>
                  </a:schemeClr>
                </a:solidFill>
              </a:rPr>
              <a:t>Social Media</a:t>
            </a:r>
            <a:endParaRPr lang="en-US" sz="2400" dirty="0">
              <a:solidFill>
                <a:schemeClr val="bg1">
                  <a:lumMod val="95000"/>
                </a:schemeClr>
              </a:solidFill>
            </a:endParaRPr>
          </a:p>
        </p:txBody>
      </p:sp>
      <p:sp>
        <p:nvSpPr>
          <p:cNvPr id="12" name="Text Placeholder 15"/>
          <p:cNvSpPr>
            <a:spLocks noGrp="1"/>
          </p:cNvSpPr>
          <p:nvPr>
            <p:ph type="body" sz="quarter" idx="13" hasCustomPrompt="1"/>
          </p:nvPr>
        </p:nvSpPr>
        <p:spPr>
          <a:xfrm>
            <a:off x="8124826" y="5167313"/>
            <a:ext cx="2843212" cy="333375"/>
          </a:xfrm>
        </p:spPr>
        <p:txBody>
          <a:bodyPr>
            <a:normAutofit/>
          </a:bodyPr>
          <a:lstStyle>
            <a:lvl1pPr marL="0" indent="0" algn="l">
              <a:buNone/>
              <a:defRPr sz="1800" baseline="0">
                <a:solidFill>
                  <a:schemeClr val="bg1">
                    <a:lumMod val="95000"/>
                  </a:schemeClr>
                </a:solidFill>
              </a:defRPr>
            </a:lvl1pPr>
          </a:lstStyle>
          <a:p>
            <a:pPr lvl="0"/>
            <a:r>
              <a:rPr lang="en-US" dirty="0" smtClean="0"/>
              <a:t>Insert Facebook profile </a:t>
            </a:r>
            <a:endParaRPr lang="en-US" dirty="0"/>
          </a:p>
        </p:txBody>
      </p:sp>
      <p:sp>
        <p:nvSpPr>
          <p:cNvPr id="13" name="Text Placeholder 15"/>
          <p:cNvSpPr>
            <a:spLocks noGrp="1"/>
          </p:cNvSpPr>
          <p:nvPr>
            <p:ph type="body" sz="quarter" idx="14" hasCustomPrompt="1"/>
          </p:nvPr>
        </p:nvSpPr>
        <p:spPr>
          <a:xfrm>
            <a:off x="8124826" y="5517594"/>
            <a:ext cx="2843212" cy="333375"/>
          </a:xfrm>
        </p:spPr>
        <p:txBody>
          <a:bodyPr>
            <a:normAutofit/>
          </a:bodyPr>
          <a:lstStyle>
            <a:lvl1pPr marL="0" indent="0" algn="l">
              <a:buNone/>
              <a:defRPr sz="1800" baseline="0">
                <a:solidFill>
                  <a:schemeClr val="bg1">
                    <a:lumMod val="95000"/>
                  </a:schemeClr>
                </a:solidFill>
              </a:defRPr>
            </a:lvl1pPr>
          </a:lstStyle>
          <a:p>
            <a:pPr lvl="0"/>
            <a:r>
              <a:rPr lang="en-US" dirty="0" smtClean="0"/>
              <a:t>Insert LinkedIn profile </a:t>
            </a:r>
            <a:endParaRPr lang="en-US" dirty="0"/>
          </a:p>
        </p:txBody>
      </p:sp>
      <p:sp>
        <p:nvSpPr>
          <p:cNvPr id="14" name="Text Placeholder 15"/>
          <p:cNvSpPr>
            <a:spLocks noGrp="1"/>
          </p:cNvSpPr>
          <p:nvPr>
            <p:ph type="body" sz="quarter" idx="15" hasCustomPrompt="1"/>
          </p:nvPr>
        </p:nvSpPr>
        <p:spPr>
          <a:xfrm>
            <a:off x="8124826" y="5859422"/>
            <a:ext cx="2843212" cy="333375"/>
          </a:xfrm>
        </p:spPr>
        <p:txBody>
          <a:bodyPr>
            <a:normAutofit/>
          </a:bodyPr>
          <a:lstStyle>
            <a:lvl1pPr marL="0" indent="0" algn="l">
              <a:buNone/>
              <a:defRPr sz="1800" baseline="0">
                <a:solidFill>
                  <a:schemeClr val="bg1">
                    <a:lumMod val="95000"/>
                  </a:schemeClr>
                </a:solidFill>
              </a:defRPr>
            </a:lvl1pPr>
          </a:lstStyle>
          <a:p>
            <a:pPr lvl="0"/>
            <a:r>
              <a:rPr lang="en-US" dirty="0" smtClean="0"/>
              <a:t>Insert Twitter profile </a:t>
            </a:r>
            <a:endParaRPr lang="en-US" dirty="0"/>
          </a:p>
        </p:txBody>
      </p:sp>
      <p:sp>
        <p:nvSpPr>
          <p:cNvPr id="15" name="Freeform 6"/>
          <p:cNvSpPr>
            <a:spLocks/>
          </p:cNvSpPr>
          <p:nvPr userDrawn="1"/>
        </p:nvSpPr>
        <p:spPr bwMode="auto">
          <a:xfrm>
            <a:off x="11125063" y="5178820"/>
            <a:ext cx="133873" cy="278816"/>
          </a:xfrm>
          <a:custGeom>
            <a:avLst/>
            <a:gdLst/>
            <a:ahLst/>
            <a:cxnLst>
              <a:cxn ang="0">
                <a:pos x="156" y="50"/>
              </a:cxn>
              <a:cxn ang="0">
                <a:pos x="128" y="50"/>
              </a:cxn>
              <a:cxn ang="0">
                <a:pos x="128" y="50"/>
              </a:cxn>
              <a:cxn ang="0">
                <a:pos x="121" y="50"/>
              </a:cxn>
              <a:cxn ang="0">
                <a:pos x="115" y="51"/>
              </a:cxn>
              <a:cxn ang="0">
                <a:pos x="110" y="53"/>
              </a:cxn>
              <a:cxn ang="0">
                <a:pos x="106" y="57"/>
              </a:cxn>
              <a:cxn ang="0">
                <a:pos x="104" y="61"/>
              </a:cxn>
              <a:cxn ang="0">
                <a:pos x="102" y="64"/>
              </a:cxn>
              <a:cxn ang="0">
                <a:pos x="100" y="76"/>
              </a:cxn>
              <a:cxn ang="0">
                <a:pos x="100" y="111"/>
              </a:cxn>
              <a:cxn ang="0">
                <a:pos x="154" y="111"/>
              </a:cxn>
              <a:cxn ang="0">
                <a:pos x="154" y="163"/>
              </a:cxn>
              <a:cxn ang="0">
                <a:pos x="100" y="163"/>
              </a:cxn>
              <a:cxn ang="0">
                <a:pos x="100" y="301"/>
              </a:cxn>
              <a:cxn ang="0">
                <a:pos x="47" y="301"/>
              </a:cxn>
              <a:cxn ang="0">
                <a:pos x="47" y="163"/>
              </a:cxn>
              <a:cxn ang="0">
                <a:pos x="0" y="163"/>
              </a:cxn>
              <a:cxn ang="0">
                <a:pos x="0" y="111"/>
              </a:cxn>
              <a:cxn ang="0">
                <a:pos x="47" y="111"/>
              </a:cxn>
              <a:cxn ang="0">
                <a:pos x="47" y="70"/>
              </a:cxn>
              <a:cxn ang="0">
                <a:pos x="47" y="70"/>
              </a:cxn>
              <a:cxn ang="0">
                <a:pos x="47" y="53"/>
              </a:cxn>
              <a:cxn ang="0">
                <a:pos x="50" y="40"/>
              </a:cxn>
              <a:cxn ang="0">
                <a:pos x="58" y="27"/>
              </a:cxn>
              <a:cxn ang="0">
                <a:pos x="65" y="18"/>
              </a:cxn>
              <a:cxn ang="0">
                <a:pos x="74" y="11"/>
              </a:cxn>
              <a:cxn ang="0">
                <a:pos x="87" y="3"/>
              </a:cxn>
              <a:cxn ang="0">
                <a:pos x="100" y="1"/>
              </a:cxn>
              <a:cxn ang="0">
                <a:pos x="115" y="0"/>
              </a:cxn>
              <a:cxn ang="0">
                <a:pos x="156" y="0"/>
              </a:cxn>
              <a:cxn ang="0">
                <a:pos x="156" y="50"/>
              </a:cxn>
            </a:cxnLst>
            <a:rect l="0" t="0" r="r" b="b"/>
            <a:pathLst>
              <a:path w="156" h="301">
                <a:moveTo>
                  <a:pt x="156" y="50"/>
                </a:moveTo>
                <a:lnTo>
                  <a:pt x="128" y="50"/>
                </a:lnTo>
                <a:lnTo>
                  <a:pt x="128" y="50"/>
                </a:lnTo>
                <a:lnTo>
                  <a:pt x="121" y="50"/>
                </a:lnTo>
                <a:lnTo>
                  <a:pt x="115" y="51"/>
                </a:lnTo>
                <a:lnTo>
                  <a:pt x="110" y="53"/>
                </a:lnTo>
                <a:lnTo>
                  <a:pt x="106" y="57"/>
                </a:lnTo>
                <a:lnTo>
                  <a:pt x="104" y="61"/>
                </a:lnTo>
                <a:lnTo>
                  <a:pt x="102" y="64"/>
                </a:lnTo>
                <a:lnTo>
                  <a:pt x="100" y="76"/>
                </a:lnTo>
                <a:lnTo>
                  <a:pt x="100" y="111"/>
                </a:lnTo>
                <a:lnTo>
                  <a:pt x="154" y="111"/>
                </a:lnTo>
                <a:lnTo>
                  <a:pt x="154" y="163"/>
                </a:lnTo>
                <a:lnTo>
                  <a:pt x="100" y="163"/>
                </a:lnTo>
                <a:lnTo>
                  <a:pt x="100" y="301"/>
                </a:lnTo>
                <a:lnTo>
                  <a:pt x="47" y="301"/>
                </a:lnTo>
                <a:lnTo>
                  <a:pt x="47" y="163"/>
                </a:lnTo>
                <a:lnTo>
                  <a:pt x="0" y="163"/>
                </a:lnTo>
                <a:lnTo>
                  <a:pt x="0" y="111"/>
                </a:lnTo>
                <a:lnTo>
                  <a:pt x="47" y="111"/>
                </a:lnTo>
                <a:lnTo>
                  <a:pt x="47" y="70"/>
                </a:lnTo>
                <a:lnTo>
                  <a:pt x="47" y="70"/>
                </a:lnTo>
                <a:lnTo>
                  <a:pt x="47" y="53"/>
                </a:lnTo>
                <a:lnTo>
                  <a:pt x="50" y="40"/>
                </a:lnTo>
                <a:lnTo>
                  <a:pt x="58" y="27"/>
                </a:lnTo>
                <a:lnTo>
                  <a:pt x="65" y="18"/>
                </a:lnTo>
                <a:lnTo>
                  <a:pt x="74" y="11"/>
                </a:lnTo>
                <a:lnTo>
                  <a:pt x="87" y="3"/>
                </a:lnTo>
                <a:lnTo>
                  <a:pt x="100" y="1"/>
                </a:lnTo>
                <a:lnTo>
                  <a:pt x="115" y="0"/>
                </a:lnTo>
                <a:lnTo>
                  <a:pt x="156" y="0"/>
                </a:lnTo>
                <a:lnTo>
                  <a:pt x="156" y="50"/>
                </a:lnTo>
                <a:close/>
              </a:path>
            </a:pathLst>
          </a:custGeom>
          <a:solidFill>
            <a:schemeClr val="bg1"/>
          </a:solidFill>
          <a:ln w="9525">
            <a:noFill/>
            <a:round/>
            <a:headEnd/>
            <a:tailEnd/>
          </a:ln>
        </p:spPr>
        <p:txBody>
          <a:bodyPr vert="horz" wrap="square" lIns="121920" tIns="60960" rIns="121920" bIns="60960" numCol="1" anchor="t" anchorCtr="0" compatLnSpc="1">
            <a:prstTxWarp prst="textNoShape">
              <a:avLst/>
            </a:prstTxWarp>
          </a:bodyPr>
          <a:lstStyle/>
          <a:p>
            <a:endParaRPr lang="en-US" sz="2400" dirty="0">
              <a:solidFill>
                <a:schemeClr val="accent2">
                  <a:lumMod val="50000"/>
                </a:schemeClr>
              </a:solidFill>
            </a:endParaRPr>
          </a:p>
        </p:txBody>
      </p:sp>
      <p:sp>
        <p:nvSpPr>
          <p:cNvPr id="16" name="Freeform 7"/>
          <p:cNvSpPr>
            <a:spLocks/>
          </p:cNvSpPr>
          <p:nvPr userDrawn="1"/>
        </p:nvSpPr>
        <p:spPr bwMode="auto">
          <a:xfrm>
            <a:off x="11125063" y="5967529"/>
            <a:ext cx="257313" cy="225267"/>
          </a:xfrm>
          <a:custGeom>
            <a:avLst/>
            <a:gdLst/>
            <a:ahLst/>
            <a:cxnLst>
              <a:cxn ang="0">
                <a:pos x="295" y="30"/>
              </a:cxn>
              <a:cxn ang="0">
                <a:pos x="267" y="37"/>
              </a:cxn>
              <a:cxn ang="0">
                <a:pos x="280" y="24"/>
              </a:cxn>
              <a:cxn ang="0">
                <a:pos x="289" y="7"/>
              </a:cxn>
              <a:cxn ang="0">
                <a:pos x="287" y="6"/>
              </a:cxn>
              <a:cxn ang="0">
                <a:pos x="250" y="20"/>
              </a:cxn>
              <a:cxn ang="0">
                <a:pos x="230" y="6"/>
              </a:cxn>
              <a:cxn ang="0">
                <a:pos x="206" y="0"/>
              </a:cxn>
              <a:cxn ang="0">
                <a:pos x="171" y="11"/>
              </a:cxn>
              <a:cxn ang="0">
                <a:pos x="149" y="39"/>
              </a:cxn>
              <a:cxn ang="0">
                <a:pos x="143" y="63"/>
              </a:cxn>
              <a:cxn ang="0">
                <a:pos x="126" y="72"/>
              </a:cxn>
              <a:cxn ang="0">
                <a:pos x="78" y="55"/>
              </a:cxn>
              <a:cxn ang="0">
                <a:pos x="36" y="26"/>
              </a:cxn>
              <a:cxn ang="0">
                <a:pos x="23" y="11"/>
              </a:cxn>
              <a:cxn ang="0">
                <a:pos x="21" y="13"/>
              </a:cxn>
              <a:cxn ang="0">
                <a:pos x="13" y="43"/>
              </a:cxn>
              <a:cxn ang="0">
                <a:pos x="26" y="81"/>
              </a:cxn>
              <a:cxn ang="0">
                <a:pos x="24" y="89"/>
              </a:cxn>
              <a:cxn ang="0">
                <a:pos x="13" y="85"/>
              </a:cxn>
              <a:cxn ang="0">
                <a:pos x="12" y="87"/>
              </a:cxn>
              <a:cxn ang="0">
                <a:pos x="15" y="107"/>
              </a:cxn>
              <a:cxn ang="0">
                <a:pos x="30" y="131"/>
              </a:cxn>
              <a:cxn ang="0">
                <a:pos x="56" y="146"/>
              </a:cxn>
              <a:cxn ang="0">
                <a:pos x="36" y="146"/>
              </a:cxn>
              <a:cxn ang="0">
                <a:pos x="34" y="146"/>
              </a:cxn>
              <a:cxn ang="0">
                <a:pos x="37" y="155"/>
              </a:cxn>
              <a:cxn ang="0">
                <a:pos x="54" y="178"/>
              </a:cxn>
              <a:cxn ang="0">
                <a:pos x="78" y="189"/>
              </a:cxn>
              <a:cxn ang="0">
                <a:pos x="71" y="200"/>
              </a:cxn>
              <a:cxn ang="0">
                <a:pos x="15" y="213"/>
              </a:cxn>
              <a:cxn ang="0">
                <a:pos x="2" y="213"/>
              </a:cxn>
              <a:cxn ang="0">
                <a:pos x="0" y="215"/>
              </a:cxn>
              <a:cxn ang="0">
                <a:pos x="45" y="235"/>
              </a:cxn>
              <a:cxn ang="0">
                <a:pos x="95" y="242"/>
              </a:cxn>
              <a:cxn ang="0">
                <a:pos x="150" y="233"/>
              </a:cxn>
              <a:cxn ang="0">
                <a:pos x="197" y="211"/>
              </a:cxn>
              <a:cxn ang="0">
                <a:pos x="232" y="176"/>
              </a:cxn>
              <a:cxn ang="0">
                <a:pos x="256" y="133"/>
              </a:cxn>
              <a:cxn ang="0">
                <a:pos x="267" y="85"/>
              </a:cxn>
              <a:cxn ang="0">
                <a:pos x="267" y="63"/>
              </a:cxn>
              <a:cxn ang="0">
                <a:pos x="297" y="31"/>
              </a:cxn>
              <a:cxn ang="0">
                <a:pos x="297" y="30"/>
              </a:cxn>
            </a:cxnLst>
            <a:rect l="0" t="0" r="r" b="b"/>
            <a:pathLst>
              <a:path w="297" h="242">
                <a:moveTo>
                  <a:pt x="297" y="30"/>
                </a:moveTo>
                <a:lnTo>
                  <a:pt x="297" y="30"/>
                </a:lnTo>
                <a:lnTo>
                  <a:pt x="295" y="30"/>
                </a:lnTo>
                <a:lnTo>
                  <a:pt x="295" y="30"/>
                </a:lnTo>
                <a:lnTo>
                  <a:pt x="282" y="33"/>
                </a:lnTo>
                <a:lnTo>
                  <a:pt x="267" y="37"/>
                </a:lnTo>
                <a:lnTo>
                  <a:pt x="267" y="37"/>
                </a:lnTo>
                <a:lnTo>
                  <a:pt x="274" y="31"/>
                </a:lnTo>
                <a:lnTo>
                  <a:pt x="280" y="24"/>
                </a:lnTo>
                <a:lnTo>
                  <a:pt x="286" y="17"/>
                </a:lnTo>
                <a:lnTo>
                  <a:pt x="289" y="7"/>
                </a:lnTo>
                <a:lnTo>
                  <a:pt x="289" y="7"/>
                </a:lnTo>
                <a:lnTo>
                  <a:pt x="289" y="6"/>
                </a:lnTo>
                <a:lnTo>
                  <a:pt x="289" y="6"/>
                </a:lnTo>
                <a:lnTo>
                  <a:pt x="287" y="6"/>
                </a:lnTo>
                <a:lnTo>
                  <a:pt x="287" y="6"/>
                </a:lnTo>
                <a:lnTo>
                  <a:pt x="269" y="15"/>
                </a:lnTo>
                <a:lnTo>
                  <a:pt x="250" y="20"/>
                </a:lnTo>
                <a:lnTo>
                  <a:pt x="250" y="20"/>
                </a:lnTo>
                <a:lnTo>
                  <a:pt x="241" y="11"/>
                </a:lnTo>
                <a:lnTo>
                  <a:pt x="230" y="6"/>
                </a:lnTo>
                <a:lnTo>
                  <a:pt x="217" y="2"/>
                </a:lnTo>
                <a:lnTo>
                  <a:pt x="206" y="0"/>
                </a:lnTo>
                <a:lnTo>
                  <a:pt x="206" y="0"/>
                </a:lnTo>
                <a:lnTo>
                  <a:pt x="193" y="2"/>
                </a:lnTo>
                <a:lnTo>
                  <a:pt x="182" y="6"/>
                </a:lnTo>
                <a:lnTo>
                  <a:pt x="171" y="11"/>
                </a:lnTo>
                <a:lnTo>
                  <a:pt x="161" y="18"/>
                </a:lnTo>
                <a:lnTo>
                  <a:pt x="154" y="28"/>
                </a:lnTo>
                <a:lnTo>
                  <a:pt x="149" y="39"/>
                </a:lnTo>
                <a:lnTo>
                  <a:pt x="145" y="50"/>
                </a:lnTo>
                <a:lnTo>
                  <a:pt x="143" y="63"/>
                </a:lnTo>
                <a:lnTo>
                  <a:pt x="143" y="63"/>
                </a:lnTo>
                <a:lnTo>
                  <a:pt x="145" y="74"/>
                </a:lnTo>
                <a:lnTo>
                  <a:pt x="145" y="74"/>
                </a:lnTo>
                <a:lnTo>
                  <a:pt x="126" y="72"/>
                </a:lnTo>
                <a:lnTo>
                  <a:pt x="110" y="68"/>
                </a:lnTo>
                <a:lnTo>
                  <a:pt x="93" y="63"/>
                </a:lnTo>
                <a:lnTo>
                  <a:pt x="78" y="55"/>
                </a:lnTo>
                <a:lnTo>
                  <a:pt x="62" y="48"/>
                </a:lnTo>
                <a:lnTo>
                  <a:pt x="49" y="37"/>
                </a:lnTo>
                <a:lnTo>
                  <a:pt x="36" y="26"/>
                </a:lnTo>
                <a:lnTo>
                  <a:pt x="23" y="13"/>
                </a:lnTo>
                <a:lnTo>
                  <a:pt x="23" y="13"/>
                </a:lnTo>
                <a:lnTo>
                  <a:pt x="23" y="11"/>
                </a:lnTo>
                <a:lnTo>
                  <a:pt x="23" y="11"/>
                </a:lnTo>
                <a:lnTo>
                  <a:pt x="21" y="13"/>
                </a:lnTo>
                <a:lnTo>
                  <a:pt x="21" y="13"/>
                </a:lnTo>
                <a:lnTo>
                  <a:pt x="15" y="28"/>
                </a:lnTo>
                <a:lnTo>
                  <a:pt x="13" y="43"/>
                </a:lnTo>
                <a:lnTo>
                  <a:pt x="13" y="43"/>
                </a:lnTo>
                <a:lnTo>
                  <a:pt x="13" y="57"/>
                </a:lnTo>
                <a:lnTo>
                  <a:pt x="19" y="70"/>
                </a:lnTo>
                <a:lnTo>
                  <a:pt x="26" y="81"/>
                </a:lnTo>
                <a:lnTo>
                  <a:pt x="36" y="93"/>
                </a:lnTo>
                <a:lnTo>
                  <a:pt x="36" y="93"/>
                </a:lnTo>
                <a:lnTo>
                  <a:pt x="24" y="89"/>
                </a:lnTo>
                <a:lnTo>
                  <a:pt x="13" y="85"/>
                </a:lnTo>
                <a:lnTo>
                  <a:pt x="13" y="85"/>
                </a:lnTo>
                <a:lnTo>
                  <a:pt x="13" y="85"/>
                </a:lnTo>
                <a:lnTo>
                  <a:pt x="13" y="85"/>
                </a:lnTo>
                <a:lnTo>
                  <a:pt x="12" y="87"/>
                </a:lnTo>
                <a:lnTo>
                  <a:pt x="12" y="87"/>
                </a:lnTo>
                <a:lnTo>
                  <a:pt x="12" y="87"/>
                </a:lnTo>
                <a:lnTo>
                  <a:pt x="13" y="96"/>
                </a:lnTo>
                <a:lnTo>
                  <a:pt x="15" y="107"/>
                </a:lnTo>
                <a:lnTo>
                  <a:pt x="19" y="115"/>
                </a:lnTo>
                <a:lnTo>
                  <a:pt x="24" y="124"/>
                </a:lnTo>
                <a:lnTo>
                  <a:pt x="30" y="131"/>
                </a:lnTo>
                <a:lnTo>
                  <a:pt x="37" y="137"/>
                </a:lnTo>
                <a:lnTo>
                  <a:pt x="47" y="143"/>
                </a:lnTo>
                <a:lnTo>
                  <a:pt x="56" y="146"/>
                </a:lnTo>
                <a:lnTo>
                  <a:pt x="56" y="146"/>
                </a:lnTo>
                <a:lnTo>
                  <a:pt x="45" y="146"/>
                </a:lnTo>
                <a:lnTo>
                  <a:pt x="36" y="146"/>
                </a:lnTo>
                <a:lnTo>
                  <a:pt x="36" y="146"/>
                </a:lnTo>
                <a:lnTo>
                  <a:pt x="34" y="146"/>
                </a:lnTo>
                <a:lnTo>
                  <a:pt x="34" y="146"/>
                </a:lnTo>
                <a:lnTo>
                  <a:pt x="34" y="148"/>
                </a:lnTo>
                <a:lnTo>
                  <a:pt x="34" y="148"/>
                </a:lnTo>
                <a:lnTo>
                  <a:pt x="37" y="155"/>
                </a:lnTo>
                <a:lnTo>
                  <a:pt x="41" y="165"/>
                </a:lnTo>
                <a:lnTo>
                  <a:pt x="47" y="170"/>
                </a:lnTo>
                <a:lnTo>
                  <a:pt x="54" y="178"/>
                </a:lnTo>
                <a:lnTo>
                  <a:pt x="62" y="181"/>
                </a:lnTo>
                <a:lnTo>
                  <a:pt x="69" y="187"/>
                </a:lnTo>
                <a:lnTo>
                  <a:pt x="78" y="189"/>
                </a:lnTo>
                <a:lnTo>
                  <a:pt x="87" y="191"/>
                </a:lnTo>
                <a:lnTo>
                  <a:pt x="87" y="191"/>
                </a:lnTo>
                <a:lnTo>
                  <a:pt x="71" y="200"/>
                </a:lnTo>
                <a:lnTo>
                  <a:pt x="54" y="207"/>
                </a:lnTo>
                <a:lnTo>
                  <a:pt x="36" y="211"/>
                </a:lnTo>
                <a:lnTo>
                  <a:pt x="15" y="213"/>
                </a:lnTo>
                <a:lnTo>
                  <a:pt x="15" y="213"/>
                </a:lnTo>
                <a:lnTo>
                  <a:pt x="2" y="213"/>
                </a:lnTo>
                <a:lnTo>
                  <a:pt x="2" y="213"/>
                </a:lnTo>
                <a:lnTo>
                  <a:pt x="0" y="213"/>
                </a:lnTo>
                <a:lnTo>
                  <a:pt x="0" y="213"/>
                </a:lnTo>
                <a:lnTo>
                  <a:pt x="0" y="215"/>
                </a:lnTo>
                <a:lnTo>
                  <a:pt x="0" y="215"/>
                </a:lnTo>
                <a:lnTo>
                  <a:pt x="23" y="228"/>
                </a:lnTo>
                <a:lnTo>
                  <a:pt x="45" y="235"/>
                </a:lnTo>
                <a:lnTo>
                  <a:pt x="69" y="241"/>
                </a:lnTo>
                <a:lnTo>
                  <a:pt x="95" y="242"/>
                </a:lnTo>
                <a:lnTo>
                  <a:pt x="95" y="242"/>
                </a:lnTo>
                <a:lnTo>
                  <a:pt x="113" y="241"/>
                </a:lnTo>
                <a:lnTo>
                  <a:pt x="132" y="239"/>
                </a:lnTo>
                <a:lnTo>
                  <a:pt x="150" y="233"/>
                </a:lnTo>
                <a:lnTo>
                  <a:pt x="167" y="228"/>
                </a:lnTo>
                <a:lnTo>
                  <a:pt x="182" y="220"/>
                </a:lnTo>
                <a:lnTo>
                  <a:pt x="197" y="211"/>
                </a:lnTo>
                <a:lnTo>
                  <a:pt x="210" y="200"/>
                </a:lnTo>
                <a:lnTo>
                  <a:pt x="221" y="189"/>
                </a:lnTo>
                <a:lnTo>
                  <a:pt x="232" y="176"/>
                </a:lnTo>
                <a:lnTo>
                  <a:pt x="241" y="161"/>
                </a:lnTo>
                <a:lnTo>
                  <a:pt x="248" y="148"/>
                </a:lnTo>
                <a:lnTo>
                  <a:pt x="256" y="133"/>
                </a:lnTo>
                <a:lnTo>
                  <a:pt x="261" y="117"/>
                </a:lnTo>
                <a:lnTo>
                  <a:pt x="265" y="102"/>
                </a:lnTo>
                <a:lnTo>
                  <a:pt x="267" y="85"/>
                </a:lnTo>
                <a:lnTo>
                  <a:pt x="267" y="70"/>
                </a:lnTo>
                <a:lnTo>
                  <a:pt x="267" y="70"/>
                </a:lnTo>
                <a:lnTo>
                  <a:pt x="267" y="63"/>
                </a:lnTo>
                <a:lnTo>
                  <a:pt x="267" y="63"/>
                </a:lnTo>
                <a:lnTo>
                  <a:pt x="284" y="48"/>
                </a:lnTo>
                <a:lnTo>
                  <a:pt x="297" y="31"/>
                </a:lnTo>
                <a:lnTo>
                  <a:pt x="297" y="31"/>
                </a:lnTo>
                <a:lnTo>
                  <a:pt x="297" y="30"/>
                </a:lnTo>
                <a:lnTo>
                  <a:pt x="297" y="30"/>
                </a:lnTo>
                <a:close/>
              </a:path>
            </a:pathLst>
          </a:custGeom>
          <a:solidFill>
            <a:schemeClr val="bg1"/>
          </a:solidFill>
          <a:ln w="9525">
            <a:noFill/>
            <a:round/>
            <a:headEnd/>
            <a:tailEnd/>
          </a:ln>
        </p:spPr>
        <p:txBody>
          <a:bodyPr vert="horz" wrap="square" lIns="121920" tIns="60960" rIns="121920" bIns="60960" numCol="1" anchor="t" anchorCtr="0" compatLnSpc="1">
            <a:prstTxWarp prst="textNoShape">
              <a:avLst/>
            </a:prstTxWarp>
          </a:bodyPr>
          <a:lstStyle/>
          <a:p>
            <a:endParaRPr lang="en-US" sz="2400" dirty="0">
              <a:solidFill>
                <a:schemeClr val="accent2">
                  <a:lumMod val="50000"/>
                </a:schemeClr>
              </a:solidFill>
            </a:endParaRPr>
          </a:p>
        </p:txBody>
      </p:sp>
      <p:grpSp>
        <p:nvGrpSpPr>
          <p:cNvPr id="17" name="Group 250"/>
          <p:cNvGrpSpPr/>
          <p:nvPr userDrawn="1"/>
        </p:nvGrpSpPr>
        <p:grpSpPr>
          <a:xfrm>
            <a:off x="11125064" y="5550079"/>
            <a:ext cx="236452" cy="251118"/>
            <a:chOff x="7045932" y="3207664"/>
            <a:chExt cx="292343" cy="292342"/>
          </a:xfrm>
          <a:solidFill>
            <a:schemeClr val="bg1"/>
          </a:solidFill>
        </p:grpSpPr>
        <p:sp>
          <p:nvSpPr>
            <p:cNvPr id="18" name="Freeform 40"/>
            <p:cNvSpPr>
              <a:spLocks/>
            </p:cNvSpPr>
            <p:nvPr/>
          </p:nvSpPr>
          <p:spPr bwMode="auto">
            <a:xfrm>
              <a:off x="7045932" y="3207664"/>
              <a:ext cx="70937" cy="70937"/>
            </a:xfrm>
            <a:custGeom>
              <a:avLst/>
              <a:gdLst/>
              <a:ahLst/>
              <a:cxnLst>
                <a:cxn ang="0">
                  <a:pos x="31" y="0"/>
                </a:cxn>
                <a:cxn ang="0">
                  <a:pos x="31" y="0"/>
                </a:cxn>
                <a:cxn ang="0">
                  <a:pos x="26" y="2"/>
                </a:cxn>
                <a:cxn ang="0">
                  <a:pos x="20" y="4"/>
                </a:cxn>
                <a:cxn ang="0">
                  <a:pos x="14" y="6"/>
                </a:cxn>
                <a:cxn ang="0">
                  <a:pos x="9" y="10"/>
                </a:cxn>
                <a:cxn ang="0">
                  <a:pos x="5" y="15"/>
                </a:cxn>
                <a:cxn ang="0">
                  <a:pos x="1" y="21"/>
                </a:cxn>
                <a:cxn ang="0">
                  <a:pos x="0" y="26"/>
                </a:cxn>
                <a:cxn ang="0">
                  <a:pos x="0" y="34"/>
                </a:cxn>
                <a:cxn ang="0">
                  <a:pos x="0" y="34"/>
                </a:cxn>
                <a:cxn ang="0">
                  <a:pos x="0" y="39"/>
                </a:cxn>
                <a:cxn ang="0">
                  <a:pos x="1" y="47"/>
                </a:cxn>
                <a:cxn ang="0">
                  <a:pos x="5" y="52"/>
                </a:cxn>
                <a:cxn ang="0">
                  <a:pos x="9" y="56"/>
                </a:cxn>
                <a:cxn ang="0">
                  <a:pos x="14" y="61"/>
                </a:cxn>
                <a:cxn ang="0">
                  <a:pos x="20" y="63"/>
                </a:cxn>
                <a:cxn ang="0">
                  <a:pos x="26" y="65"/>
                </a:cxn>
                <a:cxn ang="0">
                  <a:pos x="31" y="67"/>
                </a:cxn>
                <a:cxn ang="0">
                  <a:pos x="31" y="67"/>
                </a:cxn>
                <a:cxn ang="0">
                  <a:pos x="39" y="65"/>
                </a:cxn>
                <a:cxn ang="0">
                  <a:pos x="44" y="63"/>
                </a:cxn>
                <a:cxn ang="0">
                  <a:pos x="50" y="61"/>
                </a:cxn>
                <a:cxn ang="0">
                  <a:pos x="55" y="56"/>
                </a:cxn>
                <a:cxn ang="0">
                  <a:pos x="59" y="52"/>
                </a:cxn>
                <a:cxn ang="0">
                  <a:pos x="63" y="47"/>
                </a:cxn>
                <a:cxn ang="0">
                  <a:pos x="64" y="39"/>
                </a:cxn>
                <a:cxn ang="0">
                  <a:pos x="64" y="34"/>
                </a:cxn>
                <a:cxn ang="0">
                  <a:pos x="64" y="34"/>
                </a:cxn>
                <a:cxn ang="0">
                  <a:pos x="64" y="26"/>
                </a:cxn>
                <a:cxn ang="0">
                  <a:pos x="63" y="21"/>
                </a:cxn>
                <a:cxn ang="0">
                  <a:pos x="59" y="15"/>
                </a:cxn>
                <a:cxn ang="0">
                  <a:pos x="55" y="10"/>
                </a:cxn>
                <a:cxn ang="0">
                  <a:pos x="50" y="6"/>
                </a:cxn>
                <a:cxn ang="0">
                  <a:pos x="44" y="4"/>
                </a:cxn>
                <a:cxn ang="0">
                  <a:pos x="39" y="2"/>
                </a:cxn>
                <a:cxn ang="0">
                  <a:pos x="31" y="0"/>
                </a:cxn>
                <a:cxn ang="0">
                  <a:pos x="31" y="0"/>
                </a:cxn>
              </a:cxnLst>
              <a:rect l="0" t="0" r="r" b="b"/>
              <a:pathLst>
                <a:path w="64" h="67">
                  <a:moveTo>
                    <a:pt x="31" y="0"/>
                  </a:moveTo>
                  <a:lnTo>
                    <a:pt x="31" y="0"/>
                  </a:lnTo>
                  <a:lnTo>
                    <a:pt x="26" y="2"/>
                  </a:lnTo>
                  <a:lnTo>
                    <a:pt x="20" y="4"/>
                  </a:lnTo>
                  <a:lnTo>
                    <a:pt x="14" y="6"/>
                  </a:lnTo>
                  <a:lnTo>
                    <a:pt x="9" y="10"/>
                  </a:lnTo>
                  <a:lnTo>
                    <a:pt x="5" y="15"/>
                  </a:lnTo>
                  <a:lnTo>
                    <a:pt x="1" y="21"/>
                  </a:lnTo>
                  <a:lnTo>
                    <a:pt x="0" y="26"/>
                  </a:lnTo>
                  <a:lnTo>
                    <a:pt x="0" y="34"/>
                  </a:lnTo>
                  <a:lnTo>
                    <a:pt x="0" y="34"/>
                  </a:lnTo>
                  <a:lnTo>
                    <a:pt x="0" y="39"/>
                  </a:lnTo>
                  <a:lnTo>
                    <a:pt x="1" y="47"/>
                  </a:lnTo>
                  <a:lnTo>
                    <a:pt x="5" y="52"/>
                  </a:lnTo>
                  <a:lnTo>
                    <a:pt x="9" y="56"/>
                  </a:lnTo>
                  <a:lnTo>
                    <a:pt x="14" y="61"/>
                  </a:lnTo>
                  <a:lnTo>
                    <a:pt x="20" y="63"/>
                  </a:lnTo>
                  <a:lnTo>
                    <a:pt x="26" y="65"/>
                  </a:lnTo>
                  <a:lnTo>
                    <a:pt x="31" y="67"/>
                  </a:lnTo>
                  <a:lnTo>
                    <a:pt x="31" y="67"/>
                  </a:lnTo>
                  <a:lnTo>
                    <a:pt x="39" y="65"/>
                  </a:lnTo>
                  <a:lnTo>
                    <a:pt x="44" y="63"/>
                  </a:lnTo>
                  <a:lnTo>
                    <a:pt x="50" y="61"/>
                  </a:lnTo>
                  <a:lnTo>
                    <a:pt x="55" y="56"/>
                  </a:lnTo>
                  <a:lnTo>
                    <a:pt x="59" y="52"/>
                  </a:lnTo>
                  <a:lnTo>
                    <a:pt x="63" y="47"/>
                  </a:lnTo>
                  <a:lnTo>
                    <a:pt x="64" y="39"/>
                  </a:lnTo>
                  <a:lnTo>
                    <a:pt x="64" y="34"/>
                  </a:lnTo>
                  <a:lnTo>
                    <a:pt x="64" y="34"/>
                  </a:lnTo>
                  <a:lnTo>
                    <a:pt x="64" y="26"/>
                  </a:lnTo>
                  <a:lnTo>
                    <a:pt x="63" y="21"/>
                  </a:lnTo>
                  <a:lnTo>
                    <a:pt x="59" y="15"/>
                  </a:lnTo>
                  <a:lnTo>
                    <a:pt x="55" y="10"/>
                  </a:lnTo>
                  <a:lnTo>
                    <a:pt x="50" y="6"/>
                  </a:lnTo>
                  <a:lnTo>
                    <a:pt x="44" y="4"/>
                  </a:lnTo>
                  <a:lnTo>
                    <a:pt x="39" y="2"/>
                  </a:lnTo>
                  <a:lnTo>
                    <a:pt x="31" y="0"/>
                  </a:lnTo>
                  <a:lnTo>
                    <a:pt x="31" y="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en-US" sz="2400" dirty="0">
                <a:solidFill>
                  <a:srgbClr val="7F7F7F"/>
                </a:solidFill>
              </a:endParaRPr>
            </a:p>
          </p:txBody>
        </p:sp>
        <p:sp>
          <p:nvSpPr>
            <p:cNvPr id="19" name="Rectangle 41"/>
            <p:cNvSpPr>
              <a:spLocks noChangeArrowheads="1"/>
            </p:cNvSpPr>
            <p:nvPr/>
          </p:nvSpPr>
          <p:spPr bwMode="auto">
            <a:xfrm>
              <a:off x="7050231" y="3304394"/>
              <a:ext cx="62338" cy="195612"/>
            </a:xfrm>
            <a:prstGeom prst="rect">
              <a:avLst/>
            </a:prstGeom>
            <a:grpFill/>
            <a:ln w="9525">
              <a:noFill/>
              <a:miter lim="800000"/>
              <a:headEnd/>
              <a:tailEnd/>
            </a:ln>
          </p:spPr>
          <p:txBody>
            <a:bodyPr vert="horz" wrap="square" lIns="121920" tIns="60960" rIns="121920" bIns="60960" numCol="1" anchor="t" anchorCtr="0" compatLnSpc="1">
              <a:prstTxWarp prst="textNoShape">
                <a:avLst/>
              </a:prstTxWarp>
            </a:bodyPr>
            <a:lstStyle/>
            <a:p>
              <a:endParaRPr lang="en-US" sz="2400" dirty="0">
                <a:solidFill>
                  <a:srgbClr val="7F7F7F"/>
                </a:solidFill>
              </a:endParaRPr>
            </a:p>
          </p:txBody>
        </p:sp>
        <p:sp>
          <p:nvSpPr>
            <p:cNvPr id="20" name="Freeform 42"/>
            <p:cNvSpPr>
              <a:spLocks/>
            </p:cNvSpPr>
            <p:nvPr/>
          </p:nvSpPr>
          <p:spPr bwMode="auto">
            <a:xfrm>
              <a:off x="7149112" y="3300095"/>
              <a:ext cx="189163" cy="199911"/>
            </a:xfrm>
            <a:custGeom>
              <a:avLst/>
              <a:gdLst/>
              <a:ahLst/>
              <a:cxnLst>
                <a:cxn ang="0">
                  <a:pos x="107" y="0"/>
                </a:cxn>
                <a:cxn ang="0">
                  <a:pos x="107" y="0"/>
                </a:cxn>
                <a:cxn ang="0">
                  <a:pos x="98" y="0"/>
                </a:cxn>
                <a:cxn ang="0">
                  <a:pos x="89" y="2"/>
                </a:cxn>
                <a:cxn ang="0">
                  <a:pos x="81" y="6"/>
                </a:cxn>
                <a:cxn ang="0">
                  <a:pos x="74" y="10"/>
                </a:cxn>
                <a:cxn ang="0">
                  <a:pos x="63" y="19"/>
                </a:cxn>
                <a:cxn ang="0">
                  <a:pos x="54" y="28"/>
                </a:cxn>
                <a:cxn ang="0">
                  <a:pos x="54" y="28"/>
                </a:cxn>
                <a:cxn ang="0">
                  <a:pos x="54" y="4"/>
                </a:cxn>
                <a:cxn ang="0">
                  <a:pos x="0" y="4"/>
                </a:cxn>
                <a:cxn ang="0">
                  <a:pos x="0" y="4"/>
                </a:cxn>
                <a:cxn ang="0">
                  <a:pos x="0" y="186"/>
                </a:cxn>
                <a:cxn ang="0">
                  <a:pos x="55" y="186"/>
                </a:cxn>
                <a:cxn ang="0">
                  <a:pos x="55" y="97"/>
                </a:cxn>
                <a:cxn ang="0">
                  <a:pos x="55" y="97"/>
                </a:cxn>
                <a:cxn ang="0">
                  <a:pos x="57" y="78"/>
                </a:cxn>
                <a:cxn ang="0">
                  <a:pos x="59" y="71"/>
                </a:cxn>
                <a:cxn ang="0">
                  <a:pos x="61" y="63"/>
                </a:cxn>
                <a:cxn ang="0">
                  <a:pos x="67" y="58"/>
                </a:cxn>
                <a:cxn ang="0">
                  <a:pos x="72" y="54"/>
                </a:cxn>
                <a:cxn ang="0">
                  <a:pos x="80" y="50"/>
                </a:cxn>
                <a:cxn ang="0">
                  <a:pos x="91" y="49"/>
                </a:cxn>
                <a:cxn ang="0">
                  <a:pos x="91" y="49"/>
                </a:cxn>
                <a:cxn ang="0">
                  <a:pos x="100" y="50"/>
                </a:cxn>
                <a:cxn ang="0">
                  <a:pos x="107" y="54"/>
                </a:cxn>
                <a:cxn ang="0">
                  <a:pos x="111" y="60"/>
                </a:cxn>
                <a:cxn ang="0">
                  <a:pos x="115" y="65"/>
                </a:cxn>
                <a:cxn ang="0">
                  <a:pos x="118" y="73"/>
                </a:cxn>
                <a:cxn ang="0">
                  <a:pos x="118" y="82"/>
                </a:cxn>
                <a:cxn ang="0">
                  <a:pos x="118" y="97"/>
                </a:cxn>
                <a:cxn ang="0">
                  <a:pos x="118" y="186"/>
                </a:cxn>
                <a:cxn ang="0">
                  <a:pos x="176" y="186"/>
                </a:cxn>
                <a:cxn ang="0">
                  <a:pos x="176" y="86"/>
                </a:cxn>
                <a:cxn ang="0">
                  <a:pos x="176" y="86"/>
                </a:cxn>
                <a:cxn ang="0">
                  <a:pos x="176" y="69"/>
                </a:cxn>
                <a:cxn ang="0">
                  <a:pos x="174" y="52"/>
                </a:cxn>
                <a:cxn ang="0">
                  <a:pos x="168" y="37"/>
                </a:cxn>
                <a:cxn ang="0">
                  <a:pos x="163" y="24"/>
                </a:cxn>
                <a:cxn ang="0">
                  <a:pos x="154" y="13"/>
                </a:cxn>
                <a:cxn ang="0">
                  <a:pos x="142" y="6"/>
                </a:cxn>
                <a:cxn ang="0">
                  <a:pos x="128" y="2"/>
                </a:cxn>
                <a:cxn ang="0">
                  <a:pos x="107" y="0"/>
                </a:cxn>
                <a:cxn ang="0">
                  <a:pos x="107" y="0"/>
                </a:cxn>
              </a:cxnLst>
              <a:rect l="0" t="0" r="r" b="b"/>
              <a:pathLst>
                <a:path w="176" h="186">
                  <a:moveTo>
                    <a:pt x="107" y="0"/>
                  </a:moveTo>
                  <a:lnTo>
                    <a:pt x="107" y="0"/>
                  </a:lnTo>
                  <a:lnTo>
                    <a:pt x="98" y="0"/>
                  </a:lnTo>
                  <a:lnTo>
                    <a:pt x="89" y="2"/>
                  </a:lnTo>
                  <a:lnTo>
                    <a:pt x="81" y="6"/>
                  </a:lnTo>
                  <a:lnTo>
                    <a:pt x="74" y="10"/>
                  </a:lnTo>
                  <a:lnTo>
                    <a:pt x="63" y="19"/>
                  </a:lnTo>
                  <a:lnTo>
                    <a:pt x="54" y="28"/>
                  </a:lnTo>
                  <a:lnTo>
                    <a:pt x="54" y="28"/>
                  </a:lnTo>
                  <a:lnTo>
                    <a:pt x="54" y="4"/>
                  </a:lnTo>
                  <a:lnTo>
                    <a:pt x="0" y="4"/>
                  </a:lnTo>
                  <a:lnTo>
                    <a:pt x="0" y="4"/>
                  </a:lnTo>
                  <a:lnTo>
                    <a:pt x="0" y="186"/>
                  </a:lnTo>
                  <a:lnTo>
                    <a:pt x="55" y="186"/>
                  </a:lnTo>
                  <a:lnTo>
                    <a:pt x="55" y="97"/>
                  </a:lnTo>
                  <a:lnTo>
                    <a:pt x="55" y="97"/>
                  </a:lnTo>
                  <a:lnTo>
                    <a:pt x="57" y="78"/>
                  </a:lnTo>
                  <a:lnTo>
                    <a:pt x="59" y="71"/>
                  </a:lnTo>
                  <a:lnTo>
                    <a:pt x="61" y="63"/>
                  </a:lnTo>
                  <a:lnTo>
                    <a:pt x="67" y="58"/>
                  </a:lnTo>
                  <a:lnTo>
                    <a:pt x="72" y="54"/>
                  </a:lnTo>
                  <a:lnTo>
                    <a:pt x="80" y="50"/>
                  </a:lnTo>
                  <a:lnTo>
                    <a:pt x="91" y="49"/>
                  </a:lnTo>
                  <a:lnTo>
                    <a:pt x="91" y="49"/>
                  </a:lnTo>
                  <a:lnTo>
                    <a:pt x="100" y="50"/>
                  </a:lnTo>
                  <a:lnTo>
                    <a:pt x="107" y="54"/>
                  </a:lnTo>
                  <a:lnTo>
                    <a:pt x="111" y="60"/>
                  </a:lnTo>
                  <a:lnTo>
                    <a:pt x="115" y="65"/>
                  </a:lnTo>
                  <a:lnTo>
                    <a:pt x="118" y="73"/>
                  </a:lnTo>
                  <a:lnTo>
                    <a:pt x="118" y="82"/>
                  </a:lnTo>
                  <a:lnTo>
                    <a:pt x="118" y="97"/>
                  </a:lnTo>
                  <a:lnTo>
                    <a:pt x="118" y="186"/>
                  </a:lnTo>
                  <a:lnTo>
                    <a:pt x="176" y="186"/>
                  </a:lnTo>
                  <a:lnTo>
                    <a:pt x="176" y="86"/>
                  </a:lnTo>
                  <a:lnTo>
                    <a:pt x="176" y="86"/>
                  </a:lnTo>
                  <a:lnTo>
                    <a:pt x="176" y="69"/>
                  </a:lnTo>
                  <a:lnTo>
                    <a:pt x="174" y="52"/>
                  </a:lnTo>
                  <a:lnTo>
                    <a:pt x="168" y="37"/>
                  </a:lnTo>
                  <a:lnTo>
                    <a:pt x="163" y="24"/>
                  </a:lnTo>
                  <a:lnTo>
                    <a:pt x="154" y="13"/>
                  </a:lnTo>
                  <a:lnTo>
                    <a:pt x="142" y="6"/>
                  </a:lnTo>
                  <a:lnTo>
                    <a:pt x="128" y="2"/>
                  </a:lnTo>
                  <a:lnTo>
                    <a:pt x="107" y="0"/>
                  </a:lnTo>
                  <a:lnTo>
                    <a:pt x="107" y="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en-US" sz="2400" dirty="0">
                <a:solidFill>
                  <a:srgbClr val="7F7F7F"/>
                </a:solidFill>
              </a:endParaRPr>
            </a:p>
          </p:txBody>
        </p:sp>
      </p:grpSp>
      <p:pic>
        <p:nvPicPr>
          <p:cNvPr id="23" name="Picture 2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16385" y="214290"/>
            <a:ext cx="1758785" cy="600953"/>
          </a:xfrm>
          <a:prstGeom prst="rect">
            <a:avLst/>
          </a:prstGeom>
        </p:spPr>
      </p:pic>
    </p:spTree>
    <p:extLst>
      <p:ext uri="{BB962C8B-B14F-4D97-AF65-F5344CB8AC3E}">
        <p14:creationId xmlns:p14="http://schemas.microsoft.com/office/powerpoint/2010/main" val="1093733498"/>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Photo content 3">
    <p:spTree>
      <p:nvGrpSpPr>
        <p:cNvPr id="1" name=""/>
        <p:cNvGrpSpPr/>
        <p:nvPr/>
      </p:nvGrpSpPr>
      <p:grpSpPr>
        <a:xfrm>
          <a:off x="0" y="0"/>
          <a:ext cx="0" cy="0"/>
          <a:chOff x="0" y="0"/>
          <a:chExt cx="0" cy="0"/>
        </a:xfrm>
      </p:grpSpPr>
      <p:sp>
        <p:nvSpPr>
          <p:cNvPr id="9" name="Rectangle 8"/>
          <p:cNvSpPr/>
          <p:nvPr userDrawn="1"/>
        </p:nvSpPr>
        <p:spPr>
          <a:xfrm>
            <a:off x="2290290" y="0"/>
            <a:ext cx="2286000" cy="2295525"/>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9" name="Picture 18"/>
          <p:cNvPicPr>
            <a:picLocks noChangeAspect="1"/>
          </p:cNvPicPr>
          <p:nvPr userDrawn="1"/>
        </p:nvPicPr>
        <p:blipFill rotWithShape="1">
          <a:blip r:embed="rId3" cstate="print">
            <a:duotone>
              <a:prstClr val="black"/>
              <a:schemeClr val="accent3">
                <a:tint val="45000"/>
                <a:satMod val="400000"/>
              </a:schemeClr>
            </a:duotone>
            <a:extLst>
              <a:ext uri="{28A0092B-C50C-407E-A947-70E740481C1C}">
                <a14:useLocalDpi xmlns:a14="http://schemas.microsoft.com/office/drawing/2010/main" val="0"/>
              </a:ext>
            </a:extLst>
          </a:blip>
          <a:srcRect l="10417" r="22917"/>
          <a:stretch/>
        </p:blipFill>
        <p:spPr>
          <a:xfrm>
            <a:off x="0" y="4568684"/>
            <a:ext cx="2286000" cy="2286000"/>
          </a:xfrm>
          <a:prstGeom prst="rect">
            <a:avLst/>
          </a:prstGeom>
        </p:spPr>
      </p:pic>
      <p:pic>
        <p:nvPicPr>
          <p:cNvPr id="20" name="Picture 19"/>
          <p:cNvPicPr>
            <a:picLocks noChangeAspect="1"/>
          </p:cNvPicPr>
          <p:nvPr userDrawn="1"/>
        </p:nvPicPr>
        <p:blipFill rotWithShape="1">
          <a:blip r:embed="rId4" cstate="print">
            <a:duotone>
              <a:prstClr val="black"/>
              <a:schemeClr val="accent3">
                <a:tint val="45000"/>
                <a:satMod val="400000"/>
              </a:schemeClr>
            </a:duotone>
            <a:extLst>
              <a:ext uri="{28A0092B-C50C-407E-A947-70E740481C1C}">
                <a14:useLocalDpi xmlns:a14="http://schemas.microsoft.com/office/drawing/2010/main" val="0"/>
              </a:ext>
            </a:extLst>
          </a:blip>
          <a:srcRect l="14167" r="19167"/>
          <a:stretch/>
        </p:blipFill>
        <p:spPr>
          <a:xfrm>
            <a:off x="2262824" y="2292209"/>
            <a:ext cx="2286000" cy="2286000"/>
          </a:xfrm>
          <a:prstGeom prst="rect">
            <a:avLst/>
          </a:prstGeom>
        </p:spPr>
      </p:pic>
      <p:pic>
        <p:nvPicPr>
          <p:cNvPr id="21" name="Picture 20"/>
          <p:cNvPicPr>
            <a:picLocks noChangeAspect="1"/>
          </p:cNvPicPr>
          <p:nvPr userDrawn="1"/>
        </p:nvPicPr>
        <p:blipFill rotWithShape="1">
          <a:blip r:embed="rId5" cstate="print">
            <a:duotone>
              <a:prstClr val="black"/>
              <a:schemeClr val="accent3">
                <a:tint val="45000"/>
                <a:satMod val="400000"/>
              </a:schemeClr>
            </a:duotone>
            <a:extLst>
              <a:ext uri="{28A0092B-C50C-407E-A947-70E740481C1C}">
                <a14:useLocalDpi xmlns:a14="http://schemas.microsoft.com/office/drawing/2010/main" val="0"/>
              </a:ext>
            </a:extLst>
          </a:blip>
          <a:srcRect l="12509" t="625" r="20841" b="-625"/>
          <a:stretch/>
        </p:blipFill>
        <p:spPr>
          <a:xfrm>
            <a:off x="4290" y="-2289"/>
            <a:ext cx="2298629" cy="2298629"/>
          </a:xfrm>
          <a:prstGeom prst="rect">
            <a:avLst/>
          </a:prstGeom>
        </p:spPr>
      </p:pic>
      <p:sp>
        <p:nvSpPr>
          <p:cNvPr id="22" name="Rectangle 21"/>
          <p:cNvSpPr/>
          <p:nvPr userDrawn="1"/>
        </p:nvSpPr>
        <p:spPr>
          <a:xfrm>
            <a:off x="2268058" y="4572000"/>
            <a:ext cx="2286000" cy="2286000"/>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ectangle 22"/>
          <p:cNvSpPr/>
          <p:nvPr userDrawn="1"/>
        </p:nvSpPr>
        <p:spPr>
          <a:xfrm>
            <a:off x="-11210" y="2277291"/>
            <a:ext cx="2286000" cy="2295525"/>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p:cNvSpPr/>
          <p:nvPr userDrawn="1">
            <p:custDataLst>
              <p:tags r:id="rId1"/>
            </p:custDataLst>
          </p:nvPr>
        </p:nvSpPr>
        <p:spPr>
          <a:xfrm>
            <a:off x="0" y="3239571"/>
            <a:ext cx="2200275" cy="523220"/>
          </a:xfrm>
          <a:prstGeom prst="rect">
            <a:avLst/>
          </a:prstGeom>
        </p:spPr>
        <p:txBody>
          <a:bodyPr wrap="square">
            <a:spAutoFit/>
          </a:bodyPr>
          <a:lstStyle/>
          <a:p>
            <a:pPr algn="ctr"/>
            <a:r>
              <a:rPr lang="en-US" sz="2800" b="1" dirty="0" smtClean="0">
                <a:solidFill>
                  <a:schemeClr val="bg1"/>
                </a:solidFill>
                <a:latin typeface="Calibri Light" pitchFamily="34" charset="0"/>
              </a:rPr>
              <a:t>Title</a:t>
            </a:r>
            <a:endParaRPr lang="en-US" sz="2800" b="1" dirty="0">
              <a:solidFill>
                <a:schemeClr val="bg1"/>
              </a:solidFill>
              <a:latin typeface="Calibri Light" pitchFamily="34" charset="0"/>
            </a:endParaRPr>
          </a:p>
        </p:txBody>
      </p:sp>
      <p:sp>
        <p:nvSpPr>
          <p:cNvPr id="25" name="Text Placeholder 24"/>
          <p:cNvSpPr>
            <a:spLocks noGrp="1"/>
          </p:cNvSpPr>
          <p:nvPr>
            <p:ph type="body" sz="quarter" idx="10" hasCustomPrompt="1"/>
          </p:nvPr>
        </p:nvSpPr>
        <p:spPr>
          <a:xfrm>
            <a:off x="5429250" y="819150"/>
            <a:ext cx="6191250" cy="5389563"/>
          </a:xfrm>
        </p:spPr>
        <p:txBody>
          <a:bodyPr/>
          <a:lstStyle>
            <a:lvl1pPr marL="0" indent="0">
              <a:buNone/>
              <a:defRPr baseline="0"/>
            </a:lvl1pPr>
          </a:lstStyle>
          <a:p>
            <a:pPr lvl="0"/>
            <a:r>
              <a:rPr lang="en-US" dirty="0" smtClean="0"/>
              <a:t>Insert content</a:t>
            </a:r>
            <a:endParaRPr lang="en-US" dirty="0"/>
          </a:p>
        </p:txBody>
      </p:sp>
      <p:grpSp>
        <p:nvGrpSpPr>
          <p:cNvPr id="18" name="Group 17"/>
          <p:cNvGrpSpPr/>
          <p:nvPr userDrawn="1"/>
        </p:nvGrpSpPr>
        <p:grpSpPr>
          <a:xfrm>
            <a:off x="2894379" y="674409"/>
            <a:ext cx="1090450" cy="943392"/>
            <a:chOff x="10040556" y="89224"/>
            <a:chExt cx="488068" cy="458033"/>
          </a:xfrm>
          <a:solidFill>
            <a:schemeClr val="bg1"/>
          </a:solidFill>
        </p:grpSpPr>
        <p:sp>
          <p:nvSpPr>
            <p:cNvPr id="24" name="AutoShape 69"/>
            <p:cNvSpPr>
              <a:spLocks/>
            </p:cNvSpPr>
            <p:nvPr/>
          </p:nvSpPr>
          <p:spPr bwMode="auto">
            <a:xfrm>
              <a:off x="10040556" y="89224"/>
              <a:ext cx="488068" cy="458033"/>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8223" y="5760"/>
                  </a:moveTo>
                  <a:lnTo>
                    <a:pt x="17548" y="5760"/>
                  </a:lnTo>
                  <a:cubicBezTo>
                    <a:pt x="16804" y="5760"/>
                    <a:pt x="16198" y="5114"/>
                    <a:pt x="16198" y="4320"/>
                  </a:cubicBezTo>
                  <a:lnTo>
                    <a:pt x="16200" y="4320"/>
                  </a:lnTo>
                  <a:lnTo>
                    <a:pt x="16200" y="1440"/>
                  </a:lnTo>
                  <a:lnTo>
                    <a:pt x="20250" y="5760"/>
                  </a:lnTo>
                  <a:cubicBezTo>
                    <a:pt x="20250" y="5760"/>
                    <a:pt x="18223" y="5760"/>
                    <a:pt x="18223" y="5760"/>
                  </a:cubicBezTo>
                  <a:close/>
                  <a:moveTo>
                    <a:pt x="20250" y="19440"/>
                  </a:moveTo>
                  <a:cubicBezTo>
                    <a:pt x="20250" y="19837"/>
                    <a:pt x="19948" y="20160"/>
                    <a:pt x="19575" y="20160"/>
                  </a:cubicBezTo>
                  <a:lnTo>
                    <a:pt x="2024" y="20160"/>
                  </a:lnTo>
                  <a:cubicBezTo>
                    <a:pt x="1651" y="20160"/>
                    <a:pt x="1349" y="19837"/>
                    <a:pt x="1349" y="19440"/>
                  </a:cubicBezTo>
                  <a:lnTo>
                    <a:pt x="1349" y="2160"/>
                  </a:lnTo>
                  <a:cubicBezTo>
                    <a:pt x="1349" y="1762"/>
                    <a:pt x="1651" y="1440"/>
                    <a:pt x="2024" y="1440"/>
                  </a:cubicBezTo>
                  <a:lnTo>
                    <a:pt x="15525" y="1440"/>
                  </a:lnTo>
                  <a:lnTo>
                    <a:pt x="15525" y="4320"/>
                  </a:lnTo>
                  <a:lnTo>
                    <a:pt x="15523" y="4320"/>
                  </a:lnTo>
                  <a:cubicBezTo>
                    <a:pt x="15523" y="5513"/>
                    <a:pt x="16430" y="6480"/>
                    <a:pt x="17548" y="6480"/>
                  </a:cubicBezTo>
                  <a:lnTo>
                    <a:pt x="18223" y="6480"/>
                  </a:lnTo>
                  <a:lnTo>
                    <a:pt x="20250" y="6480"/>
                  </a:lnTo>
                  <a:cubicBezTo>
                    <a:pt x="20250" y="6480"/>
                    <a:pt x="20250" y="19440"/>
                    <a:pt x="20250" y="19440"/>
                  </a:cubicBezTo>
                  <a:close/>
                  <a:moveTo>
                    <a:pt x="21204" y="4741"/>
                  </a:moveTo>
                  <a:lnTo>
                    <a:pt x="17154" y="421"/>
                  </a:lnTo>
                  <a:cubicBezTo>
                    <a:pt x="16901" y="151"/>
                    <a:pt x="16557" y="0"/>
                    <a:pt x="16200" y="0"/>
                  </a:cubicBezTo>
                  <a:lnTo>
                    <a:pt x="2024" y="0"/>
                  </a:lnTo>
                  <a:cubicBezTo>
                    <a:pt x="908" y="0"/>
                    <a:pt x="0" y="968"/>
                    <a:pt x="0" y="2160"/>
                  </a:cubicBezTo>
                  <a:lnTo>
                    <a:pt x="0" y="19440"/>
                  </a:lnTo>
                  <a:cubicBezTo>
                    <a:pt x="0" y="20631"/>
                    <a:pt x="908" y="21600"/>
                    <a:pt x="2024" y="21600"/>
                  </a:cubicBezTo>
                  <a:lnTo>
                    <a:pt x="19575" y="21600"/>
                  </a:lnTo>
                  <a:cubicBezTo>
                    <a:pt x="20691" y="21600"/>
                    <a:pt x="21599" y="20631"/>
                    <a:pt x="21599" y="19440"/>
                  </a:cubicBezTo>
                  <a:lnTo>
                    <a:pt x="21599" y="5760"/>
                  </a:lnTo>
                  <a:cubicBezTo>
                    <a:pt x="21599" y="5378"/>
                    <a:pt x="21457" y="5011"/>
                    <a:pt x="21204" y="4741"/>
                  </a:cubicBezTo>
                </a:path>
              </a:pathLst>
            </a:custGeom>
            <a:grpFill/>
            <a:ln>
              <a:solidFill>
                <a:schemeClr val="bg1"/>
              </a:solidFill>
            </a:ln>
            <a:effectLst/>
            <a:extLs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50800" tIns="50800" rIns="50800" bIns="50800" anchor="ctr"/>
            <a:lstStyle/>
            <a:p>
              <a:pPr defTabSz="609585"/>
              <a:endParaRPr lang="en-US" sz="4000" dirty="0">
                <a:solidFill>
                  <a:srgbClr val="FFFFFF"/>
                </a:solidFill>
                <a:effectLst>
                  <a:outerShdw blurRad="38100" dist="38100" dir="2700000" algn="tl">
                    <a:srgbClr val="000000"/>
                  </a:outerShdw>
                </a:effectLst>
              </a:endParaRPr>
            </a:p>
          </p:txBody>
        </p:sp>
        <p:sp>
          <p:nvSpPr>
            <p:cNvPr id="26" name="AutoShape 70"/>
            <p:cNvSpPr>
              <a:spLocks/>
            </p:cNvSpPr>
            <p:nvPr/>
          </p:nvSpPr>
          <p:spPr bwMode="auto">
            <a:xfrm>
              <a:off x="10269152" y="180164"/>
              <a:ext cx="91773" cy="15852"/>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800" y="21599"/>
                  </a:moveTo>
                  <a:lnTo>
                    <a:pt x="19800" y="21599"/>
                  </a:lnTo>
                  <a:cubicBezTo>
                    <a:pt x="20791" y="21599"/>
                    <a:pt x="21600" y="16769"/>
                    <a:pt x="21600" y="10800"/>
                  </a:cubicBezTo>
                  <a:cubicBezTo>
                    <a:pt x="21600" y="4830"/>
                    <a:pt x="20791" y="0"/>
                    <a:pt x="19800" y="0"/>
                  </a:cubicBezTo>
                  <a:lnTo>
                    <a:pt x="1800" y="0"/>
                  </a:lnTo>
                  <a:cubicBezTo>
                    <a:pt x="801" y="0"/>
                    <a:pt x="0" y="4830"/>
                    <a:pt x="0" y="10800"/>
                  </a:cubicBezTo>
                  <a:cubicBezTo>
                    <a:pt x="0" y="16769"/>
                    <a:pt x="801" y="21599"/>
                    <a:pt x="1800" y="21599"/>
                  </a:cubicBezTo>
                </a:path>
              </a:pathLst>
            </a:custGeom>
            <a:grpFill/>
            <a:ln>
              <a:solidFill>
                <a:schemeClr val="bg1"/>
              </a:solidFill>
            </a:ln>
            <a:effectLst/>
            <a:extLs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50800" tIns="50800" rIns="50800" bIns="50800" anchor="ctr"/>
            <a:lstStyle/>
            <a:p>
              <a:pPr defTabSz="609585"/>
              <a:endParaRPr lang="en-US" sz="4000" dirty="0">
                <a:solidFill>
                  <a:srgbClr val="FFFFFF"/>
                </a:solidFill>
                <a:effectLst>
                  <a:outerShdw blurRad="38100" dist="38100" dir="2700000" algn="tl">
                    <a:srgbClr val="000000"/>
                  </a:outerShdw>
                </a:effectLst>
              </a:endParaRPr>
            </a:p>
          </p:txBody>
        </p:sp>
        <p:sp>
          <p:nvSpPr>
            <p:cNvPr id="27" name="AutoShape 71"/>
            <p:cNvSpPr>
              <a:spLocks/>
            </p:cNvSpPr>
            <p:nvPr/>
          </p:nvSpPr>
          <p:spPr bwMode="auto">
            <a:xfrm>
              <a:off x="10269152" y="226050"/>
              <a:ext cx="91773" cy="15852"/>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800" y="21599"/>
                  </a:moveTo>
                  <a:lnTo>
                    <a:pt x="19800" y="21599"/>
                  </a:lnTo>
                  <a:cubicBezTo>
                    <a:pt x="20791" y="21599"/>
                    <a:pt x="21600" y="16769"/>
                    <a:pt x="21600" y="10800"/>
                  </a:cubicBezTo>
                  <a:cubicBezTo>
                    <a:pt x="21600" y="4830"/>
                    <a:pt x="20791" y="0"/>
                    <a:pt x="19800" y="0"/>
                  </a:cubicBezTo>
                  <a:lnTo>
                    <a:pt x="1800" y="0"/>
                  </a:lnTo>
                  <a:cubicBezTo>
                    <a:pt x="801" y="0"/>
                    <a:pt x="0" y="4830"/>
                    <a:pt x="0" y="10800"/>
                  </a:cubicBezTo>
                  <a:cubicBezTo>
                    <a:pt x="0" y="16769"/>
                    <a:pt x="801" y="21599"/>
                    <a:pt x="1800" y="21599"/>
                  </a:cubicBezTo>
                </a:path>
              </a:pathLst>
            </a:custGeom>
            <a:grpFill/>
            <a:ln>
              <a:solidFill>
                <a:schemeClr val="bg1"/>
              </a:solidFill>
            </a:ln>
            <a:effectLst/>
            <a:extLs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50800" tIns="50800" rIns="50800" bIns="50800" anchor="ctr"/>
            <a:lstStyle/>
            <a:p>
              <a:pPr defTabSz="609585"/>
              <a:endParaRPr lang="en-US" sz="4000" dirty="0">
                <a:solidFill>
                  <a:srgbClr val="FFFFFF"/>
                </a:solidFill>
                <a:effectLst>
                  <a:outerShdw blurRad="38100" dist="38100" dir="2700000" algn="tl">
                    <a:srgbClr val="000000"/>
                  </a:outerShdw>
                </a:effectLst>
              </a:endParaRPr>
            </a:p>
          </p:txBody>
        </p:sp>
        <p:sp>
          <p:nvSpPr>
            <p:cNvPr id="28" name="AutoShape 72"/>
            <p:cNvSpPr>
              <a:spLocks/>
            </p:cNvSpPr>
            <p:nvPr/>
          </p:nvSpPr>
          <p:spPr bwMode="auto">
            <a:xfrm>
              <a:off x="10269152" y="271937"/>
              <a:ext cx="198564" cy="15852"/>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10800"/>
                  </a:moveTo>
                  <a:cubicBezTo>
                    <a:pt x="0" y="16769"/>
                    <a:pt x="369" y="21599"/>
                    <a:pt x="830" y="21599"/>
                  </a:cubicBezTo>
                  <a:lnTo>
                    <a:pt x="20769" y="21599"/>
                  </a:lnTo>
                  <a:cubicBezTo>
                    <a:pt x="21226" y="21599"/>
                    <a:pt x="21600" y="16769"/>
                    <a:pt x="21600" y="10800"/>
                  </a:cubicBezTo>
                  <a:cubicBezTo>
                    <a:pt x="21600" y="4830"/>
                    <a:pt x="21226" y="0"/>
                    <a:pt x="20769" y="0"/>
                  </a:cubicBezTo>
                  <a:lnTo>
                    <a:pt x="830" y="0"/>
                  </a:lnTo>
                  <a:cubicBezTo>
                    <a:pt x="369" y="0"/>
                    <a:pt x="0" y="4830"/>
                    <a:pt x="0" y="10800"/>
                  </a:cubicBezTo>
                </a:path>
              </a:pathLst>
            </a:custGeom>
            <a:grpFill/>
            <a:ln>
              <a:solidFill>
                <a:schemeClr val="bg1"/>
              </a:solidFill>
            </a:ln>
            <a:effectLst/>
            <a:extLs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50800" tIns="50800" rIns="50800" bIns="50800" anchor="ctr"/>
            <a:lstStyle/>
            <a:p>
              <a:pPr defTabSz="609585"/>
              <a:endParaRPr lang="en-US" sz="4000" dirty="0">
                <a:solidFill>
                  <a:srgbClr val="FFFFFF"/>
                </a:solidFill>
                <a:effectLst>
                  <a:outerShdw blurRad="38100" dist="38100" dir="2700000" algn="tl">
                    <a:srgbClr val="000000"/>
                  </a:outerShdw>
                </a:effectLst>
              </a:endParaRPr>
            </a:p>
          </p:txBody>
        </p:sp>
        <p:sp>
          <p:nvSpPr>
            <p:cNvPr id="29" name="AutoShape 73"/>
            <p:cNvSpPr>
              <a:spLocks/>
            </p:cNvSpPr>
            <p:nvPr/>
          </p:nvSpPr>
          <p:spPr bwMode="auto">
            <a:xfrm>
              <a:off x="10101457" y="363712"/>
              <a:ext cx="366259" cy="15017"/>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1150" y="0"/>
                  </a:moveTo>
                  <a:lnTo>
                    <a:pt x="449" y="0"/>
                  </a:lnTo>
                  <a:cubicBezTo>
                    <a:pt x="201" y="0"/>
                    <a:pt x="0" y="4830"/>
                    <a:pt x="0" y="10800"/>
                  </a:cubicBezTo>
                  <a:cubicBezTo>
                    <a:pt x="0" y="16748"/>
                    <a:pt x="201" y="21599"/>
                    <a:pt x="449" y="21599"/>
                  </a:cubicBezTo>
                  <a:lnTo>
                    <a:pt x="21150" y="21599"/>
                  </a:lnTo>
                  <a:cubicBezTo>
                    <a:pt x="21397" y="21599"/>
                    <a:pt x="21599" y="16748"/>
                    <a:pt x="21599" y="10800"/>
                  </a:cubicBezTo>
                  <a:cubicBezTo>
                    <a:pt x="21599" y="4830"/>
                    <a:pt x="21397" y="0"/>
                    <a:pt x="21150" y="0"/>
                  </a:cubicBezTo>
                </a:path>
              </a:pathLst>
            </a:custGeom>
            <a:grpFill/>
            <a:ln>
              <a:solidFill>
                <a:schemeClr val="bg1"/>
              </a:solidFill>
            </a:ln>
            <a:effectLst/>
            <a:extLs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50800" tIns="50800" rIns="50800" bIns="50800" anchor="ctr"/>
            <a:lstStyle/>
            <a:p>
              <a:pPr defTabSz="609585"/>
              <a:endParaRPr lang="en-US" sz="4000" dirty="0">
                <a:solidFill>
                  <a:srgbClr val="FFFFFF"/>
                </a:solidFill>
                <a:effectLst>
                  <a:outerShdw blurRad="38100" dist="38100" dir="2700000" algn="tl">
                    <a:srgbClr val="000000"/>
                  </a:outerShdw>
                </a:effectLst>
              </a:endParaRPr>
            </a:p>
          </p:txBody>
        </p:sp>
        <p:sp>
          <p:nvSpPr>
            <p:cNvPr id="30" name="AutoShape 74"/>
            <p:cNvSpPr>
              <a:spLocks/>
            </p:cNvSpPr>
            <p:nvPr/>
          </p:nvSpPr>
          <p:spPr bwMode="auto">
            <a:xfrm>
              <a:off x="10101457" y="409597"/>
              <a:ext cx="366259" cy="15017"/>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1150" y="0"/>
                  </a:moveTo>
                  <a:lnTo>
                    <a:pt x="449" y="0"/>
                  </a:lnTo>
                  <a:cubicBezTo>
                    <a:pt x="201" y="0"/>
                    <a:pt x="0" y="4830"/>
                    <a:pt x="0" y="10800"/>
                  </a:cubicBezTo>
                  <a:cubicBezTo>
                    <a:pt x="0" y="16748"/>
                    <a:pt x="201" y="21599"/>
                    <a:pt x="449" y="21599"/>
                  </a:cubicBezTo>
                  <a:lnTo>
                    <a:pt x="21150" y="21599"/>
                  </a:lnTo>
                  <a:cubicBezTo>
                    <a:pt x="21397" y="21599"/>
                    <a:pt x="21599" y="16748"/>
                    <a:pt x="21599" y="10800"/>
                  </a:cubicBezTo>
                  <a:cubicBezTo>
                    <a:pt x="21599" y="4830"/>
                    <a:pt x="21397" y="0"/>
                    <a:pt x="21150" y="0"/>
                  </a:cubicBezTo>
                </a:path>
              </a:pathLst>
            </a:custGeom>
            <a:grpFill/>
            <a:ln>
              <a:solidFill>
                <a:schemeClr val="bg1"/>
              </a:solidFill>
            </a:ln>
            <a:effectLst/>
            <a:extLs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50800" tIns="50800" rIns="50800" bIns="50800" anchor="ctr"/>
            <a:lstStyle/>
            <a:p>
              <a:pPr defTabSz="609585"/>
              <a:endParaRPr lang="en-US" sz="4000" dirty="0">
                <a:solidFill>
                  <a:srgbClr val="FFFFFF"/>
                </a:solidFill>
                <a:effectLst>
                  <a:outerShdw blurRad="38100" dist="38100" dir="2700000" algn="tl">
                    <a:srgbClr val="000000"/>
                  </a:outerShdw>
                </a:effectLst>
              </a:endParaRPr>
            </a:p>
          </p:txBody>
        </p:sp>
        <p:sp>
          <p:nvSpPr>
            <p:cNvPr id="31" name="AutoShape 75"/>
            <p:cNvSpPr>
              <a:spLocks/>
            </p:cNvSpPr>
            <p:nvPr/>
          </p:nvSpPr>
          <p:spPr bwMode="auto">
            <a:xfrm>
              <a:off x="10101457" y="455485"/>
              <a:ext cx="366259" cy="15017"/>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1150" y="0"/>
                  </a:moveTo>
                  <a:lnTo>
                    <a:pt x="449" y="0"/>
                  </a:lnTo>
                  <a:cubicBezTo>
                    <a:pt x="201" y="0"/>
                    <a:pt x="0" y="4830"/>
                    <a:pt x="0" y="10800"/>
                  </a:cubicBezTo>
                  <a:cubicBezTo>
                    <a:pt x="0" y="16748"/>
                    <a:pt x="201" y="21599"/>
                    <a:pt x="449" y="21599"/>
                  </a:cubicBezTo>
                  <a:lnTo>
                    <a:pt x="21150" y="21599"/>
                  </a:lnTo>
                  <a:cubicBezTo>
                    <a:pt x="21397" y="21599"/>
                    <a:pt x="21599" y="16748"/>
                    <a:pt x="21599" y="10800"/>
                  </a:cubicBezTo>
                  <a:cubicBezTo>
                    <a:pt x="21599" y="4830"/>
                    <a:pt x="21397" y="0"/>
                    <a:pt x="21150" y="0"/>
                  </a:cubicBezTo>
                </a:path>
              </a:pathLst>
            </a:custGeom>
            <a:grpFill/>
            <a:ln>
              <a:solidFill>
                <a:schemeClr val="bg1"/>
              </a:solidFill>
            </a:ln>
            <a:effectLst/>
            <a:extLs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50800" tIns="50800" rIns="50800" bIns="50800" anchor="ctr"/>
            <a:lstStyle/>
            <a:p>
              <a:pPr defTabSz="609585"/>
              <a:endParaRPr lang="en-US" sz="4000" dirty="0">
                <a:solidFill>
                  <a:srgbClr val="FFFFFF"/>
                </a:solidFill>
                <a:effectLst>
                  <a:outerShdw blurRad="38100" dist="38100" dir="2700000" algn="tl">
                    <a:srgbClr val="000000"/>
                  </a:outerShdw>
                </a:effectLst>
              </a:endParaRPr>
            </a:p>
          </p:txBody>
        </p:sp>
        <p:sp>
          <p:nvSpPr>
            <p:cNvPr id="32" name="AutoShape 76"/>
            <p:cNvSpPr>
              <a:spLocks/>
            </p:cNvSpPr>
            <p:nvPr/>
          </p:nvSpPr>
          <p:spPr bwMode="auto">
            <a:xfrm>
              <a:off x="10101457" y="317823"/>
              <a:ext cx="366259" cy="15017"/>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1150" y="0"/>
                  </a:moveTo>
                  <a:lnTo>
                    <a:pt x="449" y="0"/>
                  </a:lnTo>
                  <a:cubicBezTo>
                    <a:pt x="201" y="0"/>
                    <a:pt x="0" y="4830"/>
                    <a:pt x="0" y="10800"/>
                  </a:cubicBezTo>
                  <a:cubicBezTo>
                    <a:pt x="0" y="16769"/>
                    <a:pt x="201" y="21599"/>
                    <a:pt x="449" y="21599"/>
                  </a:cubicBezTo>
                  <a:lnTo>
                    <a:pt x="21150" y="21599"/>
                  </a:lnTo>
                  <a:cubicBezTo>
                    <a:pt x="21397" y="21599"/>
                    <a:pt x="21599" y="16769"/>
                    <a:pt x="21599" y="10800"/>
                  </a:cubicBezTo>
                  <a:cubicBezTo>
                    <a:pt x="21599" y="4830"/>
                    <a:pt x="21397" y="0"/>
                    <a:pt x="21150" y="0"/>
                  </a:cubicBezTo>
                </a:path>
              </a:pathLst>
            </a:custGeom>
            <a:grpFill/>
            <a:ln>
              <a:solidFill>
                <a:schemeClr val="bg1"/>
              </a:solidFill>
            </a:ln>
            <a:effectLst/>
            <a:extLs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50800" tIns="50800" rIns="50800" bIns="50800" anchor="ctr"/>
            <a:lstStyle/>
            <a:p>
              <a:pPr defTabSz="609585"/>
              <a:endParaRPr lang="en-US" sz="4000" dirty="0">
                <a:solidFill>
                  <a:srgbClr val="FFFFFF"/>
                </a:solidFill>
                <a:effectLst>
                  <a:outerShdw blurRad="38100" dist="38100" dir="2700000" algn="tl">
                    <a:srgbClr val="000000"/>
                  </a:outerShdw>
                </a:effectLst>
              </a:endParaRPr>
            </a:p>
          </p:txBody>
        </p:sp>
        <p:sp>
          <p:nvSpPr>
            <p:cNvPr id="33" name="AutoShape 77"/>
            <p:cNvSpPr>
              <a:spLocks/>
            </p:cNvSpPr>
            <p:nvPr/>
          </p:nvSpPr>
          <p:spPr bwMode="auto">
            <a:xfrm>
              <a:off x="10101460" y="165144"/>
              <a:ext cx="137660" cy="122643"/>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4799" y="5400"/>
                  </a:moveTo>
                  <a:lnTo>
                    <a:pt x="16800" y="5400"/>
                  </a:lnTo>
                  <a:lnTo>
                    <a:pt x="16800" y="16200"/>
                  </a:lnTo>
                  <a:lnTo>
                    <a:pt x="4799" y="16200"/>
                  </a:lnTo>
                  <a:cubicBezTo>
                    <a:pt x="4799" y="16200"/>
                    <a:pt x="4799" y="5400"/>
                    <a:pt x="4799" y="5400"/>
                  </a:cubicBezTo>
                  <a:close/>
                  <a:moveTo>
                    <a:pt x="2399" y="21599"/>
                  </a:moveTo>
                  <a:lnTo>
                    <a:pt x="19200" y="21599"/>
                  </a:lnTo>
                  <a:cubicBezTo>
                    <a:pt x="20526" y="21599"/>
                    <a:pt x="21599" y="20392"/>
                    <a:pt x="21599" y="18900"/>
                  </a:cubicBezTo>
                  <a:lnTo>
                    <a:pt x="21599" y="2700"/>
                  </a:lnTo>
                  <a:cubicBezTo>
                    <a:pt x="21599" y="1207"/>
                    <a:pt x="20526" y="0"/>
                    <a:pt x="19200" y="0"/>
                  </a:cubicBezTo>
                  <a:lnTo>
                    <a:pt x="2399" y="0"/>
                  </a:lnTo>
                  <a:cubicBezTo>
                    <a:pt x="1073" y="0"/>
                    <a:pt x="0" y="1207"/>
                    <a:pt x="0" y="2700"/>
                  </a:cubicBezTo>
                  <a:lnTo>
                    <a:pt x="0" y="18900"/>
                  </a:lnTo>
                  <a:cubicBezTo>
                    <a:pt x="0" y="20392"/>
                    <a:pt x="1073" y="21599"/>
                    <a:pt x="2399" y="21599"/>
                  </a:cubicBezTo>
                </a:path>
              </a:pathLst>
            </a:custGeom>
            <a:grpFill/>
            <a:ln>
              <a:solidFill>
                <a:schemeClr val="bg1"/>
              </a:solidFill>
            </a:ln>
            <a:effectLst/>
            <a:extLs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50800" tIns="50800" rIns="50800" bIns="50800" anchor="ctr"/>
            <a:lstStyle/>
            <a:p>
              <a:pPr defTabSz="609585"/>
              <a:endParaRPr lang="en-US" sz="4000" dirty="0">
                <a:solidFill>
                  <a:srgbClr val="FFFFFF"/>
                </a:solidFill>
                <a:effectLst>
                  <a:outerShdw blurRad="38100" dist="38100" dir="2700000" algn="tl">
                    <a:srgbClr val="000000"/>
                  </a:outerShdw>
                </a:effectLst>
              </a:endParaRPr>
            </a:p>
          </p:txBody>
        </p:sp>
      </p:grpSp>
      <p:sp>
        <p:nvSpPr>
          <p:cNvPr id="34" name="AutoShape 4"/>
          <p:cNvSpPr>
            <a:spLocks/>
          </p:cNvSpPr>
          <p:nvPr userDrawn="1"/>
        </p:nvSpPr>
        <p:spPr bwMode="auto">
          <a:xfrm>
            <a:off x="2944653" y="5252617"/>
            <a:ext cx="920918" cy="9144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7428" y="17466"/>
                </a:moveTo>
                <a:cubicBezTo>
                  <a:pt x="16669" y="16923"/>
                  <a:pt x="15846" y="16465"/>
                  <a:pt x="14963" y="16121"/>
                </a:cubicBezTo>
                <a:cubicBezTo>
                  <a:pt x="15595" y="14609"/>
                  <a:pt x="15967" y="12928"/>
                  <a:pt x="16010" y="11148"/>
                </a:cubicBezTo>
                <a:lnTo>
                  <a:pt x="20188" y="11148"/>
                </a:lnTo>
                <a:cubicBezTo>
                  <a:pt x="20097" y="13612"/>
                  <a:pt x="19065" y="15838"/>
                  <a:pt x="17428" y="17466"/>
                </a:cubicBezTo>
                <a:moveTo>
                  <a:pt x="1411" y="11148"/>
                </a:moveTo>
                <a:lnTo>
                  <a:pt x="5589" y="11148"/>
                </a:lnTo>
                <a:cubicBezTo>
                  <a:pt x="5632" y="12928"/>
                  <a:pt x="6004" y="14609"/>
                  <a:pt x="6636" y="16121"/>
                </a:cubicBezTo>
                <a:cubicBezTo>
                  <a:pt x="5753" y="16465"/>
                  <a:pt x="4931" y="16923"/>
                  <a:pt x="4171" y="17466"/>
                </a:cubicBezTo>
                <a:cubicBezTo>
                  <a:pt x="2534" y="15838"/>
                  <a:pt x="1502" y="13612"/>
                  <a:pt x="1411" y="11148"/>
                </a:cubicBezTo>
                <a:moveTo>
                  <a:pt x="3785" y="4553"/>
                </a:moveTo>
                <a:cubicBezTo>
                  <a:pt x="4579" y="5170"/>
                  <a:pt x="5448" y="5691"/>
                  <a:pt x="6388" y="6084"/>
                </a:cubicBezTo>
                <a:cubicBezTo>
                  <a:pt x="5901" y="7433"/>
                  <a:pt x="5627" y="8908"/>
                  <a:pt x="5589" y="10451"/>
                </a:cubicBezTo>
                <a:lnTo>
                  <a:pt x="1411" y="10451"/>
                </a:lnTo>
                <a:cubicBezTo>
                  <a:pt x="1494" y="8190"/>
                  <a:pt x="2376" y="6135"/>
                  <a:pt x="3785" y="4553"/>
                </a:cubicBezTo>
                <a:moveTo>
                  <a:pt x="11148" y="10451"/>
                </a:moveTo>
                <a:lnTo>
                  <a:pt x="11148" y="6950"/>
                </a:lnTo>
                <a:cubicBezTo>
                  <a:pt x="12339" y="6913"/>
                  <a:pt x="13484" y="6696"/>
                  <a:pt x="14558" y="6324"/>
                </a:cubicBezTo>
                <a:cubicBezTo>
                  <a:pt x="15018" y="7598"/>
                  <a:pt x="15276" y="8992"/>
                  <a:pt x="15314" y="10451"/>
                </a:cubicBezTo>
                <a:cubicBezTo>
                  <a:pt x="15314" y="10451"/>
                  <a:pt x="11148" y="10451"/>
                  <a:pt x="11148" y="10451"/>
                </a:cubicBezTo>
                <a:close/>
                <a:moveTo>
                  <a:pt x="14311" y="15882"/>
                </a:moveTo>
                <a:cubicBezTo>
                  <a:pt x="13309" y="15559"/>
                  <a:pt x="12247" y="15380"/>
                  <a:pt x="11148" y="15346"/>
                </a:cubicBezTo>
                <a:lnTo>
                  <a:pt x="11148" y="11148"/>
                </a:lnTo>
                <a:lnTo>
                  <a:pt x="15314" y="11148"/>
                </a:lnTo>
                <a:cubicBezTo>
                  <a:pt x="15270" y="12844"/>
                  <a:pt x="14914" y="14445"/>
                  <a:pt x="14311" y="15882"/>
                </a:cubicBezTo>
                <a:moveTo>
                  <a:pt x="14683" y="16757"/>
                </a:moveTo>
                <a:cubicBezTo>
                  <a:pt x="15476" y="17063"/>
                  <a:pt x="16218" y="17466"/>
                  <a:pt x="16904" y="17941"/>
                </a:cubicBezTo>
                <a:cubicBezTo>
                  <a:pt x="15632" y="19031"/>
                  <a:pt x="14067" y="19781"/>
                  <a:pt x="12344" y="20068"/>
                </a:cubicBezTo>
                <a:cubicBezTo>
                  <a:pt x="13280" y="19136"/>
                  <a:pt x="14076" y="18017"/>
                  <a:pt x="14683" y="16757"/>
                </a:cubicBezTo>
                <a:moveTo>
                  <a:pt x="11148" y="20188"/>
                </a:moveTo>
                <a:lnTo>
                  <a:pt x="11148" y="16043"/>
                </a:lnTo>
                <a:cubicBezTo>
                  <a:pt x="12146" y="16075"/>
                  <a:pt x="13113" y="16231"/>
                  <a:pt x="14025" y="16516"/>
                </a:cubicBezTo>
                <a:cubicBezTo>
                  <a:pt x="13314" y="17970"/>
                  <a:pt x="12343" y="19223"/>
                  <a:pt x="11185" y="20186"/>
                </a:cubicBezTo>
                <a:cubicBezTo>
                  <a:pt x="11185" y="20186"/>
                  <a:pt x="11148" y="20188"/>
                  <a:pt x="11148" y="20188"/>
                </a:cubicBezTo>
                <a:close/>
                <a:moveTo>
                  <a:pt x="9255" y="20068"/>
                </a:moveTo>
                <a:cubicBezTo>
                  <a:pt x="7532" y="19781"/>
                  <a:pt x="5967" y="19031"/>
                  <a:pt x="4695" y="17941"/>
                </a:cubicBezTo>
                <a:cubicBezTo>
                  <a:pt x="5381" y="17466"/>
                  <a:pt x="6123" y="17063"/>
                  <a:pt x="6916" y="16757"/>
                </a:cubicBezTo>
                <a:cubicBezTo>
                  <a:pt x="7523" y="18017"/>
                  <a:pt x="8319" y="19136"/>
                  <a:pt x="9255" y="20068"/>
                </a:cubicBezTo>
                <a:moveTo>
                  <a:pt x="10451" y="11148"/>
                </a:moveTo>
                <a:lnTo>
                  <a:pt x="10451" y="15346"/>
                </a:lnTo>
                <a:cubicBezTo>
                  <a:pt x="9352" y="15380"/>
                  <a:pt x="8290" y="15559"/>
                  <a:pt x="7288" y="15882"/>
                </a:cubicBezTo>
                <a:cubicBezTo>
                  <a:pt x="6685" y="14445"/>
                  <a:pt x="6329" y="12844"/>
                  <a:pt x="6285" y="11148"/>
                </a:cubicBezTo>
                <a:cubicBezTo>
                  <a:pt x="6285" y="11148"/>
                  <a:pt x="10451" y="11148"/>
                  <a:pt x="10451" y="11148"/>
                </a:cubicBezTo>
                <a:close/>
                <a:moveTo>
                  <a:pt x="7041" y="6324"/>
                </a:moveTo>
                <a:cubicBezTo>
                  <a:pt x="8115" y="6696"/>
                  <a:pt x="9260" y="6913"/>
                  <a:pt x="10451" y="6950"/>
                </a:cubicBezTo>
                <a:lnTo>
                  <a:pt x="10451" y="10451"/>
                </a:lnTo>
                <a:lnTo>
                  <a:pt x="6285" y="10451"/>
                </a:lnTo>
                <a:cubicBezTo>
                  <a:pt x="6324" y="8992"/>
                  <a:pt x="6581" y="7598"/>
                  <a:pt x="7041" y="6324"/>
                </a:cubicBezTo>
                <a:moveTo>
                  <a:pt x="6651" y="5442"/>
                </a:moveTo>
                <a:cubicBezTo>
                  <a:pt x="5790" y="5084"/>
                  <a:pt x="4993" y="4609"/>
                  <a:pt x="4263" y="4050"/>
                </a:cubicBezTo>
                <a:cubicBezTo>
                  <a:pt x="5606" y="2749"/>
                  <a:pt x="7332" y="1851"/>
                  <a:pt x="9255" y="1531"/>
                </a:cubicBezTo>
                <a:cubicBezTo>
                  <a:pt x="8175" y="2610"/>
                  <a:pt x="7286" y="3939"/>
                  <a:pt x="6651" y="5442"/>
                </a:cubicBezTo>
                <a:moveTo>
                  <a:pt x="10451" y="1411"/>
                </a:moveTo>
                <a:lnTo>
                  <a:pt x="10451" y="6253"/>
                </a:lnTo>
                <a:cubicBezTo>
                  <a:pt x="9352" y="6217"/>
                  <a:pt x="8296" y="6021"/>
                  <a:pt x="7303" y="5681"/>
                </a:cubicBezTo>
                <a:cubicBezTo>
                  <a:pt x="8029" y="3972"/>
                  <a:pt x="9101" y="2507"/>
                  <a:pt x="10415" y="1413"/>
                </a:cubicBezTo>
                <a:cubicBezTo>
                  <a:pt x="10427" y="1412"/>
                  <a:pt x="10439" y="1411"/>
                  <a:pt x="10451" y="1411"/>
                </a:cubicBezTo>
                <a:moveTo>
                  <a:pt x="12344" y="1531"/>
                </a:moveTo>
                <a:cubicBezTo>
                  <a:pt x="14267" y="1851"/>
                  <a:pt x="15993" y="2749"/>
                  <a:pt x="17336" y="4050"/>
                </a:cubicBezTo>
                <a:cubicBezTo>
                  <a:pt x="16606" y="4609"/>
                  <a:pt x="15809" y="5084"/>
                  <a:pt x="14948" y="5442"/>
                </a:cubicBezTo>
                <a:cubicBezTo>
                  <a:pt x="14313" y="3939"/>
                  <a:pt x="13424" y="2610"/>
                  <a:pt x="12344" y="1531"/>
                </a:cubicBezTo>
                <a:moveTo>
                  <a:pt x="11184" y="1413"/>
                </a:moveTo>
                <a:cubicBezTo>
                  <a:pt x="12498" y="2507"/>
                  <a:pt x="13570" y="3972"/>
                  <a:pt x="14296" y="5681"/>
                </a:cubicBezTo>
                <a:cubicBezTo>
                  <a:pt x="13303" y="6021"/>
                  <a:pt x="12247" y="6217"/>
                  <a:pt x="11148" y="6253"/>
                </a:cubicBezTo>
                <a:lnTo>
                  <a:pt x="11148" y="1411"/>
                </a:lnTo>
                <a:cubicBezTo>
                  <a:pt x="11160" y="1411"/>
                  <a:pt x="11172" y="1412"/>
                  <a:pt x="11184" y="1413"/>
                </a:cubicBezTo>
                <a:moveTo>
                  <a:pt x="10414" y="20186"/>
                </a:moveTo>
                <a:cubicBezTo>
                  <a:pt x="9256" y="19223"/>
                  <a:pt x="8285" y="17970"/>
                  <a:pt x="7574" y="16516"/>
                </a:cubicBezTo>
                <a:cubicBezTo>
                  <a:pt x="8486" y="16231"/>
                  <a:pt x="9453" y="16075"/>
                  <a:pt x="10451" y="16043"/>
                </a:cubicBezTo>
                <a:lnTo>
                  <a:pt x="10451" y="20188"/>
                </a:lnTo>
                <a:cubicBezTo>
                  <a:pt x="10451" y="20188"/>
                  <a:pt x="10414" y="20186"/>
                  <a:pt x="10414" y="20186"/>
                </a:cubicBezTo>
                <a:close/>
                <a:moveTo>
                  <a:pt x="20188" y="10451"/>
                </a:moveTo>
                <a:lnTo>
                  <a:pt x="16010" y="10451"/>
                </a:lnTo>
                <a:cubicBezTo>
                  <a:pt x="15972" y="8908"/>
                  <a:pt x="15698" y="7433"/>
                  <a:pt x="15211" y="6084"/>
                </a:cubicBezTo>
                <a:cubicBezTo>
                  <a:pt x="16151" y="5691"/>
                  <a:pt x="17020" y="5170"/>
                  <a:pt x="17814" y="4553"/>
                </a:cubicBezTo>
                <a:cubicBezTo>
                  <a:pt x="19223" y="6135"/>
                  <a:pt x="20105" y="8190"/>
                  <a:pt x="20188" y="10451"/>
                </a:cubicBezTo>
                <a:moveTo>
                  <a:pt x="10800" y="0"/>
                </a:moveTo>
                <a:cubicBezTo>
                  <a:pt x="4835" y="0"/>
                  <a:pt x="0" y="4835"/>
                  <a:pt x="0" y="10800"/>
                </a:cubicBezTo>
                <a:cubicBezTo>
                  <a:pt x="0" y="16764"/>
                  <a:pt x="4835" y="21600"/>
                  <a:pt x="10800" y="21600"/>
                </a:cubicBezTo>
                <a:cubicBezTo>
                  <a:pt x="16764" y="21600"/>
                  <a:pt x="21600" y="16764"/>
                  <a:pt x="21600" y="10800"/>
                </a:cubicBezTo>
                <a:cubicBezTo>
                  <a:pt x="21600" y="4835"/>
                  <a:pt x="16764" y="0"/>
                  <a:pt x="10800" y="0"/>
                </a:cubicBezTo>
              </a:path>
            </a:pathLst>
          </a:custGeom>
          <a:solidFill>
            <a:schemeClr val="bg1"/>
          </a:solidFill>
          <a:ln>
            <a:solidFill>
              <a:schemeClr val="bg1"/>
            </a:solidFill>
          </a:ln>
          <a:effectLst/>
          <a:extLs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50800" tIns="50800" rIns="50800" bIns="50800" anchor="ctr"/>
          <a:lstStyle/>
          <a:p>
            <a:pPr defTabSz="609585"/>
            <a:endParaRPr lang="en-US" sz="4000" dirty="0">
              <a:solidFill>
                <a:srgbClr val="FFFFFF"/>
              </a:solidFill>
              <a:effectLst>
                <a:outerShdw blurRad="38100" dist="38100" dir="2700000" algn="tl">
                  <a:srgbClr val="000000"/>
                </a:outerShdw>
              </a:effectLst>
            </a:endParaRPr>
          </a:p>
        </p:txBody>
      </p:sp>
    </p:spTree>
    <p:extLst>
      <p:ext uri="{BB962C8B-B14F-4D97-AF65-F5344CB8AC3E}">
        <p14:creationId xmlns:p14="http://schemas.microsoft.com/office/powerpoint/2010/main" val="3237092956"/>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Photo content 4">
    <p:spTree>
      <p:nvGrpSpPr>
        <p:cNvPr id="1" name=""/>
        <p:cNvGrpSpPr/>
        <p:nvPr/>
      </p:nvGrpSpPr>
      <p:grpSpPr>
        <a:xfrm>
          <a:off x="0" y="0"/>
          <a:ext cx="0" cy="0"/>
          <a:chOff x="0" y="0"/>
          <a:chExt cx="0" cy="0"/>
        </a:xfrm>
      </p:grpSpPr>
      <p:grpSp>
        <p:nvGrpSpPr>
          <p:cNvPr id="15" name="Group 14"/>
          <p:cNvGrpSpPr/>
          <p:nvPr userDrawn="1"/>
        </p:nvGrpSpPr>
        <p:grpSpPr>
          <a:xfrm>
            <a:off x="6337189" y="0"/>
            <a:ext cx="5854811" cy="6858000"/>
            <a:chOff x="6337189" y="0"/>
            <a:chExt cx="5854811" cy="6858000"/>
          </a:xfrm>
        </p:grpSpPr>
        <p:sp>
          <p:nvSpPr>
            <p:cNvPr id="4" name="Flowchart: Merge 3"/>
            <p:cNvSpPr/>
            <p:nvPr userDrawn="1"/>
          </p:nvSpPr>
          <p:spPr>
            <a:xfrm>
              <a:off x="6337189" y="0"/>
              <a:ext cx="3800723" cy="2214242"/>
            </a:xfrm>
            <a:prstGeom prst="flowChartMerge">
              <a:avLst/>
            </a:prstGeom>
            <a:blipFill>
              <a:blip r:embed="rId2" cstate="screen">
                <a:duotone>
                  <a:prstClr val="black"/>
                  <a:schemeClr val="accent3">
                    <a:tint val="45000"/>
                    <a:satMod val="400000"/>
                  </a:schemeClr>
                </a:duotone>
                <a:extLst>
                  <a:ext uri="{28A0092B-C50C-407E-A947-70E740481C1C}">
                    <a14:useLocalDpi xmlns:a14="http://schemas.microsoft.com/office/drawing/2010/main"/>
                  </a:ext>
                </a:extLst>
              </a:blip>
              <a:srcRect/>
              <a:stretch>
                <a:fillRect/>
              </a:stretch>
            </a:blipFill>
            <a:ln w="1905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Flowchart: Merge 4"/>
            <p:cNvSpPr/>
            <p:nvPr userDrawn="1"/>
          </p:nvSpPr>
          <p:spPr>
            <a:xfrm rot="10800000">
              <a:off x="6337189" y="2308039"/>
              <a:ext cx="3800723" cy="2214242"/>
            </a:xfrm>
            <a:prstGeom prst="flowChartMerge">
              <a:avLst/>
            </a:prstGeom>
            <a:noFill/>
            <a:ln w="1905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Flowchart: Merge 5"/>
            <p:cNvSpPr/>
            <p:nvPr userDrawn="1"/>
          </p:nvSpPr>
          <p:spPr>
            <a:xfrm>
              <a:off x="6337189" y="4643758"/>
              <a:ext cx="3800723" cy="2214242"/>
            </a:xfrm>
            <a:prstGeom prst="flowChartMerge">
              <a:avLst/>
            </a:prstGeom>
            <a:blipFill>
              <a:blip r:embed="rId3" cstate="screen">
                <a:duotone>
                  <a:prstClr val="black"/>
                  <a:schemeClr val="accent3">
                    <a:tint val="45000"/>
                    <a:satMod val="400000"/>
                  </a:schemeClr>
                </a:duotone>
                <a:extLst>
                  <a:ext uri="{28A0092B-C50C-407E-A947-70E740481C1C}">
                    <a14:useLocalDpi xmlns:a14="http://schemas.microsoft.com/office/drawing/2010/main"/>
                  </a:ext>
                </a:extLst>
              </a:blip>
              <a:srcRect/>
              <a:stretch>
                <a:fillRect/>
              </a:stretch>
            </a:blipFill>
            <a:ln w="1905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Flowchart: Merge 6"/>
            <p:cNvSpPr/>
            <p:nvPr userDrawn="1"/>
          </p:nvSpPr>
          <p:spPr>
            <a:xfrm flipV="1">
              <a:off x="8391277" y="0"/>
              <a:ext cx="3800723" cy="2214242"/>
            </a:xfrm>
            <a:prstGeom prst="flowChartMerge">
              <a:avLst/>
            </a:prstGeom>
            <a:noFill/>
            <a:ln w="1905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lowchart: Merge 7"/>
            <p:cNvSpPr/>
            <p:nvPr userDrawn="1"/>
          </p:nvSpPr>
          <p:spPr>
            <a:xfrm rot="10800000" flipV="1">
              <a:off x="8391277" y="2308039"/>
              <a:ext cx="3800723" cy="2214242"/>
            </a:xfrm>
            <a:prstGeom prst="flowChartMerge">
              <a:avLst/>
            </a:prstGeom>
            <a:blipFill>
              <a:blip r:embed="rId4" cstate="screen">
                <a:duotone>
                  <a:prstClr val="black"/>
                  <a:schemeClr val="accent3">
                    <a:tint val="45000"/>
                    <a:satMod val="400000"/>
                  </a:schemeClr>
                </a:duotone>
                <a:extLst>
                  <a:ext uri="{28A0092B-C50C-407E-A947-70E740481C1C}">
                    <a14:useLocalDpi xmlns:a14="http://schemas.microsoft.com/office/drawing/2010/main"/>
                  </a:ext>
                </a:extLst>
              </a:blip>
              <a:srcRect/>
              <a:stretch>
                <a:fillRect b="49"/>
              </a:stretch>
            </a:blipFill>
            <a:ln w="1905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Flowchart: Merge 8"/>
            <p:cNvSpPr/>
            <p:nvPr userDrawn="1"/>
          </p:nvSpPr>
          <p:spPr>
            <a:xfrm rot="16200000">
              <a:off x="7259644" y="2000819"/>
              <a:ext cx="1228398" cy="527999"/>
            </a:xfrm>
            <a:prstGeom prst="flowChartMerge">
              <a:avLst/>
            </a:prstGeom>
            <a:solidFill>
              <a:schemeClr val="accent6">
                <a:lumMod val="50000"/>
              </a:schemeClr>
            </a:solid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Flowchart: Merge 9"/>
            <p:cNvSpPr/>
            <p:nvPr userDrawn="1"/>
          </p:nvSpPr>
          <p:spPr>
            <a:xfrm rot="5400000">
              <a:off x="10012598" y="4319021"/>
              <a:ext cx="1228398" cy="527999"/>
            </a:xfrm>
            <a:prstGeom prst="flowChartMerge">
              <a:avLst/>
            </a:prstGeom>
            <a:solidFill>
              <a:schemeClr val="accent6">
                <a:lumMod val="50000"/>
              </a:schemeClr>
            </a:solid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2" name="Text Placeholder 11"/>
          <p:cNvSpPr>
            <a:spLocks noGrp="1"/>
          </p:cNvSpPr>
          <p:nvPr>
            <p:ph type="body" sz="quarter" idx="10" hasCustomPrompt="1"/>
          </p:nvPr>
        </p:nvSpPr>
        <p:spPr>
          <a:xfrm>
            <a:off x="540179" y="1650619"/>
            <a:ext cx="5572125" cy="2804917"/>
          </a:xfrm>
        </p:spPr>
        <p:txBody>
          <a:bodyPr/>
          <a:lstStyle>
            <a:lvl1pPr marL="0" indent="0" algn="ctr">
              <a:buNone/>
              <a:defRPr/>
            </a:lvl1pPr>
          </a:lstStyle>
          <a:p>
            <a:pPr lvl="0"/>
            <a:r>
              <a:rPr lang="en-US" dirty="0" smtClean="0"/>
              <a:t>Lorem Ipsum is simply dummy text of the printing and typesetting industry.  Lorem Ipsum has been the industry’s standard dummy text ever since the 1500s.  </a:t>
            </a:r>
            <a:endParaRPr lang="en-US" dirty="0"/>
          </a:p>
        </p:txBody>
      </p:sp>
      <p:sp>
        <p:nvSpPr>
          <p:cNvPr id="14" name="Text Placeholder 13"/>
          <p:cNvSpPr>
            <a:spLocks noGrp="1"/>
          </p:cNvSpPr>
          <p:nvPr>
            <p:ph type="body" sz="quarter" idx="11" hasCustomPrompt="1"/>
          </p:nvPr>
        </p:nvSpPr>
        <p:spPr>
          <a:xfrm>
            <a:off x="540179" y="5867400"/>
            <a:ext cx="5172075" cy="666750"/>
          </a:xfrm>
        </p:spPr>
        <p:txBody>
          <a:bodyPr>
            <a:normAutofit/>
          </a:bodyPr>
          <a:lstStyle>
            <a:lvl1pPr marL="0" indent="0">
              <a:buNone/>
              <a:defRPr sz="4000"/>
            </a:lvl1pPr>
          </a:lstStyle>
          <a:p>
            <a:pPr lvl="0"/>
            <a:r>
              <a:rPr lang="en-US" dirty="0" smtClean="0"/>
              <a:t>Title</a:t>
            </a:r>
            <a:endParaRPr lang="en-US" dirty="0"/>
          </a:p>
        </p:txBody>
      </p:sp>
    </p:spTree>
    <p:extLst>
      <p:ext uri="{BB962C8B-B14F-4D97-AF65-F5344CB8AC3E}">
        <p14:creationId xmlns:p14="http://schemas.microsoft.com/office/powerpoint/2010/main" val="2773887591"/>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Photo content 5">
    <p:spTree>
      <p:nvGrpSpPr>
        <p:cNvPr id="1" name=""/>
        <p:cNvGrpSpPr/>
        <p:nvPr/>
      </p:nvGrpSpPr>
      <p:grpSpPr>
        <a:xfrm>
          <a:off x="0" y="0"/>
          <a:ext cx="0" cy="0"/>
          <a:chOff x="0" y="0"/>
          <a:chExt cx="0" cy="0"/>
        </a:xfrm>
      </p:grpSpPr>
      <p:grpSp>
        <p:nvGrpSpPr>
          <p:cNvPr id="3" name="Group 2"/>
          <p:cNvGrpSpPr/>
          <p:nvPr userDrawn="1"/>
        </p:nvGrpSpPr>
        <p:grpSpPr>
          <a:xfrm flipH="1">
            <a:off x="85725" y="0"/>
            <a:ext cx="5854811" cy="6858000"/>
            <a:chOff x="6337189" y="0"/>
            <a:chExt cx="5854811" cy="6858000"/>
          </a:xfrm>
        </p:grpSpPr>
        <p:sp>
          <p:nvSpPr>
            <p:cNvPr id="4" name="Flowchart: Merge 3"/>
            <p:cNvSpPr/>
            <p:nvPr userDrawn="1"/>
          </p:nvSpPr>
          <p:spPr>
            <a:xfrm>
              <a:off x="6337189" y="0"/>
              <a:ext cx="3800723" cy="2214242"/>
            </a:xfrm>
            <a:prstGeom prst="flowChartMerge">
              <a:avLst/>
            </a:prstGeom>
            <a:blipFill dpi="0" rotWithShape="1">
              <a:blip r:embed="rId2" cstate="print">
                <a:extLst>
                  <a:ext uri="{28A0092B-C50C-407E-A947-70E740481C1C}">
                    <a14:useLocalDpi xmlns:a14="http://schemas.microsoft.com/office/drawing/2010/main" val="0"/>
                  </a:ext>
                </a:extLst>
              </a:blip>
              <a:srcRect/>
              <a:stretch>
                <a:fillRect/>
              </a:stretch>
            </a:blipFill>
            <a:ln w="1905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Flowchart: Merge 4"/>
            <p:cNvSpPr/>
            <p:nvPr userDrawn="1"/>
          </p:nvSpPr>
          <p:spPr>
            <a:xfrm rot="10800000">
              <a:off x="6346714" y="2327089"/>
              <a:ext cx="3800723" cy="2214242"/>
            </a:xfrm>
            <a:prstGeom prst="flowChartMerge">
              <a:avLst/>
            </a:prstGeom>
            <a:noFill/>
            <a:ln w="1905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Flowchart: Merge 5"/>
            <p:cNvSpPr/>
            <p:nvPr userDrawn="1"/>
          </p:nvSpPr>
          <p:spPr>
            <a:xfrm>
              <a:off x="6337189" y="4643758"/>
              <a:ext cx="3800723" cy="2214242"/>
            </a:xfrm>
            <a:prstGeom prst="flowChartMerge">
              <a:avLst/>
            </a:prstGeom>
            <a:blipFill dpi="0" rotWithShape="1">
              <a:blip r:embed="rId3" cstate="print">
                <a:duotone>
                  <a:prstClr val="black"/>
                  <a:schemeClr val="accent3">
                    <a:tint val="45000"/>
                    <a:satMod val="400000"/>
                  </a:schemeClr>
                </a:duotone>
                <a:extLst>
                  <a:ext uri="{28A0092B-C50C-407E-A947-70E740481C1C}">
                    <a14:useLocalDpi xmlns:a14="http://schemas.microsoft.com/office/drawing/2010/main" val="0"/>
                  </a:ext>
                </a:extLst>
              </a:blip>
              <a:srcRect/>
              <a:stretch>
                <a:fillRect/>
              </a:stretch>
            </a:blipFill>
            <a:ln w="1905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Flowchart: Merge 6"/>
            <p:cNvSpPr/>
            <p:nvPr userDrawn="1"/>
          </p:nvSpPr>
          <p:spPr>
            <a:xfrm flipV="1">
              <a:off x="8391277" y="0"/>
              <a:ext cx="3800723" cy="2214242"/>
            </a:xfrm>
            <a:prstGeom prst="flowChartMerge">
              <a:avLst/>
            </a:prstGeom>
            <a:noFill/>
            <a:ln w="1905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lowchart: Merge 7"/>
            <p:cNvSpPr/>
            <p:nvPr userDrawn="1"/>
          </p:nvSpPr>
          <p:spPr>
            <a:xfrm rot="10800000" flipV="1">
              <a:off x="8391277" y="2308039"/>
              <a:ext cx="3800723" cy="2214242"/>
            </a:xfrm>
            <a:prstGeom prst="flowChartMerge">
              <a:avLst/>
            </a:prstGeom>
            <a:blipFill dpi="0" rotWithShape="1">
              <a:blip r:embed="rId4" cstate="print">
                <a:duotone>
                  <a:prstClr val="black"/>
                  <a:schemeClr val="accent3">
                    <a:tint val="45000"/>
                    <a:satMod val="400000"/>
                  </a:schemeClr>
                </a:duotone>
                <a:extLst>
                  <a:ext uri="{28A0092B-C50C-407E-A947-70E740481C1C}">
                    <a14:useLocalDpi xmlns:a14="http://schemas.microsoft.com/office/drawing/2010/main" val="0"/>
                  </a:ext>
                </a:extLst>
              </a:blip>
              <a:srcRect/>
              <a:stretch>
                <a:fillRect/>
              </a:stretch>
            </a:blipFill>
            <a:ln w="1905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Flowchart: Merge 8"/>
            <p:cNvSpPr/>
            <p:nvPr userDrawn="1"/>
          </p:nvSpPr>
          <p:spPr>
            <a:xfrm rot="16200000">
              <a:off x="7259644" y="2000819"/>
              <a:ext cx="1228398" cy="527999"/>
            </a:xfrm>
            <a:prstGeom prst="flowChartMerge">
              <a:avLst/>
            </a:prstGeom>
            <a:solidFill>
              <a:schemeClr val="accent1">
                <a:lumMod val="50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Flowchart: Merge 9"/>
            <p:cNvSpPr/>
            <p:nvPr userDrawn="1"/>
          </p:nvSpPr>
          <p:spPr>
            <a:xfrm rot="5400000">
              <a:off x="10012598" y="4319021"/>
              <a:ext cx="1228398" cy="527999"/>
            </a:xfrm>
            <a:prstGeom prst="flowChartMerge">
              <a:avLst/>
            </a:prstGeom>
            <a:solidFill>
              <a:schemeClr val="accent1">
                <a:lumMod val="50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1" name="Text Placeholder 11"/>
          <p:cNvSpPr>
            <a:spLocks noGrp="1"/>
          </p:cNvSpPr>
          <p:nvPr>
            <p:ph type="body" sz="quarter" idx="10" hasCustomPrompt="1"/>
          </p:nvPr>
        </p:nvSpPr>
        <p:spPr>
          <a:xfrm>
            <a:off x="6350429" y="1650689"/>
            <a:ext cx="5572125" cy="2804917"/>
          </a:xfrm>
        </p:spPr>
        <p:txBody>
          <a:bodyPr/>
          <a:lstStyle>
            <a:lvl1pPr marL="0" indent="0" algn="ctr">
              <a:buNone/>
              <a:defRPr/>
            </a:lvl1pPr>
          </a:lstStyle>
          <a:p>
            <a:pPr lvl="0"/>
            <a:r>
              <a:rPr lang="en-US" dirty="0" smtClean="0"/>
              <a:t>Lorem Ipsum is simply dummy text of the printing and typesetting industry.  Lorem Ipsum has been the industry’s standard dummy text ever since the 1500s.  </a:t>
            </a:r>
            <a:endParaRPr lang="en-US" dirty="0"/>
          </a:p>
        </p:txBody>
      </p:sp>
      <p:sp>
        <p:nvSpPr>
          <p:cNvPr id="12" name="Text Placeholder 13"/>
          <p:cNvSpPr>
            <a:spLocks noGrp="1"/>
          </p:cNvSpPr>
          <p:nvPr>
            <p:ph type="body" sz="quarter" idx="11" hasCustomPrompt="1"/>
          </p:nvPr>
        </p:nvSpPr>
        <p:spPr>
          <a:xfrm>
            <a:off x="6750479" y="5905500"/>
            <a:ext cx="5172075" cy="666750"/>
          </a:xfrm>
        </p:spPr>
        <p:txBody>
          <a:bodyPr>
            <a:normAutofit/>
          </a:bodyPr>
          <a:lstStyle>
            <a:lvl1pPr marL="0" indent="0" algn="r">
              <a:buNone/>
              <a:defRPr sz="4000"/>
            </a:lvl1pPr>
          </a:lstStyle>
          <a:p>
            <a:pPr lvl="0"/>
            <a:r>
              <a:rPr lang="en-US" dirty="0" smtClean="0"/>
              <a:t>Title</a:t>
            </a:r>
            <a:endParaRPr lang="en-US" dirty="0"/>
          </a:p>
        </p:txBody>
      </p:sp>
    </p:spTree>
    <p:extLst>
      <p:ext uri="{BB962C8B-B14F-4D97-AF65-F5344CB8AC3E}">
        <p14:creationId xmlns:p14="http://schemas.microsoft.com/office/powerpoint/2010/main" val="1656279730"/>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Photo content 6">
    <p:spTree>
      <p:nvGrpSpPr>
        <p:cNvPr id="1" name=""/>
        <p:cNvGrpSpPr/>
        <p:nvPr/>
      </p:nvGrpSpPr>
      <p:grpSpPr>
        <a:xfrm>
          <a:off x="0" y="0"/>
          <a:ext cx="0" cy="0"/>
          <a:chOff x="0" y="0"/>
          <a:chExt cx="0" cy="0"/>
        </a:xfrm>
      </p:grpSpPr>
      <p:pic>
        <p:nvPicPr>
          <p:cNvPr id="3" name="Picture Placeholder 171"/>
          <p:cNvPicPr>
            <a:picLocks noChangeAspect="1"/>
          </p:cNvPicPr>
          <p:nvPr userDrawn="1"/>
        </p:nvPicPr>
        <p:blipFill>
          <a:blip r:embed="rId2" cstate="screen">
            <a:duotone>
              <a:prstClr val="black"/>
              <a:schemeClr val="accent3">
                <a:tint val="45000"/>
                <a:satMod val="400000"/>
              </a:schemeClr>
            </a:duotone>
            <a:extLst>
              <a:ext uri="{BEBA8EAE-BF5A-486C-A8C5-ECC9F3942E4B}">
                <a14:imgProps xmlns:a14="http://schemas.microsoft.com/office/drawing/2010/main">
                  <a14:imgLayer r:embed="rId3">
                    <a14:imgEffect>
                      <a14:colorTemperature colorTemp="11200"/>
                    </a14:imgEffect>
                  </a14:imgLayer>
                </a14:imgProps>
              </a:ext>
              <a:ext uri="{28A0092B-C50C-407E-A947-70E740481C1C}">
                <a14:useLocalDpi xmlns:a14="http://schemas.microsoft.com/office/drawing/2010/main"/>
              </a:ext>
            </a:extLst>
          </a:blip>
          <a:srcRect/>
          <a:stretch>
            <a:fillRect/>
          </a:stretch>
        </p:blipFill>
        <p:spPr>
          <a:xfrm>
            <a:off x="0" y="-15596"/>
            <a:ext cx="12192000" cy="2794716"/>
          </a:xfrm>
          <a:prstGeom prst="rect">
            <a:avLst/>
          </a:prstGeom>
        </p:spPr>
      </p:pic>
      <p:sp>
        <p:nvSpPr>
          <p:cNvPr id="5" name="Text Placeholder 4"/>
          <p:cNvSpPr>
            <a:spLocks noGrp="1"/>
          </p:cNvSpPr>
          <p:nvPr>
            <p:ph type="body" sz="quarter" idx="10" hasCustomPrompt="1"/>
          </p:nvPr>
        </p:nvSpPr>
        <p:spPr>
          <a:xfrm>
            <a:off x="542925" y="3267075"/>
            <a:ext cx="11010900" cy="3028950"/>
          </a:xfrm>
        </p:spPr>
        <p:txBody>
          <a:bodyPr/>
          <a:lstStyle>
            <a:lvl1pPr marL="0" indent="0">
              <a:buNone/>
              <a:defRPr baseline="0"/>
            </a:lvl1pPr>
          </a:lstStyle>
          <a:p>
            <a:pPr lvl="0"/>
            <a:r>
              <a:rPr lang="en-US" dirty="0" smtClean="0"/>
              <a:t>Add content</a:t>
            </a:r>
            <a:endParaRPr lang="en-US" dirty="0"/>
          </a:p>
        </p:txBody>
      </p:sp>
    </p:spTree>
    <p:extLst>
      <p:ext uri="{BB962C8B-B14F-4D97-AF65-F5344CB8AC3E}">
        <p14:creationId xmlns:p14="http://schemas.microsoft.com/office/powerpoint/2010/main" val="1009000091"/>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Photo content 7">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val="0"/>
              </a:ext>
            </a:extLst>
          </a:blip>
          <a:srcRect l="-86" t="4932" r="86" b="10608"/>
          <a:stretch/>
        </p:blipFill>
        <p:spPr>
          <a:xfrm>
            <a:off x="0" y="0"/>
            <a:ext cx="12192000" cy="6858000"/>
          </a:xfrm>
          <a:prstGeom prst="rect">
            <a:avLst/>
          </a:prstGeom>
        </p:spPr>
      </p:pic>
      <p:sp>
        <p:nvSpPr>
          <p:cNvPr id="5" name="Text Placeholder 4"/>
          <p:cNvSpPr>
            <a:spLocks noGrp="1"/>
          </p:cNvSpPr>
          <p:nvPr>
            <p:ph type="body" sz="quarter" idx="10" hasCustomPrompt="1"/>
          </p:nvPr>
        </p:nvSpPr>
        <p:spPr>
          <a:xfrm>
            <a:off x="6488113" y="669925"/>
            <a:ext cx="5164137" cy="5565775"/>
          </a:xfrm>
        </p:spPr>
        <p:txBody>
          <a:bodyPr/>
          <a:lstStyle>
            <a:lvl1pPr marL="0" indent="0">
              <a:buNone/>
              <a:defRPr baseline="0"/>
            </a:lvl1pPr>
          </a:lstStyle>
          <a:p>
            <a:pPr lvl="0"/>
            <a:r>
              <a:rPr lang="en-US" dirty="0" smtClean="0"/>
              <a:t>Add content</a:t>
            </a:r>
            <a:endParaRPr lang="en-US" dirty="0"/>
          </a:p>
        </p:txBody>
      </p:sp>
    </p:spTree>
    <p:extLst>
      <p:ext uri="{BB962C8B-B14F-4D97-AF65-F5344CB8AC3E}">
        <p14:creationId xmlns:p14="http://schemas.microsoft.com/office/powerpoint/2010/main" val="3257444931"/>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Photo content 8">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duotone>
              <a:schemeClr val="bg2">
                <a:shade val="45000"/>
                <a:satMod val="135000"/>
              </a:schemeClr>
              <a:prstClr val="white"/>
            </a:duotone>
            <a:extLst>
              <a:ext uri="{28A0092B-C50C-407E-A947-70E740481C1C}">
                <a14:useLocalDpi xmlns:a14="http://schemas.microsoft.com/office/drawing/2010/main" val="0"/>
              </a:ext>
            </a:extLst>
          </a:blip>
          <a:srcRect l="7760" r="24794"/>
          <a:stretch/>
        </p:blipFill>
        <p:spPr>
          <a:xfrm>
            <a:off x="5253843" y="0"/>
            <a:ext cx="6938158" cy="6858000"/>
          </a:xfrm>
          <a:prstGeom prst="rect">
            <a:avLst/>
          </a:prstGeom>
        </p:spPr>
      </p:pic>
      <p:sp>
        <p:nvSpPr>
          <p:cNvPr id="5" name="Text Placeholder 4"/>
          <p:cNvSpPr>
            <a:spLocks noGrp="1"/>
          </p:cNvSpPr>
          <p:nvPr>
            <p:ph type="body" sz="quarter" idx="10" hasCustomPrompt="1"/>
          </p:nvPr>
        </p:nvSpPr>
        <p:spPr>
          <a:xfrm>
            <a:off x="392113" y="836613"/>
            <a:ext cx="4371975" cy="5276850"/>
          </a:xfrm>
        </p:spPr>
        <p:txBody>
          <a:bodyPr/>
          <a:lstStyle>
            <a:lvl1pPr marL="0" indent="0">
              <a:buNone/>
              <a:defRPr baseline="0"/>
            </a:lvl1pPr>
          </a:lstStyle>
          <a:p>
            <a:pPr lvl="0"/>
            <a:r>
              <a:rPr lang="en-US" dirty="0" smtClean="0"/>
              <a:t>Add content</a:t>
            </a:r>
            <a:endParaRPr lang="en-US" dirty="0"/>
          </a:p>
        </p:txBody>
      </p:sp>
    </p:spTree>
    <p:extLst>
      <p:ext uri="{BB962C8B-B14F-4D97-AF65-F5344CB8AC3E}">
        <p14:creationId xmlns:p14="http://schemas.microsoft.com/office/powerpoint/2010/main" val="1427470585"/>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divider 1">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duotone>
              <a:prstClr val="black"/>
              <a:schemeClr val="accent3">
                <a:tint val="45000"/>
                <a:satMod val="400000"/>
              </a:schemeClr>
            </a:duotone>
            <a:extLst>
              <a:ext uri="{28A0092B-C50C-407E-A947-70E740481C1C}">
                <a14:useLocalDpi xmlns:a14="http://schemas.microsoft.com/office/drawing/2010/main" val="0"/>
              </a:ext>
            </a:extLst>
          </a:blip>
          <a:srcRect t="12538" b="12538"/>
          <a:stretch/>
        </p:blipFill>
        <p:spPr>
          <a:xfrm>
            <a:off x="0" y="0"/>
            <a:ext cx="12192000" cy="6858000"/>
          </a:xfrm>
          <a:prstGeom prst="rect">
            <a:avLst/>
          </a:prstGeom>
        </p:spPr>
      </p:pic>
      <p:sp>
        <p:nvSpPr>
          <p:cNvPr id="7" name="Text Placeholder 6"/>
          <p:cNvSpPr>
            <a:spLocks noGrp="1"/>
          </p:cNvSpPr>
          <p:nvPr>
            <p:ph type="body" sz="quarter" idx="10"/>
          </p:nvPr>
        </p:nvSpPr>
        <p:spPr>
          <a:xfrm>
            <a:off x="1323703" y="1184367"/>
            <a:ext cx="9779726" cy="4632960"/>
          </a:xfrm>
          <a:solidFill>
            <a:schemeClr val="bg1">
              <a:lumMod val="65000"/>
            </a:schemeClr>
          </a:solidFill>
          <a:effectLst/>
        </p:spPr>
        <p:txBody>
          <a:bodyPr>
            <a:normAutofit/>
          </a:bodyPr>
          <a:lstStyle>
            <a:lvl1pPr marL="0" indent="0" algn="ctr">
              <a:buNone/>
              <a:defRPr sz="9600" baseline="0">
                <a:solidFill>
                  <a:schemeClr val="tx1"/>
                </a:solidFill>
                <a:effectLst/>
              </a:defRPr>
            </a:lvl1pPr>
            <a:lvl2pPr>
              <a:defRPr>
                <a:solidFill>
                  <a:schemeClr val="bg1">
                    <a:lumMod val="95000"/>
                  </a:schemeClr>
                </a:solidFill>
              </a:defRPr>
            </a:lvl2pPr>
            <a:lvl3pPr>
              <a:defRPr>
                <a:solidFill>
                  <a:schemeClr val="bg1">
                    <a:lumMod val="95000"/>
                  </a:schemeClr>
                </a:solidFill>
              </a:defRPr>
            </a:lvl3pPr>
            <a:lvl4pPr>
              <a:defRPr>
                <a:solidFill>
                  <a:schemeClr val="bg1">
                    <a:lumMod val="95000"/>
                  </a:schemeClr>
                </a:solidFill>
              </a:defRPr>
            </a:lvl4pPr>
            <a:lvl5pPr>
              <a:defRPr>
                <a:solidFill>
                  <a:schemeClr val="bg1">
                    <a:lumMod val="95000"/>
                  </a:schemeClr>
                </a:solidFill>
              </a:defRPr>
            </a:lvl5pPr>
          </a:lstStyle>
          <a:p>
            <a:pPr lvl="0"/>
            <a:endParaRPr lang="en-US" dirty="0" smtClean="0"/>
          </a:p>
          <a:p>
            <a:pPr lvl="0"/>
            <a:r>
              <a:rPr lang="en-US" dirty="0" smtClean="0"/>
              <a:t>Section Divider</a:t>
            </a:r>
            <a:endParaRPr lang="en-US" dirty="0"/>
          </a:p>
        </p:txBody>
      </p:sp>
    </p:spTree>
    <p:extLst>
      <p:ext uri="{BB962C8B-B14F-4D97-AF65-F5344CB8AC3E}">
        <p14:creationId xmlns:p14="http://schemas.microsoft.com/office/powerpoint/2010/main" val="228897878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divider 2">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duotone>
              <a:schemeClr val="bg2">
                <a:shade val="45000"/>
                <a:satMod val="135000"/>
              </a:schemeClr>
              <a:prstClr val="white"/>
            </a:duotone>
            <a:extLst>
              <a:ext uri="{28A0092B-C50C-407E-A947-70E740481C1C}">
                <a14:useLocalDpi xmlns:a14="http://schemas.microsoft.com/office/drawing/2010/main" val="0"/>
              </a:ext>
            </a:extLst>
          </a:blip>
          <a:srcRect t="12500" b="12500"/>
          <a:stretch/>
        </p:blipFill>
        <p:spPr>
          <a:xfrm>
            <a:off x="0" y="0"/>
            <a:ext cx="12192000" cy="6858000"/>
          </a:xfrm>
          <a:prstGeom prst="rect">
            <a:avLst/>
          </a:prstGeom>
        </p:spPr>
      </p:pic>
      <p:sp>
        <p:nvSpPr>
          <p:cNvPr id="7" name="Text Placeholder 6"/>
          <p:cNvSpPr>
            <a:spLocks noGrp="1"/>
          </p:cNvSpPr>
          <p:nvPr>
            <p:ph type="body" sz="quarter" idx="10"/>
          </p:nvPr>
        </p:nvSpPr>
        <p:spPr>
          <a:xfrm>
            <a:off x="1323703" y="1175659"/>
            <a:ext cx="9779726" cy="4632960"/>
          </a:xfrm>
          <a:solidFill>
            <a:schemeClr val="bg2">
              <a:lumMod val="50000"/>
            </a:schemeClr>
          </a:solidFill>
          <a:effectLst/>
        </p:spPr>
        <p:txBody>
          <a:bodyPr>
            <a:normAutofit/>
          </a:bodyPr>
          <a:lstStyle>
            <a:lvl1pPr marL="0" indent="0" algn="ctr">
              <a:buNone/>
              <a:defRPr sz="9600" baseline="0">
                <a:solidFill>
                  <a:schemeClr val="bg1">
                    <a:lumMod val="95000"/>
                  </a:schemeClr>
                </a:solidFill>
                <a:effectLst/>
              </a:defRPr>
            </a:lvl1pPr>
            <a:lvl2pPr>
              <a:defRPr>
                <a:solidFill>
                  <a:schemeClr val="bg1">
                    <a:lumMod val="95000"/>
                  </a:schemeClr>
                </a:solidFill>
              </a:defRPr>
            </a:lvl2pPr>
            <a:lvl3pPr>
              <a:defRPr>
                <a:solidFill>
                  <a:schemeClr val="bg1">
                    <a:lumMod val="95000"/>
                  </a:schemeClr>
                </a:solidFill>
              </a:defRPr>
            </a:lvl3pPr>
            <a:lvl4pPr>
              <a:defRPr>
                <a:solidFill>
                  <a:schemeClr val="bg1">
                    <a:lumMod val="95000"/>
                  </a:schemeClr>
                </a:solidFill>
              </a:defRPr>
            </a:lvl4pPr>
            <a:lvl5pPr>
              <a:defRPr>
                <a:solidFill>
                  <a:schemeClr val="bg1">
                    <a:lumMod val="95000"/>
                  </a:schemeClr>
                </a:solidFill>
              </a:defRPr>
            </a:lvl5pPr>
          </a:lstStyle>
          <a:p>
            <a:pPr lvl="0"/>
            <a:endParaRPr lang="en-US" dirty="0" smtClean="0"/>
          </a:p>
          <a:p>
            <a:pPr lvl="0"/>
            <a:r>
              <a:rPr lang="en-US" dirty="0" smtClean="0"/>
              <a:t>Section Divider</a:t>
            </a:r>
          </a:p>
          <a:p>
            <a:pPr lvl="0"/>
            <a:endParaRPr lang="en-US" dirty="0"/>
          </a:p>
        </p:txBody>
      </p:sp>
    </p:spTree>
    <p:extLst>
      <p:ext uri="{BB962C8B-B14F-4D97-AF65-F5344CB8AC3E}">
        <p14:creationId xmlns:p14="http://schemas.microsoft.com/office/powerpoint/2010/main" val="4204891277"/>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ction divider 3">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duotone>
              <a:schemeClr val="bg2">
                <a:shade val="45000"/>
                <a:satMod val="135000"/>
              </a:schemeClr>
              <a:prstClr val="white"/>
            </a:duotone>
            <a:extLst>
              <a:ext uri="{28A0092B-C50C-407E-A947-70E740481C1C}">
                <a14:useLocalDpi xmlns:a14="http://schemas.microsoft.com/office/drawing/2010/main" val="0"/>
              </a:ext>
            </a:extLst>
          </a:blip>
          <a:srcRect t="12500" b="12500"/>
          <a:stretch/>
        </p:blipFill>
        <p:spPr>
          <a:xfrm>
            <a:off x="0" y="0"/>
            <a:ext cx="12192000" cy="6858000"/>
          </a:xfrm>
          <a:prstGeom prst="rect">
            <a:avLst/>
          </a:prstGeom>
        </p:spPr>
      </p:pic>
      <p:sp>
        <p:nvSpPr>
          <p:cNvPr id="7" name="Text Placeholder 6"/>
          <p:cNvSpPr>
            <a:spLocks noGrp="1"/>
          </p:cNvSpPr>
          <p:nvPr>
            <p:ph type="body" sz="quarter" idx="10"/>
          </p:nvPr>
        </p:nvSpPr>
        <p:spPr>
          <a:xfrm>
            <a:off x="1323703" y="1175659"/>
            <a:ext cx="9779726" cy="4632960"/>
          </a:xfrm>
          <a:solidFill>
            <a:schemeClr val="accent6">
              <a:lumMod val="50000"/>
            </a:schemeClr>
          </a:solidFill>
          <a:effectLst/>
        </p:spPr>
        <p:txBody>
          <a:bodyPr>
            <a:normAutofit/>
          </a:bodyPr>
          <a:lstStyle>
            <a:lvl1pPr marL="0" indent="0" algn="ctr">
              <a:buNone/>
              <a:defRPr sz="9600" baseline="0">
                <a:solidFill>
                  <a:schemeClr val="bg1">
                    <a:lumMod val="95000"/>
                  </a:schemeClr>
                </a:solidFill>
                <a:effectLst/>
              </a:defRPr>
            </a:lvl1pPr>
            <a:lvl2pPr>
              <a:defRPr>
                <a:solidFill>
                  <a:schemeClr val="bg1">
                    <a:lumMod val="95000"/>
                  </a:schemeClr>
                </a:solidFill>
              </a:defRPr>
            </a:lvl2pPr>
            <a:lvl3pPr>
              <a:defRPr>
                <a:solidFill>
                  <a:schemeClr val="bg1">
                    <a:lumMod val="95000"/>
                  </a:schemeClr>
                </a:solidFill>
              </a:defRPr>
            </a:lvl3pPr>
            <a:lvl4pPr>
              <a:defRPr>
                <a:solidFill>
                  <a:schemeClr val="bg1">
                    <a:lumMod val="95000"/>
                  </a:schemeClr>
                </a:solidFill>
              </a:defRPr>
            </a:lvl4pPr>
            <a:lvl5pPr>
              <a:defRPr>
                <a:solidFill>
                  <a:schemeClr val="bg1">
                    <a:lumMod val="95000"/>
                  </a:schemeClr>
                </a:solidFill>
              </a:defRPr>
            </a:lvl5pPr>
          </a:lstStyle>
          <a:p>
            <a:pPr lvl="0"/>
            <a:endParaRPr lang="en-US" dirty="0" smtClean="0"/>
          </a:p>
          <a:p>
            <a:pPr lvl="0"/>
            <a:r>
              <a:rPr lang="en-US" dirty="0" smtClean="0"/>
              <a:t>Section Divider</a:t>
            </a:r>
          </a:p>
          <a:p>
            <a:pPr lvl="0"/>
            <a:endParaRPr lang="en-US" dirty="0"/>
          </a:p>
        </p:txBody>
      </p:sp>
    </p:spTree>
    <p:extLst>
      <p:ext uri="{BB962C8B-B14F-4D97-AF65-F5344CB8AC3E}">
        <p14:creationId xmlns:p14="http://schemas.microsoft.com/office/powerpoint/2010/main" val="132938533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Logo layout 1">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956972" y="5320936"/>
            <a:ext cx="2921173" cy="998125"/>
          </a:xfrm>
          <a:prstGeom prst="rect">
            <a:avLst/>
          </a:prstGeom>
        </p:spPr>
      </p:pic>
    </p:spTree>
    <p:extLst>
      <p:ext uri="{BB962C8B-B14F-4D97-AF65-F5344CB8AC3E}">
        <p14:creationId xmlns:p14="http://schemas.microsoft.com/office/powerpoint/2010/main" val="764255858"/>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Presenter intro 1 without social">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Picture Placeholder 4"/>
          <p:cNvSpPr>
            <a:spLocks noGrp="1"/>
          </p:cNvSpPr>
          <p:nvPr>
            <p:ph type="pic" sz="quarter" idx="10"/>
          </p:nvPr>
        </p:nvSpPr>
        <p:spPr>
          <a:xfrm>
            <a:off x="476250" y="419100"/>
            <a:ext cx="4986336" cy="5000625"/>
          </a:xfrm>
          <a:ln w="57150">
            <a:solidFill>
              <a:schemeClr val="accent5">
                <a:lumMod val="50000"/>
              </a:schemeClr>
            </a:solidFill>
          </a:ln>
        </p:spPr>
        <p:txBody>
          <a:bodyPr/>
          <a:lstStyle/>
          <a:p>
            <a:endParaRPr lang="en-US" dirty="0"/>
          </a:p>
        </p:txBody>
      </p:sp>
      <p:sp>
        <p:nvSpPr>
          <p:cNvPr id="7" name="Text Placeholder 6"/>
          <p:cNvSpPr>
            <a:spLocks noGrp="1"/>
          </p:cNvSpPr>
          <p:nvPr>
            <p:ph type="body" sz="quarter" idx="11" hasCustomPrompt="1"/>
          </p:nvPr>
        </p:nvSpPr>
        <p:spPr>
          <a:xfrm>
            <a:off x="476250" y="5611013"/>
            <a:ext cx="4986336" cy="873368"/>
          </a:xfrm>
        </p:spPr>
        <p:txBody>
          <a:bodyPr/>
          <a:lstStyle>
            <a:lvl1pPr marL="0" indent="0" algn="ctr">
              <a:buNone/>
              <a:defRPr sz="2400" i="0" baseline="0"/>
            </a:lvl1pPr>
          </a:lstStyle>
          <a:p>
            <a:pPr lvl="0"/>
            <a:r>
              <a:rPr lang="en-US" dirty="0" smtClean="0"/>
              <a:t>Name                                                     Title </a:t>
            </a:r>
          </a:p>
        </p:txBody>
      </p:sp>
      <p:sp>
        <p:nvSpPr>
          <p:cNvPr id="9" name="Text Placeholder 8"/>
          <p:cNvSpPr>
            <a:spLocks noGrp="1"/>
          </p:cNvSpPr>
          <p:nvPr>
            <p:ph type="body" sz="quarter" idx="12" hasCustomPrompt="1"/>
          </p:nvPr>
        </p:nvSpPr>
        <p:spPr>
          <a:xfrm>
            <a:off x="6119811" y="3371850"/>
            <a:ext cx="5414964" cy="2047875"/>
          </a:xfrm>
        </p:spPr>
        <p:txBody>
          <a:bodyPr>
            <a:normAutofit/>
          </a:bodyPr>
          <a:lstStyle>
            <a:lvl1pPr marL="0" indent="0" algn="ctr">
              <a:buNone/>
              <a:defRPr sz="2000" i="1" baseline="0"/>
            </a:lvl1pPr>
          </a:lstStyle>
          <a:p>
            <a:pPr lvl="0"/>
            <a:r>
              <a:rPr lang="en-US" dirty="0" smtClean="0"/>
              <a:t>1-2 sentence bio</a:t>
            </a:r>
            <a:endParaRPr lang="en-US" dirty="0"/>
          </a:p>
        </p:txBody>
      </p:sp>
      <p:pic>
        <p:nvPicPr>
          <p:cNvPr id="22" name="Picture 2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16385" y="214290"/>
            <a:ext cx="1758785" cy="600953"/>
          </a:xfrm>
          <a:prstGeom prst="rect">
            <a:avLst/>
          </a:prstGeom>
        </p:spPr>
      </p:pic>
    </p:spTree>
    <p:extLst>
      <p:ext uri="{BB962C8B-B14F-4D97-AF65-F5344CB8AC3E}">
        <p14:creationId xmlns:p14="http://schemas.microsoft.com/office/powerpoint/2010/main" val="3475642966"/>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Logo Layout 2">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956972" y="5320936"/>
            <a:ext cx="2921173" cy="998125"/>
          </a:xfrm>
          <a:prstGeom prst="rect">
            <a:avLst/>
          </a:prstGeom>
        </p:spPr>
      </p:pic>
    </p:spTree>
    <p:extLst>
      <p:ext uri="{BB962C8B-B14F-4D97-AF65-F5344CB8AC3E}">
        <p14:creationId xmlns:p14="http://schemas.microsoft.com/office/powerpoint/2010/main" val="2645956391"/>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3142825"/>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F46A482C-0713-49AF-B909-F5FA27B8490D}" type="datetimeFigureOut">
              <a:rPr lang="en-US" smtClean="0"/>
              <a:t>3/23/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BF81891E-6A72-4D26-9349-8285B84F8095}" type="slidenum">
              <a:rPr lang="en-US" smtClean="0"/>
              <a:t>‹#›</a:t>
            </a:fld>
            <a:endParaRPr lang="en-US" dirty="0"/>
          </a:p>
        </p:txBody>
      </p:sp>
    </p:spTree>
    <p:extLst>
      <p:ext uri="{BB962C8B-B14F-4D97-AF65-F5344CB8AC3E}">
        <p14:creationId xmlns:p14="http://schemas.microsoft.com/office/powerpoint/2010/main" val="393158293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Photo content 3">
    <p:spTree>
      <p:nvGrpSpPr>
        <p:cNvPr id="1" name=""/>
        <p:cNvGrpSpPr/>
        <p:nvPr/>
      </p:nvGrpSpPr>
      <p:grpSpPr>
        <a:xfrm>
          <a:off x="0" y="0"/>
          <a:ext cx="0" cy="0"/>
          <a:chOff x="0" y="0"/>
          <a:chExt cx="0" cy="0"/>
        </a:xfrm>
      </p:grpSpPr>
      <p:sp>
        <p:nvSpPr>
          <p:cNvPr id="9" name="Rectangle 8"/>
          <p:cNvSpPr/>
          <p:nvPr userDrawn="1"/>
        </p:nvSpPr>
        <p:spPr>
          <a:xfrm>
            <a:off x="2290290" y="0"/>
            <a:ext cx="2286000" cy="2295525"/>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p:cNvSpPr/>
          <p:nvPr userDrawn="1"/>
        </p:nvSpPr>
        <p:spPr>
          <a:xfrm>
            <a:off x="2268058" y="4572000"/>
            <a:ext cx="2286000" cy="2286000"/>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ectangle 22"/>
          <p:cNvSpPr/>
          <p:nvPr userDrawn="1"/>
        </p:nvSpPr>
        <p:spPr>
          <a:xfrm>
            <a:off x="4290" y="2269843"/>
            <a:ext cx="2286000" cy="2295525"/>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Text Placeholder 24"/>
          <p:cNvSpPr>
            <a:spLocks noGrp="1"/>
          </p:cNvSpPr>
          <p:nvPr>
            <p:ph type="body" sz="quarter" idx="10" hasCustomPrompt="1"/>
          </p:nvPr>
        </p:nvSpPr>
        <p:spPr>
          <a:xfrm>
            <a:off x="5429250" y="819150"/>
            <a:ext cx="6191250" cy="5389563"/>
          </a:xfrm>
        </p:spPr>
        <p:txBody>
          <a:bodyPr/>
          <a:lstStyle>
            <a:lvl1pPr marL="0" indent="0">
              <a:buNone/>
              <a:defRPr baseline="0"/>
            </a:lvl1pPr>
          </a:lstStyle>
          <a:p>
            <a:pPr lvl="0"/>
            <a:r>
              <a:rPr lang="en-US" dirty="0" smtClean="0"/>
              <a:t>Insert content</a:t>
            </a:r>
            <a:endParaRPr lang="en-US" dirty="0"/>
          </a:p>
        </p:txBody>
      </p:sp>
      <p:grpSp>
        <p:nvGrpSpPr>
          <p:cNvPr id="18" name="Group 17"/>
          <p:cNvGrpSpPr/>
          <p:nvPr userDrawn="1"/>
        </p:nvGrpSpPr>
        <p:grpSpPr>
          <a:xfrm>
            <a:off x="2894379" y="674409"/>
            <a:ext cx="1090450" cy="943392"/>
            <a:chOff x="10040556" y="89224"/>
            <a:chExt cx="488068" cy="458033"/>
          </a:xfrm>
          <a:solidFill>
            <a:schemeClr val="bg1"/>
          </a:solidFill>
        </p:grpSpPr>
        <p:sp>
          <p:nvSpPr>
            <p:cNvPr id="24" name="AutoShape 69"/>
            <p:cNvSpPr>
              <a:spLocks/>
            </p:cNvSpPr>
            <p:nvPr/>
          </p:nvSpPr>
          <p:spPr bwMode="auto">
            <a:xfrm>
              <a:off x="10040556" y="89224"/>
              <a:ext cx="488068" cy="458033"/>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8223" y="5760"/>
                  </a:moveTo>
                  <a:lnTo>
                    <a:pt x="17548" y="5760"/>
                  </a:lnTo>
                  <a:cubicBezTo>
                    <a:pt x="16804" y="5760"/>
                    <a:pt x="16198" y="5114"/>
                    <a:pt x="16198" y="4320"/>
                  </a:cubicBezTo>
                  <a:lnTo>
                    <a:pt x="16200" y="4320"/>
                  </a:lnTo>
                  <a:lnTo>
                    <a:pt x="16200" y="1440"/>
                  </a:lnTo>
                  <a:lnTo>
                    <a:pt x="20250" y="5760"/>
                  </a:lnTo>
                  <a:cubicBezTo>
                    <a:pt x="20250" y="5760"/>
                    <a:pt x="18223" y="5760"/>
                    <a:pt x="18223" y="5760"/>
                  </a:cubicBezTo>
                  <a:close/>
                  <a:moveTo>
                    <a:pt x="20250" y="19440"/>
                  </a:moveTo>
                  <a:cubicBezTo>
                    <a:pt x="20250" y="19837"/>
                    <a:pt x="19948" y="20160"/>
                    <a:pt x="19575" y="20160"/>
                  </a:cubicBezTo>
                  <a:lnTo>
                    <a:pt x="2024" y="20160"/>
                  </a:lnTo>
                  <a:cubicBezTo>
                    <a:pt x="1651" y="20160"/>
                    <a:pt x="1349" y="19837"/>
                    <a:pt x="1349" y="19440"/>
                  </a:cubicBezTo>
                  <a:lnTo>
                    <a:pt x="1349" y="2160"/>
                  </a:lnTo>
                  <a:cubicBezTo>
                    <a:pt x="1349" y="1762"/>
                    <a:pt x="1651" y="1440"/>
                    <a:pt x="2024" y="1440"/>
                  </a:cubicBezTo>
                  <a:lnTo>
                    <a:pt x="15525" y="1440"/>
                  </a:lnTo>
                  <a:lnTo>
                    <a:pt x="15525" y="4320"/>
                  </a:lnTo>
                  <a:lnTo>
                    <a:pt x="15523" y="4320"/>
                  </a:lnTo>
                  <a:cubicBezTo>
                    <a:pt x="15523" y="5513"/>
                    <a:pt x="16430" y="6480"/>
                    <a:pt x="17548" y="6480"/>
                  </a:cubicBezTo>
                  <a:lnTo>
                    <a:pt x="18223" y="6480"/>
                  </a:lnTo>
                  <a:lnTo>
                    <a:pt x="20250" y="6480"/>
                  </a:lnTo>
                  <a:cubicBezTo>
                    <a:pt x="20250" y="6480"/>
                    <a:pt x="20250" y="19440"/>
                    <a:pt x="20250" y="19440"/>
                  </a:cubicBezTo>
                  <a:close/>
                  <a:moveTo>
                    <a:pt x="21204" y="4741"/>
                  </a:moveTo>
                  <a:lnTo>
                    <a:pt x="17154" y="421"/>
                  </a:lnTo>
                  <a:cubicBezTo>
                    <a:pt x="16901" y="151"/>
                    <a:pt x="16557" y="0"/>
                    <a:pt x="16200" y="0"/>
                  </a:cubicBezTo>
                  <a:lnTo>
                    <a:pt x="2024" y="0"/>
                  </a:lnTo>
                  <a:cubicBezTo>
                    <a:pt x="908" y="0"/>
                    <a:pt x="0" y="968"/>
                    <a:pt x="0" y="2160"/>
                  </a:cubicBezTo>
                  <a:lnTo>
                    <a:pt x="0" y="19440"/>
                  </a:lnTo>
                  <a:cubicBezTo>
                    <a:pt x="0" y="20631"/>
                    <a:pt x="908" y="21600"/>
                    <a:pt x="2024" y="21600"/>
                  </a:cubicBezTo>
                  <a:lnTo>
                    <a:pt x="19575" y="21600"/>
                  </a:lnTo>
                  <a:cubicBezTo>
                    <a:pt x="20691" y="21600"/>
                    <a:pt x="21599" y="20631"/>
                    <a:pt x="21599" y="19440"/>
                  </a:cubicBezTo>
                  <a:lnTo>
                    <a:pt x="21599" y="5760"/>
                  </a:lnTo>
                  <a:cubicBezTo>
                    <a:pt x="21599" y="5378"/>
                    <a:pt x="21457" y="5011"/>
                    <a:pt x="21204" y="4741"/>
                  </a:cubicBezTo>
                </a:path>
              </a:pathLst>
            </a:custGeom>
            <a:grpFill/>
            <a:ln>
              <a:solidFill>
                <a:schemeClr val="bg1"/>
              </a:solidFill>
            </a:ln>
            <a:effectLst/>
            <a:extLs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50800" tIns="50800" rIns="50800" bIns="50800" anchor="ctr"/>
            <a:lstStyle/>
            <a:p>
              <a:pPr defTabSz="609585"/>
              <a:endParaRPr lang="en-US" sz="4000" dirty="0">
                <a:solidFill>
                  <a:srgbClr val="FFFFFF"/>
                </a:solidFill>
                <a:effectLst>
                  <a:outerShdw blurRad="38100" dist="38100" dir="2700000" algn="tl">
                    <a:srgbClr val="000000"/>
                  </a:outerShdw>
                </a:effectLst>
              </a:endParaRPr>
            </a:p>
          </p:txBody>
        </p:sp>
        <p:sp>
          <p:nvSpPr>
            <p:cNvPr id="26" name="AutoShape 70"/>
            <p:cNvSpPr>
              <a:spLocks/>
            </p:cNvSpPr>
            <p:nvPr/>
          </p:nvSpPr>
          <p:spPr bwMode="auto">
            <a:xfrm>
              <a:off x="10269152" y="180164"/>
              <a:ext cx="91773" cy="15852"/>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800" y="21599"/>
                  </a:moveTo>
                  <a:lnTo>
                    <a:pt x="19800" y="21599"/>
                  </a:lnTo>
                  <a:cubicBezTo>
                    <a:pt x="20791" y="21599"/>
                    <a:pt x="21600" y="16769"/>
                    <a:pt x="21600" y="10800"/>
                  </a:cubicBezTo>
                  <a:cubicBezTo>
                    <a:pt x="21600" y="4830"/>
                    <a:pt x="20791" y="0"/>
                    <a:pt x="19800" y="0"/>
                  </a:cubicBezTo>
                  <a:lnTo>
                    <a:pt x="1800" y="0"/>
                  </a:lnTo>
                  <a:cubicBezTo>
                    <a:pt x="801" y="0"/>
                    <a:pt x="0" y="4830"/>
                    <a:pt x="0" y="10800"/>
                  </a:cubicBezTo>
                  <a:cubicBezTo>
                    <a:pt x="0" y="16769"/>
                    <a:pt x="801" y="21599"/>
                    <a:pt x="1800" y="21599"/>
                  </a:cubicBezTo>
                </a:path>
              </a:pathLst>
            </a:custGeom>
            <a:grpFill/>
            <a:ln>
              <a:solidFill>
                <a:schemeClr val="bg1"/>
              </a:solidFill>
            </a:ln>
            <a:effectLst/>
            <a:extLs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50800" tIns="50800" rIns="50800" bIns="50800" anchor="ctr"/>
            <a:lstStyle/>
            <a:p>
              <a:pPr defTabSz="609585"/>
              <a:endParaRPr lang="en-US" sz="4000" dirty="0">
                <a:solidFill>
                  <a:srgbClr val="FFFFFF"/>
                </a:solidFill>
                <a:effectLst>
                  <a:outerShdw blurRad="38100" dist="38100" dir="2700000" algn="tl">
                    <a:srgbClr val="000000"/>
                  </a:outerShdw>
                </a:effectLst>
              </a:endParaRPr>
            </a:p>
          </p:txBody>
        </p:sp>
        <p:sp>
          <p:nvSpPr>
            <p:cNvPr id="27" name="AutoShape 71"/>
            <p:cNvSpPr>
              <a:spLocks/>
            </p:cNvSpPr>
            <p:nvPr/>
          </p:nvSpPr>
          <p:spPr bwMode="auto">
            <a:xfrm>
              <a:off x="10269152" y="226050"/>
              <a:ext cx="91773" cy="15852"/>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800" y="21599"/>
                  </a:moveTo>
                  <a:lnTo>
                    <a:pt x="19800" y="21599"/>
                  </a:lnTo>
                  <a:cubicBezTo>
                    <a:pt x="20791" y="21599"/>
                    <a:pt x="21600" y="16769"/>
                    <a:pt x="21600" y="10800"/>
                  </a:cubicBezTo>
                  <a:cubicBezTo>
                    <a:pt x="21600" y="4830"/>
                    <a:pt x="20791" y="0"/>
                    <a:pt x="19800" y="0"/>
                  </a:cubicBezTo>
                  <a:lnTo>
                    <a:pt x="1800" y="0"/>
                  </a:lnTo>
                  <a:cubicBezTo>
                    <a:pt x="801" y="0"/>
                    <a:pt x="0" y="4830"/>
                    <a:pt x="0" y="10800"/>
                  </a:cubicBezTo>
                  <a:cubicBezTo>
                    <a:pt x="0" y="16769"/>
                    <a:pt x="801" y="21599"/>
                    <a:pt x="1800" y="21599"/>
                  </a:cubicBezTo>
                </a:path>
              </a:pathLst>
            </a:custGeom>
            <a:grpFill/>
            <a:ln>
              <a:solidFill>
                <a:schemeClr val="bg1"/>
              </a:solidFill>
            </a:ln>
            <a:effectLst/>
            <a:extLs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50800" tIns="50800" rIns="50800" bIns="50800" anchor="ctr"/>
            <a:lstStyle/>
            <a:p>
              <a:pPr defTabSz="609585"/>
              <a:endParaRPr lang="en-US" sz="4000" dirty="0">
                <a:solidFill>
                  <a:srgbClr val="FFFFFF"/>
                </a:solidFill>
                <a:effectLst>
                  <a:outerShdw blurRad="38100" dist="38100" dir="2700000" algn="tl">
                    <a:srgbClr val="000000"/>
                  </a:outerShdw>
                </a:effectLst>
              </a:endParaRPr>
            </a:p>
          </p:txBody>
        </p:sp>
        <p:sp>
          <p:nvSpPr>
            <p:cNvPr id="28" name="AutoShape 72"/>
            <p:cNvSpPr>
              <a:spLocks/>
            </p:cNvSpPr>
            <p:nvPr/>
          </p:nvSpPr>
          <p:spPr bwMode="auto">
            <a:xfrm>
              <a:off x="10269152" y="271937"/>
              <a:ext cx="198564" cy="15852"/>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10800"/>
                  </a:moveTo>
                  <a:cubicBezTo>
                    <a:pt x="0" y="16769"/>
                    <a:pt x="369" y="21599"/>
                    <a:pt x="830" y="21599"/>
                  </a:cubicBezTo>
                  <a:lnTo>
                    <a:pt x="20769" y="21599"/>
                  </a:lnTo>
                  <a:cubicBezTo>
                    <a:pt x="21226" y="21599"/>
                    <a:pt x="21600" y="16769"/>
                    <a:pt x="21600" y="10800"/>
                  </a:cubicBezTo>
                  <a:cubicBezTo>
                    <a:pt x="21600" y="4830"/>
                    <a:pt x="21226" y="0"/>
                    <a:pt x="20769" y="0"/>
                  </a:cubicBezTo>
                  <a:lnTo>
                    <a:pt x="830" y="0"/>
                  </a:lnTo>
                  <a:cubicBezTo>
                    <a:pt x="369" y="0"/>
                    <a:pt x="0" y="4830"/>
                    <a:pt x="0" y="10800"/>
                  </a:cubicBezTo>
                </a:path>
              </a:pathLst>
            </a:custGeom>
            <a:grpFill/>
            <a:ln>
              <a:solidFill>
                <a:schemeClr val="bg1"/>
              </a:solidFill>
            </a:ln>
            <a:effectLst/>
            <a:extLs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50800" tIns="50800" rIns="50800" bIns="50800" anchor="ctr"/>
            <a:lstStyle/>
            <a:p>
              <a:pPr defTabSz="609585"/>
              <a:endParaRPr lang="en-US" sz="4000" dirty="0">
                <a:solidFill>
                  <a:srgbClr val="FFFFFF"/>
                </a:solidFill>
                <a:effectLst>
                  <a:outerShdw blurRad="38100" dist="38100" dir="2700000" algn="tl">
                    <a:srgbClr val="000000"/>
                  </a:outerShdw>
                </a:effectLst>
              </a:endParaRPr>
            </a:p>
          </p:txBody>
        </p:sp>
        <p:sp>
          <p:nvSpPr>
            <p:cNvPr id="29" name="AutoShape 73"/>
            <p:cNvSpPr>
              <a:spLocks/>
            </p:cNvSpPr>
            <p:nvPr/>
          </p:nvSpPr>
          <p:spPr bwMode="auto">
            <a:xfrm>
              <a:off x="10101457" y="363712"/>
              <a:ext cx="366259" cy="15017"/>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1150" y="0"/>
                  </a:moveTo>
                  <a:lnTo>
                    <a:pt x="449" y="0"/>
                  </a:lnTo>
                  <a:cubicBezTo>
                    <a:pt x="201" y="0"/>
                    <a:pt x="0" y="4830"/>
                    <a:pt x="0" y="10800"/>
                  </a:cubicBezTo>
                  <a:cubicBezTo>
                    <a:pt x="0" y="16748"/>
                    <a:pt x="201" y="21599"/>
                    <a:pt x="449" y="21599"/>
                  </a:cubicBezTo>
                  <a:lnTo>
                    <a:pt x="21150" y="21599"/>
                  </a:lnTo>
                  <a:cubicBezTo>
                    <a:pt x="21397" y="21599"/>
                    <a:pt x="21599" y="16748"/>
                    <a:pt x="21599" y="10800"/>
                  </a:cubicBezTo>
                  <a:cubicBezTo>
                    <a:pt x="21599" y="4830"/>
                    <a:pt x="21397" y="0"/>
                    <a:pt x="21150" y="0"/>
                  </a:cubicBezTo>
                </a:path>
              </a:pathLst>
            </a:custGeom>
            <a:grpFill/>
            <a:ln>
              <a:solidFill>
                <a:schemeClr val="bg1"/>
              </a:solidFill>
            </a:ln>
            <a:effectLst/>
            <a:extLs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50800" tIns="50800" rIns="50800" bIns="50800" anchor="ctr"/>
            <a:lstStyle/>
            <a:p>
              <a:pPr defTabSz="609585"/>
              <a:endParaRPr lang="en-US" sz="4000" dirty="0">
                <a:solidFill>
                  <a:srgbClr val="FFFFFF"/>
                </a:solidFill>
                <a:effectLst>
                  <a:outerShdw blurRad="38100" dist="38100" dir="2700000" algn="tl">
                    <a:srgbClr val="000000"/>
                  </a:outerShdw>
                </a:effectLst>
              </a:endParaRPr>
            </a:p>
          </p:txBody>
        </p:sp>
        <p:sp>
          <p:nvSpPr>
            <p:cNvPr id="30" name="AutoShape 74"/>
            <p:cNvSpPr>
              <a:spLocks/>
            </p:cNvSpPr>
            <p:nvPr/>
          </p:nvSpPr>
          <p:spPr bwMode="auto">
            <a:xfrm>
              <a:off x="10101457" y="409597"/>
              <a:ext cx="366259" cy="15017"/>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1150" y="0"/>
                  </a:moveTo>
                  <a:lnTo>
                    <a:pt x="449" y="0"/>
                  </a:lnTo>
                  <a:cubicBezTo>
                    <a:pt x="201" y="0"/>
                    <a:pt x="0" y="4830"/>
                    <a:pt x="0" y="10800"/>
                  </a:cubicBezTo>
                  <a:cubicBezTo>
                    <a:pt x="0" y="16748"/>
                    <a:pt x="201" y="21599"/>
                    <a:pt x="449" y="21599"/>
                  </a:cubicBezTo>
                  <a:lnTo>
                    <a:pt x="21150" y="21599"/>
                  </a:lnTo>
                  <a:cubicBezTo>
                    <a:pt x="21397" y="21599"/>
                    <a:pt x="21599" y="16748"/>
                    <a:pt x="21599" y="10800"/>
                  </a:cubicBezTo>
                  <a:cubicBezTo>
                    <a:pt x="21599" y="4830"/>
                    <a:pt x="21397" y="0"/>
                    <a:pt x="21150" y="0"/>
                  </a:cubicBezTo>
                </a:path>
              </a:pathLst>
            </a:custGeom>
            <a:grpFill/>
            <a:ln>
              <a:solidFill>
                <a:schemeClr val="bg1"/>
              </a:solidFill>
            </a:ln>
            <a:effectLst/>
            <a:extLs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50800" tIns="50800" rIns="50800" bIns="50800" anchor="ctr"/>
            <a:lstStyle/>
            <a:p>
              <a:pPr defTabSz="609585"/>
              <a:endParaRPr lang="en-US" sz="4000" dirty="0">
                <a:solidFill>
                  <a:srgbClr val="FFFFFF"/>
                </a:solidFill>
                <a:effectLst>
                  <a:outerShdw blurRad="38100" dist="38100" dir="2700000" algn="tl">
                    <a:srgbClr val="000000"/>
                  </a:outerShdw>
                </a:effectLst>
              </a:endParaRPr>
            </a:p>
          </p:txBody>
        </p:sp>
        <p:sp>
          <p:nvSpPr>
            <p:cNvPr id="31" name="AutoShape 75"/>
            <p:cNvSpPr>
              <a:spLocks/>
            </p:cNvSpPr>
            <p:nvPr/>
          </p:nvSpPr>
          <p:spPr bwMode="auto">
            <a:xfrm>
              <a:off x="10101457" y="455485"/>
              <a:ext cx="366259" cy="15017"/>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1150" y="0"/>
                  </a:moveTo>
                  <a:lnTo>
                    <a:pt x="449" y="0"/>
                  </a:lnTo>
                  <a:cubicBezTo>
                    <a:pt x="201" y="0"/>
                    <a:pt x="0" y="4830"/>
                    <a:pt x="0" y="10800"/>
                  </a:cubicBezTo>
                  <a:cubicBezTo>
                    <a:pt x="0" y="16748"/>
                    <a:pt x="201" y="21599"/>
                    <a:pt x="449" y="21599"/>
                  </a:cubicBezTo>
                  <a:lnTo>
                    <a:pt x="21150" y="21599"/>
                  </a:lnTo>
                  <a:cubicBezTo>
                    <a:pt x="21397" y="21599"/>
                    <a:pt x="21599" y="16748"/>
                    <a:pt x="21599" y="10800"/>
                  </a:cubicBezTo>
                  <a:cubicBezTo>
                    <a:pt x="21599" y="4830"/>
                    <a:pt x="21397" y="0"/>
                    <a:pt x="21150" y="0"/>
                  </a:cubicBezTo>
                </a:path>
              </a:pathLst>
            </a:custGeom>
            <a:grpFill/>
            <a:ln>
              <a:solidFill>
                <a:schemeClr val="bg1"/>
              </a:solidFill>
            </a:ln>
            <a:effectLst/>
            <a:extLs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50800" tIns="50800" rIns="50800" bIns="50800" anchor="ctr"/>
            <a:lstStyle/>
            <a:p>
              <a:pPr defTabSz="609585"/>
              <a:endParaRPr lang="en-US" sz="4000" dirty="0">
                <a:solidFill>
                  <a:srgbClr val="FFFFFF"/>
                </a:solidFill>
                <a:effectLst>
                  <a:outerShdw blurRad="38100" dist="38100" dir="2700000" algn="tl">
                    <a:srgbClr val="000000"/>
                  </a:outerShdw>
                </a:effectLst>
              </a:endParaRPr>
            </a:p>
          </p:txBody>
        </p:sp>
        <p:sp>
          <p:nvSpPr>
            <p:cNvPr id="32" name="AutoShape 76"/>
            <p:cNvSpPr>
              <a:spLocks/>
            </p:cNvSpPr>
            <p:nvPr/>
          </p:nvSpPr>
          <p:spPr bwMode="auto">
            <a:xfrm>
              <a:off x="10101457" y="317823"/>
              <a:ext cx="366259" cy="15017"/>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1150" y="0"/>
                  </a:moveTo>
                  <a:lnTo>
                    <a:pt x="449" y="0"/>
                  </a:lnTo>
                  <a:cubicBezTo>
                    <a:pt x="201" y="0"/>
                    <a:pt x="0" y="4830"/>
                    <a:pt x="0" y="10800"/>
                  </a:cubicBezTo>
                  <a:cubicBezTo>
                    <a:pt x="0" y="16769"/>
                    <a:pt x="201" y="21599"/>
                    <a:pt x="449" y="21599"/>
                  </a:cubicBezTo>
                  <a:lnTo>
                    <a:pt x="21150" y="21599"/>
                  </a:lnTo>
                  <a:cubicBezTo>
                    <a:pt x="21397" y="21599"/>
                    <a:pt x="21599" y="16769"/>
                    <a:pt x="21599" y="10800"/>
                  </a:cubicBezTo>
                  <a:cubicBezTo>
                    <a:pt x="21599" y="4830"/>
                    <a:pt x="21397" y="0"/>
                    <a:pt x="21150" y="0"/>
                  </a:cubicBezTo>
                </a:path>
              </a:pathLst>
            </a:custGeom>
            <a:grpFill/>
            <a:ln>
              <a:solidFill>
                <a:schemeClr val="bg1"/>
              </a:solidFill>
            </a:ln>
            <a:effectLst/>
            <a:extLs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50800" tIns="50800" rIns="50800" bIns="50800" anchor="ctr"/>
            <a:lstStyle/>
            <a:p>
              <a:pPr defTabSz="609585"/>
              <a:endParaRPr lang="en-US" sz="4000" dirty="0">
                <a:solidFill>
                  <a:srgbClr val="FFFFFF"/>
                </a:solidFill>
                <a:effectLst>
                  <a:outerShdw blurRad="38100" dist="38100" dir="2700000" algn="tl">
                    <a:srgbClr val="000000"/>
                  </a:outerShdw>
                </a:effectLst>
              </a:endParaRPr>
            </a:p>
          </p:txBody>
        </p:sp>
        <p:sp>
          <p:nvSpPr>
            <p:cNvPr id="33" name="AutoShape 77"/>
            <p:cNvSpPr>
              <a:spLocks/>
            </p:cNvSpPr>
            <p:nvPr/>
          </p:nvSpPr>
          <p:spPr bwMode="auto">
            <a:xfrm>
              <a:off x="10101460" y="165144"/>
              <a:ext cx="137660" cy="122643"/>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4799" y="5400"/>
                  </a:moveTo>
                  <a:lnTo>
                    <a:pt x="16800" y="5400"/>
                  </a:lnTo>
                  <a:lnTo>
                    <a:pt x="16800" y="16200"/>
                  </a:lnTo>
                  <a:lnTo>
                    <a:pt x="4799" y="16200"/>
                  </a:lnTo>
                  <a:cubicBezTo>
                    <a:pt x="4799" y="16200"/>
                    <a:pt x="4799" y="5400"/>
                    <a:pt x="4799" y="5400"/>
                  </a:cubicBezTo>
                  <a:close/>
                  <a:moveTo>
                    <a:pt x="2399" y="21599"/>
                  </a:moveTo>
                  <a:lnTo>
                    <a:pt x="19200" y="21599"/>
                  </a:lnTo>
                  <a:cubicBezTo>
                    <a:pt x="20526" y="21599"/>
                    <a:pt x="21599" y="20392"/>
                    <a:pt x="21599" y="18900"/>
                  </a:cubicBezTo>
                  <a:lnTo>
                    <a:pt x="21599" y="2700"/>
                  </a:lnTo>
                  <a:cubicBezTo>
                    <a:pt x="21599" y="1207"/>
                    <a:pt x="20526" y="0"/>
                    <a:pt x="19200" y="0"/>
                  </a:cubicBezTo>
                  <a:lnTo>
                    <a:pt x="2399" y="0"/>
                  </a:lnTo>
                  <a:cubicBezTo>
                    <a:pt x="1073" y="0"/>
                    <a:pt x="0" y="1207"/>
                    <a:pt x="0" y="2700"/>
                  </a:cubicBezTo>
                  <a:lnTo>
                    <a:pt x="0" y="18900"/>
                  </a:lnTo>
                  <a:cubicBezTo>
                    <a:pt x="0" y="20392"/>
                    <a:pt x="1073" y="21599"/>
                    <a:pt x="2399" y="21599"/>
                  </a:cubicBezTo>
                </a:path>
              </a:pathLst>
            </a:custGeom>
            <a:grpFill/>
            <a:ln>
              <a:solidFill>
                <a:schemeClr val="bg1"/>
              </a:solidFill>
            </a:ln>
            <a:effectLst/>
            <a:extLs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50800" tIns="50800" rIns="50800" bIns="50800" anchor="ctr"/>
            <a:lstStyle/>
            <a:p>
              <a:pPr defTabSz="609585"/>
              <a:endParaRPr lang="en-US" sz="4000" dirty="0">
                <a:solidFill>
                  <a:srgbClr val="FFFFFF"/>
                </a:solidFill>
                <a:effectLst>
                  <a:outerShdw blurRad="38100" dist="38100" dir="2700000" algn="tl">
                    <a:srgbClr val="000000"/>
                  </a:outerShdw>
                </a:effectLst>
              </a:endParaRPr>
            </a:p>
          </p:txBody>
        </p:sp>
      </p:grpSp>
      <p:sp>
        <p:nvSpPr>
          <p:cNvPr id="34" name="AutoShape 4"/>
          <p:cNvSpPr>
            <a:spLocks/>
          </p:cNvSpPr>
          <p:nvPr userDrawn="1"/>
        </p:nvSpPr>
        <p:spPr bwMode="auto">
          <a:xfrm>
            <a:off x="2944653" y="5252617"/>
            <a:ext cx="920918" cy="9144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7428" y="17466"/>
                </a:moveTo>
                <a:cubicBezTo>
                  <a:pt x="16669" y="16923"/>
                  <a:pt x="15846" y="16465"/>
                  <a:pt x="14963" y="16121"/>
                </a:cubicBezTo>
                <a:cubicBezTo>
                  <a:pt x="15595" y="14609"/>
                  <a:pt x="15967" y="12928"/>
                  <a:pt x="16010" y="11148"/>
                </a:cubicBezTo>
                <a:lnTo>
                  <a:pt x="20188" y="11148"/>
                </a:lnTo>
                <a:cubicBezTo>
                  <a:pt x="20097" y="13612"/>
                  <a:pt x="19065" y="15838"/>
                  <a:pt x="17428" y="17466"/>
                </a:cubicBezTo>
                <a:moveTo>
                  <a:pt x="1411" y="11148"/>
                </a:moveTo>
                <a:lnTo>
                  <a:pt x="5589" y="11148"/>
                </a:lnTo>
                <a:cubicBezTo>
                  <a:pt x="5632" y="12928"/>
                  <a:pt x="6004" y="14609"/>
                  <a:pt x="6636" y="16121"/>
                </a:cubicBezTo>
                <a:cubicBezTo>
                  <a:pt x="5753" y="16465"/>
                  <a:pt x="4931" y="16923"/>
                  <a:pt x="4171" y="17466"/>
                </a:cubicBezTo>
                <a:cubicBezTo>
                  <a:pt x="2534" y="15838"/>
                  <a:pt x="1502" y="13612"/>
                  <a:pt x="1411" y="11148"/>
                </a:cubicBezTo>
                <a:moveTo>
                  <a:pt x="3785" y="4553"/>
                </a:moveTo>
                <a:cubicBezTo>
                  <a:pt x="4579" y="5170"/>
                  <a:pt x="5448" y="5691"/>
                  <a:pt x="6388" y="6084"/>
                </a:cubicBezTo>
                <a:cubicBezTo>
                  <a:pt x="5901" y="7433"/>
                  <a:pt x="5627" y="8908"/>
                  <a:pt x="5589" y="10451"/>
                </a:cubicBezTo>
                <a:lnTo>
                  <a:pt x="1411" y="10451"/>
                </a:lnTo>
                <a:cubicBezTo>
                  <a:pt x="1494" y="8190"/>
                  <a:pt x="2376" y="6135"/>
                  <a:pt x="3785" y="4553"/>
                </a:cubicBezTo>
                <a:moveTo>
                  <a:pt x="11148" y="10451"/>
                </a:moveTo>
                <a:lnTo>
                  <a:pt x="11148" y="6950"/>
                </a:lnTo>
                <a:cubicBezTo>
                  <a:pt x="12339" y="6913"/>
                  <a:pt x="13484" y="6696"/>
                  <a:pt x="14558" y="6324"/>
                </a:cubicBezTo>
                <a:cubicBezTo>
                  <a:pt x="15018" y="7598"/>
                  <a:pt x="15276" y="8992"/>
                  <a:pt x="15314" y="10451"/>
                </a:cubicBezTo>
                <a:cubicBezTo>
                  <a:pt x="15314" y="10451"/>
                  <a:pt x="11148" y="10451"/>
                  <a:pt x="11148" y="10451"/>
                </a:cubicBezTo>
                <a:close/>
                <a:moveTo>
                  <a:pt x="14311" y="15882"/>
                </a:moveTo>
                <a:cubicBezTo>
                  <a:pt x="13309" y="15559"/>
                  <a:pt x="12247" y="15380"/>
                  <a:pt x="11148" y="15346"/>
                </a:cubicBezTo>
                <a:lnTo>
                  <a:pt x="11148" y="11148"/>
                </a:lnTo>
                <a:lnTo>
                  <a:pt x="15314" y="11148"/>
                </a:lnTo>
                <a:cubicBezTo>
                  <a:pt x="15270" y="12844"/>
                  <a:pt x="14914" y="14445"/>
                  <a:pt x="14311" y="15882"/>
                </a:cubicBezTo>
                <a:moveTo>
                  <a:pt x="14683" y="16757"/>
                </a:moveTo>
                <a:cubicBezTo>
                  <a:pt x="15476" y="17063"/>
                  <a:pt x="16218" y="17466"/>
                  <a:pt x="16904" y="17941"/>
                </a:cubicBezTo>
                <a:cubicBezTo>
                  <a:pt x="15632" y="19031"/>
                  <a:pt x="14067" y="19781"/>
                  <a:pt x="12344" y="20068"/>
                </a:cubicBezTo>
                <a:cubicBezTo>
                  <a:pt x="13280" y="19136"/>
                  <a:pt x="14076" y="18017"/>
                  <a:pt x="14683" y="16757"/>
                </a:cubicBezTo>
                <a:moveTo>
                  <a:pt x="11148" y="20188"/>
                </a:moveTo>
                <a:lnTo>
                  <a:pt x="11148" y="16043"/>
                </a:lnTo>
                <a:cubicBezTo>
                  <a:pt x="12146" y="16075"/>
                  <a:pt x="13113" y="16231"/>
                  <a:pt x="14025" y="16516"/>
                </a:cubicBezTo>
                <a:cubicBezTo>
                  <a:pt x="13314" y="17970"/>
                  <a:pt x="12343" y="19223"/>
                  <a:pt x="11185" y="20186"/>
                </a:cubicBezTo>
                <a:cubicBezTo>
                  <a:pt x="11185" y="20186"/>
                  <a:pt x="11148" y="20188"/>
                  <a:pt x="11148" y="20188"/>
                </a:cubicBezTo>
                <a:close/>
                <a:moveTo>
                  <a:pt x="9255" y="20068"/>
                </a:moveTo>
                <a:cubicBezTo>
                  <a:pt x="7532" y="19781"/>
                  <a:pt x="5967" y="19031"/>
                  <a:pt x="4695" y="17941"/>
                </a:cubicBezTo>
                <a:cubicBezTo>
                  <a:pt x="5381" y="17466"/>
                  <a:pt x="6123" y="17063"/>
                  <a:pt x="6916" y="16757"/>
                </a:cubicBezTo>
                <a:cubicBezTo>
                  <a:pt x="7523" y="18017"/>
                  <a:pt x="8319" y="19136"/>
                  <a:pt x="9255" y="20068"/>
                </a:cubicBezTo>
                <a:moveTo>
                  <a:pt x="10451" y="11148"/>
                </a:moveTo>
                <a:lnTo>
                  <a:pt x="10451" y="15346"/>
                </a:lnTo>
                <a:cubicBezTo>
                  <a:pt x="9352" y="15380"/>
                  <a:pt x="8290" y="15559"/>
                  <a:pt x="7288" y="15882"/>
                </a:cubicBezTo>
                <a:cubicBezTo>
                  <a:pt x="6685" y="14445"/>
                  <a:pt x="6329" y="12844"/>
                  <a:pt x="6285" y="11148"/>
                </a:cubicBezTo>
                <a:cubicBezTo>
                  <a:pt x="6285" y="11148"/>
                  <a:pt x="10451" y="11148"/>
                  <a:pt x="10451" y="11148"/>
                </a:cubicBezTo>
                <a:close/>
                <a:moveTo>
                  <a:pt x="7041" y="6324"/>
                </a:moveTo>
                <a:cubicBezTo>
                  <a:pt x="8115" y="6696"/>
                  <a:pt x="9260" y="6913"/>
                  <a:pt x="10451" y="6950"/>
                </a:cubicBezTo>
                <a:lnTo>
                  <a:pt x="10451" y="10451"/>
                </a:lnTo>
                <a:lnTo>
                  <a:pt x="6285" y="10451"/>
                </a:lnTo>
                <a:cubicBezTo>
                  <a:pt x="6324" y="8992"/>
                  <a:pt x="6581" y="7598"/>
                  <a:pt x="7041" y="6324"/>
                </a:cubicBezTo>
                <a:moveTo>
                  <a:pt x="6651" y="5442"/>
                </a:moveTo>
                <a:cubicBezTo>
                  <a:pt x="5790" y="5084"/>
                  <a:pt x="4993" y="4609"/>
                  <a:pt x="4263" y="4050"/>
                </a:cubicBezTo>
                <a:cubicBezTo>
                  <a:pt x="5606" y="2749"/>
                  <a:pt x="7332" y="1851"/>
                  <a:pt x="9255" y="1531"/>
                </a:cubicBezTo>
                <a:cubicBezTo>
                  <a:pt x="8175" y="2610"/>
                  <a:pt x="7286" y="3939"/>
                  <a:pt x="6651" y="5442"/>
                </a:cubicBezTo>
                <a:moveTo>
                  <a:pt x="10451" y="1411"/>
                </a:moveTo>
                <a:lnTo>
                  <a:pt x="10451" y="6253"/>
                </a:lnTo>
                <a:cubicBezTo>
                  <a:pt x="9352" y="6217"/>
                  <a:pt x="8296" y="6021"/>
                  <a:pt x="7303" y="5681"/>
                </a:cubicBezTo>
                <a:cubicBezTo>
                  <a:pt x="8029" y="3972"/>
                  <a:pt x="9101" y="2507"/>
                  <a:pt x="10415" y="1413"/>
                </a:cubicBezTo>
                <a:cubicBezTo>
                  <a:pt x="10427" y="1412"/>
                  <a:pt x="10439" y="1411"/>
                  <a:pt x="10451" y="1411"/>
                </a:cubicBezTo>
                <a:moveTo>
                  <a:pt x="12344" y="1531"/>
                </a:moveTo>
                <a:cubicBezTo>
                  <a:pt x="14267" y="1851"/>
                  <a:pt x="15993" y="2749"/>
                  <a:pt x="17336" y="4050"/>
                </a:cubicBezTo>
                <a:cubicBezTo>
                  <a:pt x="16606" y="4609"/>
                  <a:pt x="15809" y="5084"/>
                  <a:pt x="14948" y="5442"/>
                </a:cubicBezTo>
                <a:cubicBezTo>
                  <a:pt x="14313" y="3939"/>
                  <a:pt x="13424" y="2610"/>
                  <a:pt x="12344" y="1531"/>
                </a:cubicBezTo>
                <a:moveTo>
                  <a:pt x="11184" y="1413"/>
                </a:moveTo>
                <a:cubicBezTo>
                  <a:pt x="12498" y="2507"/>
                  <a:pt x="13570" y="3972"/>
                  <a:pt x="14296" y="5681"/>
                </a:cubicBezTo>
                <a:cubicBezTo>
                  <a:pt x="13303" y="6021"/>
                  <a:pt x="12247" y="6217"/>
                  <a:pt x="11148" y="6253"/>
                </a:cubicBezTo>
                <a:lnTo>
                  <a:pt x="11148" y="1411"/>
                </a:lnTo>
                <a:cubicBezTo>
                  <a:pt x="11160" y="1411"/>
                  <a:pt x="11172" y="1412"/>
                  <a:pt x="11184" y="1413"/>
                </a:cubicBezTo>
                <a:moveTo>
                  <a:pt x="10414" y="20186"/>
                </a:moveTo>
                <a:cubicBezTo>
                  <a:pt x="9256" y="19223"/>
                  <a:pt x="8285" y="17970"/>
                  <a:pt x="7574" y="16516"/>
                </a:cubicBezTo>
                <a:cubicBezTo>
                  <a:pt x="8486" y="16231"/>
                  <a:pt x="9453" y="16075"/>
                  <a:pt x="10451" y="16043"/>
                </a:cubicBezTo>
                <a:lnTo>
                  <a:pt x="10451" y="20188"/>
                </a:lnTo>
                <a:cubicBezTo>
                  <a:pt x="10451" y="20188"/>
                  <a:pt x="10414" y="20186"/>
                  <a:pt x="10414" y="20186"/>
                </a:cubicBezTo>
                <a:close/>
                <a:moveTo>
                  <a:pt x="20188" y="10451"/>
                </a:moveTo>
                <a:lnTo>
                  <a:pt x="16010" y="10451"/>
                </a:lnTo>
                <a:cubicBezTo>
                  <a:pt x="15972" y="8908"/>
                  <a:pt x="15698" y="7433"/>
                  <a:pt x="15211" y="6084"/>
                </a:cubicBezTo>
                <a:cubicBezTo>
                  <a:pt x="16151" y="5691"/>
                  <a:pt x="17020" y="5170"/>
                  <a:pt x="17814" y="4553"/>
                </a:cubicBezTo>
                <a:cubicBezTo>
                  <a:pt x="19223" y="6135"/>
                  <a:pt x="20105" y="8190"/>
                  <a:pt x="20188" y="10451"/>
                </a:cubicBezTo>
                <a:moveTo>
                  <a:pt x="10800" y="0"/>
                </a:moveTo>
                <a:cubicBezTo>
                  <a:pt x="4835" y="0"/>
                  <a:pt x="0" y="4835"/>
                  <a:pt x="0" y="10800"/>
                </a:cubicBezTo>
                <a:cubicBezTo>
                  <a:pt x="0" y="16764"/>
                  <a:pt x="4835" y="21600"/>
                  <a:pt x="10800" y="21600"/>
                </a:cubicBezTo>
                <a:cubicBezTo>
                  <a:pt x="16764" y="21600"/>
                  <a:pt x="21600" y="16764"/>
                  <a:pt x="21600" y="10800"/>
                </a:cubicBezTo>
                <a:cubicBezTo>
                  <a:pt x="21600" y="4835"/>
                  <a:pt x="16764" y="0"/>
                  <a:pt x="10800" y="0"/>
                </a:cubicBezTo>
              </a:path>
            </a:pathLst>
          </a:custGeom>
          <a:solidFill>
            <a:schemeClr val="bg1"/>
          </a:solidFill>
          <a:ln>
            <a:solidFill>
              <a:schemeClr val="bg1"/>
            </a:solidFill>
          </a:ln>
          <a:effectLst/>
          <a:extLs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50800" tIns="50800" rIns="50800" bIns="50800" anchor="ctr"/>
          <a:lstStyle/>
          <a:p>
            <a:pPr defTabSz="609585"/>
            <a:endParaRPr lang="en-US" sz="4000" dirty="0">
              <a:solidFill>
                <a:srgbClr val="FFFFFF"/>
              </a:solidFill>
              <a:effectLst>
                <a:outerShdw blurRad="38100" dist="38100" dir="2700000" algn="tl">
                  <a:srgbClr val="000000"/>
                </a:outerShdw>
              </a:effectLst>
            </a:endParaRPr>
          </a:p>
        </p:txBody>
      </p:sp>
      <p:sp>
        <p:nvSpPr>
          <p:cNvPr id="3" name="Text Placeholder 2"/>
          <p:cNvSpPr>
            <a:spLocks noGrp="1"/>
          </p:cNvSpPr>
          <p:nvPr>
            <p:ph type="body" sz="quarter" idx="11" hasCustomPrompt="1"/>
          </p:nvPr>
        </p:nvSpPr>
        <p:spPr>
          <a:xfrm>
            <a:off x="65388" y="3056731"/>
            <a:ext cx="2155223" cy="914400"/>
          </a:xfrm>
        </p:spPr>
        <p:txBody>
          <a:bodyPr anchor="ctr">
            <a:normAutofit/>
          </a:bodyPr>
          <a:lstStyle>
            <a:lvl1pPr marL="0" indent="0" algn="ctr">
              <a:buNone/>
              <a:defRPr sz="4000">
                <a:solidFill>
                  <a:schemeClr val="bg1"/>
                </a:solidFill>
              </a:defRPr>
            </a:lvl1pPr>
          </a:lstStyle>
          <a:p>
            <a:pPr lvl="0"/>
            <a:r>
              <a:rPr lang="en-US" dirty="0" smtClean="0"/>
              <a:t>Title</a:t>
            </a:r>
          </a:p>
        </p:txBody>
      </p:sp>
      <p:sp>
        <p:nvSpPr>
          <p:cNvPr id="4" name="Picture Placeholder 3"/>
          <p:cNvSpPr>
            <a:spLocks noGrp="1"/>
          </p:cNvSpPr>
          <p:nvPr>
            <p:ph type="pic" sz="quarter" idx="12"/>
          </p:nvPr>
        </p:nvSpPr>
        <p:spPr>
          <a:xfrm>
            <a:off x="0" y="0"/>
            <a:ext cx="2290763" cy="2270125"/>
          </a:xfrm>
        </p:spPr>
        <p:txBody>
          <a:bodyPr/>
          <a:lstStyle/>
          <a:p>
            <a:endParaRPr lang="en-US" dirty="0"/>
          </a:p>
        </p:txBody>
      </p:sp>
      <p:sp>
        <p:nvSpPr>
          <p:cNvPr id="6" name="Picture Placeholder 5"/>
          <p:cNvSpPr>
            <a:spLocks noGrp="1"/>
          </p:cNvSpPr>
          <p:nvPr>
            <p:ph type="pic" sz="quarter" idx="13"/>
          </p:nvPr>
        </p:nvSpPr>
        <p:spPr>
          <a:xfrm>
            <a:off x="2290763" y="2295525"/>
            <a:ext cx="2263775" cy="2276475"/>
          </a:xfrm>
        </p:spPr>
        <p:txBody>
          <a:bodyPr/>
          <a:lstStyle/>
          <a:p>
            <a:endParaRPr lang="en-US" dirty="0"/>
          </a:p>
        </p:txBody>
      </p:sp>
      <p:sp>
        <p:nvSpPr>
          <p:cNvPr id="8" name="Picture Placeholder 7"/>
          <p:cNvSpPr>
            <a:spLocks noGrp="1"/>
          </p:cNvSpPr>
          <p:nvPr>
            <p:ph type="pic" sz="quarter" idx="14"/>
          </p:nvPr>
        </p:nvSpPr>
        <p:spPr>
          <a:xfrm>
            <a:off x="0" y="4572000"/>
            <a:ext cx="2268538" cy="2286000"/>
          </a:xfrm>
        </p:spPr>
        <p:txBody>
          <a:bodyPr/>
          <a:lstStyle/>
          <a:p>
            <a:endParaRPr lang="en-US" dirty="0"/>
          </a:p>
        </p:txBody>
      </p:sp>
    </p:spTree>
    <p:extLst>
      <p:ext uri="{BB962C8B-B14F-4D97-AF65-F5344CB8AC3E}">
        <p14:creationId xmlns:p14="http://schemas.microsoft.com/office/powerpoint/2010/main" val="3949214716"/>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9_Custom Layout">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rcRect b="11557"/>
          <a:stretch/>
        </p:blipFill>
        <p:spPr>
          <a:xfrm>
            <a:off x="0" y="3366238"/>
            <a:ext cx="12192000" cy="3498850"/>
          </a:xfrm>
          <a:prstGeom prst="rect">
            <a:avLst/>
          </a:prstGeom>
        </p:spPr>
      </p:pic>
    </p:spTree>
    <p:extLst>
      <p:ext uri="{BB962C8B-B14F-4D97-AF65-F5344CB8AC3E}">
        <p14:creationId xmlns:p14="http://schemas.microsoft.com/office/powerpoint/2010/main" val="2174041607"/>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Presenter intro 2 with social">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248642" y="0"/>
            <a:ext cx="5114925" cy="6858000"/>
          </a:xfrm>
        </p:spPr>
        <p:txBody>
          <a:bodyPr/>
          <a:lstStyle/>
          <a:p>
            <a:endParaRPr lang="en-US" dirty="0"/>
          </a:p>
        </p:txBody>
      </p:sp>
      <p:sp>
        <p:nvSpPr>
          <p:cNvPr id="7" name="Rectangle 6"/>
          <p:cNvSpPr/>
          <p:nvPr userDrawn="1"/>
        </p:nvSpPr>
        <p:spPr>
          <a:xfrm>
            <a:off x="981075" y="4848224"/>
            <a:ext cx="4772025" cy="1552575"/>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a:off x="7877175" y="2007631"/>
            <a:ext cx="3771899" cy="1933575"/>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ext Placeholder 10"/>
          <p:cNvSpPr>
            <a:spLocks noGrp="1"/>
          </p:cNvSpPr>
          <p:nvPr>
            <p:ph type="body" sz="quarter" idx="11" hasCustomPrompt="1"/>
          </p:nvPr>
        </p:nvSpPr>
        <p:spPr>
          <a:xfrm>
            <a:off x="590550" y="752475"/>
            <a:ext cx="3057525" cy="1466850"/>
          </a:xfrm>
        </p:spPr>
        <p:txBody>
          <a:bodyPr>
            <a:normAutofit/>
          </a:bodyPr>
          <a:lstStyle>
            <a:lvl1pPr marL="0" indent="0">
              <a:buNone/>
              <a:defRPr sz="4400" baseline="0">
                <a:solidFill>
                  <a:schemeClr val="tx1">
                    <a:lumMod val="65000"/>
                    <a:lumOff val="35000"/>
                  </a:schemeClr>
                </a:solidFill>
              </a:defRPr>
            </a:lvl1pPr>
          </a:lstStyle>
          <a:p>
            <a:pPr lvl="0"/>
            <a:r>
              <a:rPr lang="en-US" dirty="0" smtClean="0"/>
              <a:t>Name      Title</a:t>
            </a:r>
            <a:endParaRPr lang="en-US" dirty="0"/>
          </a:p>
        </p:txBody>
      </p:sp>
      <p:sp>
        <p:nvSpPr>
          <p:cNvPr id="12" name="TextBox 11"/>
          <p:cNvSpPr txBox="1"/>
          <p:nvPr userDrawn="1"/>
        </p:nvSpPr>
        <p:spPr>
          <a:xfrm>
            <a:off x="9015411" y="2093505"/>
            <a:ext cx="2505075" cy="461665"/>
          </a:xfrm>
          <a:prstGeom prst="rect">
            <a:avLst/>
          </a:prstGeom>
          <a:noFill/>
        </p:spPr>
        <p:txBody>
          <a:bodyPr wrap="square" rtlCol="0">
            <a:spAutoFit/>
          </a:bodyPr>
          <a:lstStyle/>
          <a:p>
            <a:pPr algn="r"/>
            <a:r>
              <a:rPr lang="en-US" sz="2400" dirty="0" smtClean="0">
                <a:solidFill>
                  <a:schemeClr val="tx1">
                    <a:lumMod val="75000"/>
                    <a:lumOff val="25000"/>
                  </a:schemeClr>
                </a:solidFill>
              </a:rPr>
              <a:t>Social Media</a:t>
            </a:r>
            <a:endParaRPr lang="en-US" sz="2400" dirty="0">
              <a:solidFill>
                <a:schemeClr val="tx1">
                  <a:lumMod val="75000"/>
                  <a:lumOff val="25000"/>
                </a:schemeClr>
              </a:solidFill>
            </a:endParaRPr>
          </a:p>
        </p:txBody>
      </p:sp>
      <p:sp>
        <p:nvSpPr>
          <p:cNvPr id="16" name="Text Placeholder 15"/>
          <p:cNvSpPr>
            <a:spLocks noGrp="1"/>
          </p:cNvSpPr>
          <p:nvPr>
            <p:ph type="body" sz="quarter" idx="12" hasCustomPrompt="1"/>
          </p:nvPr>
        </p:nvSpPr>
        <p:spPr>
          <a:xfrm>
            <a:off x="8048625" y="2641044"/>
            <a:ext cx="2843212" cy="333375"/>
          </a:xfrm>
        </p:spPr>
        <p:txBody>
          <a:bodyPr>
            <a:normAutofit/>
          </a:bodyPr>
          <a:lstStyle>
            <a:lvl1pPr marL="0" indent="0" algn="l">
              <a:buNone/>
              <a:defRPr sz="1800" baseline="0">
                <a:solidFill>
                  <a:schemeClr val="tx1">
                    <a:lumMod val="75000"/>
                    <a:lumOff val="25000"/>
                  </a:schemeClr>
                </a:solidFill>
              </a:defRPr>
            </a:lvl1pPr>
          </a:lstStyle>
          <a:p>
            <a:pPr lvl="0"/>
            <a:r>
              <a:rPr lang="en-US" dirty="0" smtClean="0"/>
              <a:t>Insert Facebook profile </a:t>
            </a:r>
            <a:endParaRPr lang="en-US" dirty="0"/>
          </a:p>
        </p:txBody>
      </p:sp>
      <p:sp>
        <p:nvSpPr>
          <p:cNvPr id="18" name="Text Placeholder 15"/>
          <p:cNvSpPr>
            <a:spLocks noGrp="1"/>
          </p:cNvSpPr>
          <p:nvPr>
            <p:ph type="body" sz="quarter" idx="13" hasCustomPrompt="1"/>
          </p:nvPr>
        </p:nvSpPr>
        <p:spPr>
          <a:xfrm>
            <a:off x="8048625" y="2991325"/>
            <a:ext cx="2843212" cy="333375"/>
          </a:xfrm>
        </p:spPr>
        <p:txBody>
          <a:bodyPr>
            <a:normAutofit/>
          </a:bodyPr>
          <a:lstStyle>
            <a:lvl1pPr marL="0" indent="0" algn="l">
              <a:buNone/>
              <a:defRPr sz="1800" baseline="0">
                <a:solidFill>
                  <a:schemeClr val="tx1">
                    <a:lumMod val="75000"/>
                    <a:lumOff val="25000"/>
                  </a:schemeClr>
                </a:solidFill>
              </a:defRPr>
            </a:lvl1pPr>
          </a:lstStyle>
          <a:p>
            <a:pPr lvl="0"/>
            <a:r>
              <a:rPr lang="en-US" dirty="0" smtClean="0"/>
              <a:t>Insert LinkedIn profile </a:t>
            </a:r>
            <a:endParaRPr lang="en-US" dirty="0"/>
          </a:p>
        </p:txBody>
      </p:sp>
      <p:sp>
        <p:nvSpPr>
          <p:cNvPr id="19" name="Text Placeholder 15"/>
          <p:cNvSpPr>
            <a:spLocks noGrp="1"/>
          </p:cNvSpPr>
          <p:nvPr>
            <p:ph type="body" sz="quarter" idx="14" hasCustomPrompt="1"/>
          </p:nvPr>
        </p:nvSpPr>
        <p:spPr>
          <a:xfrm>
            <a:off x="8048625" y="3333153"/>
            <a:ext cx="2843212" cy="333375"/>
          </a:xfrm>
        </p:spPr>
        <p:txBody>
          <a:bodyPr>
            <a:normAutofit/>
          </a:bodyPr>
          <a:lstStyle>
            <a:lvl1pPr marL="0" indent="0" algn="l">
              <a:buNone/>
              <a:defRPr sz="1800" baseline="0">
                <a:solidFill>
                  <a:schemeClr val="tx1">
                    <a:lumMod val="75000"/>
                    <a:lumOff val="25000"/>
                  </a:schemeClr>
                </a:solidFill>
              </a:defRPr>
            </a:lvl1pPr>
          </a:lstStyle>
          <a:p>
            <a:pPr lvl="0"/>
            <a:r>
              <a:rPr lang="en-US" dirty="0" smtClean="0"/>
              <a:t>Insert Twitter profile </a:t>
            </a:r>
            <a:endParaRPr lang="en-US" dirty="0"/>
          </a:p>
        </p:txBody>
      </p:sp>
      <p:sp>
        <p:nvSpPr>
          <p:cNvPr id="21" name="Text Placeholder 20"/>
          <p:cNvSpPr>
            <a:spLocks noGrp="1"/>
          </p:cNvSpPr>
          <p:nvPr>
            <p:ph type="body" sz="quarter" idx="15" hasCustomPrompt="1"/>
          </p:nvPr>
        </p:nvSpPr>
        <p:spPr>
          <a:xfrm>
            <a:off x="981075" y="5067300"/>
            <a:ext cx="4772025" cy="1333500"/>
          </a:xfrm>
        </p:spPr>
        <p:txBody>
          <a:bodyPr>
            <a:normAutofit/>
          </a:bodyPr>
          <a:lstStyle>
            <a:lvl1pPr marL="0" indent="0">
              <a:buNone/>
              <a:defRPr sz="2000" i="1" baseline="0">
                <a:solidFill>
                  <a:schemeClr val="tx1">
                    <a:lumMod val="75000"/>
                    <a:lumOff val="25000"/>
                  </a:schemeClr>
                </a:solidFill>
              </a:defRPr>
            </a:lvl1pPr>
          </a:lstStyle>
          <a:p>
            <a:pPr lvl="0"/>
            <a:r>
              <a:rPr lang="en-US" dirty="0" smtClean="0"/>
              <a:t>1-2 sentence bio</a:t>
            </a:r>
            <a:endParaRPr lang="en-US" dirty="0"/>
          </a:p>
        </p:txBody>
      </p:sp>
      <p:sp>
        <p:nvSpPr>
          <p:cNvPr id="23" name="Freeform 6"/>
          <p:cNvSpPr>
            <a:spLocks/>
          </p:cNvSpPr>
          <p:nvPr userDrawn="1"/>
        </p:nvSpPr>
        <p:spPr bwMode="auto">
          <a:xfrm>
            <a:off x="11048862" y="2652551"/>
            <a:ext cx="133873" cy="278816"/>
          </a:xfrm>
          <a:custGeom>
            <a:avLst/>
            <a:gdLst/>
            <a:ahLst/>
            <a:cxnLst>
              <a:cxn ang="0">
                <a:pos x="156" y="50"/>
              </a:cxn>
              <a:cxn ang="0">
                <a:pos x="128" y="50"/>
              </a:cxn>
              <a:cxn ang="0">
                <a:pos x="128" y="50"/>
              </a:cxn>
              <a:cxn ang="0">
                <a:pos x="121" y="50"/>
              </a:cxn>
              <a:cxn ang="0">
                <a:pos x="115" y="51"/>
              </a:cxn>
              <a:cxn ang="0">
                <a:pos x="110" y="53"/>
              </a:cxn>
              <a:cxn ang="0">
                <a:pos x="106" y="57"/>
              </a:cxn>
              <a:cxn ang="0">
                <a:pos x="104" y="61"/>
              </a:cxn>
              <a:cxn ang="0">
                <a:pos x="102" y="64"/>
              </a:cxn>
              <a:cxn ang="0">
                <a:pos x="100" y="76"/>
              </a:cxn>
              <a:cxn ang="0">
                <a:pos x="100" y="111"/>
              </a:cxn>
              <a:cxn ang="0">
                <a:pos x="154" y="111"/>
              </a:cxn>
              <a:cxn ang="0">
                <a:pos x="154" y="163"/>
              </a:cxn>
              <a:cxn ang="0">
                <a:pos x="100" y="163"/>
              </a:cxn>
              <a:cxn ang="0">
                <a:pos x="100" y="301"/>
              </a:cxn>
              <a:cxn ang="0">
                <a:pos x="47" y="301"/>
              </a:cxn>
              <a:cxn ang="0">
                <a:pos x="47" y="163"/>
              </a:cxn>
              <a:cxn ang="0">
                <a:pos x="0" y="163"/>
              </a:cxn>
              <a:cxn ang="0">
                <a:pos x="0" y="111"/>
              </a:cxn>
              <a:cxn ang="0">
                <a:pos x="47" y="111"/>
              </a:cxn>
              <a:cxn ang="0">
                <a:pos x="47" y="70"/>
              </a:cxn>
              <a:cxn ang="0">
                <a:pos x="47" y="70"/>
              </a:cxn>
              <a:cxn ang="0">
                <a:pos x="47" y="53"/>
              </a:cxn>
              <a:cxn ang="0">
                <a:pos x="50" y="40"/>
              </a:cxn>
              <a:cxn ang="0">
                <a:pos x="58" y="27"/>
              </a:cxn>
              <a:cxn ang="0">
                <a:pos x="65" y="18"/>
              </a:cxn>
              <a:cxn ang="0">
                <a:pos x="74" y="11"/>
              </a:cxn>
              <a:cxn ang="0">
                <a:pos x="87" y="3"/>
              </a:cxn>
              <a:cxn ang="0">
                <a:pos x="100" y="1"/>
              </a:cxn>
              <a:cxn ang="0">
                <a:pos x="115" y="0"/>
              </a:cxn>
              <a:cxn ang="0">
                <a:pos x="156" y="0"/>
              </a:cxn>
              <a:cxn ang="0">
                <a:pos x="156" y="50"/>
              </a:cxn>
            </a:cxnLst>
            <a:rect l="0" t="0" r="r" b="b"/>
            <a:pathLst>
              <a:path w="156" h="301">
                <a:moveTo>
                  <a:pt x="156" y="50"/>
                </a:moveTo>
                <a:lnTo>
                  <a:pt x="128" y="50"/>
                </a:lnTo>
                <a:lnTo>
                  <a:pt x="128" y="50"/>
                </a:lnTo>
                <a:lnTo>
                  <a:pt x="121" y="50"/>
                </a:lnTo>
                <a:lnTo>
                  <a:pt x="115" y="51"/>
                </a:lnTo>
                <a:lnTo>
                  <a:pt x="110" y="53"/>
                </a:lnTo>
                <a:lnTo>
                  <a:pt x="106" y="57"/>
                </a:lnTo>
                <a:lnTo>
                  <a:pt x="104" y="61"/>
                </a:lnTo>
                <a:lnTo>
                  <a:pt x="102" y="64"/>
                </a:lnTo>
                <a:lnTo>
                  <a:pt x="100" y="76"/>
                </a:lnTo>
                <a:lnTo>
                  <a:pt x="100" y="111"/>
                </a:lnTo>
                <a:lnTo>
                  <a:pt x="154" y="111"/>
                </a:lnTo>
                <a:lnTo>
                  <a:pt x="154" y="163"/>
                </a:lnTo>
                <a:lnTo>
                  <a:pt x="100" y="163"/>
                </a:lnTo>
                <a:lnTo>
                  <a:pt x="100" y="301"/>
                </a:lnTo>
                <a:lnTo>
                  <a:pt x="47" y="301"/>
                </a:lnTo>
                <a:lnTo>
                  <a:pt x="47" y="163"/>
                </a:lnTo>
                <a:lnTo>
                  <a:pt x="0" y="163"/>
                </a:lnTo>
                <a:lnTo>
                  <a:pt x="0" y="111"/>
                </a:lnTo>
                <a:lnTo>
                  <a:pt x="47" y="111"/>
                </a:lnTo>
                <a:lnTo>
                  <a:pt x="47" y="70"/>
                </a:lnTo>
                <a:lnTo>
                  <a:pt x="47" y="70"/>
                </a:lnTo>
                <a:lnTo>
                  <a:pt x="47" y="53"/>
                </a:lnTo>
                <a:lnTo>
                  <a:pt x="50" y="40"/>
                </a:lnTo>
                <a:lnTo>
                  <a:pt x="58" y="27"/>
                </a:lnTo>
                <a:lnTo>
                  <a:pt x="65" y="18"/>
                </a:lnTo>
                <a:lnTo>
                  <a:pt x="74" y="11"/>
                </a:lnTo>
                <a:lnTo>
                  <a:pt x="87" y="3"/>
                </a:lnTo>
                <a:lnTo>
                  <a:pt x="100" y="1"/>
                </a:lnTo>
                <a:lnTo>
                  <a:pt x="115" y="0"/>
                </a:lnTo>
                <a:lnTo>
                  <a:pt x="156" y="0"/>
                </a:lnTo>
                <a:lnTo>
                  <a:pt x="156" y="50"/>
                </a:lnTo>
                <a:close/>
              </a:path>
            </a:pathLst>
          </a:custGeom>
          <a:solidFill>
            <a:schemeClr val="bg1"/>
          </a:solidFill>
          <a:ln w="9525">
            <a:noFill/>
            <a:round/>
            <a:headEnd/>
            <a:tailEnd/>
          </a:ln>
        </p:spPr>
        <p:txBody>
          <a:bodyPr vert="horz" wrap="square" lIns="121920" tIns="60960" rIns="121920" bIns="60960" numCol="1" anchor="t" anchorCtr="0" compatLnSpc="1">
            <a:prstTxWarp prst="textNoShape">
              <a:avLst/>
            </a:prstTxWarp>
          </a:bodyPr>
          <a:lstStyle/>
          <a:p>
            <a:endParaRPr lang="en-US" sz="2400" dirty="0">
              <a:solidFill>
                <a:schemeClr val="accent2">
                  <a:lumMod val="50000"/>
                </a:schemeClr>
              </a:solidFill>
            </a:endParaRPr>
          </a:p>
        </p:txBody>
      </p:sp>
      <p:sp>
        <p:nvSpPr>
          <p:cNvPr id="24" name="Freeform 7"/>
          <p:cNvSpPr>
            <a:spLocks/>
          </p:cNvSpPr>
          <p:nvPr userDrawn="1"/>
        </p:nvSpPr>
        <p:spPr bwMode="auto">
          <a:xfrm>
            <a:off x="11048862" y="3441260"/>
            <a:ext cx="257313" cy="225267"/>
          </a:xfrm>
          <a:custGeom>
            <a:avLst/>
            <a:gdLst/>
            <a:ahLst/>
            <a:cxnLst>
              <a:cxn ang="0">
                <a:pos x="295" y="30"/>
              </a:cxn>
              <a:cxn ang="0">
                <a:pos x="267" y="37"/>
              </a:cxn>
              <a:cxn ang="0">
                <a:pos x="280" y="24"/>
              </a:cxn>
              <a:cxn ang="0">
                <a:pos x="289" y="7"/>
              </a:cxn>
              <a:cxn ang="0">
                <a:pos x="287" y="6"/>
              </a:cxn>
              <a:cxn ang="0">
                <a:pos x="250" y="20"/>
              </a:cxn>
              <a:cxn ang="0">
                <a:pos x="230" y="6"/>
              </a:cxn>
              <a:cxn ang="0">
                <a:pos x="206" y="0"/>
              </a:cxn>
              <a:cxn ang="0">
                <a:pos x="171" y="11"/>
              </a:cxn>
              <a:cxn ang="0">
                <a:pos x="149" y="39"/>
              </a:cxn>
              <a:cxn ang="0">
                <a:pos x="143" y="63"/>
              </a:cxn>
              <a:cxn ang="0">
                <a:pos x="126" y="72"/>
              </a:cxn>
              <a:cxn ang="0">
                <a:pos x="78" y="55"/>
              </a:cxn>
              <a:cxn ang="0">
                <a:pos x="36" y="26"/>
              </a:cxn>
              <a:cxn ang="0">
                <a:pos x="23" y="11"/>
              </a:cxn>
              <a:cxn ang="0">
                <a:pos x="21" y="13"/>
              </a:cxn>
              <a:cxn ang="0">
                <a:pos x="13" y="43"/>
              </a:cxn>
              <a:cxn ang="0">
                <a:pos x="26" y="81"/>
              </a:cxn>
              <a:cxn ang="0">
                <a:pos x="24" y="89"/>
              </a:cxn>
              <a:cxn ang="0">
                <a:pos x="13" y="85"/>
              </a:cxn>
              <a:cxn ang="0">
                <a:pos x="12" y="87"/>
              </a:cxn>
              <a:cxn ang="0">
                <a:pos x="15" y="107"/>
              </a:cxn>
              <a:cxn ang="0">
                <a:pos x="30" y="131"/>
              </a:cxn>
              <a:cxn ang="0">
                <a:pos x="56" y="146"/>
              </a:cxn>
              <a:cxn ang="0">
                <a:pos x="36" y="146"/>
              </a:cxn>
              <a:cxn ang="0">
                <a:pos x="34" y="146"/>
              </a:cxn>
              <a:cxn ang="0">
                <a:pos x="37" y="155"/>
              </a:cxn>
              <a:cxn ang="0">
                <a:pos x="54" y="178"/>
              </a:cxn>
              <a:cxn ang="0">
                <a:pos x="78" y="189"/>
              </a:cxn>
              <a:cxn ang="0">
                <a:pos x="71" y="200"/>
              </a:cxn>
              <a:cxn ang="0">
                <a:pos x="15" y="213"/>
              </a:cxn>
              <a:cxn ang="0">
                <a:pos x="2" y="213"/>
              </a:cxn>
              <a:cxn ang="0">
                <a:pos x="0" y="215"/>
              </a:cxn>
              <a:cxn ang="0">
                <a:pos x="45" y="235"/>
              </a:cxn>
              <a:cxn ang="0">
                <a:pos x="95" y="242"/>
              </a:cxn>
              <a:cxn ang="0">
                <a:pos x="150" y="233"/>
              </a:cxn>
              <a:cxn ang="0">
                <a:pos x="197" y="211"/>
              </a:cxn>
              <a:cxn ang="0">
                <a:pos x="232" y="176"/>
              </a:cxn>
              <a:cxn ang="0">
                <a:pos x="256" y="133"/>
              </a:cxn>
              <a:cxn ang="0">
                <a:pos x="267" y="85"/>
              </a:cxn>
              <a:cxn ang="0">
                <a:pos x="267" y="63"/>
              </a:cxn>
              <a:cxn ang="0">
                <a:pos x="297" y="31"/>
              </a:cxn>
              <a:cxn ang="0">
                <a:pos x="297" y="30"/>
              </a:cxn>
            </a:cxnLst>
            <a:rect l="0" t="0" r="r" b="b"/>
            <a:pathLst>
              <a:path w="297" h="242">
                <a:moveTo>
                  <a:pt x="297" y="30"/>
                </a:moveTo>
                <a:lnTo>
                  <a:pt x="297" y="30"/>
                </a:lnTo>
                <a:lnTo>
                  <a:pt x="295" y="30"/>
                </a:lnTo>
                <a:lnTo>
                  <a:pt x="295" y="30"/>
                </a:lnTo>
                <a:lnTo>
                  <a:pt x="282" y="33"/>
                </a:lnTo>
                <a:lnTo>
                  <a:pt x="267" y="37"/>
                </a:lnTo>
                <a:lnTo>
                  <a:pt x="267" y="37"/>
                </a:lnTo>
                <a:lnTo>
                  <a:pt x="274" y="31"/>
                </a:lnTo>
                <a:lnTo>
                  <a:pt x="280" y="24"/>
                </a:lnTo>
                <a:lnTo>
                  <a:pt x="286" y="17"/>
                </a:lnTo>
                <a:lnTo>
                  <a:pt x="289" y="7"/>
                </a:lnTo>
                <a:lnTo>
                  <a:pt x="289" y="7"/>
                </a:lnTo>
                <a:lnTo>
                  <a:pt x="289" y="6"/>
                </a:lnTo>
                <a:lnTo>
                  <a:pt x="289" y="6"/>
                </a:lnTo>
                <a:lnTo>
                  <a:pt x="287" y="6"/>
                </a:lnTo>
                <a:lnTo>
                  <a:pt x="287" y="6"/>
                </a:lnTo>
                <a:lnTo>
                  <a:pt x="269" y="15"/>
                </a:lnTo>
                <a:lnTo>
                  <a:pt x="250" y="20"/>
                </a:lnTo>
                <a:lnTo>
                  <a:pt x="250" y="20"/>
                </a:lnTo>
                <a:lnTo>
                  <a:pt x="241" y="11"/>
                </a:lnTo>
                <a:lnTo>
                  <a:pt x="230" y="6"/>
                </a:lnTo>
                <a:lnTo>
                  <a:pt x="217" y="2"/>
                </a:lnTo>
                <a:lnTo>
                  <a:pt x="206" y="0"/>
                </a:lnTo>
                <a:lnTo>
                  <a:pt x="206" y="0"/>
                </a:lnTo>
                <a:lnTo>
                  <a:pt x="193" y="2"/>
                </a:lnTo>
                <a:lnTo>
                  <a:pt x="182" y="6"/>
                </a:lnTo>
                <a:lnTo>
                  <a:pt x="171" y="11"/>
                </a:lnTo>
                <a:lnTo>
                  <a:pt x="161" y="18"/>
                </a:lnTo>
                <a:lnTo>
                  <a:pt x="154" y="28"/>
                </a:lnTo>
                <a:lnTo>
                  <a:pt x="149" y="39"/>
                </a:lnTo>
                <a:lnTo>
                  <a:pt x="145" y="50"/>
                </a:lnTo>
                <a:lnTo>
                  <a:pt x="143" y="63"/>
                </a:lnTo>
                <a:lnTo>
                  <a:pt x="143" y="63"/>
                </a:lnTo>
                <a:lnTo>
                  <a:pt x="145" y="74"/>
                </a:lnTo>
                <a:lnTo>
                  <a:pt x="145" y="74"/>
                </a:lnTo>
                <a:lnTo>
                  <a:pt x="126" y="72"/>
                </a:lnTo>
                <a:lnTo>
                  <a:pt x="110" y="68"/>
                </a:lnTo>
                <a:lnTo>
                  <a:pt x="93" y="63"/>
                </a:lnTo>
                <a:lnTo>
                  <a:pt x="78" y="55"/>
                </a:lnTo>
                <a:lnTo>
                  <a:pt x="62" y="48"/>
                </a:lnTo>
                <a:lnTo>
                  <a:pt x="49" y="37"/>
                </a:lnTo>
                <a:lnTo>
                  <a:pt x="36" y="26"/>
                </a:lnTo>
                <a:lnTo>
                  <a:pt x="23" y="13"/>
                </a:lnTo>
                <a:lnTo>
                  <a:pt x="23" y="13"/>
                </a:lnTo>
                <a:lnTo>
                  <a:pt x="23" y="11"/>
                </a:lnTo>
                <a:lnTo>
                  <a:pt x="23" y="11"/>
                </a:lnTo>
                <a:lnTo>
                  <a:pt x="21" y="13"/>
                </a:lnTo>
                <a:lnTo>
                  <a:pt x="21" y="13"/>
                </a:lnTo>
                <a:lnTo>
                  <a:pt x="15" y="28"/>
                </a:lnTo>
                <a:lnTo>
                  <a:pt x="13" y="43"/>
                </a:lnTo>
                <a:lnTo>
                  <a:pt x="13" y="43"/>
                </a:lnTo>
                <a:lnTo>
                  <a:pt x="13" y="57"/>
                </a:lnTo>
                <a:lnTo>
                  <a:pt x="19" y="70"/>
                </a:lnTo>
                <a:lnTo>
                  <a:pt x="26" y="81"/>
                </a:lnTo>
                <a:lnTo>
                  <a:pt x="36" y="93"/>
                </a:lnTo>
                <a:lnTo>
                  <a:pt x="36" y="93"/>
                </a:lnTo>
                <a:lnTo>
                  <a:pt x="24" y="89"/>
                </a:lnTo>
                <a:lnTo>
                  <a:pt x="13" y="85"/>
                </a:lnTo>
                <a:lnTo>
                  <a:pt x="13" y="85"/>
                </a:lnTo>
                <a:lnTo>
                  <a:pt x="13" y="85"/>
                </a:lnTo>
                <a:lnTo>
                  <a:pt x="13" y="85"/>
                </a:lnTo>
                <a:lnTo>
                  <a:pt x="12" y="87"/>
                </a:lnTo>
                <a:lnTo>
                  <a:pt x="12" y="87"/>
                </a:lnTo>
                <a:lnTo>
                  <a:pt x="12" y="87"/>
                </a:lnTo>
                <a:lnTo>
                  <a:pt x="13" y="96"/>
                </a:lnTo>
                <a:lnTo>
                  <a:pt x="15" y="107"/>
                </a:lnTo>
                <a:lnTo>
                  <a:pt x="19" y="115"/>
                </a:lnTo>
                <a:lnTo>
                  <a:pt x="24" y="124"/>
                </a:lnTo>
                <a:lnTo>
                  <a:pt x="30" y="131"/>
                </a:lnTo>
                <a:lnTo>
                  <a:pt x="37" y="137"/>
                </a:lnTo>
                <a:lnTo>
                  <a:pt x="47" y="143"/>
                </a:lnTo>
                <a:lnTo>
                  <a:pt x="56" y="146"/>
                </a:lnTo>
                <a:lnTo>
                  <a:pt x="56" y="146"/>
                </a:lnTo>
                <a:lnTo>
                  <a:pt x="45" y="146"/>
                </a:lnTo>
                <a:lnTo>
                  <a:pt x="36" y="146"/>
                </a:lnTo>
                <a:lnTo>
                  <a:pt x="36" y="146"/>
                </a:lnTo>
                <a:lnTo>
                  <a:pt x="34" y="146"/>
                </a:lnTo>
                <a:lnTo>
                  <a:pt x="34" y="146"/>
                </a:lnTo>
                <a:lnTo>
                  <a:pt x="34" y="148"/>
                </a:lnTo>
                <a:lnTo>
                  <a:pt x="34" y="148"/>
                </a:lnTo>
                <a:lnTo>
                  <a:pt x="37" y="155"/>
                </a:lnTo>
                <a:lnTo>
                  <a:pt x="41" y="165"/>
                </a:lnTo>
                <a:lnTo>
                  <a:pt x="47" y="170"/>
                </a:lnTo>
                <a:lnTo>
                  <a:pt x="54" y="178"/>
                </a:lnTo>
                <a:lnTo>
                  <a:pt x="62" y="181"/>
                </a:lnTo>
                <a:lnTo>
                  <a:pt x="69" y="187"/>
                </a:lnTo>
                <a:lnTo>
                  <a:pt x="78" y="189"/>
                </a:lnTo>
                <a:lnTo>
                  <a:pt x="87" y="191"/>
                </a:lnTo>
                <a:lnTo>
                  <a:pt x="87" y="191"/>
                </a:lnTo>
                <a:lnTo>
                  <a:pt x="71" y="200"/>
                </a:lnTo>
                <a:lnTo>
                  <a:pt x="54" y="207"/>
                </a:lnTo>
                <a:lnTo>
                  <a:pt x="36" y="211"/>
                </a:lnTo>
                <a:lnTo>
                  <a:pt x="15" y="213"/>
                </a:lnTo>
                <a:lnTo>
                  <a:pt x="15" y="213"/>
                </a:lnTo>
                <a:lnTo>
                  <a:pt x="2" y="213"/>
                </a:lnTo>
                <a:lnTo>
                  <a:pt x="2" y="213"/>
                </a:lnTo>
                <a:lnTo>
                  <a:pt x="0" y="213"/>
                </a:lnTo>
                <a:lnTo>
                  <a:pt x="0" y="213"/>
                </a:lnTo>
                <a:lnTo>
                  <a:pt x="0" y="215"/>
                </a:lnTo>
                <a:lnTo>
                  <a:pt x="0" y="215"/>
                </a:lnTo>
                <a:lnTo>
                  <a:pt x="23" y="228"/>
                </a:lnTo>
                <a:lnTo>
                  <a:pt x="45" y="235"/>
                </a:lnTo>
                <a:lnTo>
                  <a:pt x="69" y="241"/>
                </a:lnTo>
                <a:lnTo>
                  <a:pt x="95" y="242"/>
                </a:lnTo>
                <a:lnTo>
                  <a:pt x="95" y="242"/>
                </a:lnTo>
                <a:lnTo>
                  <a:pt x="113" y="241"/>
                </a:lnTo>
                <a:lnTo>
                  <a:pt x="132" y="239"/>
                </a:lnTo>
                <a:lnTo>
                  <a:pt x="150" y="233"/>
                </a:lnTo>
                <a:lnTo>
                  <a:pt x="167" y="228"/>
                </a:lnTo>
                <a:lnTo>
                  <a:pt x="182" y="220"/>
                </a:lnTo>
                <a:lnTo>
                  <a:pt x="197" y="211"/>
                </a:lnTo>
                <a:lnTo>
                  <a:pt x="210" y="200"/>
                </a:lnTo>
                <a:lnTo>
                  <a:pt x="221" y="189"/>
                </a:lnTo>
                <a:lnTo>
                  <a:pt x="232" y="176"/>
                </a:lnTo>
                <a:lnTo>
                  <a:pt x="241" y="161"/>
                </a:lnTo>
                <a:lnTo>
                  <a:pt x="248" y="148"/>
                </a:lnTo>
                <a:lnTo>
                  <a:pt x="256" y="133"/>
                </a:lnTo>
                <a:lnTo>
                  <a:pt x="261" y="117"/>
                </a:lnTo>
                <a:lnTo>
                  <a:pt x="265" y="102"/>
                </a:lnTo>
                <a:lnTo>
                  <a:pt x="267" y="85"/>
                </a:lnTo>
                <a:lnTo>
                  <a:pt x="267" y="70"/>
                </a:lnTo>
                <a:lnTo>
                  <a:pt x="267" y="70"/>
                </a:lnTo>
                <a:lnTo>
                  <a:pt x="267" y="63"/>
                </a:lnTo>
                <a:lnTo>
                  <a:pt x="267" y="63"/>
                </a:lnTo>
                <a:lnTo>
                  <a:pt x="284" y="48"/>
                </a:lnTo>
                <a:lnTo>
                  <a:pt x="297" y="31"/>
                </a:lnTo>
                <a:lnTo>
                  <a:pt x="297" y="31"/>
                </a:lnTo>
                <a:lnTo>
                  <a:pt x="297" y="30"/>
                </a:lnTo>
                <a:lnTo>
                  <a:pt x="297" y="30"/>
                </a:lnTo>
                <a:close/>
              </a:path>
            </a:pathLst>
          </a:custGeom>
          <a:solidFill>
            <a:schemeClr val="bg1"/>
          </a:solidFill>
          <a:ln w="9525">
            <a:noFill/>
            <a:round/>
            <a:headEnd/>
            <a:tailEnd/>
          </a:ln>
        </p:spPr>
        <p:txBody>
          <a:bodyPr vert="horz" wrap="square" lIns="121920" tIns="60960" rIns="121920" bIns="60960" numCol="1" anchor="t" anchorCtr="0" compatLnSpc="1">
            <a:prstTxWarp prst="textNoShape">
              <a:avLst/>
            </a:prstTxWarp>
          </a:bodyPr>
          <a:lstStyle/>
          <a:p>
            <a:endParaRPr lang="en-US" sz="2400" dirty="0">
              <a:solidFill>
                <a:schemeClr val="accent2">
                  <a:lumMod val="50000"/>
                </a:schemeClr>
              </a:solidFill>
            </a:endParaRPr>
          </a:p>
        </p:txBody>
      </p:sp>
      <p:grpSp>
        <p:nvGrpSpPr>
          <p:cNvPr id="25" name="Group 250"/>
          <p:cNvGrpSpPr/>
          <p:nvPr userDrawn="1"/>
        </p:nvGrpSpPr>
        <p:grpSpPr>
          <a:xfrm>
            <a:off x="11048863" y="3023810"/>
            <a:ext cx="236452" cy="251118"/>
            <a:chOff x="7045932" y="3207664"/>
            <a:chExt cx="292343" cy="292342"/>
          </a:xfrm>
          <a:solidFill>
            <a:schemeClr val="bg1"/>
          </a:solidFill>
        </p:grpSpPr>
        <p:sp>
          <p:nvSpPr>
            <p:cNvPr id="26" name="Freeform 40"/>
            <p:cNvSpPr>
              <a:spLocks/>
            </p:cNvSpPr>
            <p:nvPr/>
          </p:nvSpPr>
          <p:spPr bwMode="auto">
            <a:xfrm>
              <a:off x="7045932" y="3207664"/>
              <a:ext cx="70937" cy="70937"/>
            </a:xfrm>
            <a:custGeom>
              <a:avLst/>
              <a:gdLst/>
              <a:ahLst/>
              <a:cxnLst>
                <a:cxn ang="0">
                  <a:pos x="31" y="0"/>
                </a:cxn>
                <a:cxn ang="0">
                  <a:pos x="31" y="0"/>
                </a:cxn>
                <a:cxn ang="0">
                  <a:pos x="26" y="2"/>
                </a:cxn>
                <a:cxn ang="0">
                  <a:pos x="20" y="4"/>
                </a:cxn>
                <a:cxn ang="0">
                  <a:pos x="14" y="6"/>
                </a:cxn>
                <a:cxn ang="0">
                  <a:pos x="9" y="10"/>
                </a:cxn>
                <a:cxn ang="0">
                  <a:pos x="5" y="15"/>
                </a:cxn>
                <a:cxn ang="0">
                  <a:pos x="1" y="21"/>
                </a:cxn>
                <a:cxn ang="0">
                  <a:pos x="0" y="26"/>
                </a:cxn>
                <a:cxn ang="0">
                  <a:pos x="0" y="34"/>
                </a:cxn>
                <a:cxn ang="0">
                  <a:pos x="0" y="34"/>
                </a:cxn>
                <a:cxn ang="0">
                  <a:pos x="0" y="39"/>
                </a:cxn>
                <a:cxn ang="0">
                  <a:pos x="1" y="47"/>
                </a:cxn>
                <a:cxn ang="0">
                  <a:pos x="5" y="52"/>
                </a:cxn>
                <a:cxn ang="0">
                  <a:pos x="9" y="56"/>
                </a:cxn>
                <a:cxn ang="0">
                  <a:pos x="14" y="61"/>
                </a:cxn>
                <a:cxn ang="0">
                  <a:pos x="20" y="63"/>
                </a:cxn>
                <a:cxn ang="0">
                  <a:pos x="26" y="65"/>
                </a:cxn>
                <a:cxn ang="0">
                  <a:pos x="31" y="67"/>
                </a:cxn>
                <a:cxn ang="0">
                  <a:pos x="31" y="67"/>
                </a:cxn>
                <a:cxn ang="0">
                  <a:pos x="39" y="65"/>
                </a:cxn>
                <a:cxn ang="0">
                  <a:pos x="44" y="63"/>
                </a:cxn>
                <a:cxn ang="0">
                  <a:pos x="50" y="61"/>
                </a:cxn>
                <a:cxn ang="0">
                  <a:pos x="55" y="56"/>
                </a:cxn>
                <a:cxn ang="0">
                  <a:pos x="59" y="52"/>
                </a:cxn>
                <a:cxn ang="0">
                  <a:pos x="63" y="47"/>
                </a:cxn>
                <a:cxn ang="0">
                  <a:pos x="64" y="39"/>
                </a:cxn>
                <a:cxn ang="0">
                  <a:pos x="64" y="34"/>
                </a:cxn>
                <a:cxn ang="0">
                  <a:pos x="64" y="34"/>
                </a:cxn>
                <a:cxn ang="0">
                  <a:pos x="64" y="26"/>
                </a:cxn>
                <a:cxn ang="0">
                  <a:pos x="63" y="21"/>
                </a:cxn>
                <a:cxn ang="0">
                  <a:pos x="59" y="15"/>
                </a:cxn>
                <a:cxn ang="0">
                  <a:pos x="55" y="10"/>
                </a:cxn>
                <a:cxn ang="0">
                  <a:pos x="50" y="6"/>
                </a:cxn>
                <a:cxn ang="0">
                  <a:pos x="44" y="4"/>
                </a:cxn>
                <a:cxn ang="0">
                  <a:pos x="39" y="2"/>
                </a:cxn>
                <a:cxn ang="0">
                  <a:pos x="31" y="0"/>
                </a:cxn>
                <a:cxn ang="0">
                  <a:pos x="31" y="0"/>
                </a:cxn>
              </a:cxnLst>
              <a:rect l="0" t="0" r="r" b="b"/>
              <a:pathLst>
                <a:path w="64" h="67">
                  <a:moveTo>
                    <a:pt x="31" y="0"/>
                  </a:moveTo>
                  <a:lnTo>
                    <a:pt x="31" y="0"/>
                  </a:lnTo>
                  <a:lnTo>
                    <a:pt x="26" y="2"/>
                  </a:lnTo>
                  <a:lnTo>
                    <a:pt x="20" y="4"/>
                  </a:lnTo>
                  <a:lnTo>
                    <a:pt x="14" y="6"/>
                  </a:lnTo>
                  <a:lnTo>
                    <a:pt x="9" y="10"/>
                  </a:lnTo>
                  <a:lnTo>
                    <a:pt x="5" y="15"/>
                  </a:lnTo>
                  <a:lnTo>
                    <a:pt x="1" y="21"/>
                  </a:lnTo>
                  <a:lnTo>
                    <a:pt x="0" y="26"/>
                  </a:lnTo>
                  <a:lnTo>
                    <a:pt x="0" y="34"/>
                  </a:lnTo>
                  <a:lnTo>
                    <a:pt x="0" y="34"/>
                  </a:lnTo>
                  <a:lnTo>
                    <a:pt x="0" y="39"/>
                  </a:lnTo>
                  <a:lnTo>
                    <a:pt x="1" y="47"/>
                  </a:lnTo>
                  <a:lnTo>
                    <a:pt x="5" y="52"/>
                  </a:lnTo>
                  <a:lnTo>
                    <a:pt x="9" y="56"/>
                  </a:lnTo>
                  <a:lnTo>
                    <a:pt x="14" y="61"/>
                  </a:lnTo>
                  <a:lnTo>
                    <a:pt x="20" y="63"/>
                  </a:lnTo>
                  <a:lnTo>
                    <a:pt x="26" y="65"/>
                  </a:lnTo>
                  <a:lnTo>
                    <a:pt x="31" y="67"/>
                  </a:lnTo>
                  <a:lnTo>
                    <a:pt x="31" y="67"/>
                  </a:lnTo>
                  <a:lnTo>
                    <a:pt x="39" y="65"/>
                  </a:lnTo>
                  <a:lnTo>
                    <a:pt x="44" y="63"/>
                  </a:lnTo>
                  <a:lnTo>
                    <a:pt x="50" y="61"/>
                  </a:lnTo>
                  <a:lnTo>
                    <a:pt x="55" y="56"/>
                  </a:lnTo>
                  <a:lnTo>
                    <a:pt x="59" y="52"/>
                  </a:lnTo>
                  <a:lnTo>
                    <a:pt x="63" y="47"/>
                  </a:lnTo>
                  <a:lnTo>
                    <a:pt x="64" y="39"/>
                  </a:lnTo>
                  <a:lnTo>
                    <a:pt x="64" y="34"/>
                  </a:lnTo>
                  <a:lnTo>
                    <a:pt x="64" y="34"/>
                  </a:lnTo>
                  <a:lnTo>
                    <a:pt x="64" y="26"/>
                  </a:lnTo>
                  <a:lnTo>
                    <a:pt x="63" y="21"/>
                  </a:lnTo>
                  <a:lnTo>
                    <a:pt x="59" y="15"/>
                  </a:lnTo>
                  <a:lnTo>
                    <a:pt x="55" y="10"/>
                  </a:lnTo>
                  <a:lnTo>
                    <a:pt x="50" y="6"/>
                  </a:lnTo>
                  <a:lnTo>
                    <a:pt x="44" y="4"/>
                  </a:lnTo>
                  <a:lnTo>
                    <a:pt x="39" y="2"/>
                  </a:lnTo>
                  <a:lnTo>
                    <a:pt x="31" y="0"/>
                  </a:lnTo>
                  <a:lnTo>
                    <a:pt x="31" y="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en-US" sz="2400" dirty="0">
                <a:solidFill>
                  <a:srgbClr val="7F7F7F"/>
                </a:solidFill>
              </a:endParaRPr>
            </a:p>
          </p:txBody>
        </p:sp>
        <p:sp>
          <p:nvSpPr>
            <p:cNvPr id="27" name="Rectangle 41"/>
            <p:cNvSpPr>
              <a:spLocks noChangeArrowheads="1"/>
            </p:cNvSpPr>
            <p:nvPr/>
          </p:nvSpPr>
          <p:spPr bwMode="auto">
            <a:xfrm>
              <a:off x="7050231" y="3304394"/>
              <a:ext cx="62338" cy="195612"/>
            </a:xfrm>
            <a:prstGeom prst="rect">
              <a:avLst/>
            </a:prstGeom>
            <a:grpFill/>
            <a:ln w="9525">
              <a:noFill/>
              <a:miter lim="800000"/>
              <a:headEnd/>
              <a:tailEnd/>
            </a:ln>
          </p:spPr>
          <p:txBody>
            <a:bodyPr vert="horz" wrap="square" lIns="121920" tIns="60960" rIns="121920" bIns="60960" numCol="1" anchor="t" anchorCtr="0" compatLnSpc="1">
              <a:prstTxWarp prst="textNoShape">
                <a:avLst/>
              </a:prstTxWarp>
            </a:bodyPr>
            <a:lstStyle/>
            <a:p>
              <a:endParaRPr lang="en-US" sz="2400" dirty="0">
                <a:solidFill>
                  <a:srgbClr val="7F7F7F"/>
                </a:solidFill>
              </a:endParaRPr>
            </a:p>
          </p:txBody>
        </p:sp>
        <p:sp>
          <p:nvSpPr>
            <p:cNvPr id="28" name="Freeform 42"/>
            <p:cNvSpPr>
              <a:spLocks/>
            </p:cNvSpPr>
            <p:nvPr/>
          </p:nvSpPr>
          <p:spPr bwMode="auto">
            <a:xfrm>
              <a:off x="7149112" y="3300095"/>
              <a:ext cx="189163" cy="199911"/>
            </a:xfrm>
            <a:custGeom>
              <a:avLst/>
              <a:gdLst/>
              <a:ahLst/>
              <a:cxnLst>
                <a:cxn ang="0">
                  <a:pos x="107" y="0"/>
                </a:cxn>
                <a:cxn ang="0">
                  <a:pos x="107" y="0"/>
                </a:cxn>
                <a:cxn ang="0">
                  <a:pos x="98" y="0"/>
                </a:cxn>
                <a:cxn ang="0">
                  <a:pos x="89" y="2"/>
                </a:cxn>
                <a:cxn ang="0">
                  <a:pos x="81" y="6"/>
                </a:cxn>
                <a:cxn ang="0">
                  <a:pos x="74" y="10"/>
                </a:cxn>
                <a:cxn ang="0">
                  <a:pos x="63" y="19"/>
                </a:cxn>
                <a:cxn ang="0">
                  <a:pos x="54" y="28"/>
                </a:cxn>
                <a:cxn ang="0">
                  <a:pos x="54" y="28"/>
                </a:cxn>
                <a:cxn ang="0">
                  <a:pos x="54" y="4"/>
                </a:cxn>
                <a:cxn ang="0">
                  <a:pos x="0" y="4"/>
                </a:cxn>
                <a:cxn ang="0">
                  <a:pos x="0" y="4"/>
                </a:cxn>
                <a:cxn ang="0">
                  <a:pos x="0" y="186"/>
                </a:cxn>
                <a:cxn ang="0">
                  <a:pos x="55" y="186"/>
                </a:cxn>
                <a:cxn ang="0">
                  <a:pos x="55" y="97"/>
                </a:cxn>
                <a:cxn ang="0">
                  <a:pos x="55" y="97"/>
                </a:cxn>
                <a:cxn ang="0">
                  <a:pos x="57" y="78"/>
                </a:cxn>
                <a:cxn ang="0">
                  <a:pos x="59" y="71"/>
                </a:cxn>
                <a:cxn ang="0">
                  <a:pos x="61" y="63"/>
                </a:cxn>
                <a:cxn ang="0">
                  <a:pos x="67" y="58"/>
                </a:cxn>
                <a:cxn ang="0">
                  <a:pos x="72" y="54"/>
                </a:cxn>
                <a:cxn ang="0">
                  <a:pos x="80" y="50"/>
                </a:cxn>
                <a:cxn ang="0">
                  <a:pos x="91" y="49"/>
                </a:cxn>
                <a:cxn ang="0">
                  <a:pos x="91" y="49"/>
                </a:cxn>
                <a:cxn ang="0">
                  <a:pos x="100" y="50"/>
                </a:cxn>
                <a:cxn ang="0">
                  <a:pos x="107" y="54"/>
                </a:cxn>
                <a:cxn ang="0">
                  <a:pos x="111" y="60"/>
                </a:cxn>
                <a:cxn ang="0">
                  <a:pos x="115" y="65"/>
                </a:cxn>
                <a:cxn ang="0">
                  <a:pos x="118" y="73"/>
                </a:cxn>
                <a:cxn ang="0">
                  <a:pos x="118" y="82"/>
                </a:cxn>
                <a:cxn ang="0">
                  <a:pos x="118" y="97"/>
                </a:cxn>
                <a:cxn ang="0">
                  <a:pos x="118" y="186"/>
                </a:cxn>
                <a:cxn ang="0">
                  <a:pos x="176" y="186"/>
                </a:cxn>
                <a:cxn ang="0">
                  <a:pos x="176" y="86"/>
                </a:cxn>
                <a:cxn ang="0">
                  <a:pos x="176" y="86"/>
                </a:cxn>
                <a:cxn ang="0">
                  <a:pos x="176" y="69"/>
                </a:cxn>
                <a:cxn ang="0">
                  <a:pos x="174" y="52"/>
                </a:cxn>
                <a:cxn ang="0">
                  <a:pos x="168" y="37"/>
                </a:cxn>
                <a:cxn ang="0">
                  <a:pos x="163" y="24"/>
                </a:cxn>
                <a:cxn ang="0">
                  <a:pos x="154" y="13"/>
                </a:cxn>
                <a:cxn ang="0">
                  <a:pos x="142" y="6"/>
                </a:cxn>
                <a:cxn ang="0">
                  <a:pos x="128" y="2"/>
                </a:cxn>
                <a:cxn ang="0">
                  <a:pos x="107" y="0"/>
                </a:cxn>
                <a:cxn ang="0">
                  <a:pos x="107" y="0"/>
                </a:cxn>
              </a:cxnLst>
              <a:rect l="0" t="0" r="r" b="b"/>
              <a:pathLst>
                <a:path w="176" h="186">
                  <a:moveTo>
                    <a:pt x="107" y="0"/>
                  </a:moveTo>
                  <a:lnTo>
                    <a:pt x="107" y="0"/>
                  </a:lnTo>
                  <a:lnTo>
                    <a:pt x="98" y="0"/>
                  </a:lnTo>
                  <a:lnTo>
                    <a:pt x="89" y="2"/>
                  </a:lnTo>
                  <a:lnTo>
                    <a:pt x="81" y="6"/>
                  </a:lnTo>
                  <a:lnTo>
                    <a:pt x="74" y="10"/>
                  </a:lnTo>
                  <a:lnTo>
                    <a:pt x="63" y="19"/>
                  </a:lnTo>
                  <a:lnTo>
                    <a:pt x="54" y="28"/>
                  </a:lnTo>
                  <a:lnTo>
                    <a:pt x="54" y="28"/>
                  </a:lnTo>
                  <a:lnTo>
                    <a:pt x="54" y="4"/>
                  </a:lnTo>
                  <a:lnTo>
                    <a:pt x="0" y="4"/>
                  </a:lnTo>
                  <a:lnTo>
                    <a:pt x="0" y="4"/>
                  </a:lnTo>
                  <a:lnTo>
                    <a:pt x="0" y="186"/>
                  </a:lnTo>
                  <a:lnTo>
                    <a:pt x="55" y="186"/>
                  </a:lnTo>
                  <a:lnTo>
                    <a:pt x="55" y="97"/>
                  </a:lnTo>
                  <a:lnTo>
                    <a:pt x="55" y="97"/>
                  </a:lnTo>
                  <a:lnTo>
                    <a:pt x="57" y="78"/>
                  </a:lnTo>
                  <a:lnTo>
                    <a:pt x="59" y="71"/>
                  </a:lnTo>
                  <a:lnTo>
                    <a:pt x="61" y="63"/>
                  </a:lnTo>
                  <a:lnTo>
                    <a:pt x="67" y="58"/>
                  </a:lnTo>
                  <a:lnTo>
                    <a:pt x="72" y="54"/>
                  </a:lnTo>
                  <a:lnTo>
                    <a:pt x="80" y="50"/>
                  </a:lnTo>
                  <a:lnTo>
                    <a:pt x="91" y="49"/>
                  </a:lnTo>
                  <a:lnTo>
                    <a:pt x="91" y="49"/>
                  </a:lnTo>
                  <a:lnTo>
                    <a:pt x="100" y="50"/>
                  </a:lnTo>
                  <a:lnTo>
                    <a:pt x="107" y="54"/>
                  </a:lnTo>
                  <a:lnTo>
                    <a:pt x="111" y="60"/>
                  </a:lnTo>
                  <a:lnTo>
                    <a:pt x="115" y="65"/>
                  </a:lnTo>
                  <a:lnTo>
                    <a:pt x="118" y="73"/>
                  </a:lnTo>
                  <a:lnTo>
                    <a:pt x="118" y="82"/>
                  </a:lnTo>
                  <a:lnTo>
                    <a:pt x="118" y="97"/>
                  </a:lnTo>
                  <a:lnTo>
                    <a:pt x="118" y="186"/>
                  </a:lnTo>
                  <a:lnTo>
                    <a:pt x="176" y="186"/>
                  </a:lnTo>
                  <a:lnTo>
                    <a:pt x="176" y="86"/>
                  </a:lnTo>
                  <a:lnTo>
                    <a:pt x="176" y="86"/>
                  </a:lnTo>
                  <a:lnTo>
                    <a:pt x="176" y="69"/>
                  </a:lnTo>
                  <a:lnTo>
                    <a:pt x="174" y="52"/>
                  </a:lnTo>
                  <a:lnTo>
                    <a:pt x="168" y="37"/>
                  </a:lnTo>
                  <a:lnTo>
                    <a:pt x="163" y="24"/>
                  </a:lnTo>
                  <a:lnTo>
                    <a:pt x="154" y="13"/>
                  </a:lnTo>
                  <a:lnTo>
                    <a:pt x="142" y="6"/>
                  </a:lnTo>
                  <a:lnTo>
                    <a:pt x="128" y="2"/>
                  </a:lnTo>
                  <a:lnTo>
                    <a:pt x="107" y="0"/>
                  </a:lnTo>
                  <a:lnTo>
                    <a:pt x="107" y="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en-US" sz="2400" dirty="0">
                <a:solidFill>
                  <a:srgbClr val="7F7F7F"/>
                </a:solidFill>
              </a:endParaRPr>
            </a:p>
          </p:txBody>
        </p:sp>
      </p:grpSp>
      <p:cxnSp>
        <p:nvCxnSpPr>
          <p:cNvPr id="29" name="Straight Connector 28"/>
          <p:cNvCxnSpPr/>
          <p:nvPr userDrawn="1"/>
        </p:nvCxnSpPr>
        <p:spPr>
          <a:xfrm>
            <a:off x="590550" y="2555170"/>
            <a:ext cx="2004604" cy="0"/>
          </a:xfrm>
          <a:prstGeom prst="line">
            <a:avLst/>
          </a:prstGeom>
          <a:ln w="2857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pic>
        <p:nvPicPr>
          <p:cNvPr id="31" name="Picture 3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64134" y="5900988"/>
            <a:ext cx="1758785" cy="600953"/>
          </a:xfrm>
          <a:prstGeom prst="rect">
            <a:avLst/>
          </a:prstGeom>
        </p:spPr>
      </p:pic>
    </p:spTree>
    <p:extLst>
      <p:ext uri="{BB962C8B-B14F-4D97-AF65-F5344CB8AC3E}">
        <p14:creationId xmlns:p14="http://schemas.microsoft.com/office/powerpoint/2010/main" val="3135523891"/>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Presenter intro 2 without social">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248642" y="0"/>
            <a:ext cx="5114925" cy="6858000"/>
          </a:xfrm>
        </p:spPr>
        <p:txBody>
          <a:bodyPr/>
          <a:lstStyle/>
          <a:p>
            <a:endParaRPr lang="en-US" dirty="0"/>
          </a:p>
        </p:txBody>
      </p:sp>
      <p:sp>
        <p:nvSpPr>
          <p:cNvPr id="7" name="Rectangle 6"/>
          <p:cNvSpPr/>
          <p:nvPr userDrawn="1"/>
        </p:nvSpPr>
        <p:spPr>
          <a:xfrm>
            <a:off x="981075" y="4848224"/>
            <a:ext cx="4772025" cy="1552575"/>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ext Placeholder 10"/>
          <p:cNvSpPr>
            <a:spLocks noGrp="1"/>
          </p:cNvSpPr>
          <p:nvPr>
            <p:ph type="body" sz="quarter" idx="11" hasCustomPrompt="1"/>
          </p:nvPr>
        </p:nvSpPr>
        <p:spPr>
          <a:xfrm>
            <a:off x="590550" y="752475"/>
            <a:ext cx="3057525" cy="1466850"/>
          </a:xfrm>
        </p:spPr>
        <p:txBody>
          <a:bodyPr>
            <a:normAutofit/>
          </a:bodyPr>
          <a:lstStyle>
            <a:lvl1pPr marL="0" indent="0">
              <a:buNone/>
              <a:defRPr sz="4400" baseline="0">
                <a:solidFill>
                  <a:schemeClr val="tx1">
                    <a:lumMod val="65000"/>
                    <a:lumOff val="35000"/>
                  </a:schemeClr>
                </a:solidFill>
              </a:defRPr>
            </a:lvl1pPr>
          </a:lstStyle>
          <a:p>
            <a:pPr lvl="0"/>
            <a:r>
              <a:rPr lang="en-US" dirty="0" smtClean="0"/>
              <a:t>Name      Title</a:t>
            </a:r>
            <a:endParaRPr lang="en-US" dirty="0"/>
          </a:p>
        </p:txBody>
      </p:sp>
      <p:sp>
        <p:nvSpPr>
          <p:cNvPr id="21" name="Text Placeholder 20"/>
          <p:cNvSpPr>
            <a:spLocks noGrp="1"/>
          </p:cNvSpPr>
          <p:nvPr>
            <p:ph type="body" sz="quarter" idx="15" hasCustomPrompt="1"/>
          </p:nvPr>
        </p:nvSpPr>
        <p:spPr>
          <a:xfrm>
            <a:off x="981075" y="5067300"/>
            <a:ext cx="4772025" cy="1333500"/>
          </a:xfrm>
        </p:spPr>
        <p:txBody>
          <a:bodyPr>
            <a:normAutofit/>
          </a:bodyPr>
          <a:lstStyle>
            <a:lvl1pPr marL="0" indent="0">
              <a:buNone/>
              <a:defRPr sz="2000" i="1" baseline="0">
                <a:solidFill>
                  <a:schemeClr val="tx1">
                    <a:lumMod val="75000"/>
                    <a:lumOff val="25000"/>
                  </a:schemeClr>
                </a:solidFill>
              </a:defRPr>
            </a:lvl1pPr>
          </a:lstStyle>
          <a:p>
            <a:pPr lvl="0"/>
            <a:r>
              <a:rPr lang="en-US" dirty="0" smtClean="0"/>
              <a:t>1-2 sentence bio</a:t>
            </a:r>
            <a:endParaRPr lang="en-US" dirty="0"/>
          </a:p>
        </p:txBody>
      </p:sp>
      <p:cxnSp>
        <p:nvCxnSpPr>
          <p:cNvPr id="20" name="Straight Connector 19"/>
          <p:cNvCxnSpPr/>
          <p:nvPr userDrawn="1"/>
        </p:nvCxnSpPr>
        <p:spPr>
          <a:xfrm>
            <a:off x="590550" y="2555170"/>
            <a:ext cx="2004604" cy="0"/>
          </a:xfrm>
          <a:prstGeom prst="line">
            <a:avLst/>
          </a:prstGeom>
          <a:ln w="2857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pic>
        <p:nvPicPr>
          <p:cNvPr id="30" name="Picture 2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64134" y="5900988"/>
            <a:ext cx="1758785" cy="600953"/>
          </a:xfrm>
          <a:prstGeom prst="rect">
            <a:avLst/>
          </a:prstGeom>
        </p:spPr>
      </p:pic>
    </p:spTree>
    <p:extLst>
      <p:ext uri="{BB962C8B-B14F-4D97-AF65-F5344CB8AC3E}">
        <p14:creationId xmlns:p14="http://schemas.microsoft.com/office/powerpoint/2010/main" val="3351173804"/>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Meet our team 1">
    <p:spTree>
      <p:nvGrpSpPr>
        <p:cNvPr id="1" name=""/>
        <p:cNvGrpSpPr/>
        <p:nvPr/>
      </p:nvGrpSpPr>
      <p:grpSpPr>
        <a:xfrm>
          <a:off x="0" y="0"/>
          <a:ext cx="0" cy="0"/>
          <a:chOff x="0" y="0"/>
          <a:chExt cx="0" cy="0"/>
        </a:xfrm>
      </p:grpSpPr>
      <p:sp>
        <p:nvSpPr>
          <p:cNvPr id="21" name="Text Placeholder 6"/>
          <p:cNvSpPr>
            <a:spLocks noGrp="1"/>
          </p:cNvSpPr>
          <p:nvPr>
            <p:ph type="body" sz="quarter" idx="11" hasCustomPrompt="1"/>
          </p:nvPr>
        </p:nvSpPr>
        <p:spPr>
          <a:xfrm>
            <a:off x="737824" y="5877297"/>
            <a:ext cx="2170706" cy="828303"/>
          </a:xfrm>
        </p:spPr>
        <p:txBody>
          <a:bodyPr>
            <a:normAutofit/>
          </a:bodyPr>
          <a:lstStyle>
            <a:lvl1pPr marL="0" indent="0" algn="ctr">
              <a:buNone/>
              <a:defRPr sz="2400" i="1" baseline="0"/>
            </a:lvl1pPr>
          </a:lstStyle>
          <a:p>
            <a:pPr lvl="0"/>
            <a:r>
              <a:rPr lang="en-US" dirty="0" smtClean="0"/>
              <a:t>Name           Title</a:t>
            </a:r>
            <a:endParaRPr lang="en-US" dirty="0"/>
          </a:p>
        </p:txBody>
      </p:sp>
      <p:sp>
        <p:nvSpPr>
          <p:cNvPr id="22" name="Text Placeholder 6"/>
          <p:cNvSpPr>
            <a:spLocks noGrp="1"/>
          </p:cNvSpPr>
          <p:nvPr>
            <p:ph type="body" sz="quarter" idx="12" hasCustomPrompt="1"/>
          </p:nvPr>
        </p:nvSpPr>
        <p:spPr>
          <a:xfrm>
            <a:off x="3621657" y="5877297"/>
            <a:ext cx="2170706" cy="828303"/>
          </a:xfrm>
        </p:spPr>
        <p:txBody>
          <a:bodyPr>
            <a:normAutofit/>
          </a:bodyPr>
          <a:lstStyle>
            <a:lvl1pPr marL="0" indent="0" algn="ctr">
              <a:buNone/>
              <a:defRPr sz="2400" i="1" baseline="0"/>
            </a:lvl1pPr>
          </a:lstStyle>
          <a:p>
            <a:pPr lvl="0"/>
            <a:r>
              <a:rPr lang="en-US" dirty="0" smtClean="0"/>
              <a:t>Name            Title</a:t>
            </a:r>
            <a:endParaRPr lang="en-US" dirty="0"/>
          </a:p>
        </p:txBody>
      </p:sp>
      <p:sp>
        <p:nvSpPr>
          <p:cNvPr id="23" name="Text Placeholder 6"/>
          <p:cNvSpPr>
            <a:spLocks noGrp="1"/>
          </p:cNvSpPr>
          <p:nvPr>
            <p:ph type="body" sz="quarter" idx="13" hasCustomPrompt="1"/>
          </p:nvPr>
        </p:nvSpPr>
        <p:spPr>
          <a:xfrm>
            <a:off x="6447844" y="5890701"/>
            <a:ext cx="2170706" cy="814899"/>
          </a:xfrm>
        </p:spPr>
        <p:txBody>
          <a:bodyPr>
            <a:normAutofit/>
          </a:bodyPr>
          <a:lstStyle>
            <a:lvl1pPr marL="0" indent="0" algn="ctr">
              <a:buNone/>
              <a:defRPr sz="2400" i="1" baseline="0"/>
            </a:lvl1pPr>
          </a:lstStyle>
          <a:p>
            <a:pPr lvl="0"/>
            <a:r>
              <a:rPr lang="en-US" dirty="0" smtClean="0"/>
              <a:t>Name            Title</a:t>
            </a:r>
            <a:endParaRPr lang="en-US" dirty="0"/>
          </a:p>
        </p:txBody>
      </p:sp>
      <p:sp>
        <p:nvSpPr>
          <p:cNvPr id="24" name="Text Placeholder 6"/>
          <p:cNvSpPr>
            <a:spLocks noGrp="1"/>
          </p:cNvSpPr>
          <p:nvPr>
            <p:ph type="body" sz="quarter" idx="14" hasCustomPrompt="1"/>
          </p:nvPr>
        </p:nvSpPr>
        <p:spPr>
          <a:xfrm>
            <a:off x="9355199" y="5878826"/>
            <a:ext cx="2170706" cy="826774"/>
          </a:xfrm>
        </p:spPr>
        <p:txBody>
          <a:bodyPr>
            <a:normAutofit/>
          </a:bodyPr>
          <a:lstStyle>
            <a:lvl1pPr marL="0" indent="0" algn="ctr">
              <a:buNone/>
              <a:defRPr sz="2400" i="1" baseline="0"/>
            </a:lvl1pPr>
          </a:lstStyle>
          <a:p>
            <a:pPr lvl="0"/>
            <a:r>
              <a:rPr lang="en-US" dirty="0" smtClean="0"/>
              <a:t>Name            Title</a:t>
            </a:r>
            <a:endParaRPr lang="en-US" dirty="0"/>
          </a:p>
        </p:txBody>
      </p:sp>
      <p:sp>
        <p:nvSpPr>
          <p:cNvPr id="26" name="Picture Placeholder 25"/>
          <p:cNvSpPr>
            <a:spLocks noGrp="1"/>
          </p:cNvSpPr>
          <p:nvPr>
            <p:ph type="pic" sz="quarter" idx="15"/>
          </p:nvPr>
        </p:nvSpPr>
        <p:spPr>
          <a:xfrm>
            <a:off x="638176" y="3359010"/>
            <a:ext cx="2476500" cy="2172211"/>
          </a:xfrm>
          <a:prstGeom prst="hexagon">
            <a:avLst/>
          </a:prstGeom>
        </p:spPr>
        <p:txBody>
          <a:bodyPr/>
          <a:lstStyle/>
          <a:p>
            <a:endParaRPr lang="en-US" dirty="0"/>
          </a:p>
        </p:txBody>
      </p:sp>
      <p:sp>
        <p:nvSpPr>
          <p:cNvPr id="27" name="Picture Placeholder 25"/>
          <p:cNvSpPr>
            <a:spLocks noGrp="1"/>
          </p:cNvSpPr>
          <p:nvPr>
            <p:ph type="pic" sz="quarter" idx="16"/>
          </p:nvPr>
        </p:nvSpPr>
        <p:spPr>
          <a:xfrm>
            <a:off x="3493186" y="3366961"/>
            <a:ext cx="2476500" cy="2172211"/>
          </a:xfrm>
          <a:prstGeom prst="hexagon">
            <a:avLst/>
          </a:prstGeom>
        </p:spPr>
        <p:txBody>
          <a:bodyPr/>
          <a:lstStyle/>
          <a:p>
            <a:endParaRPr lang="en-US" dirty="0"/>
          </a:p>
        </p:txBody>
      </p:sp>
      <p:sp>
        <p:nvSpPr>
          <p:cNvPr id="28" name="Picture Placeholder 25"/>
          <p:cNvSpPr>
            <a:spLocks noGrp="1"/>
          </p:cNvSpPr>
          <p:nvPr>
            <p:ph type="pic" sz="quarter" idx="17"/>
          </p:nvPr>
        </p:nvSpPr>
        <p:spPr>
          <a:xfrm>
            <a:off x="6355070" y="3378888"/>
            <a:ext cx="2476500" cy="2172211"/>
          </a:xfrm>
          <a:prstGeom prst="hexagon">
            <a:avLst/>
          </a:prstGeom>
        </p:spPr>
        <p:txBody>
          <a:bodyPr/>
          <a:lstStyle/>
          <a:p>
            <a:endParaRPr lang="en-US" dirty="0"/>
          </a:p>
        </p:txBody>
      </p:sp>
      <p:sp>
        <p:nvSpPr>
          <p:cNvPr id="29" name="Picture Placeholder 25"/>
          <p:cNvSpPr>
            <a:spLocks noGrp="1"/>
          </p:cNvSpPr>
          <p:nvPr>
            <p:ph type="pic" sz="quarter" idx="18"/>
          </p:nvPr>
        </p:nvSpPr>
        <p:spPr>
          <a:xfrm>
            <a:off x="9197904" y="3366961"/>
            <a:ext cx="2476500" cy="2172211"/>
          </a:xfrm>
          <a:prstGeom prst="hexagon">
            <a:avLst/>
          </a:prstGeom>
        </p:spPr>
        <p:txBody>
          <a:bodyPr/>
          <a:lstStyle/>
          <a:p>
            <a:endParaRPr lang="en-US" dirty="0"/>
          </a:p>
        </p:txBody>
      </p:sp>
      <p:sp>
        <p:nvSpPr>
          <p:cNvPr id="2" name="TextBox 1"/>
          <p:cNvSpPr txBox="1"/>
          <p:nvPr userDrawn="1"/>
        </p:nvSpPr>
        <p:spPr>
          <a:xfrm>
            <a:off x="638176" y="804313"/>
            <a:ext cx="5483911" cy="923330"/>
          </a:xfrm>
          <a:prstGeom prst="rect">
            <a:avLst/>
          </a:prstGeom>
          <a:noFill/>
        </p:spPr>
        <p:txBody>
          <a:bodyPr wrap="square" rtlCol="0">
            <a:spAutoFit/>
          </a:bodyPr>
          <a:lstStyle/>
          <a:p>
            <a:r>
              <a:rPr lang="en-US" sz="5400" dirty="0" smtClean="0"/>
              <a:t>Meet our Team</a:t>
            </a:r>
            <a:endParaRPr lang="en-US" sz="5400" dirty="0"/>
          </a:p>
        </p:txBody>
      </p:sp>
      <p:sp>
        <p:nvSpPr>
          <p:cNvPr id="6" name="Text Placeholder 5"/>
          <p:cNvSpPr>
            <a:spLocks noGrp="1"/>
          </p:cNvSpPr>
          <p:nvPr>
            <p:ph type="body" sz="quarter" idx="19" hasCustomPrompt="1"/>
          </p:nvPr>
        </p:nvSpPr>
        <p:spPr>
          <a:xfrm>
            <a:off x="6248400" y="800100"/>
            <a:ext cx="5276850" cy="1695450"/>
          </a:xfrm>
        </p:spPr>
        <p:txBody>
          <a:bodyPr>
            <a:normAutofit/>
          </a:bodyPr>
          <a:lstStyle>
            <a:lvl1pPr marL="0" indent="0" algn="r">
              <a:buNone/>
              <a:defRPr sz="1800" i="1" baseline="0"/>
            </a:lvl1pPr>
          </a:lstStyle>
          <a:p>
            <a:pPr lvl="0"/>
            <a:r>
              <a:rPr lang="en-US" dirty="0" smtClean="0"/>
              <a:t>Short description of team                                                 [tip – if you need more than 4 team photos, please contact the creative strategy team for custom PowerPoint design assistance]</a:t>
            </a:r>
          </a:p>
        </p:txBody>
      </p:sp>
      <p:pic>
        <p:nvPicPr>
          <p:cNvPr id="19" name="Picture 1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38176" y="1777566"/>
            <a:ext cx="2105684" cy="947166"/>
          </a:xfrm>
          <a:prstGeom prst="rect">
            <a:avLst/>
          </a:prstGeom>
        </p:spPr>
      </p:pic>
    </p:spTree>
    <p:extLst>
      <p:ext uri="{BB962C8B-B14F-4D97-AF65-F5344CB8AC3E}">
        <p14:creationId xmlns:p14="http://schemas.microsoft.com/office/powerpoint/2010/main" val="1499188112"/>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Meet our team 2">
    <p:spTree>
      <p:nvGrpSpPr>
        <p:cNvPr id="1" name=""/>
        <p:cNvGrpSpPr/>
        <p:nvPr/>
      </p:nvGrpSpPr>
      <p:grpSpPr>
        <a:xfrm>
          <a:off x="0" y="0"/>
          <a:ext cx="0" cy="0"/>
          <a:chOff x="0" y="0"/>
          <a:chExt cx="0" cy="0"/>
        </a:xfrm>
      </p:grpSpPr>
      <p:sp>
        <p:nvSpPr>
          <p:cNvPr id="3" name="Rectangle 2"/>
          <p:cNvSpPr/>
          <p:nvPr userDrawn="1"/>
        </p:nvSpPr>
        <p:spPr>
          <a:xfrm>
            <a:off x="0" y="4786685"/>
            <a:ext cx="12192000" cy="2071315"/>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Oval 4"/>
          <p:cNvSpPr/>
          <p:nvPr/>
        </p:nvSpPr>
        <p:spPr>
          <a:xfrm>
            <a:off x="680177" y="532743"/>
            <a:ext cx="2286000" cy="2286000"/>
          </a:xfrm>
          <a:prstGeom prst="ellipse">
            <a:avLst/>
          </a:prstGeom>
          <a:solidFill>
            <a:schemeClr val="accent6">
              <a:lumMod val="50000"/>
            </a:schemeClr>
          </a:solid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Oval 7"/>
          <p:cNvSpPr/>
          <p:nvPr/>
        </p:nvSpPr>
        <p:spPr>
          <a:xfrm>
            <a:off x="3535187" y="540694"/>
            <a:ext cx="2286000" cy="2286000"/>
          </a:xfrm>
          <a:prstGeom prst="ellipse">
            <a:avLst/>
          </a:prstGeom>
          <a:solidFill>
            <a:schemeClr val="accent6">
              <a:lumMod val="50000"/>
            </a:schemeClr>
          </a:solid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Oval 10"/>
          <p:cNvSpPr/>
          <p:nvPr/>
        </p:nvSpPr>
        <p:spPr>
          <a:xfrm>
            <a:off x="6390197" y="530753"/>
            <a:ext cx="2286000" cy="2286000"/>
          </a:xfrm>
          <a:prstGeom prst="ellipse">
            <a:avLst/>
          </a:prstGeom>
          <a:solidFill>
            <a:schemeClr val="accent6">
              <a:lumMod val="50000"/>
            </a:schemeClr>
          </a:solid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Oval 13"/>
          <p:cNvSpPr/>
          <p:nvPr/>
        </p:nvSpPr>
        <p:spPr>
          <a:xfrm>
            <a:off x="9239905" y="528767"/>
            <a:ext cx="2286000" cy="2286000"/>
          </a:xfrm>
          <a:prstGeom prst="ellipse">
            <a:avLst/>
          </a:prstGeom>
          <a:solidFill>
            <a:schemeClr val="accent6">
              <a:lumMod val="50000"/>
            </a:schemeClr>
          </a:solid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ectangle 19"/>
          <p:cNvSpPr/>
          <p:nvPr userDrawn="1"/>
        </p:nvSpPr>
        <p:spPr>
          <a:xfrm>
            <a:off x="4076369" y="4333875"/>
            <a:ext cx="4039262" cy="1825439"/>
          </a:xfrm>
          <a:prstGeom prst="rect">
            <a:avLst/>
          </a:prstGeom>
          <a:noFill/>
          <a:ln w="57150">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600" b="1" dirty="0" smtClean="0">
                <a:solidFill>
                  <a:schemeClr val="accent6">
                    <a:lumMod val="50000"/>
                  </a:schemeClr>
                </a:solidFill>
                <a:latin typeface="Arial Unicode MS" panose="020B0604020202020204" pitchFamily="34" charset="-128"/>
                <a:ea typeface="Arial Unicode MS" panose="020B0604020202020204" pitchFamily="34" charset="-128"/>
                <a:cs typeface="Arial Unicode MS" panose="020B0604020202020204" pitchFamily="34" charset="-128"/>
              </a:rPr>
              <a:t>Our Team</a:t>
            </a:r>
          </a:p>
        </p:txBody>
      </p:sp>
      <p:sp>
        <p:nvSpPr>
          <p:cNvPr id="21" name="Text Placeholder 6"/>
          <p:cNvSpPr>
            <a:spLocks noGrp="1"/>
          </p:cNvSpPr>
          <p:nvPr>
            <p:ph type="body" sz="quarter" idx="11" hasCustomPrompt="1"/>
          </p:nvPr>
        </p:nvSpPr>
        <p:spPr>
          <a:xfrm>
            <a:off x="737824" y="3095997"/>
            <a:ext cx="2170706" cy="828303"/>
          </a:xfrm>
        </p:spPr>
        <p:txBody>
          <a:bodyPr>
            <a:normAutofit/>
          </a:bodyPr>
          <a:lstStyle>
            <a:lvl1pPr marL="0" indent="0" algn="ctr">
              <a:buNone/>
              <a:defRPr sz="2400" i="1" baseline="0"/>
            </a:lvl1pPr>
          </a:lstStyle>
          <a:p>
            <a:pPr lvl="0"/>
            <a:r>
              <a:rPr lang="en-US" dirty="0" smtClean="0"/>
              <a:t>Name            Title</a:t>
            </a:r>
            <a:endParaRPr lang="en-US" dirty="0"/>
          </a:p>
        </p:txBody>
      </p:sp>
      <p:sp>
        <p:nvSpPr>
          <p:cNvPr id="22" name="Text Placeholder 6"/>
          <p:cNvSpPr>
            <a:spLocks noGrp="1"/>
          </p:cNvSpPr>
          <p:nvPr>
            <p:ph type="body" sz="quarter" idx="12" hasCustomPrompt="1"/>
          </p:nvPr>
        </p:nvSpPr>
        <p:spPr>
          <a:xfrm>
            <a:off x="3621657" y="3095997"/>
            <a:ext cx="2170706" cy="828303"/>
          </a:xfrm>
        </p:spPr>
        <p:txBody>
          <a:bodyPr>
            <a:normAutofit/>
          </a:bodyPr>
          <a:lstStyle>
            <a:lvl1pPr marL="0" indent="0" algn="ctr">
              <a:buNone/>
              <a:defRPr sz="2400" i="1" baseline="0"/>
            </a:lvl1pPr>
          </a:lstStyle>
          <a:p>
            <a:pPr lvl="0"/>
            <a:r>
              <a:rPr lang="en-US" dirty="0" smtClean="0"/>
              <a:t>Name            Title</a:t>
            </a:r>
            <a:endParaRPr lang="en-US" dirty="0"/>
          </a:p>
        </p:txBody>
      </p:sp>
      <p:sp>
        <p:nvSpPr>
          <p:cNvPr id="23" name="Text Placeholder 6"/>
          <p:cNvSpPr>
            <a:spLocks noGrp="1"/>
          </p:cNvSpPr>
          <p:nvPr>
            <p:ph type="body" sz="quarter" idx="13" hasCustomPrompt="1"/>
          </p:nvPr>
        </p:nvSpPr>
        <p:spPr>
          <a:xfrm>
            <a:off x="6447844" y="3109401"/>
            <a:ext cx="2170706" cy="814899"/>
          </a:xfrm>
        </p:spPr>
        <p:txBody>
          <a:bodyPr>
            <a:normAutofit/>
          </a:bodyPr>
          <a:lstStyle>
            <a:lvl1pPr marL="0" indent="0" algn="ctr">
              <a:buNone/>
              <a:defRPr sz="2400" i="1" baseline="0"/>
            </a:lvl1pPr>
          </a:lstStyle>
          <a:p>
            <a:pPr lvl="0"/>
            <a:r>
              <a:rPr lang="en-US" dirty="0" smtClean="0"/>
              <a:t>Name           Title</a:t>
            </a:r>
            <a:endParaRPr lang="en-US" dirty="0"/>
          </a:p>
        </p:txBody>
      </p:sp>
      <p:sp>
        <p:nvSpPr>
          <p:cNvPr id="24" name="Text Placeholder 6"/>
          <p:cNvSpPr>
            <a:spLocks noGrp="1"/>
          </p:cNvSpPr>
          <p:nvPr>
            <p:ph type="body" sz="quarter" idx="14" hasCustomPrompt="1"/>
          </p:nvPr>
        </p:nvSpPr>
        <p:spPr>
          <a:xfrm>
            <a:off x="9355199" y="3097526"/>
            <a:ext cx="2170706" cy="826774"/>
          </a:xfrm>
        </p:spPr>
        <p:txBody>
          <a:bodyPr>
            <a:normAutofit/>
          </a:bodyPr>
          <a:lstStyle>
            <a:lvl1pPr marL="0" indent="0" algn="ctr">
              <a:buNone/>
              <a:defRPr sz="2400" i="1" baseline="0"/>
            </a:lvl1pPr>
          </a:lstStyle>
          <a:p>
            <a:pPr lvl="0"/>
            <a:r>
              <a:rPr lang="en-US" dirty="0" smtClean="0"/>
              <a:t>Name           Title</a:t>
            </a:r>
            <a:endParaRPr lang="en-US" dirty="0"/>
          </a:p>
        </p:txBody>
      </p:sp>
      <p:sp>
        <p:nvSpPr>
          <p:cNvPr id="26" name="Picture Placeholder 25"/>
          <p:cNvSpPr>
            <a:spLocks noGrp="1"/>
          </p:cNvSpPr>
          <p:nvPr>
            <p:ph type="pic" sz="quarter" idx="15"/>
          </p:nvPr>
        </p:nvSpPr>
        <p:spPr>
          <a:xfrm>
            <a:off x="737824" y="577710"/>
            <a:ext cx="2170706" cy="2172211"/>
          </a:xfrm>
          <a:prstGeom prst="ellipse">
            <a:avLst/>
          </a:prstGeom>
        </p:spPr>
        <p:txBody>
          <a:bodyPr/>
          <a:lstStyle/>
          <a:p>
            <a:endParaRPr lang="en-US" dirty="0"/>
          </a:p>
        </p:txBody>
      </p:sp>
      <p:sp>
        <p:nvSpPr>
          <p:cNvPr id="27" name="Picture Placeholder 25"/>
          <p:cNvSpPr>
            <a:spLocks noGrp="1"/>
          </p:cNvSpPr>
          <p:nvPr>
            <p:ph type="pic" sz="quarter" idx="16"/>
          </p:nvPr>
        </p:nvSpPr>
        <p:spPr>
          <a:xfrm>
            <a:off x="3592834" y="585661"/>
            <a:ext cx="2170706" cy="2172211"/>
          </a:xfrm>
          <a:prstGeom prst="ellipse">
            <a:avLst/>
          </a:prstGeom>
        </p:spPr>
        <p:txBody>
          <a:bodyPr/>
          <a:lstStyle/>
          <a:p>
            <a:endParaRPr lang="en-US" dirty="0"/>
          </a:p>
        </p:txBody>
      </p:sp>
      <p:sp>
        <p:nvSpPr>
          <p:cNvPr id="28" name="Picture Placeholder 25"/>
          <p:cNvSpPr>
            <a:spLocks noGrp="1"/>
          </p:cNvSpPr>
          <p:nvPr>
            <p:ph type="pic" sz="quarter" idx="17"/>
          </p:nvPr>
        </p:nvSpPr>
        <p:spPr>
          <a:xfrm>
            <a:off x="6454718" y="597588"/>
            <a:ext cx="2170706" cy="2172211"/>
          </a:xfrm>
          <a:prstGeom prst="ellipse">
            <a:avLst/>
          </a:prstGeom>
        </p:spPr>
        <p:txBody>
          <a:bodyPr/>
          <a:lstStyle/>
          <a:p>
            <a:endParaRPr lang="en-US" dirty="0"/>
          </a:p>
        </p:txBody>
      </p:sp>
      <p:sp>
        <p:nvSpPr>
          <p:cNvPr id="29" name="Picture Placeholder 25"/>
          <p:cNvSpPr>
            <a:spLocks noGrp="1"/>
          </p:cNvSpPr>
          <p:nvPr>
            <p:ph type="pic" sz="quarter" idx="18"/>
          </p:nvPr>
        </p:nvSpPr>
        <p:spPr>
          <a:xfrm>
            <a:off x="9297552" y="585661"/>
            <a:ext cx="2170706" cy="2172211"/>
          </a:xfrm>
          <a:prstGeom prst="ellipse">
            <a:avLst/>
          </a:prstGeom>
        </p:spPr>
        <p:txBody>
          <a:bodyPr/>
          <a:lstStyle/>
          <a:p>
            <a:endParaRPr lang="en-US" dirty="0"/>
          </a:p>
        </p:txBody>
      </p:sp>
      <p:pic>
        <p:nvPicPr>
          <p:cNvPr id="30" name="Picture 2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800567" y="5762626"/>
            <a:ext cx="2105684" cy="947166"/>
          </a:xfrm>
          <a:prstGeom prst="rect">
            <a:avLst/>
          </a:prstGeom>
        </p:spPr>
      </p:pic>
    </p:spTree>
    <p:extLst>
      <p:ext uri="{BB962C8B-B14F-4D97-AF65-F5344CB8AC3E}">
        <p14:creationId xmlns:p14="http://schemas.microsoft.com/office/powerpoint/2010/main" val="2029938928"/>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1 gray">
    <p:spTree>
      <p:nvGrpSpPr>
        <p:cNvPr id="1" name=""/>
        <p:cNvGrpSpPr/>
        <p:nvPr/>
      </p:nvGrpSpPr>
      <p:grpSpPr>
        <a:xfrm>
          <a:off x="0" y="0"/>
          <a:ext cx="0" cy="0"/>
          <a:chOff x="0" y="0"/>
          <a:chExt cx="0" cy="0"/>
        </a:xfrm>
      </p:grpSpPr>
      <p:sp>
        <p:nvSpPr>
          <p:cNvPr id="7" name="Rectangle 6"/>
          <p:cNvSpPr/>
          <p:nvPr userDrawn="1"/>
        </p:nvSpPr>
        <p:spPr>
          <a:xfrm>
            <a:off x="0" y="0"/>
            <a:ext cx="6105525" cy="6858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ext Placeholder 8"/>
          <p:cNvSpPr>
            <a:spLocks noGrp="1"/>
          </p:cNvSpPr>
          <p:nvPr>
            <p:ph type="body" sz="quarter" idx="10" hasCustomPrompt="1"/>
          </p:nvPr>
        </p:nvSpPr>
        <p:spPr>
          <a:xfrm>
            <a:off x="6800850" y="1288869"/>
            <a:ext cx="4772025" cy="3225982"/>
          </a:xfrm>
        </p:spPr>
        <p:txBody>
          <a:bodyPr/>
          <a:lstStyle>
            <a:lvl1pPr marL="0" indent="0">
              <a:buNone/>
              <a:defRPr baseline="0"/>
            </a:lvl1pPr>
          </a:lstStyle>
          <a:p>
            <a:pPr lvl="0"/>
            <a:r>
              <a:rPr lang="en-US" dirty="0" smtClean="0"/>
              <a:t>Add content                              [tip – use a short title and bullet points with 1-2 words each to make the slide most readable.  Add a simple photo in the placeholder to the left]</a:t>
            </a:r>
            <a:endParaRPr lang="en-US" dirty="0"/>
          </a:p>
        </p:txBody>
      </p:sp>
      <p:sp>
        <p:nvSpPr>
          <p:cNvPr id="10" name="Rectangle 9"/>
          <p:cNvSpPr/>
          <p:nvPr userDrawn="1"/>
        </p:nvSpPr>
        <p:spPr>
          <a:xfrm>
            <a:off x="723901" y="5324476"/>
            <a:ext cx="8362950" cy="1238250"/>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ext Placeholder 11"/>
          <p:cNvSpPr>
            <a:spLocks noGrp="1"/>
          </p:cNvSpPr>
          <p:nvPr>
            <p:ph type="body" sz="quarter" idx="11" hasCustomPrompt="1"/>
          </p:nvPr>
        </p:nvSpPr>
        <p:spPr>
          <a:xfrm>
            <a:off x="1209675" y="5581650"/>
            <a:ext cx="7600950" cy="781050"/>
          </a:xfrm>
        </p:spPr>
        <p:txBody>
          <a:bodyPr>
            <a:noAutofit/>
          </a:bodyPr>
          <a:lstStyle>
            <a:lvl1pPr marL="0" indent="0" algn="ctr">
              <a:buNone/>
              <a:defRPr sz="6000" b="0">
                <a:solidFill>
                  <a:schemeClr val="bg1"/>
                </a:solidFill>
              </a:defRPr>
            </a:lvl1pPr>
          </a:lstStyle>
          <a:p>
            <a:pPr lvl="0"/>
            <a:r>
              <a:rPr lang="en-US" dirty="0" smtClean="0"/>
              <a:t>Title or Keywords</a:t>
            </a:r>
            <a:endParaRPr lang="en-US" dirty="0"/>
          </a:p>
        </p:txBody>
      </p:sp>
      <p:sp>
        <p:nvSpPr>
          <p:cNvPr id="14" name="Picture Placeholder 13"/>
          <p:cNvSpPr>
            <a:spLocks noGrp="1"/>
          </p:cNvSpPr>
          <p:nvPr>
            <p:ph type="pic" sz="quarter" idx="12"/>
          </p:nvPr>
        </p:nvSpPr>
        <p:spPr>
          <a:xfrm>
            <a:off x="723901" y="742950"/>
            <a:ext cx="4657724" cy="3771900"/>
          </a:xfrm>
        </p:spPr>
        <p:txBody>
          <a:bodyPr/>
          <a:lstStyle/>
          <a:p>
            <a:endParaRPr lang="en-US" dirty="0"/>
          </a:p>
        </p:txBody>
      </p:sp>
    </p:spTree>
    <p:extLst>
      <p:ext uri="{BB962C8B-B14F-4D97-AF65-F5344CB8AC3E}">
        <p14:creationId xmlns:p14="http://schemas.microsoft.com/office/powerpoint/2010/main" val="1817000782"/>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650589650"/>
      </p:ext>
    </p:extLst>
  </p:cSld>
  <p:clrMap bg1="lt1" tx1="dk1" bg2="lt2" tx2="dk2" accent1="accent1" accent2="accent2" accent3="accent3" accent4="accent4" accent5="accent5" accent6="accent6" hlink="hlink" folHlink="folHlink"/>
  <p:sldLayoutIdLst>
    <p:sldLayoutId id="2147483687" r:id="rId1"/>
    <p:sldLayoutId id="2147483686" r:id="rId2"/>
    <p:sldLayoutId id="2147483671" r:id="rId3"/>
    <p:sldLayoutId id="2147483675" r:id="rId4"/>
    <p:sldLayoutId id="2147483674" r:id="rId5"/>
    <p:sldLayoutId id="2147483676" r:id="rId6"/>
    <p:sldLayoutId id="2147483673" r:id="rId7"/>
    <p:sldLayoutId id="2147483672" r:id="rId8"/>
    <p:sldLayoutId id="2147483649" r:id="rId9"/>
    <p:sldLayoutId id="2147483667" r:id="rId10"/>
    <p:sldLayoutId id="2147483668" r:id="rId11"/>
    <p:sldLayoutId id="2147483664" r:id="rId12"/>
    <p:sldLayoutId id="2147483669" r:id="rId13"/>
    <p:sldLayoutId id="2147483670" r:id="rId14"/>
    <p:sldLayoutId id="2147483692" r:id="rId15"/>
    <p:sldLayoutId id="2147483691" r:id="rId16"/>
    <p:sldLayoutId id="2147483693" r:id="rId17"/>
    <p:sldLayoutId id="2147483665" r:id="rId18"/>
    <p:sldLayoutId id="2147483666" r:id="rId19"/>
    <p:sldLayoutId id="2147483678" r:id="rId20"/>
    <p:sldLayoutId id="2147483658" r:id="rId21"/>
    <p:sldLayoutId id="2147483659" r:id="rId22"/>
    <p:sldLayoutId id="2147483655" r:id="rId23"/>
    <p:sldLayoutId id="2147483683" r:id="rId24"/>
    <p:sldLayoutId id="2147483684" r:id="rId25"/>
    <p:sldLayoutId id="2147483656" r:id="rId26"/>
    <p:sldLayoutId id="2147483657" r:id="rId27"/>
    <p:sldLayoutId id="2147483677" r:id="rId28"/>
    <p:sldLayoutId id="2147483681" r:id="rId29"/>
    <p:sldLayoutId id="2147483682" r:id="rId30"/>
    <p:sldLayoutId id="2147483663" r:id="rId31"/>
    <p:sldLayoutId id="2147483661" r:id="rId32"/>
    <p:sldLayoutId id="2147483662" r:id="rId33"/>
    <p:sldLayoutId id="2147483679" r:id="rId34"/>
    <p:sldLayoutId id="2147483685" r:id="rId35"/>
    <p:sldLayoutId id="2147483680" r:id="rId36"/>
    <p:sldLayoutId id="2147483688" r:id="rId37"/>
    <p:sldLayoutId id="2147483689" r:id="rId38"/>
    <p:sldLayoutId id="2147483694" r:id="rId39"/>
    <p:sldLayoutId id="2147483695" r:id="rId40"/>
    <p:sldLayoutId id="2147483690" r:id="rId41"/>
    <p:sldLayoutId id="2147483696" r:id="rId42"/>
    <p:sldLayoutId id="2147483697" r:id="rId43"/>
    <p:sldLayoutId id="2147483698" r:id="rId44"/>
  </p:sldLayoutIdLst>
  <p:transition>
    <p:fade/>
  </p:transition>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2.xml"/></Relationships>
</file>

<file path=ppt/slides/_rels/slide11.xml.rels><?xml version="1.0" encoding="UTF-8" standalone="yes"?>
<Relationships xmlns="http://schemas.openxmlformats.org/package/2006/relationships"><Relationship Id="rId3" Type="http://schemas.microsoft.com/office/2007/relationships/hdphoto" Target="../media/hdphoto7.wdp"/><Relationship Id="rId2" Type="http://schemas.openxmlformats.org/officeDocument/2006/relationships/image" Target="../media/image38.png"/><Relationship Id="rId1" Type="http://schemas.openxmlformats.org/officeDocument/2006/relationships/slideLayout" Target="../slideLayouts/slideLayout11.xml"/><Relationship Id="rId5" Type="http://schemas.microsoft.com/office/2007/relationships/hdphoto" Target="../media/hdphoto8.wdp"/><Relationship Id="rId4" Type="http://schemas.openxmlformats.org/officeDocument/2006/relationships/image" Target="../media/image39.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3" Type="http://schemas.microsoft.com/office/2007/relationships/hdphoto" Target="../media/hdphoto9.wdp"/><Relationship Id="rId2" Type="http://schemas.openxmlformats.org/officeDocument/2006/relationships/image" Target="../media/image40.png"/><Relationship Id="rId1" Type="http://schemas.openxmlformats.org/officeDocument/2006/relationships/slideLayout" Target="../slideLayouts/slideLayout11.xml"/><Relationship Id="rId5" Type="http://schemas.microsoft.com/office/2007/relationships/hdphoto" Target="../media/hdphoto10.wdp"/><Relationship Id="rId4" Type="http://schemas.openxmlformats.org/officeDocument/2006/relationships/image" Target="../media/image41.png"/></Relationships>
</file>

<file path=ppt/slides/_rels/slide1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9.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5.xml.rels><?xml version="1.0" encoding="UTF-8" standalone="yes"?>
<Relationships xmlns="http://schemas.openxmlformats.org/package/2006/relationships"><Relationship Id="rId3" Type="http://schemas.microsoft.com/office/2007/relationships/hdphoto" Target="../media/hdphoto11.wdp"/><Relationship Id="rId7" Type="http://schemas.microsoft.com/office/2007/relationships/hdphoto" Target="../media/hdphoto13.wdp"/><Relationship Id="rId2" Type="http://schemas.openxmlformats.org/officeDocument/2006/relationships/image" Target="../media/image42.png"/><Relationship Id="rId1" Type="http://schemas.openxmlformats.org/officeDocument/2006/relationships/slideLayout" Target="../slideLayouts/slideLayout11.xml"/><Relationship Id="rId6" Type="http://schemas.openxmlformats.org/officeDocument/2006/relationships/image" Target="../media/image44.png"/><Relationship Id="rId5" Type="http://schemas.microsoft.com/office/2007/relationships/hdphoto" Target="../media/hdphoto12.wdp"/><Relationship Id="rId4" Type="http://schemas.openxmlformats.org/officeDocument/2006/relationships/image" Target="../media/image43.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3" Type="http://schemas.microsoft.com/office/2007/relationships/hdphoto" Target="../media/hdphoto14.wdp"/><Relationship Id="rId7" Type="http://schemas.microsoft.com/office/2007/relationships/hdphoto" Target="../media/hdphoto16.wdp"/><Relationship Id="rId2" Type="http://schemas.openxmlformats.org/officeDocument/2006/relationships/image" Target="../media/image45.png"/><Relationship Id="rId1" Type="http://schemas.openxmlformats.org/officeDocument/2006/relationships/slideLayout" Target="../slideLayouts/slideLayout43.xml"/><Relationship Id="rId6" Type="http://schemas.openxmlformats.org/officeDocument/2006/relationships/image" Target="../media/image47.png"/><Relationship Id="rId5" Type="http://schemas.microsoft.com/office/2007/relationships/hdphoto" Target="../media/hdphoto15.wdp"/><Relationship Id="rId4" Type="http://schemas.openxmlformats.org/officeDocument/2006/relationships/image" Target="../media/image46.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xml"/><Relationship Id="rId1" Type="http://schemas.openxmlformats.org/officeDocument/2006/relationships/slideLayout" Target="../slideLayouts/slideLayout27.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2.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6.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24.xml.rels><?xml version="1.0" encoding="UTF-8" standalone="yes"?>
<Relationships xmlns="http://schemas.openxmlformats.org/package/2006/relationships"><Relationship Id="rId3" Type="http://schemas.openxmlformats.org/officeDocument/2006/relationships/diagramLayout" Target="../diagrams/layout3.xml"/><Relationship Id="rId7" Type="http://schemas.openxmlformats.org/officeDocument/2006/relationships/image" Target="../media/image49.emf"/><Relationship Id="rId2" Type="http://schemas.openxmlformats.org/officeDocument/2006/relationships/diagramData" Target="../diagrams/data3.xml"/><Relationship Id="rId1" Type="http://schemas.openxmlformats.org/officeDocument/2006/relationships/slideLayout" Target="../slideLayouts/slideLayout9.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26.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9.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27.xml.rels><?xml version="1.0" encoding="UTF-8" standalone="yes"?>
<Relationships xmlns="http://schemas.openxmlformats.org/package/2006/relationships"><Relationship Id="rId3" Type="http://schemas.microsoft.com/office/2007/relationships/hdphoto" Target="../media/hdphoto17.wdp"/><Relationship Id="rId2" Type="http://schemas.openxmlformats.org/officeDocument/2006/relationships/image" Target="../media/image50.png"/><Relationship Id="rId1" Type="http://schemas.openxmlformats.org/officeDocument/2006/relationships/slideLayout" Target="../slideLayouts/slideLayout32.xml"/><Relationship Id="rId5" Type="http://schemas.microsoft.com/office/2007/relationships/hdphoto" Target="../media/hdphoto18.wdp"/><Relationship Id="rId4" Type="http://schemas.openxmlformats.org/officeDocument/2006/relationships/image" Target="../media/image51.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6.xml.rels><?xml version="1.0" encoding="UTF-8" standalone="yes"?>
<Relationships xmlns="http://schemas.openxmlformats.org/package/2006/relationships"><Relationship Id="rId3" Type="http://schemas.microsoft.com/office/2007/relationships/hdphoto" Target="../media/hdphoto4.wdp"/><Relationship Id="rId7" Type="http://schemas.microsoft.com/office/2007/relationships/hdphoto" Target="../media/hdphoto6.wdp"/><Relationship Id="rId2" Type="http://schemas.openxmlformats.org/officeDocument/2006/relationships/image" Target="../media/image33.png"/><Relationship Id="rId1" Type="http://schemas.openxmlformats.org/officeDocument/2006/relationships/slideLayout" Target="../slideLayouts/slideLayout11.xml"/><Relationship Id="rId6" Type="http://schemas.openxmlformats.org/officeDocument/2006/relationships/image" Target="../media/image35.png"/><Relationship Id="rId5" Type="http://schemas.microsoft.com/office/2007/relationships/hdphoto" Target="../media/hdphoto5.wdp"/><Relationship Id="rId4" Type="http://schemas.openxmlformats.org/officeDocument/2006/relationships/image" Target="../media/image34.png"/></Relationships>
</file>

<file path=ppt/slides/_rels/slide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5361"/>
        </a:solidFill>
        <a:effectLst/>
      </p:bgPr>
    </p:bg>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smtClean="0"/>
              <a:t>2021 Year- End Evaluation Report</a:t>
            </a:r>
          </a:p>
          <a:p>
            <a:r>
              <a:rPr lang="en-US" dirty="0" smtClean="0"/>
              <a:t>United Methodist Communications</a:t>
            </a:r>
            <a:endParaRPr lang="en-US" dirty="0"/>
          </a:p>
        </p:txBody>
      </p:sp>
    </p:spTree>
    <p:extLst>
      <p:ext uri="{BB962C8B-B14F-4D97-AF65-F5344CB8AC3E}">
        <p14:creationId xmlns:p14="http://schemas.microsoft.com/office/powerpoint/2010/main" val="533115832"/>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5400" dirty="0" smtClean="0">
                <a:solidFill>
                  <a:srgbClr val="8C0B23"/>
                </a:solidFill>
                <a:latin typeface="+mn-lt"/>
              </a:rPr>
              <a:t>Local Church Services Marketing</a:t>
            </a:r>
            <a:endParaRPr lang="en-US" sz="5400" dirty="0">
              <a:solidFill>
                <a:srgbClr val="8C0B23"/>
              </a:solidFill>
              <a:latin typeface="+mn-lt"/>
            </a:endParaRPr>
          </a:p>
        </p:txBody>
      </p:sp>
      <p:graphicFrame>
        <p:nvGraphicFramePr>
          <p:cNvPr id="8" name="Content Placeholder 3"/>
          <p:cNvGraphicFramePr>
            <a:graphicFrameLocks/>
          </p:cNvGraphicFramePr>
          <p:nvPr>
            <p:extLst>
              <p:ext uri="{D42A27DB-BD31-4B8C-83A1-F6EECF244321}">
                <p14:modId xmlns:p14="http://schemas.microsoft.com/office/powerpoint/2010/main" val="1406703547"/>
              </p:ext>
            </p:extLst>
          </p:nvPr>
        </p:nvGraphicFramePr>
        <p:xfrm>
          <a:off x="1310641" y="1494745"/>
          <a:ext cx="8937266" cy="5054565"/>
        </p:xfrm>
        <a:graphic>
          <a:graphicData uri="http://schemas.openxmlformats.org/drawingml/2006/table">
            <a:tbl>
              <a:tblPr firstRow="1" bandRow="1">
                <a:tableStyleId>{5C22544A-7EE6-4342-B048-85BDC9FD1C3A}</a:tableStyleId>
              </a:tblPr>
              <a:tblGrid>
                <a:gridCol w="6591194">
                  <a:extLst>
                    <a:ext uri="{9D8B030D-6E8A-4147-A177-3AD203B41FA5}">
                      <a16:colId xmlns:a16="http://schemas.microsoft.com/office/drawing/2014/main" val="3588829992"/>
                    </a:ext>
                  </a:extLst>
                </a:gridCol>
                <a:gridCol w="2346072">
                  <a:extLst>
                    <a:ext uri="{9D8B030D-6E8A-4147-A177-3AD203B41FA5}">
                      <a16:colId xmlns:a16="http://schemas.microsoft.com/office/drawing/2014/main" val="3479672976"/>
                    </a:ext>
                  </a:extLst>
                </a:gridCol>
              </a:tblGrid>
              <a:tr h="363268">
                <a:tc>
                  <a:txBody>
                    <a:bodyPr/>
                    <a:lstStyle/>
                    <a:p>
                      <a:r>
                        <a:rPr lang="en-US" sz="1800" dirty="0" smtClean="0"/>
                        <a:t>Grants and Services</a:t>
                      </a:r>
                      <a:r>
                        <a:rPr lang="en-US" sz="1800" baseline="0" dirty="0" smtClean="0"/>
                        <a:t> Offered</a:t>
                      </a:r>
                      <a:endParaRPr lang="en-US" sz="1800" dirty="0"/>
                    </a:p>
                  </a:txBody>
                  <a:tcPr>
                    <a:solidFill>
                      <a:srgbClr val="8C0B23"/>
                    </a:solidFill>
                  </a:tcPr>
                </a:tc>
                <a:tc>
                  <a:txBody>
                    <a:bodyPr/>
                    <a:lstStyle/>
                    <a:p>
                      <a:pPr algn="ctr"/>
                      <a:r>
                        <a:rPr lang="en-US" sz="1800" dirty="0" smtClean="0"/>
                        <a:t>Jan-Dec</a:t>
                      </a:r>
                    </a:p>
                  </a:txBody>
                  <a:tcPr>
                    <a:solidFill>
                      <a:srgbClr val="8C0B23"/>
                    </a:solidFill>
                  </a:tcPr>
                </a:tc>
                <a:extLst>
                  <a:ext uri="{0D108BD9-81ED-4DB2-BD59-A6C34878D82A}">
                    <a16:rowId xmlns:a16="http://schemas.microsoft.com/office/drawing/2014/main" val="921331109"/>
                  </a:ext>
                </a:extLst>
              </a:tr>
              <a:tr h="333819">
                <a:tc>
                  <a:txBody>
                    <a:bodyPr/>
                    <a:lstStyle/>
                    <a:p>
                      <a:r>
                        <a:rPr lang="en-US" sz="1800" dirty="0" smtClean="0">
                          <a:solidFill>
                            <a:schemeClr val="tx1"/>
                          </a:solidFill>
                        </a:rPr>
                        <a:t>ZOOM Grants + Licenses</a:t>
                      </a:r>
                      <a:endParaRPr lang="en-US" sz="1800" dirty="0">
                        <a:solidFill>
                          <a:schemeClr val="tx1"/>
                        </a:solidFill>
                      </a:endParaRPr>
                    </a:p>
                  </a:txBody>
                  <a:tcPr>
                    <a:solidFill>
                      <a:srgbClr val="8C0B23">
                        <a:alpha val="24000"/>
                      </a:srgbClr>
                    </a:solidFill>
                  </a:tcPr>
                </a:tc>
                <a:tc>
                  <a:txBody>
                    <a:bodyPr/>
                    <a:lstStyle/>
                    <a:p>
                      <a:pPr algn="ctr"/>
                      <a:r>
                        <a:rPr lang="en-US" sz="1800" b="0" dirty="0" smtClean="0">
                          <a:solidFill>
                            <a:schemeClr val="tx1"/>
                          </a:solidFill>
                        </a:rPr>
                        <a:t>428+</a:t>
                      </a:r>
                    </a:p>
                  </a:txBody>
                  <a:tcPr>
                    <a:solidFill>
                      <a:srgbClr val="8C0B23">
                        <a:alpha val="24000"/>
                      </a:srgbClr>
                    </a:solidFill>
                  </a:tcPr>
                </a:tc>
                <a:extLst>
                  <a:ext uri="{0D108BD9-81ED-4DB2-BD59-A6C34878D82A}">
                    <a16:rowId xmlns:a16="http://schemas.microsoft.com/office/drawing/2014/main" val="3279019576"/>
                  </a:ext>
                </a:extLst>
              </a:tr>
              <a:tr h="344263">
                <a:tc>
                  <a:txBody>
                    <a:bodyPr/>
                    <a:lstStyle/>
                    <a:p>
                      <a:r>
                        <a:rPr lang="en-US" sz="1800" dirty="0" smtClean="0">
                          <a:solidFill>
                            <a:schemeClr val="tx1"/>
                          </a:solidFill>
                        </a:rPr>
                        <a:t>Easter, Fall and Advent Customized Promotional</a:t>
                      </a:r>
                      <a:r>
                        <a:rPr lang="en-US" sz="1800" baseline="0" dirty="0" smtClean="0">
                          <a:solidFill>
                            <a:schemeClr val="tx1"/>
                          </a:solidFill>
                        </a:rPr>
                        <a:t> </a:t>
                      </a:r>
                      <a:r>
                        <a:rPr lang="en-US" sz="1800" dirty="0" smtClean="0">
                          <a:solidFill>
                            <a:schemeClr val="tx1"/>
                          </a:solidFill>
                        </a:rPr>
                        <a:t>Resources</a:t>
                      </a:r>
                      <a:endParaRPr lang="en-US" sz="1800" dirty="0">
                        <a:solidFill>
                          <a:schemeClr val="tx1"/>
                        </a:solidFill>
                      </a:endParaRPr>
                    </a:p>
                  </a:txBody>
                  <a:tcPr>
                    <a:solidFill>
                      <a:srgbClr val="8C0B23">
                        <a:alpha val="41000"/>
                      </a:srgbClr>
                    </a:solidFill>
                  </a:tcPr>
                </a:tc>
                <a:tc>
                  <a:txBody>
                    <a:bodyPr/>
                    <a:lstStyle/>
                    <a:p>
                      <a:pPr algn="ctr"/>
                      <a:r>
                        <a:rPr lang="en-US" sz="1800" b="0" dirty="0" smtClean="0">
                          <a:solidFill>
                            <a:schemeClr val="tx1"/>
                          </a:solidFill>
                        </a:rPr>
                        <a:t>1,143</a:t>
                      </a:r>
                    </a:p>
                  </a:txBody>
                  <a:tcPr>
                    <a:solidFill>
                      <a:srgbClr val="8C0B23">
                        <a:alpha val="41000"/>
                      </a:srgbClr>
                    </a:solidFill>
                  </a:tcPr>
                </a:tc>
                <a:extLst>
                  <a:ext uri="{0D108BD9-81ED-4DB2-BD59-A6C34878D82A}">
                    <a16:rowId xmlns:a16="http://schemas.microsoft.com/office/drawing/2014/main" val="3111415147"/>
                  </a:ext>
                </a:extLst>
              </a:tr>
              <a:tr h="333819">
                <a:tc>
                  <a:txBody>
                    <a:bodyPr/>
                    <a:lstStyle/>
                    <a:p>
                      <a:r>
                        <a:rPr lang="en-US" sz="1800" dirty="0" smtClean="0">
                          <a:solidFill>
                            <a:schemeClr val="tx1"/>
                          </a:solidFill>
                        </a:rPr>
                        <a:t>MissionInsite Reports</a:t>
                      </a:r>
                      <a:endParaRPr lang="en-US" sz="1800" dirty="0">
                        <a:solidFill>
                          <a:schemeClr val="tx1"/>
                        </a:solidFill>
                      </a:endParaRPr>
                    </a:p>
                  </a:txBody>
                  <a:tcPr>
                    <a:solidFill>
                      <a:srgbClr val="8C0B23">
                        <a:alpha val="25000"/>
                      </a:srgbClr>
                    </a:solidFill>
                  </a:tcPr>
                </a:tc>
                <a:tc>
                  <a:txBody>
                    <a:bodyPr/>
                    <a:lstStyle/>
                    <a:p>
                      <a:pPr algn="ctr"/>
                      <a:r>
                        <a:rPr lang="en-US" sz="1800" b="0" dirty="0" smtClean="0">
                          <a:solidFill>
                            <a:schemeClr val="tx1"/>
                          </a:solidFill>
                        </a:rPr>
                        <a:t>183</a:t>
                      </a:r>
                      <a:endParaRPr lang="en-US" sz="1800" b="0" dirty="0">
                        <a:solidFill>
                          <a:schemeClr val="tx1"/>
                        </a:solidFill>
                      </a:endParaRPr>
                    </a:p>
                  </a:txBody>
                  <a:tcPr>
                    <a:solidFill>
                      <a:srgbClr val="8C0B23">
                        <a:alpha val="25000"/>
                      </a:srgbClr>
                    </a:solidFill>
                  </a:tcPr>
                </a:tc>
                <a:extLst>
                  <a:ext uri="{0D108BD9-81ED-4DB2-BD59-A6C34878D82A}">
                    <a16:rowId xmlns:a16="http://schemas.microsoft.com/office/drawing/2014/main" val="2976267325"/>
                  </a:ext>
                </a:extLst>
              </a:tr>
              <a:tr h="333819">
                <a:tc>
                  <a:txBody>
                    <a:bodyPr/>
                    <a:lstStyle/>
                    <a:p>
                      <a:r>
                        <a:rPr lang="en-US" sz="1800" dirty="0" smtClean="0">
                          <a:solidFill>
                            <a:schemeClr val="tx1"/>
                          </a:solidFill>
                        </a:rPr>
                        <a:t>Re-opening </a:t>
                      </a:r>
                      <a:r>
                        <a:rPr lang="en-US" sz="1800" dirty="0" smtClean="0">
                          <a:solidFill>
                            <a:schemeClr val="tx1"/>
                          </a:solidFill>
                        </a:rPr>
                        <a:t>Church Customized Promotional Resources</a:t>
                      </a:r>
                      <a:endParaRPr lang="en-US" sz="1800" dirty="0">
                        <a:solidFill>
                          <a:schemeClr val="tx1"/>
                        </a:solidFill>
                      </a:endParaRPr>
                    </a:p>
                  </a:txBody>
                  <a:tcPr>
                    <a:solidFill>
                      <a:srgbClr val="8C0B23">
                        <a:alpha val="40000"/>
                      </a:srgbClr>
                    </a:solidFill>
                  </a:tcPr>
                </a:tc>
                <a:tc>
                  <a:txBody>
                    <a:bodyPr/>
                    <a:lstStyle/>
                    <a:p>
                      <a:pPr algn="ctr"/>
                      <a:r>
                        <a:rPr lang="en-US" sz="1800" b="0" dirty="0" smtClean="0">
                          <a:solidFill>
                            <a:schemeClr val="tx1"/>
                          </a:solidFill>
                        </a:rPr>
                        <a:t>194</a:t>
                      </a:r>
                    </a:p>
                  </a:txBody>
                  <a:tcPr>
                    <a:solidFill>
                      <a:srgbClr val="8C0B23">
                        <a:alpha val="40000"/>
                      </a:srgbClr>
                    </a:solidFill>
                  </a:tcPr>
                </a:tc>
                <a:extLst>
                  <a:ext uri="{0D108BD9-81ED-4DB2-BD59-A6C34878D82A}">
                    <a16:rowId xmlns:a16="http://schemas.microsoft.com/office/drawing/2014/main" val="210904437"/>
                  </a:ext>
                </a:extLst>
              </a:tr>
              <a:tr h="333819">
                <a:tc>
                  <a:txBody>
                    <a:bodyPr/>
                    <a:lstStyle/>
                    <a:p>
                      <a:r>
                        <a:rPr lang="en-US" sz="1800" dirty="0" smtClean="0">
                          <a:solidFill>
                            <a:schemeClr val="tx1"/>
                          </a:solidFill>
                        </a:rPr>
                        <a:t>How To Guides /</a:t>
                      </a:r>
                      <a:r>
                        <a:rPr lang="en-US" sz="1800" baseline="0" dirty="0" smtClean="0">
                          <a:solidFill>
                            <a:schemeClr val="tx1"/>
                          </a:solidFill>
                        </a:rPr>
                        <a:t> Educational Resources</a:t>
                      </a:r>
                      <a:endParaRPr lang="en-US" sz="1800" dirty="0">
                        <a:solidFill>
                          <a:schemeClr val="tx1"/>
                        </a:solidFill>
                      </a:endParaRPr>
                    </a:p>
                  </a:txBody>
                  <a:tcPr>
                    <a:solidFill>
                      <a:srgbClr val="8C0B23">
                        <a:alpha val="25000"/>
                      </a:srgbClr>
                    </a:solidFill>
                  </a:tcPr>
                </a:tc>
                <a:tc>
                  <a:txBody>
                    <a:bodyPr/>
                    <a:lstStyle/>
                    <a:p>
                      <a:pPr algn="ctr"/>
                      <a:r>
                        <a:rPr lang="en-US" sz="1800" b="0" dirty="0" smtClean="0">
                          <a:solidFill>
                            <a:schemeClr val="tx1"/>
                          </a:solidFill>
                        </a:rPr>
                        <a:t>117</a:t>
                      </a:r>
                    </a:p>
                  </a:txBody>
                  <a:tcPr>
                    <a:solidFill>
                      <a:srgbClr val="8C0B23">
                        <a:alpha val="25000"/>
                      </a:srgbClr>
                    </a:solidFill>
                  </a:tcPr>
                </a:tc>
                <a:extLst>
                  <a:ext uri="{0D108BD9-81ED-4DB2-BD59-A6C34878D82A}">
                    <a16:rowId xmlns:a16="http://schemas.microsoft.com/office/drawing/2014/main" val="3465153700"/>
                  </a:ext>
                </a:extLst>
              </a:tr>
              <a:tr h="333819">
                <a:tc>
                  <a:txBody>
                    <a:bodyPr/>
                    <a:lstStyle/>
                    <a:p>
                      <a:r>
                        <a:rPr lang="en-US" sz="1800" dirty="0" smtClean="0">
                          <a:solidFill>
                            <a:schemeClr val="tx1"/>
                          </a:solidFill>
                        </a:rPr>
                        <a:t>UMC Face Mask </a:t>
                      </a:r>
                      <a:r>
                        <a:rPr lang="en-US" sz="1800" dirty="0" smtClean="0">
                          <a:solidFill>
                            <a:schemeClr val="tx1"/>
                          </a:solidFill>
                        </a:rPr>
                        <a:t>Grants</a:t>
                      </a:r>
                      <a:endParaRPr lang="en-US" sz="1800" dirty="0">
                        <a:solidFill>
                          <a:schemeClr val="tx1"/>
                        </a:solidFill>
                      </a:endParaRPr>
                    </a:p>
                  </a:txBody>
                  <a:tcPr>
                    <a:solidFill>
                      <a:srgbClr val="8C0B23">
                        <a:alpha val="40000"/>
                      </a:srgbClr>
                    </a:solidFill>
                  </a:tcPr>
                </a:tc>
                <a:tc>
                  <a:txBody>
                    <a:bodyPr/>
                    <a:lstStyle/>
                    <a:p>
                      <a:pPr algn="ctr"/>
                      <a:r>
                        <a:rPr lang="en-US" sz="1800" b="0" dirty="0" smtClean="0">
                          <a:solidFill>
                            <a:schemeClr val="tx1"/>
                          </a:solidFill>
                        </a:rPr>
                        <a:t>294</a:t>
                      </a:r>
                    </a:p>
                  </a:txBody>
                  <a:tcPr>
                    <a:solidFill>
                      <a:srgbClr val="8C0B23">
                        <a:alpha val="40000"/>
                      </a:srgbClr>
                    </a:solidFill>
                  </a:tcPr>
                </a:tc>
                <a:extLst>
                  <a:ext uri="{0D108BD9-81ED-4DB2-BD59-A6C34878D82A}">
                    <a16:rowId xmlns:a16="http://schemas.microsoft.com/office/drawing/2014/main" val="3631338174"/>
                  </a:ext>
                </a:extLst>
              </a:tr>
              <a:tr h="391125">
                <a:tc>
                  <a:txBody>
                    <a:bodyPr/>
                    <a:lstStyle/>
                    <a:p>
                      <a:r>
                        <a:rPr lang="en-US" sz="1800" dirty="0" smtClean="0">
                          <a:solidFill>
                            <a:schemeClr val="tx1"/>
                          </a:solidFill>
                        </a:rPr>
                        <a:t>Branding</a:t>
                      </a:r>
                      <a:r>
                        <a:rPr lang="en-US" sz="1800" baseline="0" dirty="0" smtClean="0">
                          <a:solidFill>
                            <a:schemeClr val="tx1"/>
                          </a:solidFill>
                        </a:rPr>
                        <a:t> / Logo Services</a:t>
                      </a:r>
                      <a:endParaRPr lang="en-US" sz="1800" dirty="0">
                        <a:solidFill>
                          <a:schemeClr val="tx1"/>
                        </a:solidFill>
                      </a:endParaRPr>
                    </a:p>
                  </a:txBody>
                  <a:tcPr>
                    <a:solidFill>
                      <a:srgbClr val="8C0B23">
                        <a:alpha val="25000"/>
                      </a:srgbClr>
                    </a:solidFill>
                  </a:tcPr>
                </a:tc>
                <a:tc>
                  <a:txBody>
                    <a:bodyPr/>
                    <a:lstStyle/>
                    <a:p>
                      <a:pPr algn="ctr"/>
                      <a:r>
                        <a:rPr lang="en-US" sz="1800" b="0" dirty="0" smtClean="0">
                          <a:solidFill>
                            <a:schemeClr val="tx1"/>
                          </a:solidFill>
                        </a:rPr>
                        <a:t>172</a:t>
                      </a:r>
                    </a:p>
                  </a:txBody>
                  <a:tcPr>
                    <a:solidFill>
                      <a:srgbClr val="8C0B23">
                        <a:alpha val="25000"/>
                      </a:srgbClr>
                    </a:solidFill>
                  </a:tcPr>
                </a:tc>
                <a:extLst>
                  <a:ext uri="{0D108BD9-81ED-4DB2-BD59-A6C34878D82A}">
                    <a16:rowId xmlns:a16="http://schemas.microsoft.com/office/drawing/2014/main" val="2757720955"/>
                  </a:ext>
                </a:extLst>
              </a:tr>
              <a:tr h="333819">
                <a:tc>
                  <a:txBody>
                    <a:bodyPr/>
                    <a:lstStyle/>
                    <a:p>
                      <a:r>
                        <a:rPr lang="en-US" sz="1800" dirty="0" smtClean="0">
                          <a:solidFill>
                            <a:schemeClr val="tx1"/>
                          </a:solidFill>
                        </a:rPr>
                        <a:t>Website</a:t>
                      </a:r>
                      <a:r>
                        <a:rPr lang="en-US" sz="1800" baseline="0" dirty="0" smtClean="0">
                          <a:solidFill>
                            <a:schemeClr val="tx1"/>
                          </a:solidFill>
                        </a:rPr>
                        <a:t> Development Packages + Services</a:t>
                      </a:r>
                      <a:endParaRPr lang="en-US" sz="1800" dirty="0">
                        <a:solidFill>
                          <a:schemeClr val="tx1"/>
                        </a:solidFill>
                      </a:endParaRPr>
                    </a:p>
                  </a:txBody>
                  <a:tcPr>
                    <a:solidFill>
                      <a:srgbClr val="8C0B23">
                        <a:alpha val="40000"/>
                      </a:srgbClr>
                    </a:solidFill>
                  </a:tcPr>
                </a:tc>
                <a:tc>
                  <a:txBody>
                    <a:bodyPr/>
                    <a:lstStyle/>
                    <a:p>
                      <a:pPr algn="ctr"/>
                      <a:r>
                        <a:rPr lang="en-US" sz="1800" b="0" dirty="0" smtClean="0">
                          <a:solidFill>
                            <a:schemeClr val="tx1"/>
                          </a:solidFill>
                        </a:rPr>
                        <a:t>125</a:t>
                      </a:r>
                      <a:endParaRPr lang="en-US" sz="1800" b="0" dirty="0">
                        <a:solidFill>
                          <a:schemeClr val="tx1"/>
                        </a:solidFill>
                      </a:endParaRPr>
                    </a:p>
                  </a:txBody>
                  <a:tcPr>
                    <a:solidFill>
                      <a:srgbClr val="8C0B23">
                        <a:alpha val="40000"/>
                      </a:srgbClr>
                    </a:solidFill>
                  </a:tcPr>
                </a:tc>
                <a:extLst>
                  <a:ext uri="{0D108BD9-81ED-4DB2-BD59-A6C34878D82A}">
                    <a16:rowId xmlns:a16="http://schemas.microsoft.com/office/drawing/2014/main" val="3205217853"/>
                  </a:ext>
                </a:extLst>
              </a:tr>
              <a:tr h="333819">
                <a:tc>
                  <a:txBody>
                    <a:bodyPr/>
                    <a:lstStyle/>
                    <a:p>
                      <a:r>
                        <a:rPr lang="en-US" sz="1800" dirty="0" smtClean="0">
                          <a:solidFill>
                            <a:schemeClr val="tx1"/>
                          </a:solidFill>
                        </a:rPr>
                        <a:t>Social Media Services</a:t>
                      </a:r>
                      <a:endParaRPr lang="en-US" sz="1800" dirty="0">
                        <a:solidFill>
                          <a:schemeClr val="tx1"/>
                        </a:solidFill>
                      </a:endParaRPr>
                    </a:p>
                  </a:txBody>
                  <a:tcPr>
                    <a:solidFill>
                      <a:srgbClr val="8C0B23">
                        <a:alpha val="25000"/>
                      </a:srgbClr>
                    </a:solidFill>
                  </a:tcPr>
                </a:tc>
                <a:tc>
                  <a:txBody>
                    <a:bodyPr/>
                    <a:lstStyle/>
                    <a:p>
                      <a:pPr algn="ctr"/>
                      <a:r>
                        <a:rPr lang="en-US" sz="1800" b="0" dirty="0" smtClean="0">
                          <a:solidFill>
                            <a:schemeClr val="tx1"/>
                          </a:solidFill>
                        </a:rPr>
                        <a:t>170</a:t>
                      </a:r>
                    </a:p>
                  </a:txBody>
                  <a:tcPr>
                    <a:solidFill>
                      <a:srgbClr val="8C0B23">
                        <a:alpha val="25000"/>
                      </a:srgbClr>
                    </a:solidFill>
                  </a:tcPr>
                </a:tc>
                <a:extLst>
                  <a:ext uri="{0D108BD9-81ED-4DB2-BD59-A6C34878D82A}">
                    <a16:rowId xmlns:a16="http://schemas.microsoft.com/office/drawing/2014/main" val="662380820"/>
                  </a:ext>
                </a:extLst>
              </a:tr>
              <a:tr h="333819">
                <a:tc>
                  <a:txBody>
                    <a:bodyPr/>
                    <a:lstStyle/>
                    <a:p>
                      <a:r>
                        <a:rPr lang="en-US" sz="1800" dirty="0" smtClean="0">
                          <a:solidFill>
                            <a:schemeClr val="tx1"/>
                          </a:solidFill>
                        </a:rPr>
                        <a:t>Technology Solutions – Mevo</a:t>
                      </a:r>
                      <a:r>
                        <a:rPr lang="en-US" sz="1800" baseline="0" dirty="0" smtClean="0">
                          <a:solidFill>
                            <a:schemeClr val="tx1"/>
                          </a:solidFill>
                        </a:rPr>
                        <a:t> Cameras &amp; FM Transmitters</a:t>
                      </a:r>
                      <a:endParaRPr lang="en-US" sz="1800" dirty="0">
                        <a:solidFill>
                          <a:schemeClr val="tx1"/>
                        </a:solidFill>
                      </a:endParaRPr>
                    </a:p>
                  </a:txBody>
                  <a:tcPr>
                    <a:solidFill>
                      <a:srgbClr val="8C0B23">
                        <a:alpha val="40000"/>
                      </a:srgbClr>
                    </a:solidFill>
                  </a:tcPr>
                </a:tc>
                <a:tc>
                  <a:txBody>
                    <a:bodyPr/>
                    <a:lstStyle/>
                    <a:p>
                      <a:pPr algn="ctr"/>
                      <a:r>
                        <a:rPr lang="en-US" sz="1800" b="0" dirty="0" smtClean="0">
                          <a:solidFill>
                            <a:schemeClr val="tx1"/>
                          </a:solidFill>
                        </a:rPr>
                        <a:t>25</a:t>
                      </a:r>
                      <a:endParaRPr lang="en-US" sz="1800" b="0" dirty="0">
                        <a:solidFill>
                          <a:schemeClr val="tx1"/>
                        </a:solidFill>
                      </a:endParaRPr>
                    </a:p>
                  </a:txBody>
                  <a:tcPr>
                    <a:solidFill>
                      <a:srgbClr val="8C0B23">
                        <a:alpha val="40000"/>
                      </a:srgbClr>
                    </a:solidFill>
                  </a:tcPr>
                </a:tc>
                <a:extLst>
                  <a:ext uri="{0D108BD9-81ED-4DB2-BD59-A6C34878D82A}">
                    <a16:rowId xmlns:a16="http://schemas.microsoft.com/office/drawing/2014/main" val="3898325746"/>
                  </a:ext>
                </a:extLst>
              </a:tr>
              <a:tr h="33381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smtClean="0">
                          <a:solidFill>
                            <a:schemeClr val="tx1"/>
                          </a:solidFill>
                        </a:rPr>
                        <a:t>New Church</a:t>
                      </a:r>
                      <a:r>
                        <a:rPr lang="en-US" sz="1800" baseline="0" dirty="0" smtClean="0">
                          <a:solidFill>
                            <a:schemeClr val="tx1"/>
                          </a:solidFill>
                        </a:rPr>
                        <a:t> Start / Relaunch Outreach Packages + Miscellaneous Customized Promotional Resources</a:t>
                      </a:r>
                      <a:endParaRPr lang="en-US" sz="1800" dirty="0" smtClean="0">
                        <a:solidFill>
                          <a:schemeClr val="tx1"/>
                        </a:solidFill>
                      </a:endParaRPr>
                    </a:p>
                  </a:txBody>
                  <a:tcPr>
                    <a:solidFill>
                      <a:srgbClr val="8C0B23">
                        <a:alpha val="25000"/>
                      </a:srgbClr>
                    </a:solidFill>
                  </a:tcPr>
                </a:tc>
                <a:tc>
                  <a:txBody>
                    <a:bodyPr/>
                    <a:lstStyle/>
                    <a:p>
                      <a:pPr algn="ctr"/>
                      <a:r>
                        <a:rPr lang="en-US" sz="1800" dirty="0" smtClean="0">
                          <a:solidFill>
                            <a:schemeClr val="tx1"/>
                          </a:solidFill>
                        </a:rPr>
                        <a:t>40</a:t>
                      </a:r>
                      <a:endParaRPr lang="en-US" sz="1800" dirty="0">
                        <a:solidFill>
                          <a:schemeClr val="tx1"/>
                        </a:solidFill>
                      </a:endParaRPr>
                    </a:p>
                  </a:txBody>
                  <a:tcPr>
                    <a:solidFill>
                      <a:srgbClr val="8C0B23">
                        <a:alpha val="25000"/>
                      </a:srgbClr>
                    </a:solidFill>
                  </a:tcPr>
                </a:tc>
                <a:extLst>
                  <a:ext uri="{0D108BD9-81ED-4DB2-BD59-A6C34878D82A}">
                    <a16:rowId xmlns:a16="http://schemas.microsoft.com/office/drawing/2014/main" val="3304963447"/>
                  </a:ext>
                </a:extLst>
              </a:tr>
              <a:tr h="333819">
                <a:tc>
                  <a:txBody>
                    <a:bodyPr/>
                    <a:lstStyle/>
                    <a:p>
                      <a:r>
                        <a:rPr lang="en-US" sz="1800" dirty="0" smtClean="0">
                          <a:solidFill>
                            <a:schemeClr val="tx1"/>
                          </a:solidFill>
                        </a:rPr>
                        <a:t>Other Services</a:t>
                      </a:r>
                      <a:endParaRPr lang="en-US" sz="1800" dirty="0">
                        <a:solidFill>
                          <a:schemeClr val="tx1"/>
                        </a:solidFill>
                      </a:endParaRPr>
                    </a:p>
                  </a:txBody>
                  <a:tcPr>
                    <a:solidFill>
                      <a:srgbClr val="8C0B23">
                        <a:alpha val="40000"/>
                      </a:srgbClr>
                    </a:solidFill>
                  </a:tcPr>
                </a:tc>
                <a:tc>
                  <a:txBody>
                    <a:bodyPr/>
                    <a:lstStyle/>
                    <a:p>
                      <a:pPr algn="ctr"/>
                      <a:r>
                        <a:rPr lang="en-US" sz="1800" dirty="0" smtClean="0">
                          <a:solidFill>
                            <a:schemeClr val="tx1"/>
                          </a:solidFill>
                        </a:rPr>
                        <a:t>13</a:t>
                      </a:r>
                      <a:endParaRPr lang="en-US" sz="1800" dirty="0">
                        <a:solidFill>
                          <a:schemeClr val="tx1"/>
                        </a:solidFill>
                      </a:endParaRPr>
                    </a:p>
                  </a:txBody>
                  <a:tcPr>
                    <a:solidFill>
                      <a:srgbClr val="8C0B23">
                        <a:alpha val="40000"/>
                      </a:srgbClr>
                    </a:solidFill>
                  </a:tcPr>
                </a:tc>
                <a:extLst>
                  <a:ext uri="{0D108BD9-81ED-4DB2-BD59-A6C34878D82A}">
                    <a16:rowId xmlns:a16="http://schemas.microsoft.com/office/drawing/2014/main" val="4208155449"/>
                  </a:ext>
                </a:extLst>
              </a:tr>
            </a:tbl>
          </a:graphicData>
        </a:graphic>
      </p:graphicFrame>
    </p:spTree>
    <p:extLst>
      <p:ext uri="{BB962C8B-B14F-4D97-AF65-F5344CB8AC3E}">
        <p14:creationId xmlns:p14="http://schemas.microsoft.com/office/powerpoint/2010/main" val="19712195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6767294" y="300308"/>
            <a:ext cx="4772025" cy="5113564"/>
          </a:xfrm>
        </p:spPr>
        <p:txBody>
          <a:bodyPr>
            <a:normAutofit lnSpcReduction="10000"/>
          </a:bodyPr>
          <a:lstStyle/>
          <a:p>
            <a:pPr marL="457200" indent="-457200">
              <a:lnSpc>
                <a:spcPct val="120000"/>
              </a:lnSpc>
              <a:spcBef>
                <a:spcPts val="0"/>
              </a:spcBef>
              <a:buFont typeface="Arial" panose="020B0604020202020204" pitchFamily="34" charset="0"/>
              <a:buChar char="•"/>
            </a:pPr>
            <a:r>
              <a:rPr lang="en-US" sz="1900" dirty="0" smtClean="0"/>
              <a:t>Expanded </a:t>
            </a:r>
            <a:r>
              <a:rPr lang="en-US" sz="1900" dirty="0"/>
              <a:t>visibility and awareness of the church through news media pitching to international, national and </a:t>
            </a:r>
            <a:r>
              <a:rPr lang="en-US" sz="1900" dirty="0" smtClean="0"/>
              <a:t>local outlets</a:t>
            </a:r>
            <a:endParaRPr lang="en-US" sz="1900" dirty="0"/>
          </a:p>
          <a:p>
            <a:pPr marL="457200" indent="-457200">
              <a:lnSpc>
                <a:spcPct val="120000"/>
              </a:lnSpc>
              <a:spcBef>
                <a:spcPts val="0"/>
              </a:spcBef>
              <a:buFont typeface="Arial" panose="020B0604020202020204" pitchFamily="34" charset="0"/>
              <a:buChar char="•"/>
            </a:pPr>
            <a:r>
              <a:rPr lang="en-US" sz="1900" dirty="0" smtClean="0"/>
              <a:t>Wrote </a:t>
            </a:r>
            <a:r>
              <a:rPr lang="en-US" sz="1900" dirty="0"/>
              <a:t>and distributed </a:t>
            </a:r>
            <a:r>
              <a:rPr lang="en-US" sz="1900" b="1" dirty="0" smtClean="0"/>
              <a:t>39</a:t>
            </a:r>
            <a:r>
              <a:rPr lang="en-US" sz="1900" dirty="0" smtClean="0"/>
              <a:t> </a:t>
            </a:r>
            <a:r>
              <a:rPr lang="en-US" sz="1900" dirty="0"/>
              <a:t>press </a:t>
            </a:r>
            <a:r>
              <a:rPr lang="en-US" sz="1900" dirty="0" smtClean="0"/>
              <a:t>releases, </a:t>
            </a:r>
            <a:r>
              <a:rPr lang="en-US" sz="1900" b="1" dirty="0" smtClean="0"/>
              <a:t>8</a:t>
            </a:r>
            <a:r>
              <a:rPr lang="en-US" sz="1900" dirty="0" smtClean="0"/>
              <a:t> feature stories and </a:t>
            </a:r>
            <a:r>
              <a:rPr lang="en-US" sz="1900" b="1" dirty="0" smtClean="0"/>
              <a:t>4</a:t>
            </a:r>
            <a:r>
              <a:rPr lang="en-US" sz="1900" dirty="0" smtClean="0"/>
              <a:t> digital lounge episodes</a:t>
            </a:r>
            <a:endParaRPr lang="en-US" sz="1900" dirty="0"/>
          </a:p>
          <a:p>
            <a:pPr marL="457200" indent="-457200">
              <a:lnSpc>
                <a:spcPct val="120000"/>
              </a:lnSpc>
              <a:spcBef>
                <a:spcPts val="0"/>
              </a:spcBef>
              <a:buFont typeface="Arial" panose="020B0604020202020204" pitchFamily="34" charset="0"/>
              <a:buChar char="•"/>
            </a:pPr>
            <a:r>
              <a:rPr lang="en-US" sz="1900" dirty="0"/>
              <a:t>Worked collaboratively with other UMCom teams and church entities, providing public relations expertise for at least </a:t>
            </a:r>
            <a:r>
              <a:rPr lang="en-US" sz="1900" b="1" dirty="0"/>
              <a:t>35</a:t>
            </a:r>
            <a:r>
              <a:rPr lang="en-US" sz="1900" dirty="0"/>
              <a:t> </a:t>
            </a:r>
            <a:r>
              <a:rPr lang="en-US" sz="1900" dirty="0" smtClean="0"/>
              <a:t>projects</a:t>
            </a:r>
            <a:endParaRPr lang="en-US" sz="1900" dirty="0"/>
          </a:p>
          <a:p>
            <a:pPr marL="457200" indent="-457200">
              <a:lnSpc>
                <a:spcPct val="120000"/>
              </a:lnSpc>
              <a:spcBef>
                <a:spcPts val="0"/>
              </a:spcBef>
              <a:buFont typeface="Arial" panose="020B0604020202020204" pitchFamily="34" charset="0"/>
              <a:buChar char="•"/>
            </a:pPr>
            <a:r>
              <a:rPr lang="en-US" sz="1900" dirty="0" smtClean="0"/>
              <a:t>Based </a:t>
            </a:r>
            <a:r>
              <a:rPr lang="en-US" sz="1900" dirty="0"/>
              <a:t>on </a:t>
            </a:r>
            <a:r>
              <a:rPr lang="en-US" sz="1900" dirty="0" smtClean="0"/>
              <a:t>a value of $1 </a:t>
            </a:r>
            <a:r>
              <a:rPr lang="en-US" sz="1900" dirty="0"/>
              <a:t>per engaged user, $1 per link click and $.005 per </a:t>
            </a:r>
            <a:r>
              <a:rPr lang="en-US" sz="1900" dirty="0" smtClean="0"/>
              <a:t>impression, the total generated value of Facebook pages managed by the PI team was </a:t>
            </a:r>
            <a:r>
              <a:rPr lang="en-US" sz="1900" b="1" dirty="0" smtClean="0"/>
              <a:t>$4,308,113 </a:t>
            </a:r>
            <a:r>
              <a:rPr lang="en-US" sz="1900" dirty="0" smtClean="0"/>
              <a:t>for </a:t>
            </a:r>
            <a:r>
              <a:rPr lang="en-US" sz="1900" dirty="0"/>
              <a:t>the year </a:t>
            </a:r>
            <a:r>
              <a:rPr lang="en-US" sz="1900" dirty="0" smtClean="0"/>
              <a:t>2021.</a:t>
            </a:r>
            <a:endParaRPr lang="en-US" sz="1900" dirty="0"/>
          </a:p>
          <a:p>
            <a:pPr marL="457200" indent="-457200">
              <a:buFont typeface="Arial" panose="020B0604020202020204" pitchFamily="34" charset="0"/>
              <a:buChar char="•"/>
            </a:pPr>
            <a:endParaRPr lang="en-US" sz="2400" dirty="0" smtClean="0"/>
          </a:p>
          <a:p>
            <a:pPr marL="457200" indent="-457200">
              <a:buFont typeface="Arial" panose="020B0604020202020204" pitchFamily="34" charset="0"/>
              <a:buChar char="•"/>
            </a:pPr>
            <a:endParaRPr lang="en-US" sz="2400" dirty="0"/>
          </a:p>
          <a:p>
            <a:endParaRPr lang="en-US" dirty="0"/>
          </a:p>
        </p:txBody>
      </p:sp>
      <p:sp>
        <p:nvSpPr>
          <p:cNvPr id="8" name="Text Placeholder 5"/>
          <p:cNvSpPr>
            <a:spLocks noGrp="1"/>
          </p:cNvSpPr>
          <p:nvPr>
            <p:ph type="body" sz="quarter" idx="11"/>
          </p:nvPr>
        </p:nvSpPr>
        <p:spPr>
          <a:xfrm>
            <a:off x="1209675" y="5529945"/>
            <a:ext cx="7600950" cy="781050"/>
          </a:xfrm>
        </p:spPr>
        <p:txBody>
          <a:bodyPr>
            <a:noAutofit/>
          </a:bodyPr>
          <a:lstStyle/>
          <a:p>
            <a:pPr algn="l"/>
            <a:r>
              <a:rPr lang="en-US" sz="5400" dirty="0" smtClean="0"/>
              <a:t>Public Information</a:t>
            </a:r>
            <a:endParaRPr lang="en-US" sz="5400" dirty="0"/>
          </a:p>
        </p:txBody>
      </p:sp>
      <p:pic>
        <p:nvPicPr>
          <p:cNvPr id="6" name="Picture Placeholder 5"/>
          <p:cNvPicPr>
            <a:picLocks noGrp="1" noChangeAspect="1"/>
          </p:cNvPicPr>
          <p:nvPr>
            <p:ph type="pic" sz="quarter" idx="12"/>
          </p:nvPr>
        </p:nvPicPr>
        <p:blipFill>
          <a:blip r:embed="rId2" cstate="print">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l="8088" r="8088"/>
          <a:stretch>
            <a:fillRect/>
          </a:stretch>
        </p:blipFill>
        <p:spPr>
          <a:xfrm>
            <a:off x="348345" y="256764"/>
            <a:ext cx="2721428" cy="2434962"/>
          </a:xfrm>
        </p:spPr>
      </p:pic>
      <p:pic>
        <p:nvPicPr>
          <p:cNvPr id="9" name="Picture Placeholder 4"/>
          <p:cNvPicPr>
            <a:picLocks noChangeAspect="1"/>
          </p:cNvPicPr>
          <p:nvPr/>
        </p:nvPicPr>
        <p:blipFill>
          <a:blip r:embed="rId4" cstate="print">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val="0"/>
              </a:ext>
            </a:extLst>
          </a:blip>
          <a:srcRect l="8088" r="8088"/>
          <a:stretch>
            <a:fillRect/>
          </a:stretch>
        </p:blipFill>
        <p:spPr>
          <a:xfrm>
            <a:off x="3069773" y="2691726"/>
            <a:ext cx="2721428" cy="2434962"/>
          </a:xfrm>
          <a:prstGeom prst="rect">
            <a:avLst/>
          </a:prstGeom>
        </p:spPr>
      </p:pic>
    </p:spTree>
    <p:extLst>
      <p:ext uri="{BB962C8B-B14F-4D97-AF65-F5344CB8AC3E}">
        <p14:creationId xmlns:p14="http://schemas.microsoft.com/office/powerpoint/2010/main" val="2340018873"/>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7138308" y="601794"/>
            <a:ext cx="4814207" cy="4579806"/>
          </a:xfrm>
        </p:spPr>
        <p:txBody>
          <a:bodyPr>
            <a:normAutofit fontScale="92500" lnSpcReduction="10000"/>
          </a:bodyPr>
          <a:lstStyle/>
          <a:p>
            <a:r>
              <a:rPr lang="en-US" sz="2400" dirty="0" smtClean="0"/>
              <a:t>Highlights</a:t>
            </a:r>
          </a:p>
          <a:p>
            <a:pPr marL="342900" indent="-342900">
              <a:buFont typeface="Arial" panose="020B0604020202020204" pitchFamily="34" charset="0"/>
              <a:buChar char="•"/>
            </a:pPr>
            <a:r>
              <a:rPr lang="en-US" sz="2400" dirty="0"/>
              <a:t>Campaigns </a:t>
            </a:r>
            <a:r>
              <a:rPr lang="en-US" sz="2400" dirty="0" smtClean="0"/>
              <a:t>comprised a large part of the team’s work </a:t>
            </a:r>
            <a:r>
              <a:rPr lang="en-US" sz="2400" dirty="0"/>
              <a:t>in </a:t>
            </a:r>
            <a:r>
              <a:rPr lang="en-US" sz="2400" dirty="0" smtClean="0"/>
              <a:t>2021.  The team spent significantly more </a:t>
            </a:r>
            <a:r>
              <a:rPr lang="en-US" sz="2400" dirty="0"/>
              <a:t>time on </a:t>
            </a:r>
            <a:r>
              <a:rPr lang="en-US" sz="2400" dirty="0" smtClean="0"/>
              <a:t>national advertising than in the past, </a:t>
            </a:r>
            <a:r>
              <a:rPr lang="en-US" sz="2400" dirty="0"/>
              <a:t>the majority of which was new concept development and video production time.  </a:t>
            </a:r>
          </a:p>
          <a:p>
            <a:pPr marL="342900" indent="-342900">
              <a:buFont typeface="Arial" panose="020B0604020202020204" pitchFamily="34" charset="0"/>
              <a:buChar char="•"/>
            </a:pPr>
            <a:r>
              <a:rPr lang="en-US" sz="2400" dirty="0"/>
              <a:t>Out of </a:t>
            </a:r>
            <a:r>
              <a:rPr lang="en-US" sz="2400" b="1" dirty="0"/>
              <a:t>252</a:t>
            </a:r>
            <a:r>
              <a:rPr lang="en-US" sz="2400" dirty="0"/>
              <a:t> projects, </a:t>
            </a:r>
            <a:r>
              <a:rPr lang="en-US" sz="2400" b="1" dirty="0"/>
              <a:t>71</a:t>
            </a:r>
            <a:r>
              <a:rPr lang="en-US" sz="2400" dirty="0"/>
              <a:t> clients completed project </a:t>
            </a:r>
            <a:r>
              <a:rPr lang="en-US" sz="2400" dirty="0" smtClean="0"/>
              <a:t>satisfaction surveys</a:t>
            </a:r>
            <a:r>
              <a:rPr lang="en-US" sz="2400" dirty="0"/>
              <a:t>, with a </a:t>
            </a:r>
            <a:r>
              <a:rPr lang="en-US" sz="2400" b="1" dirty="0" smtClean="0"/>
              <a:t>100%</a:t>
            </a:r>
            <a:r>
              <a:rPr lang="en-US" sz="2400" dirty="0" smtClean="0"/>
              <a:t> satisfaction </a:t>
            </a:r>
            <a:r>
              <a:rPr lang="en-US" sz="2400" dirty="0"/>
              <a:t>rating</a:t>
            </a:r>
            <a:r>
              <a:rPr lang="en-US" sz="2400" dirty="0" smtClean="0"/>
              <a:t>.</a:t>
            </a:r>
          </a:p>
          <a:p>
            <a:pPr marL="342900" indent="-342900">
              <a:buFont typeface="Arial" panose="020B0604020202020204" pitchFamily="34" charset="0"/>
              <a:buChar char="•"/>
            </a:pPr>
            <a:r>
              <a:rPr lang="en-US" sz="2400" dirty="0" smtClean="0"/>
              <a:t>The team generated approximately </a:t>
            </a:r>
            <a:r>
              <a:rPr lang="en-US" sz="2400" b="1" dirty="0" smtClean="0"/>
              <a:t>$21,000 </a:t>
            </a:r>
            <a:r>
              <a:rPr lang="en-US" sz="2400" dirty="0" smtClean="0"/>
              <a:t>in revenue.</a:t>
            </a:r>
          </a:p>
          <a:p>
            <a:endParaRPr lang="en-US" dirty="0"/>
          </a:p>
        </p:txBody>
      </p:sp>
      <p:sp>
        <p:nvSpPr>
          <p:cNvPr id="6" name="Text Placeholder 5"/>
          <p:cNvSpPr>
            <a:spLocks noGrp="1"/>
          </p:cNvSpPr>
          <p:nvPr>
            <p:ph type="body" sz="quarter" idx="11"/>
          </p:nvPr>
        </p:nvSpPr>
        <p:spPr/>
        <p:txBody>
          <a:bodyPr/>
          <a:lstStyle/>
          <a:p>
            <a:r>
              <a:rPr lang="en-US" sz="5400" dirty="0" smtClean="0"/>
              <a:t>Creative Strategy</a:t>
            </a:r>
            <a:endParaRPr lang="en-US" sz="5400" dirty="0"/>
          </a:p>
        </p:txBody>
      </p:sp>
      <p:graphicFrame>
        <p:nvGraphicFramePr>
          <p:cNvPr id="2" name="Table 1"/>
          <p:cNvGraphicFramePr>
            <a:graphicFrameLocks noGrp="1"/>
          </p:cNvGraphicFramePr>
          <p:nvPr>
            <p:extLst>
              <p:ext uri="{D42A27DB-BD31-4B8C-83A1-F6EECF244321}">
                <p14:modId xmlns:p14="http://schemas.microsoft.com/office/powerpoint/2010/main" val="3860445086"/>
              </p:ext>
            </p:extLst>
          </p:nvPr>
        </p:nvGraphicFramePr>
        <p:xfrm>
          <a:off x="216353" y="725532"/>
          <a:ext cx="6628040" cy="3656142"/>
        </p:xfrm>
        <a:graphic>
          <a:graphicData uri="http://schemas.openxmlformats.org/drawingml/2006/table">
            <a:tbl>
              <a:tblPr firstRow="1" firstCol="1" bandRow="1">
                <a:tableStyleId>{EB344D84-9AFB-497E-A393-DC336BA19D2E}</a:tableStyleId>
              </a:tblPr>
              <a:tblGrid>
                <a:gridCol w="3344992">
                  <a:extLst>
                    <a:ext uri="{9D8B030D-6E8A-4147-A177-3AD203B41FA5}">
                      <a16:colId xmlns:a16="http://schemas.microsoft.com/office/drawing/2014/main" val="3021564931"/>
                    </a:ext>
                  </a:extLst>
                </a:gridCol>
                <a:gridCol w="2229995">
                  <a:extLst>
                    <a:ext uri="{9D8B030D-6E8A-4147-A177-3AD203B41FA5}">
                      <a16:colId xmlns:a16="http://schemas.microsoft.com/office/drawing/2014/main" val="2149928760"/>
                    </a:ext>
                  </a:extLst>
                </a:gridCol>
                <a:gridCol w="1053053">
                  <a:extLst>
                    <a:ext uri="{9D8B030D-6E8A-4147-A177-3AD203B41FA5}">
                      <a16:colId xmlns:a16="http://schemas.microsoft.com/office/drawing/2014/main" val="881409054"/>
                    </a:ext>
                  </a:extLst>
                </a:gridCol>
              </a:tblGrid>
              <a:tr h="393522">
                <a:tc>
                  <a:txBody>
                    <a:bodyPr/>
                    <a:lstStyle/>
                    <a:p>
                      <a:pPr marL="0" marR="0" algn="ctr">
                        <a:spcBef>
                          <a:spcPts val="0"/>
                        </a:spcBef>
                        <a:spcAft>
                          <a:spcPts val="0"/>
                        </a:spcAft>
                      </a:pPr>
                      <a:r>
                        <a:rPr lang="en-US" sz="1200" dirty="0">
                          <a:effectLst/>
                        </a:rPr>
                        <a:t>Project</a:t>
                      </a:r>
                      <a:endParaRPr lang="en-US" sz="1200" dirty="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solidFill>
                      <a:srgbClr val="8C0B23"/>
                    </a:solidFill>
                  </a:tcPr>
                </a:tc>
                <a:tc>
                  <a:txBody>
                    <a:bodyPr/>
                    <a:lstStyle/>
                    <a:p>
                      <a:pPr marL="0" marR="0" algn="ctr">
                        <a:spcBef>
                          <a:spcPts val="0"/>
                        </a:spcBef>
                        <a:spcAft>
                          <a:spcPts val="0"/>
                        </a:spcAft>
                      </a:pPr>
                      <a:r>
                        <a:rPr lang="en-US" sz="1200" dirty="0">
                          <a:effectLst/>
                        </a:rPr>
                        <a:t>Client</a:t>
                      </a:r>
                      <a:endParaRPr lang="en-US" sz="1200" dirty="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solidFill>
                      <a:srgbClr val="8C0B23"/>
                    </a:solidFill>
                  </a:tcPr>
                </a:tc>
                <a:tc>
                  <a:txBody>
                    <a:bodyPr/>
                    <a:lstStyle/>
                    <a:p>
                      <a:pPr marL="0" marR="0" algn="ctr">
                        <a:spcBef>
                          <a:spcPts val="0"/>
                        </a:spcBef>
                        <a:spcAft>
                          <a:spcPts val="0"/>
                        </a:spcAft>
                      </a:pPr>
                      <a:r>
                        <a:rPr lang="en-US" sz="900" dirty="0">
                          <a:effectLst/>
                        </a:rPr>
                        <a:t>Tracked Hours</a:t>
                      </a:r>
                      <a:endParaRPr lang="en-US" sz="1200" dirty="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solidFill>
                      <a:srgbClr val="8C0B23"/>
                    </a:solidFill>
                  </a:tcPr>
                </a:tc>
                <a:extLst>
                  <a:ext uri="{0D108BD9-81ED-4DB2-BD59-A6C34878D82A}">
                    <a16:rowId xmlns:a16="http://schemas.microsoft.com/office/drawing/2014/main" val="2202267017"/>
                  </a:ext>
                </a:extLst>
              </a:tr>
              <a:tr h="205316">
                <a:tc>
                  <a:txBody>
                    <a:bodyPr/>
                    <a:lstStyle/>
                    <a:p>
                      <a:pPr marL="0" marR="0">
                        <a:spcBef>
                          <a:spcPts val="0"/>
                        </a:spcBef>
                        <a:spcAft>
                          <a:spcPts val="0"/>
                        </a:spcAft>
                      </a:pPr>
                      <a:r>
                        <a:rPr lang="en-US" sz="1200" dirty="0" smtClean="0">
                          <a:effectLst/>
                        </a:rPr>
                        <a:t>“#BeUMC” </a:t>
                      </a:r>
                      <a:r>
                        <a:rPr lang="en-US" sz="1200" dirty="0">
                          <a:effectLst/>
                        </a:rPr>
                        <a:t>Campaign</a:t>
                      </a:r>
                      <a:endParaRPr lang="en-US" sz="1200" dirty="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solidFill>
                      <a:srgbClr val="8C0B23"/>
                    </a:solidFill>
                  </a:tcPr>
                </a:tc>
                <a:tc>
                  <a:txBody>
                    <a:bodyPr/>
                    <a:lstStyle/>
                    <a:p>
                      <a:pPr marL="0" marR="0">
                        <a:spcBef>
                          <a:spcPts val="0"/>
                        </a:spcBef>
                        <a:spcAft>
                          <a:spcPts val="0"/>
                        </a:spcAft>
                      </a:pPr>
                      <a:r>
                        <a:rPr lang="en-US" sz="1000" dirty="0">
                          <a:effectLst/>
                        </a:rPr>
                        <a:t>Marketing and Advertising</a:t>
                      </a:r>
                      <a:endParaRPr lang="en-US" sz="1200" dirty="0">
                        <a:solidFill>
                          <a:srgbClr val="8C0B23"/>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spcBef>
                          <a:spcPts val="0"/>
                        </a:spcBef>
                        <a:spcAft>
                          <a:spcPts val="0"/>
                        </a:spcAft>
                      </a:pPr>
                      <a:r>
                        <a:rPr lang="en-US" sz="1200" dirty="0">
                          <a:effectLst/>
                        </a:rPr>
                        <a:t>529.86</a:t>
                      </a:r>
                      <a:endParaRPr lang="en-US" sz="1200" dirty="0">
                        <a:solidFill>
                          <a:srgbClr val="8C0B23"/>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670058415"/>
                  </a:ext>
                </a:extLst>
              </a:tr>
              <a:tr h="101659">
                <a:tc>
                  <a:txBody>
                    <a:bodyPr/>
                    <a:lstStyle/>
                    <a:p>
                      <a:pPr marL="0" marR="0">
                        <a:spcBef>
                          <a:spcPts val="0"/>
                        </a:spcBef>
                        <a:spcAft>
                          <a:spcPts val="0"/>
                        </a:spcAft>
                      </a:pPr>
                      <a:r>
                        <a:rPr lang="en-US" sz="1200" dirty="0">
                          <a:effectLst/>
                        </a:rPr>
                        <a:t>2022 National Ad Campaign Development</a:t>
                      </a:r>
                      <a:endParaRPr lang="en-US" sz="1200" dirty="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solidFill>
                      <a:srgbClr val="8C0B23"/>
                    </a:solidFill>
                  </a:tcPr>
                </a:tc>
                <a:tc>
                  <a:txBody>
                    <a:bodyPr/>
                    <a:lstStyle/>
                    <a:p>
                      <a:pPr marL="0" marR="0">
                        <a:spcBef>
                          <a:spcPts val="0"/>
                        </a:spcBef>
                        <a:spcAft>
                          <a:spcPts val="0"/>
                        </a:spcAft>
                      </a:pPr>
                      <a:r>
                        <a:rPr lang="en-US" sz="1000" dirty="0">
                          <a:effectLst/>
                        </a:rPr>
                        <a:t>National Campaign</a:t>
                      </a:r>
                      <a:endParaRPr lang="en-US" sz="1200" dirty="0">
                        <a:solidFill>
                          <a:srgbClr val="8C0B23"/>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spcBef>
                          <a:spcPts val="0"/>
                        </a:spcBef>
                        <a:spcAft>
                          <a:spcPts val="0"/>
                        </a:spcAft>
                      </a:pPr>
                      <a:r>
                        <a:rPr lang="en-US" sz="1200" dirty="0">
                          <a:effectLst/>
                        </a:rPr>
                        <a:t>505.57</a:t>
                      </a:r>
                      <a:endParaRPr lang="en-US" sz="1200" dirty="0">
                        <a:solidFill>
                          <a:srgbClr val="8C0B23"/>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698206591"/>
                  </a:ext>
                </a:extLst>
              </a:tr>
              <a:tr h="205316">
                <a:tc>
                  <a:txBody>
                    <a:bodyPr/>
                    <a:lstStyle/>
                    <a:p>
                      <a:pPr marL="0" marR="0">
                        <a:spcBef>
                          <a:spcPts val="0"/>
                        </a:spcBef>
                        <a:spcAft>
                          <a:spcPts val="0"/>
                        </a:spcAft>
                      </a:pPr>
                      <a:r>
                        <a:rPr lang="en-US" sz="1200" dirty="0">
                          <a:effectLst/>
                        </a:rPr>
                        <a:t>“I Give” Campaign</a:t>
                      </a:r>
                      <a:endParaRPr lang="en-US" sz="1200" dirty="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solidFill>
                      <a:srgbClr val="8C0B23"/>
                    </a:solidFill>
                  </a:tcPr>
                </a:tc>
                <a:tc>
                  <a:txBody>
                    <a:bodyPr/>
                    <a:lstStyle/>
                    <a:p>
                      <a:pPr marL="0" marR="0">
                        <a:spcBef>
                          <a:spcPts val="0"/>
                        </a:spcBef>
                        <a:spcAft>
                          <a:spcPts val="0"/>
                        </a:spcAft>
                      </a:pPr>
                      <a:r>
                        <a:rPr lang="en-US" sz="1000" dirty="0">
                          <a:effectLst/>
                        </a:rPr>
                        <a:t>Connectional Giving</a:t>
                      </a:r>
                      <a:endParaRPr lang="en-US" sz="1200" dirty="0">
                        <a:solidFill>
                          <a:srgbClr val="8C0B23"/>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spcBef>
                          <a:spcPts val="0"/>
                        </a:spcBef>
                        <a:spcAft>
                          <a:spcPts val="0"/>
                        </a:spcAft>
                      </a:pPr>
                      <a:r>
                        <a:rPr lang="en-US" sz="1200" dirty="0">
                          <a:effectLst/>
                        </a:rPr>
                        <a:t>321.08</a:t>
                      </a:r>
                      <a:endParaRPr lang="en-US" sz="1200" dirty="0">
                        <a:solidFill>
                          <a:srgbClr val="8C0B23"/>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861915820"/>
                  </a:ext>
                </a:extLst>
              </a:tr>
              <a:tr h="205316">
                <a:tc>
                  <a:txBody>
                    <a:bodyPr/>
                    <a:lstStyle/>
                    <a:p>
                      <a:pPr marL="0" marR="0">
                        <a:spcBef>
                          <a:spcPts val="0"/>
                        </a:spcBef>
                        <a:spcAft>
                          <a:spcPts val="0"/>
                        </a:spcAft>
                      </a:pPr>
                      <a:r>
                        <a:rPr lang="en-US" sz="1200" dirty="0">
                          <a:effectLst/>
                        </a:rPr>
                        <a:t>“End Racism” Campaign</a:t>
                      </a:r>
                      <a:endParaRPr lang="en-US" sz="1200" dirty="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solidFill>
                      <a:srgbClr val="8C0B23"/>
                    </a:solidFill>
                  </a:tcPr>
                </a:tc>
                <a:tc>
                  <a:txBody>
                    <a:bodyPr/>
                    <a:lstStyle/>
                    <a:p>
                      <a:pPr marL="0" marR="0">
                        <a:spcBef>
                          <a:spcPts val="0"/>
                        </a:spcBef>
                        <a:spcAft>
                          <a:spcPts val="0"/>
                        </a:spcAft>
                      </a:pPr>
                      <a:r>
                        <a:rPr lang="en-US" sz="1000" dirty="0">
                          <a:effectLst/>
                        </a:rPr>
                        <a:t>Marketing and Advertising</a:t>
                      </a:r>
                      <a:endParaRPr lang="en-US" sz="1200" dirty="0">
                        <a:solidFill>
                          <a:srgbClr val="8C0B23"/>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spcBef>
                          <a:spcPts val="0"/>
                        </a:spcBef>
                        <a:spcAft>
                          <a:spcPts val="0"/>
                        </a:spcAft>
                      </a:pPr>
                      <a:r>
                        <a:rPr lang="en-US" sz="1200" dirty="0">
                          <a:effectLst/>
                        </a:rPr>
                        <a:t>272.37</a:t>
                      </a:r>
                      <a:endParaRPr lang="en-US" sz="1200" dirty="0">
                        <a:solidFill>
                          <a:srgbClr val="8C0B23"/>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722696399"/>
                  </a:ext>
                </a:extLst>
              </a:tr>
              <a:tr h="205316">
                <a:tc>
                  <a:txBody>
                    <a:bodyPr/>
                    <a:lstStyle/>
                    <a:p>
                      <a:pPr marL="0" marR="0">
                        <a:spcBef>
                          <a:spcPts val="0"/>
                        </a:spcBef>
                        <a:spcAft>
                          <a:spcPts val="0"/>
                        </a:spcAft>
                      </a:pPr>
                      <a:r>
                        <a:rPr lang="en-US" sz="1200" dirty="0">
                          <a:effectLst/>
                        </a:rPr>
                        <a:t>UMCom Fundraising </a:t>
                      </a:r>
                      <a:endParaRPr lang="en-US" sz="1200" dirty="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solidFill>
                      <a:srgbClr val="8C0B23"/>
                    </a:solidFill>
                  </a:tcPr>
                </a:tc>
                <a:tc>
                  <a:txBody>
                    <a:bodyPr/>
                    <a:lstStyle/>
                    <a:p>
                      <a:pPr marL="0" marR="0">
                        <a:spcBef>
                          <a:spcPts val="0"/>
                        </a:spcBef>
                        <a:spcAft>
                          <a:spcPts val="0"/>
                        </a:spcAft>
                      </a:pPr>
                      <a:r>
                        <a:rPr lang="en-US" sz="1000" dirty="0">
                          <a:effectLst/>
                        </a:rPr>
                        <a:t>Foundation/Marketing</a:t>
                      </a:r>
                      <a:endParaRPr lang="en-US" sz="1200" dirty="0">
                        <a:solidFill>
                          <a:srgbClr val="8C0B23"/>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spcBef>
                          <a:spcPts val="0"/>
                        </a:spcBef>
                        <a:spcAft>
                          <a:spcPts val="0"/>
                        </a:spcAft>
                      </a:pPr>
                      <a:r>
                        <a:rPr lang="en-US" sz="1200" dirty="0">
                          <a:effectLst/>
                        </a:rPr>
                        <a:t>245.70</a:t>
                      </a:r>
                      <a:endParaRPr lang="en-US" sz="1200" dirty="0">
                        <a:solidFill>
                          <a:srgbClr val="8C0B23"/>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989164943"/>
                  </a:ext>
                </a:extLst>
              </a:tr>
              <a:tr h="205316">
                <a:tc>
                  <a:txBody>
                    <a:bodyPr/>
                    <a:lstStyle/>
                    <a:p>
                      <a:pPr marL="0" marR="0">
                        <a:spcBef>
                          <a:spcPts val="0"/>
                        </a:spcBef>
                        <a:spcAft>
                          <a:spcPts val="0"/>
                        </a:spcAft>
                      </a:pPr>
                      <a:r>
                        <a:rPr lang="en-US" sz="1200" dirty="0">
                          <a:effectLst/>
                        </a:rPr>
                        <a:t>2021 Back to Church Campaign</a:t>
                      </a:r>
                      <a:endParaRPr lang="en-US" sz="1200" dirty="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solidFill>
                      <a:srgbClr val="8C0B23"/>
                    </a:solidFill>
                  </a:tcPr>
                </a:tc>
                <a:tc>
                  <a:txBody>
                    <a:bodyPr/>
                    <a:lstStyle/>
                    <a:p>
                      <a:pPr marL="0" marR="0">
                        <a:spcBef>
                          <a:spcPts val="0"/>
                        </a:spcBef>
                        <a:spcAft>
                          <a:spcPts val="0"/>
                        </a:spcAft>
                      </a:pPr>
                      <a:r>
                        <a:rPr lang="en-US" sz="1000" dirty="0">
                          <a:effectLst/>
                        </a:rPr>
                        <a:t>National Campaign</a:t>
                      </a:r>
                      <a:endParaRPr lang="en-US" sz="1200" dirty="0">
                        <a:solidFill>
                          <a:srgbClr val="8C0B23"/>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spcBef>
                          <a:spcPts val="0"/>
                        </a:spcBef>
                        <a:spcAft>
                          <a:spcPts val="0"/>
                        </a:spcAft>
                      </a:pPr>
                      <a:r>
                        <a:rPr lang="en-US" sz="1200" dirty="0">
                          <a:effectLst/>
                        </a:rPr>
                        <a:t>213.75</a:t>
                      </a:r>
                      <a:endParaRPr lang="en-US" sz="1200" dirty="0">
                        <a:solidFill>
                          <a:srgbClr val="8C0B23"/>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585274339"/>
                  </a:ext>
                </a:extLst>
              </a:tr>
              <a:tr h="205316">
                <a:tc>
                  <a:txBody>
                    <a:bodyPr/>
                    <a:lstStyle/>
                    <a:p>
                      <a:pPr marL="0" marR="0">
                        <a:spcBef>
                          <a:spcPts val="0"/>
                        </a:spcBef>
                        <a:spcAft>
                          <a:spcPts val="0"/>
                        </a:spcAft>
                      </a:pPr>
                      <a:r>
                        <a:rPr lang="en-US" sz="1200" dirty="0">
                          <a:effectLst/>
                        </a:rPr>
                        <a:t>2021 National Ad Campaign Development</a:t>
                      </a:r>
                      <a:endParaRPr lang="en-US" sz="1200" dirty="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solidFill>
                      <a:srgbClr val="8C0B23"/>
                    </a:solidFill>
                  </a:tcPr>
                </a:tc>
                <a:tc>
                  <a:txBody>
                    <a:bodyPr/>
                    <a:lstStyle/>
                    <a:p>
                      <a:pPr marL="0" marR="0">
                        <a:spcBef>
                          <a:spcPts val="0"/>
                        </a:spcBef>
                        <a:spcAft>
                          <a:spcPts val="0"/>
                        </a:spcAft>
                      </a:pPr>
                      <a:r>
                        <a:rPr lang="en-US" sz="1000" dirty="0">
                          <a:effectLst/>
                        </a:rPr>
                        <a:t>National Campaign</a:t>
                      </a:r>
                      <a:endParaRPr lang="en-US" sz="1200" dirty="0">
                        <a:solidFill>
                          <a:srgbClr val="8C0B23"/>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spcBef>
                          <a:spcPts val="0"/>
                        </a:spcBef>
                        <a:spcAft>
                          <a:spcPts val="0"/>
                        </a:spcAft>
                      </a:pPr>
                      <a:r>
                        <a:rPr lang="en-US" sz="1200" dirty="0">
                          <a:effectLst/>
                        </a:rPr>
                        <a:t>187.58</a:t>
                      </a:r>
                      <a:endParaRPr lang="en-US" sz="1200" dirty="0">
                        <a:solidFill>
                          <a:srgbClr val="8C0B23"/>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954510795"/>
                  </a:ext>
                </a:extLst>
              </a:tr>
              <a:tr h="205316">
                <a:tc>
                  <a:txBody>
                    <a:bodyPr/>
                    <a:lstStyle/>
                    <a:p>
                      <a:pPr marL="0" marR="0">
                        <a:spcBef>
                          <a:spcPts val="0"/>
                        </a:spcBef>
                        <a:spcAft>
                          <a:spcPts val="0"/>
                        </a:spcAft>
                      </a:pPr>
                      <a:r>
                        <a:rPr lang="en-US" sz="1200" dirty="0">
                          <a:effectLst/>
                        </a:rPr>
                        <a:t>Strategic Planning</a:t>
                      </a:r>
                      <a:endParaRPr lang="en-US" sz="1200" dirty="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solidFill>
                      <a:srgbClr val="8C0B23"/>
                    </a:solidFill>
                  </a:tcPr>
                </a:tc>
                <a:tc>
                  <a:txBody>
                    <a:bodyPr/>
                    <a:lstStyle/>
                    <a:p>
                      <a:pPr marL="0" marR="0">
                        <a:spcBef>
                          <a:spcPts val="0"/>
                        </a:spcBef>
                        <a:spcAft>
                          <a:spcPts val="0"/>
                        </a:spcAft>
                      </a:pPr>
                      <a:r>
                        <a:rPr lang="en-US" sz="1000" dirty="0">
                          <a:effectLst/>
                        </a:rPr>
                        <a:t>General Secretary</a:t>
                      </a:r>
                      <a:endParaRPr lang="en-US" sz="1200" dirty="0">
                        <a:solidFill>
                          <a:srgbClr val="8C0B23"/>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spcBef>
                          <a:spcPts val="0"/>
                        </a:spcBef>
                        <a:spcAft>
                          <a:spcPts val="0"/>
                        </a:spcAft>
                      </a:pPr>
                      <a:r>
                        <a:rPr lang="en-US" sz="1200" dirty="0">
                          <a:effectLst/>
                        </a:rPr>
                        <a:t>157.86</a:t>
                      </a:r>
                      <a:endParaRPr lang="en-US" sz="1200" dirty="0">
                        <a:solidFill>
                          <a:srgbClr val="8C0B23"/>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603891552"/>
                  </a:ext>
                </a:extLst>
              </a:tr>
              <a:tr h="205316">
                <a:tc>
                  <a:txBody>
                    <a:bodyPr/>
                    <a:lstStyle/>
                    <a:p>
                      <a:pPr marL="0" marR="0">
                        <a:spcBef>
                          <a:spcPts val="0"/>
                        </a:spcBef>
                        <a:spcAft>
                          <a:spcPts val="0"/>
                        </a:spcAft>
                      </a:pPr>
                      <a:r>
                        <a:rPr lang="en-US" sz="1200" dirty="0">
                          <a:effectLst/>
                        </a:rPr>
                        <a:t>Tuesdays at the Table</a:t>
                      </a:r>
                      <a:endParaRPr lang="en-US" sz="1200" dirty="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solidFill>
                      <a:srgbClr val="8C0B23"/>
                    </a:solidFill>
                  </a:tcPr>
                </a:tc>
                <a:tc>
                  <a:txBody>
                    <a:bodyPr/>
                    <a:lstStyle/>
                    <a:p>
                      <a:pPr marL="0" marR="0">
                        <a:spcBef>
                          <a:spcPts val="0"/>
                        </a:spcBef>
                        <a:spcAft>
                          <a:spcPts val="0"/>
                        </a:spcAft>
                      </a:pPr>
                      <a:r>
                        <a:rPr lang="en-US" sz="1000" dirty="0">
                          <a:effectLst/>
                        </a:rPr>
                        <a:t>CT/Marketing and Advertising</a:t>
                      </a:r>
                      <a:endParaRPr lang="en-US" sz="1200" dirty="0">
                        <a:solidFill>
                          <a:srgbClr val="8C0B23"/>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spcBef>
                          <a:spcPts val="0"/>
                        </a:spcBef>
                        <a:spcAft>
                          <a:spcPts val="0"/>
                        </a:spcAft>
                      </a:pPr>
                      <a:r>
                        <a:rPr lang="en-US" sz="1200" dirty="0">
                          <a:effectLst/>
                        </a:rPr>
                        <a:t>129.33</a:t>
                      </a:r>
                      <a:endParaRPr lang="en-US" sz="1200" dirty="0">
                        <a:solidFill>
                          <a:srgbClr val="8C0B23"/>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32259440"/>
                  </a:ext>
                </a:extLst>
              </a:tr>
              <a:tr h="205316">
                <a:tc>
                  <a:txBody>
                    <a:bodyPr/>
                    <a:lstStyle/>
                    <a:p>
                      <a:pPr marL="0" marR="0">
                        <a:spcBef>
                          <a:spcPts val="0"/>
                        </a:spcBef>
                        <a:spcAft>
                          <a:spcPts val="0"/>
                        </a:spcAft>
                      </a:pPr>
                      <a:r>
                        <a:rPr lang="en-US" sz="1200" dirty="0">
                          <a:effectLst/>
                        </a:rPr>
                        <a:t>2021 Advent Campaign</a:t>
                      </a:r>
                      <a:endParaRPr lang="en-US" sz="1200" dirty="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solidFill>
                      <a:srgbClr val="8C0B23"/>
                    </a:solidFill>
                  </a:tcPr>
                </a:tc>
                <a:tc>
                  <a:txBody>
                    <a:bodyPr/>
                    <a:lstStyle/>
                    <a:p>
                      <a:pPr marL="0" marR="0">
                        <a:spcBef>
                          <a:spcPts val="0"/>
                        </a:spcBef>
                        <a:spcAft>
                          <a:spcPts val="0"/>
                        </a:spcAft>
                      </a:pPr>
                      <a:r>
                        <a:rPr lang="en-US" sz="1000" dirty="0">
                          <a:effectLst/>
                        </a:rPr>
                        <a:t>National Campaign</a:t>
                      </a:r>
                      <a:endParaRPr lang="en-US" sz="1200" dirty="0">
                        <a:solidFill>
                          <a:srgbClr val="8C0B23"/>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spcBef>
                          <a:spcPts val="0"/>
                        </a:spcBef>
                        <a:spcAft>
                          <a:spcPts val="0"/>
                        </a:spcAft>
                      </a:pPr>
                      <a:r>
                        <a:rPr lang="en-US" sz="1200" dirty="0">
                          <a:effectLst/>
                        </a:rPr>
                        <a:t>116.50</a:t>
                      </a:r>
                      <a:endParaRPr lang="en-US" sz="1200" dirty="0">
                        <a:solidFill>
                          <a:srgbClr val="8C0B23"/>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845328326"/>
                  </a:ext>
                </a:extLst>
              </a:tr>
              <a:tr h="205316">
                <a:tc>
                  <a:txBody>
                    <a:bodyPr/>
                    <a:lstStyle/>
                    <a:p>
                      <a:pPr marL="0" marR="0">
                        <a:spcBef>
                          <a:spcPts val="0"/>
                        </a:spcBef>
                        <a:spcAft>
                          <a:spcPts val="0"/>
                        </a:spcAft>
                      </a:pPr>
                      <a:r>
                        <a:rPr lang="en-US" sz="1200" dirty="0">
                          <a:effectLst/>
                        </a:rPr>
                        <a:t>Communication Essentials emails</a:t>
                      </a:r>
                      <a:endParaRPr lang="en-US" sz="1200" dirty="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solidFill>
                      <a:srgbClr val="8C0B23"/>
                    </a:solidFill>
                  </a:tcPr>
                </a:tc>
                <a:tc>
                  <a:txBody>
                    <a:bodyPr/>
                    <a:lstStyle/>
                    <a:p>
                      <a:pPr marL="0" marR="0">
                        <a:spcBef>
                          <a:spcPts val="0"/>
                        </a:spcBef>
                        <a:spcAft>
                          <a:spcPts val="0"/>
                        </a:spcAft>
                      </a:pPr>
                      <a:r>
                        <a:rPr lang="en-US" sz="1000" dirty="0">
                          <a:effectLst/>
                        </a:rPr>
                        <a:t>Marketing and Advertising</a:t>
                      </a:r>
                      <a:endParaRPr lang="en-US" sz="1200" dirty="0">
                        <a:solidFill>
                          <a:srgbClr val="8C0B23"/>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spcBef>
                          <a:spcPts val="0"/>
                        </a:spcBef>
                        <a:spcAft>
                          <a:spcPts val="0"/>
                        </a:spcAft>
                      </a:pPr>
                      <a:r>
                        <a:rPr lang="en-US" sz="1200" dirty="0">
                          <a:effectLst/>
                        </a:rPr>
                        <a:t>112.42</a:t>
                      </a:r>
                      <a:endParaRPr lang="en-US" sz="1200" dirty="0">
                        <a:solidFill>
                          <a:srgbClr val="8C0B23"/>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859467066"/>
                  </a:ext>
                </a:extLst>
              </a:tr>
              <a:tr h="205316">
                <a:tc>
                  <a:txBody>
                    <a:bodyPr/>
                    <a:lstStyle/>
                    <a:p>
                      <a:pPr marL="0" marR="0">
                        <a:spcBef>
                          <a:spcPts val="0"/>
                        </a:spcBef>
                        <a:spcAft>
                          <a:spcPts val="0"/>
                        </a:spcAft>
                      </a:pPr>
                      <a:r>
                        <a:rPr lang="en-US" sz="1200" dirty="0">
                          <a:effectLst/>
                        </a:rPr>
                        <a:t>Ministry Relief Videos</a:t>
                      </a:r>
                      <a:endParaRPr lang="en-US" sz="1200" dirty="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solidFill>
                      <a:srgbClr val="8C0B23"/>
                    </a:solidFill>
                  </a:tcPr>
                </a:tc>
                <a:tc>
                  <a:txBody>
                    <a:bodyPr/>
                    <a:lstStyle/>
                    <a:p>
                      <a:pPr marL="0" marR="0">
                        <a:spcBef>
                          <a:spcPts val="0"/>
                        </a:spcBef>
                        <a:spcAft>
                          <a:spcPts val="0"/>
                        </a:spcAft>
                      </a:pPr>
                      <a:r>
                        <a:rPr lang="en-US" sz="1000" dirty="0">
                          <a:effectLst/>
                        </a:rPr>
                        <a:t>Connectional Giving</a:t>
                      </a:r>
                      <a:endParaRPr lang="en-US" sz="1200" dirty="0">
                        <a:solidFill>
                          <a:srgbClr val="8C0B23"/>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spcBef>
                          <a:spcPts val="0"/>
                        </a:spcBef>
                        <a:spcAft>
                          <a:spcPts val="0"/>
                        </a:spcAft>
                      </a:pPr>
                      <a:r>
                        <a:rPr lang="en-US" sz="1200" dirty="0">
                          <a:effectLst/>
                        </a:rPr>
                        <a:t>98.75</a:t>
                      </a:r>
                      <a:endParaRPr lang="en-US" sz="1200" dirty="0">
                        <a:solidFill>
                          <a:srgbClr val="8C0B23"/>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4292502183"/>
                  </a:ext>
                </a:extLst>
              </a:tr>
              <a:tr h="205316">
                <a:tc>
                  <a:txBody>
                    <a:bodyPr/>
                    <a:lstStyle/>
                    <a:p>
                      <a:pPr marL="0" marR="0">
                        <a:spcBef>
                          <a:spcPts val="0"/>
                        </a:spcBef>
                        <a:spcAft>
                          <a:spcPts val="0"/>
                        </a:spcAft>
                      </a:pPr>
                      <a:r>
                        <a:rPr lang="en-US" sz="1200" dirty="0">
                          <a:effectLst/>
                        </a:rPr>
                        <a:t>Resource UMC 2021 Digital Ads</a:t>
                      </a:r>
                      <a:endParaRPr lang="en-US" sz="1200" dirty="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solidFill>
                      <a:srgbClr val="8C0B23"/>
                    </a:solidFill>
                  </a:tcPr>
                </a:tc>
                <a:tc>
                  <a:txBody>
                    <a:bodyPr/>
                    <a:lstStyle/>
                    <a:p>
                      <a:pPr marL="0" marR="0">
                        <a:spcBef>
                          <a:spcPts val="0"/>
                        </a:spcBef>
                        <a:spcAft>
                          <a:spcPts val="0"/>
                        </a:spcAft>
                      </a:pPr>
                      <a:r>
                        <a:rPr lang="en-US" sz="1000" dirty="0">
                          <a:effectLst/>
                        </a:rPr>
                        <a:t>Marketing and Advertising</a:t>
                      </a:r>
                      <a:endParaRPr lang="en-US" sz="1200" dirty="0">
                        <a:solidFill>
                          <a:srgbClr val="8C0B23"/>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spcBef>
                          <a:spcPts val="0"/>
                        </a:spcBef>
                        <a:spcAft>
                          <a:spcPts val="0"/>
                        </a:spcAft>
                      </a:pPr>
                      <a:r>
                        <a:rPr lang="en-US" sz="1200" dirty="0">
                          <a:effectLst/>
                        </a:rPr>
                        <a:t>98.20</a:t>
                      </a:r>
                      <a:endParaRPr lang="en-US" sz="1200" dirty="0">
                        <a:solidFill>
                          <a:srgbClr val="8C0B23"/>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512186971"/>
                  </a:ext>
                </a:extLst>
              </a:tr>
              <a:tr h="205316">
                <a:tc>
                  <a:txBody>
                    <a:bodyPr/>
                    <a:lstStyle/>
                    <a:p>
                      <a:pPr marL="0" marR="0">
                        <a:spcBef>
                          <a:spcPts val="0"/>
                        </a:spcBef>
                        <a:spcAft>
                          <a:spcPts val="0"/>
                        </a:spcAft>
                      </a:pPr>
                      <a:r>
                        <a:rPr lang="en-US" sz="1200" dirty="0">
                          <a:effectLst/>
                        </a:rPr>
                        <a:t>National Storyteller’s Day</a:t>
                      </a:r>
                      <a:endParaRPr lang="en-US" sz="1200" dirty="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solidFill>
                      <a:srgbClr val="8C0B23"/>
                    </a:solidFill>
                  </a:tcPr>
                </a:tc>
                <a:tc>
                  <a:txBody>
                    <a:bodyPr/>
                    <a:lstStyle/>
                    <a:p>
                      <a:pPr marL="0" marR="0">
                        <a:spcBef>
                          <a:spcPts val="0"/>
                        </a:spcBef>
                        <a:spcAft>
                          <a:spcPts val="0"/>
                        </a:spcAft>
                      </a:pPr>
                      <a:r>
                        <a:rPr lang="en-US" sz="1000" dirty="0">
                          <a:effectLst/>
                        </a:rPr>
                        <a:t>Marketing and Advertising</a:t>
                      </a:r>
                      <a:endParaRPr lang="en-US" sz="1200" dirty="0">
                        <a:solidFill>
                          <a:srgbClr val="8C0B23"/>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spcBef>
                          <a:spcPts val="0"/>
                        </a:spcBef>
                        <a:spcAft>
                          <a:spcPts val="0"/>
                        </a:spcAft>
                      </a:pPr>
                      <a:r>
                        <a:rPr lang="en-US" sz="1200" dirty="0">
                          <a:effectLst/>
                        </a:rPr>
                        <a:t>79.58</a:t>
                      </a:r>
                      <a:endParaRPr lang="en-US" sz="1200" dirty="0">
                        <a:solidFill>
                          <a:srgbClr val="8C0B23"/>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566169673"/>
                  </a:ext>
                </a:extLst>
              </a:tr>
              <a:tr h="205316">
                <a:tc>
                  <a:txBody>
                    <a:bodyPr/>
                    <a:lstStyle/>
                    <a:p>
                      <a:pPr marL="0" marR="0">
                        <a:spcBef>
                          <a:spcPts val="0"/>
                        </a:spcBef>
                        <a:spcAft>
                          <a:spcPts val="0"/>
                        </a:spcAft>
                      </a:pPr>
                      <a:r>
                        <a:rPr lang="en-US" sz="1200" dirty="0">
                          <a:effectLst/>
                        </a:rPr>
                        <a:t>“Bridges of Unity” Campaign</a:t>
                      </a:r>
                      <a:endParaRPr lang="en-US" sz="1200" dirty="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solidFill>
                      <a:srgbClr val="8C0B23"/>
                    </a:solidFill>
                  </a:tcPr>
                </a:tc>
                <a:tc>
                  <a:txBody>
                    <a:bodyPr/>
                    <a:lstStyle/>
                    <a:p>
                      <a:pPr marL="0" marR="0">
                        <a:spcBef>
                          <a:spcPts val="0"/>
                        </a:spcBef>
                        <a:spcAft>
                          <a:spcPts val="0"/>
                        </a:spcAft>
                      </a:pPr>
                      <a:r>
                        <a:rPr lang="en-US" sz="1000" dirty="0">
                          <a:effectLst/>
                        </a:rPr>
                        <a:t>COB/Marketing and Advertising</a:t>
                      </a:r>
                      <a:endParaRPr lang="en-US" sz="1200" dirty="0">
                        <a:solidFill>
                          <a:srgbClr val="8C0B23"/>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spcBef>
                          <a:spcPts val="0"/>
                        </a:spcBef>
                        <a:spcAft>
                          <a:spcPts val="0"/>
                        </a:spcAft>
                      </a:pPr>
                      <a:r>
                        <a:rPr lang="en-US" sz="1200" dirty="0">
                          <a:effectLst/>
                        </a:rPr>
                        <a:t>79.47</a:t>
                      </a:r>
                      <a:endParaRPr lang="en-US" sz="1200" dirty="0">
                        <a:solidFill>
                          <a:srgbClr val="8C0B23"/>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830479010"/>
                  </a:ext>
                </a:extLst>
              </a:tr>
              <a:tr h="205316">
                <a:tc>
                  <a:txBody>
                    <a:bodyPr/>
                    <a:lstStyle/>
                    <a:p>
                      <a:pPr marL="0" marR="0">
                        <a:spcBef>
                          <a:spcPts val="0"/>
                        </a:spcBef>
                        <a:spcAft>
                          <a:spcPts val="0"/>
                        </a:spcAft>
                      </a:pPr>
                      <a:r>
                        <a:rPr lang="en-US" sz="1200" dirty="0">
                          <a:effectLst/>
                        </a:rPr>
                        <a:t>Annual Report</a:t>
                      </a:r>
                      <a:endParaRPr lang="en-US" sz="1200" dirty="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solidFill>
                      <a:srgbClr val="8C0B23"/>
                    </a:solidFill>
                  </a:tcPr>
                </a:tc>
                <a:tc>
                  <a:txBody>
                    <a:bodyPr/>
                    <a:lstStyle/>
                    <a:p>
                      <a:pPr marL="0" marR="0">
                        <a:spcBef>
                          <a:spcPts val="0"/>
                        </a:spcBef>
                        <a:spcAft>
                          <a:spcPts val="0"/>
                        </a:spcAft>
                      </a:pPr>
                      <a:r>
                        <a:rPr lang="en-US" sz="1000" dirty="0">
                          <a:effectLst/>
                        </a:rPr>
                        <a:t>Public Information</a:t>
                      </a:r>
                      <a:endParaRPr lang="en-US" sz="1200" dirty="0">
                        <a:solidFill>
                          <a:srgbClr val="8C0B23"/>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spcBef>
                          <a:spcPts val="0"/>
                        </a:spcBef>
                        <a:spcAft>
                          <a:spcPts val="0"/>
                        </a:spcAft>
                      </a:pPr>
                      <a:r>
                        <a:rPr lang="en-US" sz="1200" dirty="0">
                          <a:effectLst/>
                        </a:rPr>
                        <a:t>70.87</a:t>
                      </a:r>
                      <a:endParaRPr lang="en-US" sz="1200" dirty="0">
                        <a:solidFill>
                          <a:srgbClr val="8C0B23"/>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652249537"/>
                  </a:ext>
                </a:extLst>
              </a:tr>
            </a:tbl>
          </a:graphicData>
        </a:graphic>
      </p:graphicFrame>
    </p:spTree>
    <p:extLst>
      <p:ext uri="{BB962C8B-B14F-4D97-AF65-F5344CB8AC3E}">
        <p14:creationId xmlns:p14="http://schemas.microsoft.com/office/powerpoint/2010/main" val="1866769426"/>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0E0B65EA-56BD-484A-9214-FF097645F772}"/>
              </a:ext>
            </a:extLst>
          </p:cNvPr>
          <p:cNvSpPr txBox="1"/>
          <p:nvPr/>
        </p:nvSpPr>
        <p:spPr>
          <a:xfrm>
            <a:off x="6400801" y="139701"/>
            <a:ext cx="5467739" cy="5909310"/>
          </a:xfrm>
          <a:prstGeom prst="rect">
            <a:avLst/>
          </a:prstGeom>
          <a:noFill/>
        </p:spPr>
        <p:txBody>
          <a:bodyPr wrap="square" rtlCol="0">
            <a:spAutoFit/>
          </a:bodyPr>
          <a:lstStyle/>
          <a:p>
            <a:r>
              <a:rPr lang="en-US" b="1" dirty="0"/>
              <a:t>Seeker Communications includes multi-lingual outreach through advertising and seeker communication </a:t>
            </a:r>
            <a:r>
              <a:rPr lang="en-US" b="1" dirty="0" smtClean="0"/>
              <a:t>channels.</a:t>
            </a:r>
            <a:endParaRPr lang="en-US" b="1" dirty="0"/>
          </a:p>
          <a:p>
            <a:endParaRPr lang="en-US" dirty="0"/>
          </a:p>
          <a:p>
            <a:r>
              <a:rPr lang="en-US" dirty="0"/>
              <a:t>Articles:</a:t>
            </a:r>
          </a:p>
          <a:p>
            <a:pPr marL="285750" indent="-285750">
              <a:buFont typeface="Arial" panose="020B0604020202020204" pitchFamily="34" charset="0"/>
              <a:buChar char="•"/>
            </a:pPr>
            <a:r>
              <a:rPr lang="en-US" b="1" dirty="0"/>
              <a:t>61</a:t>
            </a:r>
            <a:r>
              <a:rPr lang="en-US" dirty="0"/>
              <a:t> original English</a:t>
            </a:r>
          </a:p>
          <a:p>
            <a:pPr marL="285750" indent="-285750">
              <a:buFont typeface="Arial" panose="020B0604020202020204" pitchFamily="34" charset="0"/>
              <a:buChar char="•"/>
            </a:pPr>
            <a:r>
              <a:rPr lang="en-US" b="1" dirty="0"/>
              <a:t>197</a:t>
            </a:r>
            <a:r>
              <a:rPr lang="en-US" dirty="0"/>
              <a:t> Spanish (originals and backdated translations)</a:t>
            </a:r>
          </a:p>
          <a:p>
            <a:pPr marL="285750" indent="-285750">
              <a:buFont typeface="Arial" panose="020B0604020202020204" pitchFamily="34" charset="0"/>
              <a:buChar char="•"/>
            </a:pPr>
            <a:r>
              <a:rPr lang="en-US" b="1" dirty="0" smtClean="0"/>
              <a:t>166</a:t>
            </a:r>
            <a:r>
              <a:rPr lang="en-US" dirty="0" smtClean="0"/>
              <a:t> </a:t>
            </a:r>
            <a:r>
              <a:rPr lang="en-US" dirty="0"/>
              <a:t>Portuguese (backdated translations)</a:t>
            </a:r>
          </a:p>
          <a:p>
            <a:pPr marL="285750" indent="-285750">
              <a:buFont typeface="Arial" panose="020B0604020202020204" pitchFamily="34" charset="0"/>
              <a:buChar char="•"/>
            </a:pPr>
            <a:r>
              <a:rPr lang="en-US" b="1" dirty="0"/>
              <a:t>102 </a:t>
            </a:r>
            <a:r>
              <a:rPr lang="en-US" dirty="0"/>
              <a:t>French (backdated translations)</a:t>
            </a:r>
          </a:p>
          <a:p>
            <a:pPr marL="285750" indent="-285750">
              <a:buFont typeface="Arial" panose="020B0604020202020204" pitchFamily="34" charset="0"/>
              <a:buChar char="•"/>
            </a:pPr>
            <a:r>
              <a:rPr lang="en-US" b="1" dirty="0"/>
              <a:t>43</a:t>
            </a:r>
            <a:r>
              <a:rPr lang="en-US" dirty="0"/>
              <a:t> Korean (backdated translations)</a:t>
            </a:r>
          </a:p>
          <a:p>
            <a:pPr marL="285750" indent="-285750">
              <a:buFont typeface="Arial" panose="020B0604020202020204" pitchFamily="34" charset="0"/>
              <a:buChar char="•"/>
            </a:pPr>
            <a:r>
              <a:rPr lang="en-US" b="1" dirty="0"/>
              <a:t>26</a:t>
            </a:r>
            <a:r>
              <a:rPr lang="en-US" dirty="0"/>
              <a:t> podcast episodes</a:t>
            </a:r>
          </a:p>
          <a:p>
            <a:endParaRPr lang="en-US" dirty="0"/>
          </a:p>
          <a:p>
            <a:r>
              <a:rPr lang="en-US" dirty="0"/>
              <a:t>Social media content: </a:t>
            </a:r>
          </a:p>
          <a:p>
            <a:pPr marL="285750" indent="-285750">
              <a:buFont typeface="Arial" panose="020B0604020202020204" pitchFamily="34" charset="0"/>
              <a:buChar char="•"/>
            </a:pPr>
            <a:r>
              <a:rPr lang="en-US" b="1" dirty="0"/>
              <a:t>48</a:t>
            </a:r>
            <a:r>
              <a:rPr lang="en-US" dirty="0"/>
              <a:t> prayer videos and </a:t>
            </a:r>
            <a:r>
              <a:rPr lang="en-US" b="1" dirty="0"/>
              <a:t>17</a:t>
            </a:r>
            <a:r>
              <a:rPr lang="en-US" dirty="0"/>
              <a:t> unique social media videos</a:t>
            </a:r>
          </a:p>
          <a:p>
            <a:pPr marL="285750" indent="-285750">
              <a:buFont typeface="Arial" panose="020B0604020202020204" pitchFamily="34" charset="0"/>
              <a:buChar char="•"/>
            </a:pPr>
            <a:r>
              <a:rPr lang="en-US" dirty="0"/>
              <a:t>TikTok Advent combined exposure of </a:t>
            </a:r>
            <a:r>
              <a:rPr lang="en-US" b="1" dirty="0"/>
              <a:t>1,873,000</a:t>
            </a:r>
          </a:p>
          <a:p>
            <a:pPr marL="285750" indent="-285750">
              <a:buFont typeface="Arial" panose="020B0604020202020204" pitchFamily="34" charset="0"/>
              <a:buChar char="•"/>
            </a:pPr>
            <a:endParaRPr lang="en-US" dirty="0"/>
          </a:p>
          <a:p>
            <a:r>
              <a:rPr lang="en-US" dirty="0"/>
              <a:t>Compass Podcast</a:t>
            </a:r>
          </a:p>
          <a:p>
            <a:pPr marL="285750" indent="-285750">
              <a:buFont typeface="Arial" panose="020B0604020202020204" pitchFamily="34" charset="0"/>
              <a:buChar char="•"/>
            </a:pPr>
            <a:r>
              <a:rPr lang="en-US" b="1" dirty="0"/>
              <a:t>22,748</a:t>
            </a:r>
            <a:r>
              <a:rPr lang="en-US" dirty="0"/>
              <a:t> </a:t>
            </a:r>
            <a:r>
              <a:rPr lang="en-US" dirty="0" smtClean="0"/>
              <a:t>subscriptions</a:t>
            </a:r>
            <a:endParaRPr lang="en-US" dirty="0"/>
          </a:p>
          <a:p>
            <a:pPr marL="285750" indent="-285750">
              <a:buFont typeface="Arial" panose="020B0604020202020204" pitchFamily="34" charset="0"/>
              <a:buChar char="•"/>
            </a:pPr>
            <a:endParaRPr lang="en-US" dirty="0"/>
          </a:p>
          <a:p>
            <a:endParaRPr lang="en-US" dirty="0"/>
          </a:p>
          <a:p>
            <a:endParaRPr lang="en-US" dirty="0"/>
          </a:p>
        </p:txBody>
      </p:sp>
      <p:sp>
        <p:nvSpPr>
          <p:cNvPr id="5" name="AutoShape 2" descr="Seeker Team Annual Report Notes.doc">
            <a:extLst>
              <a:ext uri="{FF2B5EF4-FFF2-40B4-BE49-F238E27FC236}">
                <a16:creationId xmlns:a16="http://schemas.microsoft.com/office/drawing/2014/main" id="{CC68CDC2-AED0-EE4F-B379-E227C7D29E02}"/>
              </a:ext>
            </a:extLst>
          </p:cNvPr>
          <p:cNvSpPr>
            <a:spLocks noChangeAspect="1" noChangeArrowheads="1"/>
          </p:cNvSpPr>
          <p:nvPr/>
        </p:nvSpPr>
        <p:spPr bwMode="auto">
          <a:xfrm>
            <a:off x="57150" y="-174625"/>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8" name="Rectangle 17">
            <a:extLst>
              <a:ext uri="{FF2B5EF4-FFF2-40B4-BE49-F238E27FC236}">
                <a16:creationId xmlns:a16="http://schemas.microsoft.com/office/drawing/2014/main" id="{827CDC3D-5BED-EE48-9A94-B7AC075C9F03}"/>
              </a:ext>
            </a:extLst>
          </p:cNvPr>
          <p:cNvSpPr/>
          <p:nvPr/>
        </p:nvSpPr>
        <p:spPr>
          <a:xfrm>
            <a:off x="-1" y="0"/>
            <a:ext cx="6162675" cy="6858000"/>
          </a:xfrm>
          <a:prstGeom prst="rect">
            <a:avLst/>
          </a:prstGeom>
          <a:solidFill>
            <a:srgbClr val="8C0B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Picture 14" descr="A group of people sitting in a room&#10;&#10;Description automatically generated with low confidence">
            <a:extLst>
              <a:ext uri="{FF2B5EF4-FFF2-40B4-BE49-F238E27FC236}">
                <a16:creationId xmlns:a16="http://schemas.microsoft.com/office/drawing/2014/main" id="{CD47B4AC-4496-A546-9CE5-66D1B26EDD64}"/>
              </a:ext>
            </a:extLst>
          </p:cNvPr>
          <p:cNvPicPr>
            <a:picLocks noChangeAspect="1"/>
          </p:cNvPicPr>
          <p:nvPr/>
        </p:nvPicPr>
        <p:blipFill>
          <a:blip r:embed="rId2" cstate="print">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tretch>
            <a:fillRect/>
          </a:stretch>
        </p:blipFill>
        <p:spPr>
          <a:xfrm>
            <a:off x="142875" y="139701"/>
            <a:ext cx="4811575" cy="3013074"/>
          </a:xfrm>
          <a:prstGeom prst="rect">
            <a:avLst/>
          </a:prstGeom>
        </p:spPr>
      </p:pic>
      <p:pic>
        <p:nvPicPr>
          <p:cNvPr id="17" name="Picture 16" descr="A couple of men wearing headphones&#10;&#10;Description automatically generated with low confidence">
            <a:extLst>
              <a:ext uri="{FF2B5EF4-FFF2-40B4-BE49-F238E27FC236}">
                <a16:creationId xmlns:a16="http://schemas.microsoft.com/office/drawing/2014/main" id="{C35AD759-6E74-D84B-93BC-BDF5F0718EA2}"/>
              </a:ext>
            </a:extLst>
          </p:cNvPr>
          <p:cNvPicPr>
            <a:picLocks noChangeAspect="1"/>
          </p:cNvPicPr>
          <p:nvPr/>
        </p:nvPicPr>
        <p:blipFill>
          <a:blip r:embed="rId4" cstate="print">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val="0"/>
              </a:ext>
            </a:extLst>
          </a:blip>
          <a:stretch>
            <a:fillRect/>
          </a:stretch>
        </p:blipFill>
        <p:spPr>
          <a:xfrm>
            <a:off x="1302244" y="2734670"/>
            <a:ext cx="4702493" cy="2583787"/>
          </a:xfrm>
          <a:prstGeom prst="rect">
            <a:avLst/>
          </a:prstGeom>
        </p:spPr>
      </p:pic>
      <p:sp>
        <p:nvSpPr>
          <p:cNvPr id="8" name="Text Placeholder 7"/>
          <p:cNvSpPr>
            <a:spLocks noGrp="1"/>
          </p:cNvSpPr>
          <p:nvPr>
            <p:ph type="body" sz="quarter" idx="11"/>
          </p:nvPr>
        </p:nvSpPr>
        <p:spPr>
          <a:xfrm>
            <a:off x="209550" y="5134395"/>
            <a:ext cx="7600950" cy="781050"/>
          </a:xfrm>
        </p:spPr>
        <p:txBody>
          <a:bodyPr/>
          <a:lstStyle/>
          <a:p>
            <a:pPr algn="l">
              <a:lnSpc>
                <a:spcPct val="100000"/>
              </a:lnSpc>
              <a:spcBef>
                <a:spcPts val="0"/>
              </a:spcBef>
            </a:pPr>
            <a:r>
              <a:rPr lang="en-US" sz="5400" dirty="0" smtClean="0"/>
              <a:t>Seeker</a:t>
            </a:r>
          </a:p>
          <a:p>
            <a:pPr algn="l">
              <a:lnSpc>
                <a:spcPct val="100000"/>
              </a:lnSpc>
              <a:spcBef>
                <a:spcPts val="0"/>
              </a:spcBef>
            </a:pPr>
            <a:r>
              <a:rPr lang="en-US" sz="5400" dirty="0" smtClean="0"/>
              <a:t>Communications</a:t>
            </a:r>
            <a:endParaRPr lang="en-US" sz="5400" dirty="0"/>
          </a:p>
        </p:txBody>
      </p:sp>
    </p:spTree>
    <p:extLst>
      <p:ext uri="{BB962C8B-B14F-4D97-AF65-F5344CB8AC3E}">
        <p14:creationId xmlns:p14="http://schemas.microsoft.com/office/powerpoint/2010/main" val="4110465305"/>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p:txBody>
          <a:bodyPr/>
          <a:lstStyle/>
          <a:p>
            <a:pPr algn="l"/>
            <a:r>
              <a:rPr lang="en-US" sz="5400" dirty="0" smtClean="0"/>
              <a:t>Member Communications</a:t>
            </a:r>
            <a:endParaRPr lang="en-US" sz="5400" dirty="0"/>
          </a:p>
        </p:txBody>
      </p:sp>
      <p:graphicFrame>
        <p:nvGraphicFramePr>
          <p:cNvPr id="5" name="Content Placeholder 6"/>
          <p:cNvGraphicFramePr>
            <a:graphicFrameLocks/>
          </p:cNvGraphicFramePr>
          <p:nvPr>
            <p:extLst>
              <p:ext uri="{D42A27DB-BD31-4B8C-83A1-F6EECF244321}">
                <p14:modId xmlns:p14="http://schemas.microsoft.com/office/powerpoint/2010/main" val="1542634502"/>
              </p:ext>
            </p:extLst>
          </p:nvPr>
        </p:nvGraphicFramePr>
        <p:xfrm>
          <a:off x="237902" y="0"/>
          <a:ext cx="6932919" cy="519545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TextBox 7"/>
          <p:cNvSpPr txBox="1"/>
          <p:nvPr/>
        </p:nvSpPr>
        <p:spPr>
          <a:xfrm>
            <a:off x="6808233" y="853296"/>
            <a:ext cx="4650341" cy="1200329"/>
          </a:xfrm>
          <a:prstGeom prst="rect">
            <a:avLst/>
          </a:prstGeom>
          <a:solidFill>
            <a:srgbClr val="C6C6C6">
              <a:alpha val="74118"/>
            </a:srgbClr>
          </a:solidFill>
          <a:ln>
            <a:noFill/>
          </a:ln>
        </p:spPr>
        <p:txBody>
          <a:bodyPr wrap="square" rtlCol="0">
            <a:spAutoFit/>
          </a:bodyPr>
          <a:lstStyle/>
          <a:p>
            <a:pPr lvl="0">
              <a:defRPr/>
            </a:pPr>
            <a:r>
              <a:rPr lang="en-US" b="1" dirty="0"/>
              <a:t>The Member Communications Team worked with others across the church to provide a diverse array of multimedia content on UMC.org in 2021.</a:t>
            </a:r>
            <a:endParaRPr kumimoji="0" lang="en-US" sz="1600" b="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Content Placeholder 2"/>
          <p:cNvSpPr txBox="1">
            <a:spLocks/>
          </p:cNvSpPr>
          <p:nvPr/>
        </p:nvSpPr>
        <p:spPr>
          <a:xfrm>
            <a:off x="7094301" y="2439820"/>
            <a:ext cx="4078204" cy="1939508"/>
          </a:xfrm>
          <a:prstGeom prst="rect">
            <a:avLst/>
          </a:prstGeom>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600" b="1" dirty="0" smtClean="0"/>
              <a:t>Member Communications efforts resulted in:</a:t>
            </a:r>
          </a:p>
          <a:p>
            <a:r>
              <a:rPr lang="en-US" sz="1600" b="1" dirty="0" smtClean="0"/>
              <a:t>114</a:t>
            </a:r>
            <a:r>
              <a:rPr lang="en-US" sz="1600" dirty="0" smtClean="0"/>
              <a:t> </a:t>
            </a:r>
            <a:r>
              <a:rPr lang="en-US" sz="1600" dirty="0"/>
              <a:t>new pieces of </a:t>
            </a:r>
            <a:r>
              <a:rPr lang="en-US" sz="1600" dirty="0" smtClean="0"/>
              <a:t>content</a:t>
            </a:r>
          </a:p>
          <a:p>
            <a:r>
              <a:rPr lang="en-US" sz="1600" b="1" dirty="0"/>
              <a:t>15.6% </a:t>
            </a:r>
            <a:r>
              <a:rPr lang="en-US" sz="1600" dirty="0"/>
              <a:t>increase in UMC.org </a:t>
            </a:r>
            <a:r>
              <a:rPr lang="en-US" sz="1600" dirty="0" smtClean="0"/>
              <a:t>sessions</a:t>
            </a:r>
          </a:p>
          <a:p>
            <a:r>
              <a:rPr lang="en-US" sz="1600" b="1" dirty="0"/>
              <a:t>9,903,501</a:t>
            </a:r>
            <a:r>
              <a:rPr lang="en-US" sz="1600" dirty="0"/>
              <a:t> page </a:t>
            </a:r>
            <a:r>
              <a:rPr lang="en-US" sz="1600" dirty="0" smtClean="0"/>
              <a:t>views</a:t>
            </a:r>
          </a:p>
          <a:p>
            <a:r>
              <a:rPr lang="en-US" sz="1600" b="1" dirty="0"/>
              <a:t>235,541</a:t>
            </a:r>
            <a:r>
              <a:rPr lang="en-US" sz="1600" dirty="0"/>
              <a:t> Non-English language page views</a:t>
            </a:r>
          </a:p>
        </p:txBody>
      </p:sp>
    </p:spTree>
    <p:extLst>
      <p:ext uri="{BB962C8B-B14F-4D97-AF65-F5344CB8AC3E}">
        <p14:creationId xmlns:p14="http://schemas.microsoft.com/office/powerpoint/2010/main" val="2680431933"/>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0E0B65EA-56BD-484A-9214-FF097645F772}"/>
              </a:ext>
            </a:extLst>
          </p:cNvPr>
          <p:cNvSpPr txBox="1"/>
          <p:nvPr/>
        </p:nvSpPr>
        <p:spPr>
          <a:xfrm>
            <a:off x="6421938" y="139701"/>
            <a:ext cx="5467739" cy="5339923"/>
          </a:xfrm>
          <a:prstGeom prst="rect">
            <a:avLst/>
          </a:prstGeom>
          <a:noFill/>
        </p:spPr>
        <p:txBody>
          <a:bodyPr wrap="square" rtlCol="0">
            <a:spAutoFit/>
          </a:bodyPr>
          <a:lstStyle/>
          <a:p>
            <a:r>
              <a:rPr lang="en-US" sz="1700" b="1" dirty="0"/>
              <a:t>The </a:t>
            </a:r>
            <a:r>
              <a:rPr lang="en-US" sz="1700" b="1" dirty="0" smtClean="0"/>
              <a:t>Leader </a:t>
            </a:r>
            <a:r>
              <a:rPr lang="en-US" sz="1700" b="1" dirty="0"/>
              <a:t>C</a:t>
            </a:r>
            <a:r>
              <a:rPr lang="en-US" sz="1700" b="1" dirty="0" smtClean="0"/>
              <a:t>ommunication </a:t>
            </a:r>
            <a:r>
              <a:rPr lang="en-US" sz="1700" b="1" dirty="0"/>
              <a:t>T</a:t>
            </a:r>
            <a:r>
              <a:rPr lang="en-US" sz="1700" b="1" dirty="0" smtClean="0"/>
              <a:t>eam </a:t>
            </a:r>
            <a:r>
              <a:rPr lang="en-US" sz="1700" b="1" dirty="0"/>
              <a:t>provides engaging, effective, and exclusive content and resources to support church leaders through ResourceUMC.org and its associated channels.</a:t>
            </a:r>
            <a:endParaRPr lang="en-US" sz="1700" dirty="0"/>
          </a:p>
          <a:p>
            <a:endParaRPr lang="en-US" sz="1700" dirty="0" smtClean="0"/>
          </a:p>
          <a:p>
            <a:pPr marL="285750" indent="-285750">
              <a:buFont typeface="Arial" panose="020B0604020202020204" pitchFamily="34" charset="0"/>
              <a:buChar char="•"/>
            </a:pPr>
            <a:r>
              <a:rPr lang="en-US" sz="1700" b="1" dirty="0" smtClean="0"/>
              <a:t>116</a:t>
            </a:r>
            <a:r>
              <a:rPr lang="en-US" sz="1700" dirty="0" smtClean="0"/>
              <a:t> pieces </a:t>
            </a:r>
            <a:r>
              <a:rPr lang="en-US" sz="1700" dirty="0"/>
              <a:t>of original content across English, Spanish and Korean audiences</a:t>
            </a:r>
          </a:p>
          <a:p>
            <a:pPr marL="285750" indent="-285750">
              <a:buFont typeface="Arial" panose="020B0604020202020204" pitchFamily="34" charset="0"/>
              <a:buChar char="•"/>
            </a:pPr>
            <a:r>
              <a:rPr lang="en-US" sz="1700" dirty="0"/>
              <a:t>Republished over </a:t>
            </a:r>
            <a:r>
              <a:rPr lang="en-US" sz="1700" b="1" dirty="0"/>
              <a:t>100</a:t>
            </a:r>
            <a:r>
              <a:rPr lang="en-US" sz="1700" dirty="0"/>
              <a:t> pieces of existing content from other agencies</a:t>
            </a:r>
          </a:p>
          <a:p>
            <a:pPr marL="285750" indent="-285750">
              <a:buFont typeface="Arial" panose="020B0604020202020204" pitchFamily="34" charset="0"/>
              <a:buChar char="•"/>
            </a:pPr>
            <a:r>
              <a:rPr lang="en-US" sz="1700" dirty="0"/>
              <a:t>Launch of </a:t>
            </a:r>
            <a:r>
              <a:rPr lang="en-US" sz="1700" i="1" dirty="0"/>
              <a:t>Pastoring in the Digital Parish </a:t>
            </a:r>
            <a:r>
              <a:rPr lang="en-US" sz="1700" dirty="0"/>
              <a:t>podcast</a:t>
            </a:r>
          </a:p>
          <a:p>
            <a:pPr marL="285750" indent="-285750">
              <a:buFont typeface="Arial" panose="020B0604020202020204" pitchFamily="34" charset="0"/>
              <a:buChar char="•"/>
            </a:pPr>
            <a:r>
              <a:rPr lang="en-US" sz="1700" dirty="0"/>
              <a:t>Projects: </a:t>
            </a:r>
          </a:p>
          <a:p>
            <a:pPr marL="742950" lvl="1" indent="-285750">
              <a:buFont typeface="Courier New" panose="02070309020205020404" pitchFamily="49" charset="0"/>
              <a:buChar char="o"/>
            </a:pPr>
            <a:r>
              <a:rPr lang="en-US" sz="1700" dirty="0"/>
              <a:t>Imagining the Future</a:t>
            </a:r>
          </a:p>
          <a:p>
            <a:pPr marL="742950" lvl="1" indent="-285750">
              <a:buFont typeface="Courier New" panose="02070309020205020404" pitchFamily="49" charset="0"/>
              <a:buChar char="o"/>
            </a:pPr>
            <a:r>
              <a:rPr lang="en-US" sz="1700" dirty="0"/>
              <a:t>Emerging Methodism</a:t>
            </a:r>
          </a:p>
          <a:p>
            <a:pPr marL="742950" lvl="1" indent="-285750">
              <a:buFont typeface="Courier New" panose="02070309020205020404" pitchFamily="49" charset="0"/>
              <a:buChar char="o"/>
            </a:pPr>
            <a:r>
              <a:rPr lang="en-US" sz="1700" dirty="0"/>
              <a:t>Content for State of the Church</a:t>
            </a:r>
          </a:p>
          <a:p>
            <a:pPr marL="285750" indent="-285750">
              <a:buFont typeface="Arial" panose="020B0604020202020204" pitchFamily="34" charset="0"/>
              <a:buChar char="•"/>
            </a:pPr>
            <a:r>
              <a:rPr lang="en-US" sz="1700" b="1" dirty="0"/>
              <a:t>14,255</a:t>
            </a:r>
            <a:r>
              <a:rPr lang="en-US" sz="1700" dirty="0"/>
              <a:t> subscribers - </a:t>
            </a:r>
            <a:r>
              <a:rPr lang="en-US" sz="1700" i="1" dirty="0"/>
              <a:t>The Source </a:t>
            </a:r>
            <a:r>
              <a:rPr lang="en-US" sz="1700" dirty="0"/>
              <a:t>newsletter </a:t>
            </a:r>
          </a:p>
          <a:p>
            <a:pPr marL="285750" indent="-285750">
              <a:buFont typeface="Arial" panose="020B0604020202020204" pitchFamily="34" charset="0"/>
              <a:buChar char="•"/>
            </a:pPr>
            <a:r>
              <a:rPr lang="en-US" sz="1700" b="1" dirty="0"/>
              <a:t>1.86 </a:t>
            </a:r>
            <a:r>
              <a:rPr lang="en-US" sz="1700" b="1" dirty="0" smtClean="0"/>
              <a:t>million </a:t>
            </a:r>
            <a:r>
              <a:rPr lang="en-US" sz="1700" dirty="0"/>
              <a:t>p</a:t>
            </a:r>
            <a:r>
              <a:rPr lang="en-US" sz="1700" dirty="0" smtClean="0"/>
              <a:t>age </a:t>
            </a:r>
            <a:r>
              <a:rPr lang="en-US" sz="1700" dirty="0"/>
              <a:t>v</a:t>
            </a:r>
            <a:r>
              <a:rPr lang="en-US" sz="1700" dirty="0" smtClean="0"/>
              <a:t>iews</a:t>
            </a:r>
            <a:endParaRPr lang="en-US" sz="1700" dirty="0"/>
          </a:p>
          <a:p>
            <a:pPr marL="285750" indent="-285750">
              <a:buFont typeface="Arial" panose="020B0604020202020204" pitchFamily="34" charset="0"/>
              <a:buChar char="•"/>
            </a:pPr>
            <a:r>
              <a:rPr lang="en-US" sz="1700" b="1" dirty="0"/>
              <a:t>444% </a:t>
            </a:r>
            <a:r>
              <a:rPr lang="en-US" sz="1700" dirty="0"/>
              <a:t>increase in traffic to ResourceUMC.org/</a:t>
            </a:r>
            <a:r>
              <a:rPr lang="en-US" sz="1700" dirty="0"/>
              <a:t>es</a:t>
            </a:r>
            <a:r>
              <a:rPr lang="en-US" sz="1700" dirty="0"/>
              <a:t> and a</a:t>
            </a:r>
            <a:r>
              <a:rPr lang="en-US" sz="1700" b="1" dirty="0"/>
              <a:t> 619% </a:t>
            </a:r>
            <a:r>
              <a:rPr lang="en-US" sz="1700" dirty="0"/>
              <a:t>increase in users who have their browser language set to </a:t>
            </a:r>
            <a:r>
              <a:rPr lang="en-US" sz="1700" dirty="0" smtClean="0"/>
              <a:t>Spanish </a:t>
            </a:r>
            <a:endParaRPr lang="en-US" sz="1700" dirty="0"/>
          </a:p>
          <a:p>
            <a:endParaRPr lang="en-US" dirty="0"/>
          </a:p>
        </p:txBody>
      </p:sp>
      <p:sp>
        <p:nvSpPr>
          <p:cNvPr id="5" name="AutoShape 2" descr="Seeker Team Annual Report Notes.doc">
            <a:extLst>
              <a:ext uri="{FF2B5EF4-FFF2-40B4-BE49-F238E27FC236}">
                <a16:creationId xmlns:a16="http://schemas.microsoft.com/office/drawing/2014/main" id="{CC68CDC2-AED0-EE4F-B379-E227C7D29E02}"/>
              </a:ext>
            </a:extLst>
          </p:cNvPr>
          <p:cNvSpPr>
            <a:spLocks noChangeAspect="1" noChangeArrowheads="1"/>
          </p:cNvSpPr>
          <p:nvPr/>
        </p:nvSpPr>
        <p:spPr bwMode="auto">
          <a:xfrm>
            <a:off x="57150" y="-174625"/>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8" name="Text Placeholder 7"/>
          <p:cNvSpPr>
            <a:spLocks noGrp="1"/>
          </p:cNvSpPr>
          <p:nvPr>
            <p:ph type="body" sz="quarter" idx="11"/>
          </p:nvPr>
        </p:nvSpPr>
        <p:spPr/>
        <p:txBody>
          <a:bodyPr/>
          <a:lstStyle/>
          <a:p>
            <a:r>
              <a:rPr lang="en-US" sz="5400" dirty="0"/>
              <a:t>Leader </a:t>
            </a:r>
            <a:r>
              <a:rPr lang="en-US" sz="5400" dirty="0" smtClean="0"/>
              <a:t>Communications</a:t>
            </a:r>
            <a:endParaRPr lang="en-US" sz="5400" dirty="0"/>
          </a:p>
        </p:txBody>
      </p:sp>
      <p:pic>
        <p:nvPicPr>
          <p:cNvPr id="19" name="Picture 18">
            <a:extLst>
              <a:ext uri="{FF2B5EF4-FFF2-40B4-BE49-F238E27FC236}">
                <a16:creationId xmlns:a16="http://schemas.microsoft.com/office/drawing/2014/main" id="{A267F6AF-7E04-1841-A678-D742CA9A3C9B}"/>
              </a:ext>
            </a:extLst>
          </p:cNvPr>
          <p:cNvPicPr>
            <a:picLocks noChangeAspect="1"/>
          </p:cNvPicPr>
          <p:nvPr/>
        </p:nvPicPr>
        <p:blipFill>
          <a:blip r:embed="rId2">
            <a:extLst>
              <a:ext uri="{BEBA8EAE-BF5A-486C-A8C5-ECC9F3942E4B}">
                <a14:imgProps xmlns:a14="http://schemas.microsoft.com/office/drawing/2010/main">
                  <a14:imgLayer r:embed="rId3">
                    <a14:imgEffect>
                      <a14:saturation sat="0"/>
                    </a14:imgEffect>
                  </a14:imgLayer>
                </a14:imgProps>
              </a:ext>
            </a:extLst>
          </a:blip>
          <a:stretch>
            <a:fillRect/>
          </a:stretch>
        </p:blipFill>
        <p:spPr>
          <a:xfrm>
            <a:off x="209550" y="139701"/>
            <a:ext cx="3914775" cy="2609850"/>
          </a:xfrm>
          <a:prstGeom prst="rect">
            <a:avLst/>
          </a:prstGeom>
        </p:spPr>
      </p:pic>
      <p:pic>
        <p:nvPicPr>
          <p:cNvPr id="20" name="Picture 19">
            <a:extLst>
              <a:ext uri="{FF2B5EF4-FFF2-40B4-BE49-F238E27FC236}">
                <a16:creationId xmlns:a16="http://schemas.microsoft.com/office/drawing/2014/main" id="{0E2746EA-4E53-A840-AAD7-B1746535AE09}"/>
              </a:ext>
            </a:extLst>
          </p:cNvPr>
          <p:cNvPicPr>
            <a:picLocks noChangeAspect="1"/>
          </p:cNvPicPr>
          <p:nvPr/>
        </p:nvPicPr>
        <p:blipFill rotWithShape="1">
          <a:blip r:embed="rId4">
            <a:extLst>
              <a:ext uri="{BEBA8EAE-BF5A-486C-A8C5-ECC9F3942E4B}">
                <a14:imgProps xmlns:a14="http://schemas.microsoft.com/office/drawing/2010/main">
                  <a14:imgLayer r:embed="rId5">
                    <a14:imgEffect>
                      <a14:saturation sat="0"/>
                    </a14:imgEffect>
                  </a14:imgLayer>
                </a14:imgProps>
              </a:ext>
            </a:extLst>
          </a:blip>
          <a:srcRect t="11111" r="9305" b="7222"/>
          <a:stretch/>
        </p:blipFill>
        <p:spPr>
          <a:xfrm>
            <a:off x="2900111" y="1695102"/>
            <a:ext cx="3133712" cy="2821781"/>
          </a:xfrm>
          <a:prstGeom prst="rect">
            <a:avLst/>
          </a:prstGeom>
        </p:spPr>
      </p:pic>
      <p:pic>
        <p:nvPicPr>
          <p:cNvPr id="22" name="Picture 21" descr="A picture containing text, electronics&#10;&#10;Description automatically generated">
            <a:extLst>
              <a:ext uri="{FF2B5EF4-FFF2-40B4-BE49-F238E27FC236}">
                <a16:creationId xmlns:a16="http://schemas.microsoft.com/office/drawing/2014/main" id="{86352EB4-8B48-1147-B213-F11EE461FA6F}"/>
              </a:ext>
            </a:extLst>
          </p:cNvPr>
          <p:cNvPicPr>
            <a:picLocks noChangeAspect="1"/>
          </p:cNvPicPr>
          <p:nvPr/>
        </p:nvPicPr>
        <p:blipFill>
          <a:blip r:embed="rId6" cstate="print">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tretch>
            <a:fillRect/>
          </a:stretch>
        </p:blipFill>
        <p:spPr>
          <a:xfrm>
            <a:off x="209550" y="3057525"/>
            <a:ext cx="3330808" cy="2216150"/>
          </a:xfrm>
          <a:prstGeom prst="rect">
            <a:avLst/>
          </a:prstGeom>
        </p:spPr>
      </p:pic>
    </p:spTree>
    <p:extLst>
      <p:ext uri="{BB962C8B-B14F-4D97-AF65-F5344CB8AC3E}">
        <p14:creationId xmlns:p14="http://schemas.microsoft.com/office/powerpoint/2010/main" val="1676448178"/>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p:txBody>
          <a:bodyPr/>
          <a:lstStyle/>
          <a:p>
            <a:r>
              <a:rPr lang="en-US" sz="5400" dirty="0" smtClean="0"/>
              <a:t>Production Services</a:t>
            </a:r>
            <a:endParaRPr lang="en-US" sz="5400" dirty="0"/>
          </a:p>
        </p:txBody>
      </p:sp>
      <p:grpSp>
        <p:nvGrpSpPr>
          <p:cNvPr id="10" name="Group 9"/>
          <p:cNvGrpSpPr/>
          <p:nvPr/>
        </p:nvGrpSpPr>
        <p:grpSpPr>
          <a:xfrm>
            <a:off x="514349" y="419101"/>
            <a:ext cx="4419644" cy="1948818"/>
            <a:chOff x="678238" y="329622"/>
            <a:chExt cx="4419644" cy="1948818"/>
          </a:xfrm>
          <a:solidFill>
            <a:schemeClr val="accent1">
              <a:lumMod val="50000"/>
            </a:schemeClr>
          </a:solidFill>
        </p:grpSpPr>
        <p:sp>
          <p:nvSpPr>
            <p:cNvPr id="11" name="Rectangle 10"/>
            <p:cNvSpPr/>
            <p:nvPr/>
          </p:nvSpPr>
          <p:spPr>
            <a:xfrm>
              <a:off x="678238" y="329622"/>
              <a:ext cx="4419644" cy="1948818"/>
            </a:xfrm>
            <a:prstGeom prst="rect">
              <a:avLst/>
            </a:prstGeom>
            <a:grpFill/>
          </p:spPr>
          <p:style>
            <a:lnRef idx="2">
              <a:schemeClr val="lt1">
                <a:hueOff val="0"/>
                <a:satOff val="0"/>
                <a:lumOff val="0"/>
                <a:alphaOff val="0"/>
              </a:schemeClr>
            </a:lnRef>
            <a:fillRef idx="1">
              <a:scrgbClr r="0" g="0" b="0"/>
            </a:fillRef>
            <a:effectRef idx="0">
              <a:schemeClr val="accent5">
                <a:alpha val="90000"/>
                <a:hueOff val="0"/>
                <a:satOff val="0"/>
                <a:lumOff val="0"/>
                <a:alphaOff val="0"/>
              </a:schemeClr>
            </a:effectRef>
            <a:fontRef idx="minor">
              <a:schemeClr val="lt1"/>
            </a:fontRef>
          </p:style>
        </p:sp>
        <p:sp>
          <p:nvSpPr>
            <p:cNvPr id="12" name="TextBox 11"/>
            <p:cNvSpPr txBox="1"/>
            <p:nvPr/>
          </p:nvSpPr>
          <p:spPr>
            <a:xfrm>
              <a:off x="678238" y="329622"/>
              <a:ext cx="4419644" cy="1948818"/>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60960" tIns="60960" rIns="60960" bIns="60960" numCol="1" spcCol="1270" anchor="ctr" anchorCtr="0">
              <a:noAutofit/>
            </a:bodyPr>
            <a:lstStyle/>
            <a:p>
              <a:r>
                <a:rPr lang="en-US" sz="1600" dirty="0"/>
                <a:t>The demand for video production services surged as people sought to stay connected virtually. Our production team adapted to meet the associated challenges to execute:</a:t>
              </a:r>
            </a:p>
            <a:p>
              <a:pPr marL="457200" indent="-457200">
                <a:buFont typeface="Arial" panose="020B0604020202020204" pitchFamily="34" charset="0"/>
                <a:buChar char="•"/>
              </a:pPr>
              <a:r>
                <a:rPr lang="en-US" sz="1600" b="1" dirty="0"/>
                <a:t>238</a:t>
              </a:r>
              <a:r>
                <a:rPr lang="en-US" sz="1600" dirty="0"/>
                <a:t> total projects </a:t>
              </a:r>
            </a:p>
            <a:p>
              <a:pPr marL="457200" indent="-457200">
                <a:buFont typeface="Arial" panose="020B0604020202020204" pitchFamily="34" charset="0"/>
                <a:buChar char="•"/>
              </a:pPr>
              <a:r>
                <a:rPr lang="en-US" sz="1600" b="1" dirty="0"/>
                <a:t>5,000+</a:t>
              </a:r>
              <a:r>
                <a:rPr lang="en-US" sz="1600" dirty="0"/>
                <a:t> hours of staff/equipment time</a:t>
              </a:r>
            </a:p>
          </p:txBody>
        </p:sp>
      </p:grpSp>
      <p:grpSp>
        <p:nvGrpSpPr>
          <p:cNvPr id="13" name="Group 12"/>
          <p:cNvGrpSpPr/>
          <p:nvPr/>
        </p:nvGrpSpPr>
        <p:grpSpPr>
          <a:xfrm>
            <a:off x="514349" y="3000375"/>
            <a:ext cx="4419644" cy="1948818"/>
            <a:chOff x="678238" y="329622"/>
            <a:chExt cx="4419644" cy="1948818"/>
          </a:xfrm>
          <a:solidFill>
            <a:schemeClr val="accent1">
              <a:lumMod val="50000"/>
            </a:schemeClr>
          </a:solidFill>
        </p:grpSpPr>
        <p:sp>
          <p:nvSpPr>
            <p:cNvPr id="14" name="Rectangle 13"/>
            <p:cNvSpPr/>
            <p:nvPr/>
          </p:nvSpPr>
          <p:spPr>
            <a:xfrm>
              <a:off x="678238" y="329622"/>
              <a:ext cx="4419644" cy="1948818"/>
            </a:xfrm>
            <a:prstGeom prst="rect">
              <a:avLst/>
            </a:prstGeom>
            <a:grpFill/>
          </p:spPr>
          <p:style>
            <a:lnRef idx="2">
              <a:schemeClr val="lt1">
                <a:hueOff val="0"/>
                <a:satOff val="0"/>
                <a:lumOff val="0"/>
                <a:alphaOff val="0"/>
              </a:schemeClr>
            </a:lnRef>
            <a:fillRef idx="1">
              <a:scrgbClr r="0" g="0" b="0"/>
            </a:fillRef>
            <a:effectRef idx="0">
              <a:schemeClr val="accent5">
                <a:alpha val="90000"/>
                <a:hueOff val="0"/>
                <a:satOff val="0"/>
                <a:lumOff val="0"/>
                <a:alphaOff val="0"/>
              </a:schemeClr>
            </a:effectRef>
            <a:fontRef idx="minor">
              <a:schemeClr val="lt1"/>
            </a:fontRef>
          </p:style>
        </p:sp>
        <p:sp>
          <p:nvSpPr>
            <p:cNvPr id="15" name="TextBox 14"/>
            <p:cNvSpPr txBox="1"/>
            <p:nvPr/>
          </p:nvSpPr>
          <p:spPr>
            <a:xfrm>
              <a:off x="678238" y="329622"/>
              <a:ext cx="4419644" cy="1948818"/>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60960" tIns="60960" rIns="60960" bIns="60960" numCol="1" spcCol="1270" anchor="ctr" anchorCtr="0">
              <a:noAutofit/>
            </a:bodyPr>
            <a:lstStyle/>
            <a:p>
              <a:r>
                <a:rPr lang="en-US" sz="1600" dirty="0"/>
                <a:t>The Kingswood Productions arm provided production services to </a:t>
              </a:r>
              <a:r>
                <a:rPr lang="en-US" sz="1600" b="1" dirty="0"/>
                <a:t>28</a:t>
              </a:r>
              <a:r>
                <a:rPr lang="en-US" sz="1600" dirty="0"/>
                <a:t> outside organizations to generate additional revenue for communications </a:t>
              </a:r>
              <a:r>
                <a:rPr lang="en-US" sz="1600" dirty="0" smtClean="0"/>
                <a:t>ministry.</a:t>
              </a:r>
              <a:endParaRPr lang="en-US" sz="1600" dirty="0"/>
            </a:p>
          </p:txBody>
        </p:sp>
      </p:grpSp>
      <p:grpSp>
        <p:nvGrpSpPr>
          <p:cNvPr id="16" name="Group 15"/>
          <p:cNvGrpSpPr/>
          <p:nvPr/>
        </p:nvGrpSpPr>
        <p:grpSpPr>
          <a:xfrm>
            <a:off x="6910386" y="419101"/>
            <a:ext cx="4633913" cy="4591050"/>
            <a:chOff x="678238" y="329621"/>
            <a:chExt cx="4419644" cy="3540169"/>
          </a:xfrm>
          <a:solidFill>
            <a:schemeClr val="accent1">
              <a:lumMod val="40000"/>
              <a:lumOff val="60000"/>
            </a:schemeClr>
          </a:solidFill>
        </p:grpSpPr>
        <p:sp>
          <p:nvSpPr>
            <p:cNvPr id="17" name="Rectangle 16"/>
            <p:cNvSpPr/>
            <p:nvPr/>
          </p:nvSpPr>
          <p:spPr>
            <a:xfrm>
              <a:off x="678238" y="329622"/>
              <a:ext cx="4419644" cy="1948818"/>
            </a:xfrm>
            <a:prstGeom prst="rect">
              <a:avLst/>
            </a:prstGeom>
            <a:grpFill/>
          </p:spPr>
          <p:style>
            <a:lnRef idx="2">
              <a:schemeClr val="lt1">
                <a:hueOff val="0"/>
                <a:satOff val="0"/>
                <a:lumOff val="0"/>
                <a:alphaOff val="0"/>
              </a:schemeClr>
            </a:lnRef>
            <a:fillRef idx="1">
              <a:scrgbClr r="0" g="0" b="0"/>
            </a:fillRef>
            <a:effectRef idx="0">
              <a:schemeClr val="accent5">
                <a:alpha val="90000"/>
                <a:hueOff val="0"/>
                <a:satOff val="0"/>
                <a:lumOff val="0"/>
                <a:alphaOff val="0"/>
              </a:schemeClr>
            </a:effectRef>
            <a:fontRef idx="minor">
              <a:schemeClr val="lt1"/>
            </a:fontRef>
          </p:style>
        </p:sp>
        <p:sp>
          <p:nvSpPr>
            <p:cNvPr id="18" name="TextBox 17"/>
            <p:cNvSpPr txBox="1"/>
            <p:nvPr/>
          </p:nvSpPr>
          <p:spPr>
            <a:xfrm>
              <a:off x="678238" y="329621"/>
              <a:ext cx="4419644" cy="3540169"/>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60960" tIns="60960" rIns="60960" bIns="60960" numCol="1" spcCol="1270" anchor="ctr" anchorCtr="0">
              <a:noAutofit/>
            </a:bodyPr>
            <a:lstStyle/>
            <a:p>
              <a:r>
                <a:rPr lang="en-US" sz="1600" b="1" dirty="0">
                  <a:solidFill>
                    <a:schemeClr val="tx1"/>
                  </a:solidFill>
                </a:rPr>
                <a:t>United Methodist Communications' state-of-the-art studios and production team supported local churches, annual and jurisdictional conferences, and other boards and agencies through the strategic use of video to deliver stories of the church and its people. </a:t>
              </a:r>
              <a:endParaRPr lang="en-US" sz="1600" b="1" dirty="0" smtClean="0">
                <a:solidFill>
                  <a:schemeClr val="tx1"/>
                </a:solidFill>
              </a:endParaRPr>
            </a:p>
            <a:p>
              <a:endParaRPr lang="en-US" sz="1600" dirty="0">
                <a:solidFill>
                  <a:schemeClr val="tx1"/>
                </a:solidFill>
              </a:endParaRPr>
            </a:p>
            <a:p>
              <a:pPr marL="457200" indent="-457200">
                <a:buFont typeface="Arial" panose="020B0604020202020204" pitchFamily="34" charset="0"/>
                <a:buChar char="•"/>
              </a:pPr>
              <a:r>
                <a:rPr lang="en-US" sz="1600" dirty="0">
                  <a:solidFill>
                    <a:schemeClr val="tx1"/>
                  </a:solidFill>
                </a:rPr>
                <a:t>Completed projects for </a:t>
              </a:r>
              <a:r>
                <a:rPr lang="en-US" sz="1600" b="1" dirty="0">
                  <a:solidFill>
                    <a:schemeClr val="tx1"/>
                  </a:solidFill>
                </a:rPr>
                <a:t>22</a:t>
              </a:r>
              <a:r>
                <a:rPr lang="en-US" sz="1600" dirty="0">
                  <a:solidFill>
                    <a:schemeClr val="tx1"/>
                  </a:solidFill>
                </a:rPr>
                <a:t> church entities</a:t>
              </a:r>
            </a:p>
            <a:p>
              <a:pPr marL="457200" indent="-457200">
                <a:buFont typeface="Arial" panose="020B0604020202020204" pitchFamily="34" charset="0"/>
                <a:buChar char="•"/>
              </a:pPr>
              <a:r>
                <a:rPr lang="en-US" sz="1600" dirty="0">
                  <a:solidFill>
                    <a:schemeClr val="tx1"/>
                  </a:solidFill>
                </a:rPr>
                <a:t>Sampling of projects includes</a:t>
              </a:r>
              <a:r>
                <a:rPr lang="en-US" sz="1600" dirty="0" smtClean="0">
                  <a:solidFill>
                    <a:schemeClr val="tx1"/>
                  </a:solidFill>
                </a:rPr>
                <a:t>:</a:t>
              </a:r>
            </a:p>
            <a:p>
              <a:pPr marL="742950" lvl="1" indent="-285750">
                <a:buFont typeface="Courier New" panose="02070309020205020404" pitchFamily="49" charset="0"/>
                <a:buChar char="o"/>
              </a:pPr>
              <a:r>
                <a:rPr lang="en-US" sz="1600" dirty="0">
                  <a:solidFill>
                    <a:schemeClr val="tx1"/>
                  </a:solidFill>
                </a:rPr>
                <a:t>Connectional Table’s Tuesdays at the Table</a:t>
              </a:r>
            </a:p>
            <a:p>
              <a:pPr marL="742950" lvl="1" indent="-285750">
                <a:buFont typeface="Courier New" panose="02070309020205020404" pitchFamily="49" charset="0"/>
                <a:buChar char="o"/>
              </a:pPr>
              <a:r>
                <a:rPr lang="en-US" sz="1600" dirty="0">
                  <a:solidFill>
                    <a:schemeClr val="tx1"/>
                  </a:solidFill>
                </a:rPr>
                <a:t>State of the Church report</a:t>
              </a:r>
            </a:p>
            <a:p>
              <a:pPr marL="742950" lvl="1" indent="-285750">
                <a:buFont typeface="Courier New" panose="02070309020205020404" pitchFamily="49" charset="0"/>
                <a:buChar char="o"/>
              </a:pPr>
              <a:r>
                <a:rPr lang="en-US" sz="1600" dirty="0">
                  <a:solidFill>
                    <a:schemeClr val="tx1"/>
                  </a:solidFill>
                </a:rPr>
                <a:t>Abingdon Press Bible studies</a:t>
              </a:r>
            </a:p>
            <a:p>
              <a:pPr marL="742950" lvl="1" indent="-285750">
                <a:buFont typeface="Courier New" panose="02070309020205020404" pitchFamily="49" charset="0"/>
                <a:buChar char="o"/>
              </a:pPr>
              <a:r>
                <a:rPr lang="en-US" sz="1600" dirty="0">
                  <a:solidFill>
                    <a:schemeClr val="tx1"/>
                  </a:solidFill>
                </a:rPr>
                <a:t>Educational and training videos</a:t>
              </a:r>
            </a:p>
            <a:p>
              <a:pPr marL="742950" lvl="1" indent="-285750">
                <a:buFont typeface="Courier New" panose="02070309020205020404" pitchFamily="49" charset="0"/>
                <a:buChar char="o"/>
              </a:pPr>
              <a:r>
                <a:rPr lang="en-US" sz="1600" dirty="0">
                  <a:solidFill>
                    <a:schemeClr val="tx1"/>
                  </a:solidFill>
                </a:rPr>
                <a:t>Denominational advertising campaign spots</a:t>
              </a:r>
            </a:p>
            <a:p>
              <a:pPr marL="742950" lvl="1" indent="-285750">
                <a:buFont typeface="Courier New" panose="02070309020205020404" pitchFamily="49" charset="0"/>
                <a:buChar char="o"/>
              </a:pPr>
              <a:r>
                <a:rPr lang="en-US" sz="1600" dirty="0">
                  <a:solidFill>
                    <a:schemeClr val="tx1"/>
                  </a:solidFill>
                </a:rPr>
                <a:t>UMC.org / ResourceUMC.org video content</a:t>
              </a:r>
            </a:p>
            <a:p>
              <a:pPr marL="742950" lvl="1" indent="-285750">
                <a:buFont typeface="Courier New" panose="02070309020205020404" pitchFamily="49" charset="0"/>
                <a:buChar char="o"/>
              </a:pPr>
              <a:r>
                <a:rPr lang="en-US" sz="1600" dirty="0">
                  <a:solidFill>
                    <a:schemeClr val="tx1"/>
                  </a:solidFill>
                </a:rPr>
                <a:t>Forums and livestreamed events</a:t>
              </a:r>
            </a:p>
            <a:p>
              <a:pPr marL="742950" lvl="1" indent="-285750">
                <a:buFont typeface="Courier New" panose="02070309020205020404" pitchFamily="49" charset="0"/>
                <a:buChar char="o"/>
              </a:pPr>
              <a:r>
                <a:rPr lang="en-US" sz="1600" dirty="0">
                  <a:solidFill>
                    <a:schemeClr val="tx1"/>
                  </a:solidFill>
                </a:rPr>
                <a:t>Webinars</a:t>
              </a:r>
              <a:endParaRPr lang="en-US" sz="1600" dirty="0" smtClean="0">
                <a:solidFill>
                  <a:schemeClr val="tx1"/>
                </a:solidFill>
              </a:endParaRPr>
            </a:p>
            <a:p>
              <a:endParaRPr lang="en-US" sz="1600" dirty="0"/>
            </a:p>
          </p:txBody>
        </p:sp>
      </p:grpSp>
    </p:spTree>
    <p:extLst>
      <p:ext uri="{BB962C8B-B14F-4D97-AF65-F5344CB8AC3E}">
        <p14:creationId xmlns:p14="http://schemas.microsoft.com/office/powerpoint/2010/main" val="3759520055"/>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1"/>
          </p:nvPr>
        </p:nvSpPr>
        <p:spPr/>
        <p:txBody>
          <a:bodyPr/>
          <a:lstStyle/>
          <a:p>
            <a:r>
              <a:rPr lang="en-US" sz="5400" dirty="0" smtClean="0"/>
              <a:t>Training</a:t>
            </a:r>
            <a:endParaRPr lang="en-US" sz="5400" dirty="0"/>
          </a:p>
        </p:txBody>
      </p:sp>
      <p:graphicFrame>
        <p:nvGraphicFramePr>
          <p:cNvPr id="5" name="Content Placeholder 3"/>
          <p:cNvGraphicFramePr>
            <a:graphicFrameLocks/>
          </p:cNvGraphicFramePr>
          <p:nvPr>
            <p:extLst>
              <p:ext uri="{D42A27DB-BD31-4B8C-83A1-F6EECF244321}">
                <p14:modId xmlns:p14="http://schemas.microsoft.com/office/powerpoint/2010/main" val="3368380709"/>
              </p:ext>
            </p:extLst>
          </p:nvPr>
        </p:nvGraphicFramePr>
        <p:xfrm>
          <a:off x="6703065" y="518506"/>
          <a:ext cx="4926442" cy="2907030"/>
        </p:xfrm>
        <a:graphic>
          <a:graphicData uri="http://schemas.openxmlformats.org/drawingml/2006/table">
            <a:tbl>
              <a:tblPr firstRow="1" bandRow="1">
                <a:tableStyleId>{93296810-A885-4BE3-A3E7-6D5BEEA58F35}</a:tableStyleId>
              </a:tblPr>
              <a:tblGrid>
                <a:gridCol w="3837474">
                  <a:extLst>
                    <a:ext uri="{9D8B030D-6E8A-4147-A177-3AD203B41FA5}">
                      <a16:colId xmlns:a16="http://schemas.microsoft.com/office/drawing/2014/main" val="3699925047"/>
                    </a:ext>
                  </a:extLst>
                </a:gridCol>
                <a:gridCol w="1088968">
                  <a:extLst>
                    <a:ext uri="{9D8B030D-6E8A-4147-A177-3AD203B41FA5}">
                      <a16:colId xmlns:a16="http://schemas.microsoft.com/office/drawing/2014/main" val="2396511864"/>
                    </a:ext>
                  </a:extLst>
                </a:gridCol>
              </a:tblGrid>
              <a:tr h="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smtClean="0"/>
                        <a:t>Top 10 Training Courses</a:t>
                      </a:r>
                    </a:p>
                  </a:txBody>
                  <a:tcPr anchor="ctr">
                    <a:solidFill>
                      <a:srgbClr val="005361"/>
                    </a:solidFill>
                  </a:tcPr>
                </a:tc>
                <a:tc>
                  <a:txBody>
                    <a:bodyPr/>
                    <a:lstStyle/>
                    <a:p>
                      <a:pPr algn="ctr"/>
                      <a:r>
                        <a:rPr lang="en-US" sz="1400" dirty="0" smtClean="0"/>
                        <a:t># trained</a:t>
                      </a:r>
                      <a:endParaRPr lang="en-US" sz="1400" dirty="0"/>
                    </a:p>
                  </a:txBody>
                  <a:tcPr anchor="ctr">
                    <a:solidFill>
                      <a:srgbClr val="005361"/>
                    </a:solidFill>
                  </a:tcPr>
                </a:tc>
                <a:extLst>
                  <a:ext uri="{0D108BD9-81ED-4DB2-BD59-A6C34878D82A}">
                    <a16:rowId xmlns:a16="http://schemas.microsoft.com/office/drawing/2014/main" val="3378951064"/>
                  </a:ext>
                </a:extLst>
              </a:tr>
              <a:tr h="352422">
                <a:tc>
                  <a:txBody>
                    <a:bodyPr/>
                    <a:lstStyle/>
                    <a:p>
                      <a:r>
                        <a:rPr lang="en-US" sz="1400" dirty="0" smtClean="0"/>
                        <a:t>Leveraging Communication for Greater Connection</a:t>
                      </a:r>
                      <a:endParaRPr lang="en-US" sz="1400" dirty="0">
                        <a:solidFill>
                          <a:schemeClr val="tx1"/>
                        </a:solidFill>
                      </a:endParaRPr>
                    </a:p>
                  </a:txBody>
                  <a:tcPr anchor="ctr">
                    <a:solidFill>
                      <a:srgbClr val="005361">
                        <a:alpha val="40000"/>
                      </a:srgbClr>
                    </a:solidFill>
                  </a:tcPr>
                </a:tc>
                <a:tc>
                  <a:txBody>
                    <a:bodyPr/>
                    <a:lstStyle/>
                    <a:p>
                      <a:pPr algn="ctr"/>
                      <a:r>
                        <a:rPr lang="en-US" sz="1400" dirty="0" smtClean="0"/>
                        <a:t>253</a:t>
                      </a:r>
                      <a:endParaRPr lang="en-US" sz="1400" b="0" dirty="0">
                        <a:solidFill>
                          <a:schemeClr val="tx1"/>
                        </a:solidFill>
                        <a:latin typeface="+mn-lt"/>
                      </a:endParaRPr>
                    </a:p>
                  </a:txBody>
                  <a:tcPr anchor="ctr">
                    <a:solidFill>
                      <a:srgbClr val="005361">
                        <a:alpha val="40000"/>
                      </a:srgbClr>
                    </a:solidFill>
                  </a:tcPr>
                </a:tc>
                <a:extLst>
                  <a:ext uri="{0D108BD9-81ED-4DB2-BD59-A6C34878D82A}">
                    <a16:rowId xmlns:a16="http://schemas.microsoft.com/office/drawing/2014/main" val="3453907600"/>
                  </a:ext>
                </a:extLst>
              </a:tr>
              <a:tr h="361950">
                <a:tc>
                  <a:txBody>
                    <a:bodyPr/>
                    <a:lstStyle/>
                    <a:p>
                      <a:r>
                        <a:rPr lang="en-US" sz="1400" dirty="0" smtClean="0"/>
                        <a:t>What It Means to be United Methodist</a:t>
                      </a:r>
                      <a:endParaRPr lang="en-US" sz="1400" dirty="0">
                        <a:solidFill>
                          <a:schemeClr val="tx1"/>
                        </a:solidFill>
                      </a:endParaRPr>
                    </a:p>
                  </a:txBody>
                  <a:tcPr anchor="ctr">
                    <a:solidFill>
                      <a:srgbClr val="005361">
                        <a:alpha val="15000"/>
                      </a:srgbClr>
                    </a:solidFill>
                  </a:tcPr>
                </a:tc>
                <a:tc>
                  <a:txBody>
                    <a:bodyPr/>
                    <a:lstStyle/>
                    <a:p>
                      <a:pPr algn="ctr"/>
                      <a:r>
                        <a:rPr lang="en-US" sz="1400" dirty="0" smtClean="0"/>
                        <a:t>189</a:t>
                      </a:r>
                      <a:endParaRPr lang="en-US" sz="1400" b="0" dirty="0">
                        <a:solidFill>
                          <a:schemeClr val="tx1"/>
                        </a:solidFill>
                        <a:latin typeface="+mn-lt"/>
                      </a:endParaRPr>
                    </a:p>
                  </a:txBody>
                  <a:tcPr anchor="ctr">
                    <a:solidFill>
                      <a:srgbClr val="005361">
                        <a:alpha val="15000"/>
                      </a:srgbClr>
                    </a:solidFill>
                  </a:tcPr>
                </a:tc>
                <a:extLst>
                  <a:ext uri="{0D108BD9-81ED-4DB2-BD59-A6C34878D82A}">
                    <a16:rowId xmlns:a16="http://schemas.microsoft.com/office/drawing/2014/main" val="3133109956"/>
                  </a:ext>
                </a:extLst>
              </a:tr>
              <a:tr h="438150">
                <a:tc>
                  <a:txBody>
                    <a:bodyPr/>
                    <a:lstStyle/>
                    <a:p>
                      <a:r>
                        <a:rPr lang="en-US" sz="1400" b="0" dirty="0" smtClean="0"/>
                        <a:t>Moving the Church Forward Through Communication </a:t>
                      </a:r>
                      <a:endParaRPr lang="en-US" sz="1400" b="0" dirty="0">
                        <a:solidFill>
                          <a:schemeClr val="tx1"/>
                        </a:solidFill>
                      </a:endParaRPr>
                    </a:p>
                  </a:txBody>
                  <a:tcPr anchor="ctr">
                    <a:solidFill>
                      <a:srgbClr val="005361">
                        <a:alpha val="40000"/>
                      </a:srgbClr>
                    </a:solidFill>
                  </a:tcPr>
                </a:tc>
                <a:tc>
                  <a:txBody>
                    <a:bodyPr/>
                    <a:lstStyle/>
                    <a:p>
                      <a:pPr algn="ctr"/>
                      <a:r>
                        <a:rPr lang="en-US" sz="1400" dirty="0" smtClean="0"/>
                        <a:t>114</a:t>
                      </a:r>
                      <a:endParaRPr lang="en-US" sz="1400" b="0" dirty="0">
                        <a:solidFill>
                          <a:schemeClr val="tx1"/>
                        </a:solidFill>
                        <a:latin typeface="+mn-lt"/>
                      </a:endParaRPr>
                    </a:p>
                  </a:txBody>
                  <a:tcPr anchor="ctr">
                    <a:solidFill>
                      <a:srgbClr val="005361">
                        <a:alpha val="40000"/>
                      </a:srgbClr>
                    </a:solidFill>
                  </a:tcPr>
                </a:tc>
                <a:extLst>
                  <a:ext uri="{0D108BD9-81ED-4DB2-BD59-A6C34878D82A}">
                    <a16:rowId xmlns:a16="http://schemas.microsoft.com/office/drawing/2014/main" val="2130522081"/>
                  </a:ext>
                </a:extLst>
              </a:tr>
              <a:tr h="314325">
                <a:tc>
                  <a:txBody>
                    <a:bodyPr/>
                    <a:lstStyle/>
                    <a:p>
                      <a:r>
                        <a:rPr lang="en-US" sz="1400" dirty="0" smtClean="0"/>
                        <a:t>Developing A Strategy for Communications Planning</a:t>
                      </a:r>
                      <a:endParaRPr lang="en-US" sz="1400" dirty="0">
                        <a:solidFill>
                          <a:schemeClr val="tx1"/>
                        </a:solidFill>
                      </a:endParaRPr>
                    </a:p>
                  </a:txBody>
                  <a:tcPr anchor="ctr">
                    <a:solidFill>
                      <a:srgbClr val="005361">
                        <a:alpha val="15000"/>
                      </a:srgbClr>
                    </a:solidFill>
                  </a:tcPr>
                </a:tc>
                <a:tc>
                  <a:txBody>
                    <a:bodyPr/>
                    <a:lstStyle/>
                    <a:p>
                      <a:pPr algn="ctr"/>
                      <a:r>
                        <a:rPr lang="en-US" sz="1400" dirty="0" smtClean="0"/>
                        <a:t>94</a:t>
                      </a:r>
                      <a:endParaRPr lang="en-US" sz="1400" b="0" dirty="0">
                        <a:solidFill>
                          <a:schemeClr val="tx1"/>
                        </a:solidFill>
                        <a:latin typeface="+mn-lt"/>
                      </a:endParaRPr>
                    </a:p>
                  </a:txBody>
                  <a:tcPr anchor="ctr">
                    <a:solidFill>
                      <a:srgbClr val="005361">
                        <a:alpha val="15000"/>
                      </a:srgbClr>
                    </a:solidFill>
                  </a:tcPr>
                </a:tc>
                <a:extLst>
                  <a:ext uri="{0D108BD9-81ED-4DB2-BD59-A6C34878D82A}">
                    <a16:rowId xmlns:a16="http://schemas.microsoft.com/office/drawing/2014/main" val="834679524"/>
                  </a:ext>
                </a:extLst>
              </a:tr>
              <a:tr h="342900">
                <a:tc>
                  <a:txBody>
                    <a:bodyPr/>
                    <a:lstStyle/>
                    <a:p>
                      <a:r>
                        <a:rPr lang="en-US" sz="1400" dirty="0" smtClean="0"/>
                        <a:t>Communicating During Seasons of Change</a:t>
                      </a:r>
                      <a:endParaRPr lang="en-US" sz="1400" dirty="0">
                        <a:solidFill>
                          <a:schemeClr val="tx1"/>
                        </a:solidFill>
                      </a:endParaRPr>
                    </a:p>
                  </a:txBody>
                  <a:tcPr anchor="ctr">
                    <a:solidFill>
                      <a:srgbClr val="005361">
                        <a:alpha val="40000"/>
                      </a:srgbClr>
                    </a:solidFill>
                  </a:tcPr>
                </a:tc>
                <a:tc>
                  <a:txBody>
                    <a:bodyPr/>
                    <a:lstStyle/>
                    <a:p>
                      <a:pPr algn="ctr"/>
                      <a:r>
                        <a:rPr lang="en-US" sz="1400" dirty="0" smtClean="0"/>
                        <a:t>72</a:t>
                      </a:r>
                      <a:endParaRPr lang="en-US" sz="1400" b="0" dirty="0">
                        <a:solidFill>
                          <a:schemeClr val="tx1"/>
                        </a:solidFill>
                        <a:latin typeface="+mn-lt"/>
                      </a:endParaRPr>
                    </a:p>
                  </a:txBody>
                  <a:tcPr anchor="ctr">
                    <a:solidFill>
                      <a:srgbClr val="005361">
                        <a:alpha val="40000"/>
                      </a:srgbClr>
                    </a:solidFill>
                  </a:tcPr>
                </a:tc>
                <a:extLst>
                  <a:ext uri="{0D108BD9-81ED-4DB2-BD59-A6C34878D82A}">
                    <a16:rowId xmlns:a16="http://schemas.microsoft.com/office/drawing/2014/main" val="1696278628"/>
                  </a:ext>
                </a:extLst>
              </a:tr>
              <a:tr h="342900">
                <a:tc>
                  <a:txBody>
                    <a:bodyPr/>
                    <a:lstStyle/>
                    <a:p>
                      <a:r>
                        <a:rPr lang="en-US" sz="1400" dirty="0" smtClean="0"/>
                        <a:t>Capturing Better Smartphone Photos</a:t>
                      </a:r>
                      <a:endParaRPr lang="en-US" sz="1400" dirty="0">
                        <a:solidFill>
                          <a:schemeClr val="tx1"/>
                        </a:solidFill>
                      </a:endParaRPr>
                    </a:p>
                  </a:txBody>
                  <a:tcPr anchor="ctr">
                    <a:solidFill>
                      <a:srgbClr val="005361">
                        <a:alpha val="15000"/>
                      </a:srgbClr>
                    </a:solidFill>
                  </a:tcPr>
                </a:tc>
                <a:tc>
                  <a:txBody>
                    <a:bodyPr/>
                    <a:lstStyle/>
                    <a:p>
                      <a:pPr algn="ctr"/>
                      <a:r>
                        <a:rPr lang="en-US" sz="1400" dirty="0" smtClean="0"/>
                        <a:t>71</a:t>
                      </a:r>
                      <a:endParaRPr lang="en-US" sz="1400" b="0" dirty="0">
                        <a:solidFill>
                          <a:schemeClr val="tx1"/>
                        </a:solidFill>
                        <a:latin typeface="+mn-lt"/>
                      </a:endParaRPr>
                    </a:p>
                  </a:txBody>
                  <a:tcPr anchor="ctr">
                    <a:solidFill>
                      <a:srgbClr val="005361">
                        <a:alpha val="15000"/>
                      </a:srgbClr>
                    </a:solidFill>
                  </a:tcPr>
                </a:tc>
                <a:extLst>
                  <a:ext uri="{0D108BD9-81ED-4DB2-BD59-A6C34878D82A}">
                    <a16:rowId xmlns:a16="http://schemas.microsoft.com/office/drawing/2014/main" val="4200408854"/>
                  </a:ext>
                </a:extLst>
              </a:tr>
            </a:tbl>
          </a:graphicData>
        </a:graphic>
      </p:graphicFrame>
      <p:graphicFrame>
        <p:nvGraphicFramePr>
          <p:cNvPr id="6" name="Content Placeholder 3"/>
          <p:cNvGraphicFramePr>
            <a:graphicFrameLocks/>
          </p:cNvGraphicFramePr>
          <p:nvPr>
            <p:extLst>
              <p:ext uri="{D42A27DB-BD31-4B8C-83A1-F6EECF244321}">
                <p14:modId xmlns:p14="http://schemas.microsoft.com/office/powerpoint/2010/main" val="515946658"/>
              </p:ext>
            </p:extLst>
          </p:nvPr>
        </p:nvGraphicFramePr>
        <p:xfrm>
          <a:off x="6689358" y="3425536"/>
          <a:ext cx="4940149" cy="1764027"/>
        </p:xfrm>
        <a:graphic>
          <a:graphicData uri="http://schemas.openxmlformats.org/drawingml/2006/table">
            <a:tbl>
              <a:tblPr firstRow="1" bandRow="1">
                <a:tableStyleId>{93296810-A885-4BE3-A3E7-6D5BEEA58F35}</a:tableStyleId>
              </a:tblPr>
              <a:tblGrid>
                <a:gridCol w="3859493">
                  <a:extLst>
                    <a:ext uri="{9D8B030D-6E8A-4147-A177-3AD203B41FA5}">
                      <a16:colId xmlns:a16="http://schemas.microsoft.com/office/drawing/2014/main" val="3699925047"/>
                    </a:ext>
                  </a:extLst>
                </a:gridCol>
                <a:gridCol w="1080656">
                  <a:extLst>
                    <a:ext uri="{9D8B030D-6E8A-4147-A177-3AD203B41FA5}">
                      <a16:colId xmlns:a16="http://schemas.microsoft.com/office/drawing/2014/main" val="2396511864"/>
                    </a:ext>
                  </a:extLst>
                </a:gridCol>
              </a:tblGrid>
              <a:tr h="335277">
                <a:tc>
                  <a:txBody>
                    <a:bodyPr/>
                    <a:lstStyle/>
                    <a:p>
                      <a:r>
                        <a:rPr lang="en-US" sz="1400" b="0" dirty="0" smtClean="0">
                          <a:solidFill>
                            <a:schemeClr val="tx1"/>
                          </a:solidFill>
                        </a:rPr>
                        <a:t>Social Media For Churches</a:t>
                      </a:r>
                      <a:endParaRPr lang="en-US" sz="1400" b="0" dirty="0">
                        <a:solidFill>
                          <a:schemeClr val="tx1"/>
                        </a:solidFill>
                      </a:endParaRPr>
                    </a:p>
                  </a:txBody>
                  <a:tcPr anchor="ctr">
                    <a:solidFill>
                      <a:srgbClr val="005361">
                        <a:alpha val="40000"/>
                      </a:srgbClr>
                    </a:solidFill>
                  </a:tcPr>
                </a:tc>
                <a:tc>
                  <a:txBody>
                    <a:bodyPr/>
                    <a:lstStyle/>
                    <a:p>
                      <a:pPr algn="ctr"/>
                      <a:r>
                        <a:rPr lang="en-US" sz="1400" b="0" dirty="0" smtClean="0">
                          <a:solidFill>
                            <a:schemeClr val="tx1"/>
                          </a:solidFill>
                        </a:rPr>
                        <a:t>34</a:t>
                      </a:r>
                      <a:endParaRPr lang="en-US" sz="1400" b="0" dirty="0">
                        <a:solidFill>
                          <a:schemeClr val="tx1"/>
                        </a:solidFill>
                        <a:latin typeface="+mn-lt"/>
                      </a:endParaRPr>
                    </a:p>
                  </a:txBody>
                  <a:tcPr anchor="ctr">
                    <a:solidFill>
                      <a:srgbClr val="005361">
                        <a:alpha val="40000"/>
                      </a:srgbClr>
                    </a:solidFill>
                  </a:tcPr>
                </a:tc>
                <a:extLst>
                  <a:ext uri="{0D108BD9-81ED-4DB2-BD59-A6C34878D82A}">
                    <a16:rowId xmlns:a16="http://schemas.microsoft.com/office/drawing/2014/main" val="3453907600"/>
                  </a:ext>
                </a:extLst>
              </a:tr>
              <a:tr h="361950">
                <a:tc>
                  <a:txBody>
                    <a:bodyPr/>
                    <a:lstStyle/>
                    <a:p>
                      <a:r>
                        <a:rPr lang="en-US" sz="1400" b="0" dirty="0" smtClean="0"/>
                        <a:t>Video Editing for Churches</a:t>
                      </a:r>
                      <a:endParaRPr lang="en-US" sz="1400" b="0" dirty="0">
                        <a:solidFill>
                          <a:schemeClr val="tx1"/>
                        </a:solidFill>
                      </a:endParaRPr>
                    </a:p>
                  </a:txBody>
                  <a:tcPr anchor="ctr">
                    <a:solidFill>
                      <a:srgbClr val="005361">
                        <a:alpha val="15000"/>
                      </a:srgbClr>
                    </a:solidFill>
                  </a:tcPr>
                </a:tc>
                <a:tc>
                  <a:txBody>
                    <a:bodyPr/>
                    <a:lstStyle/>
                    <a:p>
                      <a:pPr algn="ctr"/>
                      <a:r>
                        <a:rPr lang="en-US" sz="1400" dirty="0" smtClean="0"/>
                        <a:t>32</a:t>
                      </a:r>
                      <a:endParaRPr lang="en-US" sz="1400" b="0" dirty="0">
                        <a:solidFill>
                          <a:schemeClr val="tx1"/>
                        </a:solidFill>
                        <a:latin typeface="+mn-lt"/>
                      </a:endParaRPr>
                    </a:p>
                  </a:txBody>
                  <a:tcPr anchor="ctr">
                    <a:solidFill>
                      <a:srgbClr val="005361">
                        <a:alpha val="15000"/>
                      </a:srgbClr>
                    </a:solidFill>
                  </a:tcPr>
                </a:tc>
                <a:extLst>
                  <a:ext uri="{0D108BD9-81ED-4DB2-BD59-A6C34878D82A}">
                    <a16:rowId xmlns:a16="http://schemas.microsoft.com/office/drawing/2014/main" val="3133109956"/>
                  </a:ext>
                </a:extLst>
              </a:tr>
              <a:tr h="438150">
                <a:tc>
                  <a:txBody>
                    <a:bodyPr/>
                    <a:lstStyle/>
                    <a:p>
                      <a:r>
                        <a:rPr lang="en-US" sz="1400" dirty="0" smtClean="0"/>
                        <a:t>Leading Remote Worship</a:t>
                      </a:r>
                      <a:endParaRPr lang="en-US" sz="1400" dirty="0">
                        <a:solidFill>
                          <a:schemeClr val="tx1"/>
                        </a:solidFill>
                      </a:endParaRPr>
                    </a:p>
                  </a:txBody>
                  <a:tcPr anchor="ctr">
                    <a:solidFill>
                      <a:srgbClr val="005361">
                        <a:alpha val="40000"/>
                      </a:srgbClr>
                    </a:solidFill>
                  </a:tcPr>
                </a:tc>
                <a:tc>
                  <a:txBody>
                    <a:bodyPr/>
                    <a:lstStyle/>
                    <a:p>
                      <a:pPr algn="ctr"/>
                      <a:r>
                        <a:rPr lang="en-US" sz="1400" dirty="0" smtClean="0"/>
                        <a:t>31</a:t>
                      </a:r>
                      <a:endParaRPr lang="en-US" sz="1400" b="0" dirty="0">
                        <a:solidFill>
                          <a:schemeClr val="tx1"/>
                        </a:solidFill>
                        <a:latin typeface="+mn-lt"/>
                      </a:endParaRPr>
                    </a:p>
                  </a:txBody>
                  <a:tcPr anchor="ctr">
                    <a:solidFill>
                      <a:srgbClr val="005361">
                        <a:alpha val="40000"/>
                      </a:srgbClr>
                    </a:solidFill>
                  </a:tcPr>
                </a:tc>
                <a:extLst>
                  <a:ext uri="{0D108BD9-81ED-4DB2-BD59-A6C34878D82A}">
                    <a16:rowId xmlns:a16="http://schemas.microsoft.com/office/drawing/2014/main" val="2130522081"/>
                  </a:ext>
                </a:extLst>
              </a:tr>
              <a:tr h="314325">
                <a:tc>
                  <a:txBody>
                    <a:bodyPr/>
                    <a:lstStyle/>
                    <a:p>
                      <a:r>
                        <a:rPr lang="en-US" sz="1400" dirty="0" smtClean="0"/>
                        <a:t>Welcoming Ministry</a:t>
                      </a:r>
                      <a:endParaRPr lang="en-US" sz="1400" dirty="0">
                        <a:solidFill>
                          <a:schemeClr val="tx1"/>
                        </a:solidFill>
                      </a:endParaRPr>
                    </a:p>
                  </a:txBody>
                  <a:tcPr anchor="ctr">
                    <a:solidFill>
                      <a:srgbClr val="005361">
                        <a:alpha val="15000"/>
                      </a:srgbClr>
                    </a:solidFill>
                  </a:tcPr>
                </a:tc>
                <a:tc>
                  <a:txBody>
                    <a:bodyPr/>
                    <a:lstStyle/>
                    <a:p>
                      <a:pPr algn="ctr"/>
                      <a:r>
                        <a:rPr lang="en-US" sz="1400" dirty="0" smtClean="0"/>
                        <a:t>29</a:t>
                      </a:r>
                      <a:endParaRPr lang="en-US" sz="1400" b="0" dirty="0">
                        <a:solidFill>
                          <a:schemeClr val="tx1"/>
                        </a:solidFill>
                        <a:latin typeface="+mn-lt"/>
                      </a:endParaRPr>
                    </a:p>
                  </a:txBody>
                  <a:tcPr anchor="ctr">
                    <a:solidFill>
                      <a:srgbClr val="005361">
                        <a:alpha val="15000"/>
                      </a:srgbClr>
                    </a:solidFill>
                  </a:tcPr>
                </a:tc>
                <a:extLst>
                  <a:ext uri="{0D108BD9-81ED-4DB2-BD59-A6C34878D82A}">
                    <a16:rowId xmlns:a16="http://schemas.microsoft.com/office/drawing/2014/main" val="834679524"/>
                  </a:ext>
                </a:extLst>
              </a:tr>
              <a:tr h="314325">
                <a:tc>
                  <a:txBody>
                    <a:bodyPr/>
                    <a:lstStyle/>
                    <a:p>
                      <a:r>
                        <a:rPr lang="en-US" sz="1400" dirty="0" smtClean="0">
                          <a:solidFill>
                            <a:schemeClr val="bg1"/>
                          </a:solidFill>
                        </a:rPr>
                        <a:t>Total</a:t>
                      </a:r>
                      <a:endParaRPr lang="en-US" sz="1400" dirty="0">
                        <a:solidFill>
                          <a:schemeClr val="bg1"/>
                        </a:solidFill>
                      </a:endParaRPr>
                    </a:p>
                  </a:txBody>
                  <a:tcPr anchor="ctr">
                    <a:solidFill>
                      <a:srgbClr val="005361"/>
                    </a:solidFill>
                  </a:tcPr>
                </a:tc>
                <a:tc>
                  <a:txBody>
                    <a:bodyPr/>
                    <a:lstStyle/>
                    <a:p>
                      <a:pPr algn="ctr"/>
                      <a:r>
                        <a:rPr lang="en-US" sz="1400" b="0" dirty="0" smtClean="0">
                          <a:solidFill>
                            <a:schemeClr val="bg1"/>
                          </a:solidFill>
                          <a:latin typeface="+mn-lt"/>
                        </a:rPr>
                        <a:t>919</a:t>
                      </a:r>
                      <a:endParaRPr lang="en-US" sz="1400" b="0" dirty="0">
                        <a:solidFill>
                          <a:schemeClr val="bg1"/>
                        </a:solidFill>
                        <a:latin typeface="+mn-lt"/>
                      </a:endParaRPr>
                    </a:p>
                  </a:txBody>
                  <a:tcPr anchor="ctr">
                    <a:solidFill>
                      <a:srgbClr val="005361"/>
                    </a:solidFill>
                  </a:tcPr>
                </a:tc>
                <a:extLst>
                  <a:ext uri="{0D108BD9-81ED-4DB2-BD59-A6C34878D82A}">
                    <a16:rowId xmlns:a16="http://schemas.microsoft.com/office/drawing/2014/main" val="334371089"/>
                  </a:ext>
                </a:extLst>
              </a:tr>
            </a:tbl>
          </a:graphicData>
        </a:graphic>
      </p:graphicFrame>
      <p:sp>
        <p:nvSpPr>
          <p:cNvPr id="10" name="TextBox 9"/>
          <p:cNvSpPr txBox="1"/>
          <p:nvPr/>
        </p:nvSpPr>
        <p:spPr>
          <a:xfrm>
            <a:off x="798022" y="706582"/>
            <a:ext cx="4571999" cy="4801314"/>
          </a:xfrm>
          <a:prstGeom prst="rect">
            <a:avLst/>
          </a:prstGeom>
          <a:noFill/>
        </p:spPr>
        <p:txBody>
          <a:bodyPr wrap="square" rtlCol="0">
            <a:spAutoFit/>
          </a:bodyPr>
          <a:lstStyle/>
          <a:p>
            <a:r>
              <a:rPr lang="en-US" dirty="0">
                <a:solidFill>
                  <a:schemeClr val="bg1"/>
                </a:solidFill>
              </a:rPr>
              <a:t>In 2021, </a:t>
            </a:r>
            <a:r>
              <a:rPr lang="en-US" dirty="0" smtClean="0">
                <a:solidFill>
                  <a:schemeClr val="bg1"/>
                </a:solidFill>
              </a:rPr>
              <a:t>the Training Team </a:t>
            </a:r>
            <a:r>
              <a:rPr lang="en-US" dirty="0">
                <a:solidFill>
                  <a:schemeClr val="bg1"/>
                </a:solidFill>
              </a:rPr>
              <a:t>introduced four new avenues of training to help leaders flourish through </a:t>
            </a:r>
            <a:r>
              <a:rPr lang="en-US" dirty="0" smtClean="0">
                <a:solidFill>
                  <a:schemeClr val="bg1"/>
                </a:solidFill>
              </a:rPr>
              <a:t>communications: two </a:t>
            </a:r>
            <a:r>
              <a:rPr lang="en-US" dirty="0">
                <a:solidFill>
                  <a:schemeClr val="bg1"/>
                </a:solidFill>
              </a:rPr>
              <a:t>facilitated courses (Developing a Strategy for Communication Planning, Communicating During Seasons of Change) and two ecumenical communication conferences (Leveraging Communication, Moving the Church Forward through Communication</a:t>
            </a:r>
            <a:r>
              <a:rPr lang="en-US" dirty="0" smtClean="0">
                <a:solidFill>
                  <a:schemeClr val="bg1"/>
                </a:solidFill>
              </a:rPr>
              <a:t>). The conferences attracted </a:t>
            </a:r>
            <a:r>
              <a:rPr lang="en-US" b="1" dirty="0" smtClean="0">
                <a:solidFill>
                  <a:schemeClr val="bg1"/>
                </a:solidFill>
              </a:rPr>
              <a:t>700</a:t>
            </a:r>
            <a:r>
              <a:rPr lang="en-US" dirty="0" smtClean="0">
                <a:solidFill>
                  <a:schemeClr val="bg1"/>
                </a:solidFill>
              </a:rPr>
              <a:t> participants </a:t>
            </a:r>
            <a:r>
              <a:rPr lang="en-US" dirty="0">
                <a:solidFill>
                  <a:schemeClr val="bg1"/>
                </a:solidFill>
              </a:rPr>
              <a:t>from eight </a:t>
            </a:r>
            <a:r>
              <a:rPr lang="en-US" dirty="0" smtClean="0">
                <a:solidFill>
                  <a:schemeClr val="bg1"/>
                </a:solidFill>
              </a:rPr>
              <a:t>denominations</a:t>
            </a:r>
            <a:r>
              <a:rPr lang="en-US" dirty="0">
                <a:solidFill>
                  <a:schemeClr val="bg1"/>
                </a:solidFill>
              </a:rPr>
              <a:t>, all looking to adopt innovative communications and learn best practices for effective church communications</a:t>
            </a:r>
            <a:r>
              <a:rPr lang="en-US" dirty="0" smtClean="0">
                <a:solidFill>
                  <a:schemeClr val="bg1"/>
                </a:solidFill>
              </a:rPr>
              <a:t>.</a:t>
            </a:r>
            <a:r>
              <a:rPr lang="en-US" dirty="0">
                <a:solidFill>
                  <a:schemeClr val="bg1"/>
                </a:solidFill>
              </a:rPr>
              <a:t> </a:t>
            </a:r>
            <a:endParaRPr lang="en-US" dirty="0" smtClean="0">
              <a:solidFill>
                <a:schemeClr val="bg1"/>
              </a:solidFill>
            </a:endParaRPr>
          </a:p>
          <a:p>
            <a:endParaRPr lang="en-US" dirty="0">
              <a:solidFill>
                <a:schemeClr val="bg1"/>
              </a:solidFill>
            </a:endParaRPr>
          </a:p>
          <a:p>
            <a:r>
              <a:rPr lang="en-US" dirty="0" smtClean="0">
                <a:solidFill>
                  <a:schemeClr val="bg1"/>
                </a:solidFill>
              </a:rPr>
              <a:t>A total of </a:t>
            </a:r>
            <a:r>
              <a:rPr lang="en-US" b="1" dirty="0" smtClean="0">
                <a:solidFill>
                  <a:schemeClr val="bg1"/>
                </a:solidFill>
              </a:rPr>
              <a:t>2,000</a:t>
            </a:r>
            <a:r>
              <a:rPr lang="en-US" dirty="0" smtClean="0">
                <a:solidFill>
                  <a:schemeClr val="bg1"/>
                </a:solidFill>
              </a:rPr>
              <a:t> persons were trained during 2021.</a:t>
            </a:r>
            <a:endParaRPr lang="en-US" dirty="0">
              <a:solidFill>
                <a:schemeClr val="bg1"/>
              </a:solidFill>
            </a:endParaRPr>
          </a:p>
          <a:p>
            <a:endParaRPr lang="en-US" dirty="0"/>
          </a:p>
        </p:txBody>
      </p:sp>
    </p:spTree>
    <p:extLst>
      <p:ext uri="{BB962C8B-B14F-4D97-AF65-F5344CB8AC3E}">
        <p14:creationId xmlns:p14="http://schemas.microsoft.com/office/powerpoint/2010/main" val="459262037"/>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5440135" y="1135062"/>
            <a:ext cx="6191250" cy="5389563"/>
          </a:xfrm>
        </p:spPr>
        <p:txBody>
          <a:bodyPr>
            <a:normAutofit fontScale="62500" lnSpcReduction="20000"/>
          </a:bodyPr>
          <a:lstStyle/>
          <a:p>
            <a:pPr>
              <a:lnSpc>
                <a:spcPct val="120000"/>
              </a:lnSpc>
              <a:spcBef>
                <a:spcPts val="0"/>
              </a:spcBef>
            </a:pPr>
            <a:r>
              <a:rPr lang="en-US" dirty="0"/>
              <a:t>UM News focused on </a:t>
            </a:r>
            <a:r>
              <a:rPr lang="en-US" dirty="0" smtClean="0"/>
              <a:t>four </a:t>
            </a:r>
            <a:r>
              <a:rPr lang="en-US" dirty="0"/>
              <a:t>major areas of coverage in 2021: The future of the church, the church’s response to the pandemic, efforts to confront and dismantle racism, and uplifting features of United Methodist individuals and congregations transforming the world through their faith</a:t>
            </a:r>
            <a:r>
              <a:rPr lang="en-US" dirty="0" smtClean="0"/>
              <a:t>.</a:t>
            </a:r>
          </a:p>
          <a:p>
            <a:pPr>
              <a:lnSpc>
                <a:spcPct val="120000"/>
              </a:lnSpc>
              <a:spcBef>
                <a:spcPts val="0"/>
              </a:spcBef>
            </a:pPr>
            <a:endParaRPr lang="en-US" dirty="0"/>
          </a:p>
          <a:p>
            <a:pPr>
              <a:lnSpc>
                <a:spcPct val="120000"/>
              </a:lnSpc>
              <a:spcBef>
                <a:spcPts val="0"/>
              </a:spcBef>
            </a:pPr>
            <a:r>
              <a:rPr lang="en-US" dirty="0" smtClean="0"/>
              <a:t>UM </a:t>
            </a:r>
            <a:r>
              <a:rPr lang="en-US" dirty="0"/>
              <a:t>News produced more than </a:t>
            </a:r>
            <a:r>
              <a:rPr lang="en-US" b="1" dirty="0"/>
              <a:t>800</a:t>
            </a:r>
            <a:r>
              <a:rPr lang="en-US" dirty="0"/>
              <a:t> original pieces of news content during the year in English, Spanish, Korean, Portuguese and French, and aggregated hundreds of stories from around the church through the UM News Daily Digest. Commentaries on a wide range of topics provided a place for a dialogue of ideas, and a new feature invited people to share personal stories about encounters with </a:t>
            </a:r>
            <a:r>
              <a:rPr lang="en-US" dirty="0" smtClean="0"/>
              <a:t>racism.</a:t>
            </a:r>
          </a:p>
          <a:p>
            <a:pPr>
              <a:lnSpc>
                <a:spcPct val="120000"/>
              </a:lnSpc>
              <a:spcBef>
                <a:spcPts val="0"/>
              </a:spcBef>
            </a:pPr>
            <a:endParaRPr lang="en-US" dirty="0" smtClean="0"/>
          </a:p>
          <a:p>
            <a:pPr>
              <a:lnSpc>
                <a:spcPct val="120000"/>
              </a:lnSpc>
              <a:spcBef>
                <a:spcPts val="0"/>
              </a:spcBef>
            </a:pPr>
            <a:r>
              <a:rPr lang="en-US" dirty="0" smtClean="0"/>
              <a:t>Viewership </a:t>
            </a:r>
            <a:r>
              <a:rPr lang="en-US" dirty="0"/>
              <a:t>outside the U.S. grew, most notably in South Korea. A new Friday Digest replaced the former UM News Weekly Digest with a more compelling, visually attractive and easy-to-read weekly </a:t>
            </a:r>
            <a:r>
              <a:rPr lang="en-US" dirty="0" smtClean="0"/>
              <a:t>e-newsletter, </a:t>
            </a:r>
            <a:r>
              <a:rPr lang="en-US" dirty="0"/>
              <a:t>and the frequency of the Korean e-newsletter, </a:t>
            </a:r>
            <a:r>
              <a:rPr lang="en-US" dirty="0"/>
              <a:t>DuruAllimi</a:t>
            </a:r>
            <a:r>
              <a:rPr lang="en-US" dirty="0"/>
              <a:t>, was changed to weekly.</a:t>
            </a:r>
          </a:p>
          <a:p>
            <a:endParaRPr lang="en-US" dirty="0"/>
          </a:p>
          <a:p>
            <a:endParaRPr lang="en-US" dirty="0"/>
          </a:p>
        </p:txBody>
      </p:sp>
      <p:sp>
        <p:nvSpPr>
          <p:cNvPr id="7" name="Text Placeholder 6"/>
          <p:cNvSpPr>
            <a:spLocks noGrp="1"/>
          </p:cNvSpPr>
          <p:nvPr>
            <p:ph type="body" sz="quarter" idx="11"/>
          </p:nvPr>
        </p:nvSpPr>
        <p:spPr>
          <a:xfrm>
            <a:off x="5334074" y="144462"/>
            <a:ext cx="6172126" cy="914400"/>
          </a:xfrm>
        </p:spPr>
        <p:txBody>
          <a:bodyPr>
            <a:noAutofit/>
          </a:bodyPr>
          <a:lstStyle/>
          <a:p>
            <a:pPr algn="l"/>
            <a:r>
              <a:rPr lang="en-US" sz="5400" dirty="0" smtClean="0">
                <a:solidFill>
                  <a:schemeClr val="tx1"/>
                </a:solidFill>
              </a:rPr>
              <a:t>UM News</a:t>
            </a:r>
            <a:endParaRPr lang="en-US" sz="5400" dirty="0">
              <a:solidFill>
                <a:schemeClr val="tx1"/>
              </a:solidFill>
            </a:endParaRPr>
          </a:p>
        </p:txBody>
      </p:sp>
      <p:pic>
        <p:nvPicPr>
          <p:cNvPr id="12" name="Picture Placeholder 11"/>
          <p:cNvPicPr>
            <a:picLocks noGrp="1" noChangeAspect="1"/>
          </p:cNvPicPr>
          <p:nvPr>
            <p:ph type="pic" sz="quarter" idx="12"/>
          </p:nvPr>
        </p:nvPicPr>
        <p:blipFill>
          <a:blip r:embed="rId2" cstate="print">
            <a:extLst>
              <a:ext uri="{BEBA8EAE-BF5A-486C-A8C5-ECC9F3942E4B}">
                <a14:imgProps xmlns:a14="http://schemas.microsoft.com/office/drawing/2010/main">
                  <a14:imgLayer r:embed="rId3">
                    <a14:imgEffect>
                      <a14:colorTemperature colorTemp="6957"/>
                    </a14:imgEffect>
                    <a14:imgEffect>
                      <a14:saturation sat="0"/>
                    </a14:imgEffect>
                  </a14:imgLayer>
                </a14:imgProps>
              </a:ext>
              <a:ext uri="{28A0092B-C50C-407E-A947-70E740481C1C}">
                <a14:useLocalDpi xmlns:a14="http://schemas.microsoft.com/office/drawing/2010/main" val="0"/>
              </a:ext>
            </a:extLst>
          </a:blip>
          <a:srcRect t="450" b="450"/>
          <a:stretch>
            <a:fillRect/>
          </a:stretch>
        </p:blipFill>
        <p:spPr/>
      </p:pic>
      <p:pic>
        <p:nvPicPr>
          <p:cNvPr id="11" name="Picture Placeholder 10"/>
          <p:cNvPicPr>
            <a:picLocks noGrp="1" noChangeAspect="1"/>
          </p:cNvPicPr>
          <p:nvPr>
            <p:ph type="pic" sz="quarter" idx="13"/>
          </p:nvPr>
        </p:nvPicPr>
        <p:blipFill>
          <a:blip r:embed="rId4" cstate="print">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val="0"/>
              </a:ext>
            </a:extLst>
          </a:blip>
          <a:srcRect l="279" r="279"/>
          <a:stretch>
            <a:fillRect/>
          </a:stretch>
        </p:blipFill>
        <p:spPr/>
      </p:pic>
      <p:pic>
        <p:nvPicPr>
          <p:cNvPr id="3" name="Picture Placeholder 2"/>
          <p:cNvPicPr>
            <a:picLocks noGrp="1" noChangeAspect="1"/>
          </p:cNvPicPr>
          <p:nvPr>
            <p:ph type="pic" sz="quarter" idx="14"/>
          </p:nvPr>
        </p:nvPicPr>
        <p:blipFill>
          <a:blip r:embed="rId6" cstate="print">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rcRect l="382" r="382"/>
          <a:stretch>
            <a:fillRect/>
          </a:stretch>
        </p:blipFill>
        <p:spPr/>
      </p:pic>
    </p:spTree>
    <p:extLst>
      <p:ext uri="{BB962C8B-B14F-4D97-AF65-F5344CB8AC3E}">
        <p14:creationId xmlns:p14="http://schemas.microsoft.com/office/powerpoint/2010/main" val="2587301404"/>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p:txBody>
          <a:bodyPr/>
          <a:lstStyle/>
          <a:p>
            <a:r>
              <a:rPr lang="en-US" sz="5400" dirty="0"/>
              <a:t>UM News</a:t>
            </a:r>
          </a:p>
        </p:txBody>
      </p:sp>
      <p:graphicFrame>
        <p:nvGraphicFramePr>
          <p:cNvPr id="5" name="Table 4"/>
          <p:cNvGraphicFramePr>
            <a:graphicFrameLocks noGrp="1"/>
          </p:cNvGraphicFramePr>
          <p:nvPr>
            <p:extLst>
              <p:ext uri="{D42A27DB-BD31-4B8C-83A1-F6EECF244321}">
                <p14:modId xmlns:p14="http://schemas.microsoft.com/office/powerpoint/2010/main" val="3996271149"/>
              </p:ext>
            </p:extLst>
          </p:nvPr>
        </p:nvGraphicFramePr>
        <p:xfrm>
          <a:off x="744370" y="259987"/>
          <a:ext cx="4610630" cy="2383479"/>
        </p:xfrm>
        <a:graphic>
          <a:graphicData uri="http://schemas.openxmlformats.org/drawingml/2006/table">
            <a:tbl>
              <a:tblPr firstRow="1" bandRow="1">
                <a:tableStyleId>{5C22544A-7EE6-4342-B048-85BDC9FD1C3A}</a:tableStyleId>
              </a:tblPr>
              <a:tblGrid>
                <a:gridCol w="906065">
                  <a:extLst>
                    <a:ext uri="{9D8B030D-6E8A-4147-A177-3AD203B41FA5}">
                      <a16:colId xmlns:a16="http://schemas.microsoft.com/office/drawing/2014/main" val="3914774508"/>
                    </a:ext>
                  </a:extLst>
                </a:gridCol>
                <a:gridCol w="1069314">
                  <a:extLst>
                    <a:ext uri="{9D8B030D-6E8A-4147-A177-3AD203B41FA5}">
                      <a16:colId xmlns:a16="http://schemas.microsoft.com/office/drawing/2014/main" val="3480551338"/>
                    </a:ext>
                  </a:extLst>
                </a:gridCol>
                <a:gridCol w="1085640">
                  <a:extLst>
                    <a:ext uri="{9D8B030D-6E8A-4147-A177-3AD203B41FA5}">
                      <a16:colId xmlns:a16="http://schemas.microsoft.com/office/drawing/2014/main" val="494374462"/>
                    </a:ext>
                  </a:extLst>
                </a:gridCol>
                <a:gridCol w="1549611">
                  <a:extLst>
                    <a:ext uri="{9D8B030D-6E8A-4147-A177-3AD203B41FA5}">
                      <a16:colId xmlns:a16="http://schemas.microsoft.com/office/drawing/2014/main" val="3681957798"/>
                    </a:ext>
                  </a:extLst>
                </a:gridCol>
              </a:tblGrid>
              <a:tr h="341319">
                <a:tc gridSpan="4">
                  <a:txBody>
                    <a:bodyPr/>
                    <a:lstStyle/>
                    <a:p>
                      <a:pPr algn="l"/>
                      <a:r>
                        <a:rPr lang="en-US" sz="1400" dirty="0">
                          <a:solidFill>
                            <a:schemeClr val="bg1"/>
                          </a:solidFill>
                        </a:rPr>
                        <a:t>ENGLISH WEB STATS</a:t>
                      </a:r>
                    </a:p>
                  </a:txBody>
                  <a:tcPr anchor="ctr">
                    <a:solidFill>
                      <a:srgbClr val="8C0A23"/>
                    </a:solidFill>
                  </a:tcPr>
                </a:tc>
                <a:tc hMerge="1">
                  <a:txBody>
                    <a:bodyPr/>
                    <a:lstStyle/>
                    <a:p>
                      <a:pPr algn="ctr"/>
                      <a:endParaRPr lang="en-US" dirty="0"/>
                    </a:p>
                  </a:txBody>
                  <a:tcPr anchor="ctr">
                    <a:solidFill>
                      <a:srgbClr val="8C0B23"/>
                    </a:solidFill>
                  </a:tcPr>
                </a:tc>
                <a:tc hMerge="1">
                  <a:txBody>
                    <a:bodyPr/>
                    <a:lstStyle/>
                    <a:p>
                      <a:pPr algn="ctr"/>
                      <a:endParaRPr lang="en-US" dirty="0"/>
                    </a:p>
                  </a:txBody>
                  <a:tcPr anchor="ctr">
                    <a:solidFill>
                      <a:srgbClr val="8C0B23"/>
                    </a:solidFill>
                  </a:tcPr>
                </a:tc>
                <a:tc hMerge="1">
                  <a:txBody>
                    <a:bodyPr/>
                    <a:lstStyle/>
                    <a:p>
                      <a:pPr algn="ctr"/>
                      <a:endParaRPr lang="en-US" dirty="0"/>
                    </a:p>
                  </a:txBody>
                  <a:tcPr anchor="ctr">
                    <a:solidFill>
                      <a:srgbClr val="8C0B23"/>
                    </a:solidFill>
                  </a:tcPr>
                </a:tc>
                <a:extLst>
                  <a:ext uri="{0D108BD9-81ED-4DB2-BD59-A6C34878D82A}">
                    <a16:rowId xmlns:a16="http://schemas.microsoft.com/office/drawing/2014/main" val="2193786127"/>
                  </a:ext>
                </a:extLst>
              </a:tr>
              <a:tr h="432653">
                <a:tc>
                  <a:txBody>
                    <a:bodyPr/>
                    <a:lstStyle/>
                    <a:p>
                      <a:pPr algn="ctr"/>
                      <a:r>
                        <a:rPr lang="en-US" sz="1400" dirty="0">
                          <a:solidFill>
                            <a:schemeClr val="bg1"/>
                          </a:solidFill>
                        </a:rPr>
                        <a:t>Quarter</a:t>
                      </a:r>
                    </a:p>
                  </a:txBody>
                  <a:tcPr anchor="ctr">
                    <a:solidFill>
                      <a:srgbClr val="8C0B23"/>
                    </a:solidFill>
                  </a:tcPr>
                </a:tc>
                <a:tc>
                  <a:txBody>
                    <a:bodyPr/>
                    <a:lstStyle/>
                    <a:p>
                      <a:pPr algn="ctr"/>
                      <a:r>
                        <a:rPr lang="en-US" sz="1400" dirty="0">
                          <a:solidFill>
                            <a:schemeClr val="bg1"/>
                          </a:solidFill>
                        </a:rPr>
                        <a:t>Number of Stories</a:t>
                      </a:r>
                    </a:p>
                  </a:txBody>
                  <a:tcPr anchor="ctr">
                    <a:solidFill>
                      <a:srgbClr val="8C0B23"/>
                    </a:solidFill>
                  </a:tcPr>
                </a:tc>
                <a:tc>
                  <a:txBody>
                    <a:bodyPr/>
                    <a:lstStyle/>
                    <a:p>
                      <a:pPr algn="ctr"/>
                      <a:r>
                        <a:rPr lang="en-US" sz="1400" dirty="0">
                          <a:solidFill>
                            <a:schemeClr val="bg1"/>
                          </a:solidFill>
                        </a:rPr>
                        <a:t>Total</a:t>
                      </a:r>
                      <a:r>
                        <a:rPr lang="en-US" sz="1400" baseline="0" dirty="0">
                          <a:solidFill>
                            <a:schemeClr val="bg1"/>
                          </a:solidFill>
                        </a:rPr>
                        <a:t> Page Views</a:t>
                      </a:r>
                      <a:endParaRPr lang="en-US" sz="1400" dirty="0">
                        <a:solidFill>
                          <a:schemeClr val="bg1"/>
                        </a:solidFill>
                      </a:endParaRPr>
                    </a:p>
                  </a:txBody>
                  <a:tcPr anchor="ctr">
                    <a:solidFill>
                      <a:srgbClr val="8C0B23"/>
                    </a:solidFill>
                  </a:tcPr>
                </a:tc>
                <a:tc>
                  <a:txBody>
                    <a:bodyPr/>
                    <a:lstStyle/>
                    <a:p>
                      <a:pPr algn="ctr"/>
                      <a:r>
                        <a:rPr lang="en-US" sz="1400" dirty="0">
                          <a:solidFill>
                            <a:schemeClr val="bg1"/>
                          </a:solidFill>
                        </a:rPr>
                        <a:t>Average Time on Page</a:t>
                      </a:r>
                    </a:p>
                  </a:txBody>
                  <a:tcPr anchor="ctr">
                    <a:solidFill>
                      <a:srgbClr val="8C0B23"/>
                    </a:solidFill>
                  </a:tcPr>
                </a:tc>
                <a:extLst>
                  <a:ext uri="{0D108BD9-81ED-4DB2-BD59-A6C34878D82A}">
                    <a16:rowId xmlns:a16="http://schemas.microsoft.com/office/drawing/2014/main" val="3984396680"/>
                  </a:ext>
                </a:extLst>
              </a:tr>
              <a:tr h="254502">
                <a:tc>
                  <a:txBody>
                    <a:bodyPr/>
                    <a:lstStyle/>
                    <a:p>
                      <a:pPr algn="ctr"/>
                      <a:r>
                        <a:rPr lang="en-US" sz="1400" dirty="0"/>
                        <a:t>Q1</a:t>
                      </a:r>
                    </a:p>
                  </a:txBody>
                  <a:tcPr anchor="ctr">
                    <a:solidFill>
                      <a:srgbClr val="8C0B23">
                        <a:alpha val="40000"/>
                      </a:srgbClr>
                    </a:solidFill>
                  </a:tcPr>
                </a:tc>
                <a:tc>
                  <a:txBody>
                    <a:bodyPr/>
                    <a:lstStyle/>
                    <a:p>
                      <a:pPr algn="ctr"/>
                      <a:r>
                        <a:rPr lang="en-US" sz="1400" dirty="0"/>
                        <a:t>90</a:t>
                      </a:r>
                    </a:p>
                  </a:txBody>
                  <a:tcPr anchor="ctr">
                    <a:solidFill>
                      <a:srgbClr val="8C0B23">
                        <a:alpha val="40000"/>
                      </a:srgbClr>
                    </a:solidFill>
                  </a:tcPr>
                </a:tc>
                <a:tc>
                  <a:txBody>
                    <a:bodyPr/>
                    <a:lstStyle/>
                    <a:p>
                      <a:pPr algn="ctr"/>
                      <a:r>
                        <a:rPr lang="en-US" sz="1400" dirty="0"/>
                        <a:t>375,345</a:t>
                      </a:r>
                    </a:p>
                  </a:txBody>
                  <a:tcPr anchor="ctr">
                    <a:solidFill>
                      <a:srgbClr val="8C0B23">
                        <a:alpha val="40000"/>
                      </a:srgbClr>
                    </a:solidFill>
                  </a:tcPr>
                </a:tc>
                <a:tc>
                  <a:txBody>
                    <a:bodyPr/>
                    <a:lstStyle/>
                    <a:p>
                      <a:pPr algn="ctr"/>
                      <a:r>
                        <a:rPr lang="en-US" sz="1400" dirty="0"/>
                        <a:t>3:47</a:t>
                      </a:r>
                    </a:p>
                  </a:txBody>
                  <a:tcPr anchor="ctr">
                    <a:solidFill>
                      <a:srgbClr val="8C0B23">
                        <a:alpha val="40000"/>
                      </a:srgbClr>
                    </a:solidFill>
                  </a:tcPr>
                </a:tc>
                <a:extLst>
                  <a:ext uri="{0D108BD9-81ED-4DB2-BD59-A6C34878D82A}">
                    <a16:rowId xmlns:a16="http://schemas.microsoft.com/office/drawing/2014/main" val="4169188740"/>
                  </a:ext>
                </a:extLst>
              </a:tr>
              <a:tr h="254502">
                <a:tc>
                  <a:txBody>
                    <a:bodyPr/>
                    <a:lstStyle/>
                    <a:p>
                      <a:pPr algn="ctr"/>
                      <a:r>
                        <a:rPr lang="en-US" sz="1400" dirty="0"/>
                        <a:t>Q2</a:t>
                      </a:r>
                    </a:p>
                  </a:txBody>
                  <a:tcPr anchor="ctr">
                    <a:solidFill>
                      <a:srgbClr val="8C0B23">
                        <a:alpha val="20000"/>
                      </a:srgbClr>
                    </a:solidFill>
                  </a:tcPr>
                </a:tc>
                <a:tc>
                  <a:txBody>
                    <a:bodyPr/>
                    <a:lstStyle/>
                    <a:p>
                      <a:pPr algn="ctr"/>
                      <a:r>
                        <a:rPr lang="en-US" sz="1400" dirty="0"/>
                        <a:t>90</a:t>
                      </a:r>
                    </a:p>
                  </a:txBody>
                  <a:tcPr anchor="ctr">
                    <a:solidFill>
                      <a:srgbClr val="8C0B23">
                        <a:alpha val="20000"/>
                      </a:srgbClr>
                    </a:solidFill>
                  </a:tcPr>
                </a:tc>
                <a:tc>
                  <a:txBody>
                    <a:bodyPr/>
                    <a:lstStyle/>
                    <a:p>
                      <a:pPr algn="ctr"/>
                      <a:r>
                        <a:rPr lang="en-US" sz="1400" dirty="0"/>
                        <a:t>327,508</a:t>
                      </a:r>
                    </a:p>
                  </a:txBody>
                  <a:tcPr anchor="ctr">
                    <a:solidFill>
                      <a:srgbClr val="8C0B23">
                        <a:alpha val="20000"/>
                      </a:srgbClr>
                    </a:solidFill>
                  </a:tcPr>
                </a:tc>
                <a:tc>
                  <a:txBody>
                    <a:bodyPr/>
                    <a:lstStyle/>
                    <a:p>
                      <a:pPr algn="ctr"/>
                      <a:r>
                        <a:rPr lang="en-US" sz="1400" dirty="0"/>
                        <a:t>3:40</a:t>
                      </a:r>
                    </a:p>
                  </a:txBody>
                  <a:tcPr anchor="ctr">
                    <a:solidFill>
                      <a:srgbClr val="8C0B23">
                        <a:alpha val="20000"/>
                      </a:srgbClr>
                    </a:solidFill>
                  </a:tcPr>
                </a:tc>
                <a:extLst>
                  <a:ext uri="{0D108BD9-81ED-4DB2-BD59-A6C34878D82A}">
                    <a16:rowId xmlns:a16="http://schemas.microsoft.com/office/drawing/2014/main" val="2503324941"/>
                  </a:ext>
                </a:extLst>
              </a:tr>
              <a:tr h="254502">
                <a:tc>
                  <a:txBody>
                    <a:bodyPr/>
                    <a:lstStyle/>
                    <a:p>
                      <a:pPr algn="ctr"/>
                      <a:r>
                        <a:rPr lang="en-US" sz="1400" dirty="0"/>
                        <a:t>Q3</a:t>
                      </a:r>
                    </a:p>
                  </a:txBody>
                  <a:tcPr anchor="ctr">
                    <a:solidFill>
                      <a:srgbClr val="8C0B23">
                        <a:alpha val="40000"/>
                      </a:srgbClr>
                    </a:solidFill>
                  </a:tcPr>
                </a:tc>
                <a:tc>
                  <a:txBody>
                    <a:bodyPr/>
                    <a:lstStyle/>
                    <a:p>
                      <a:pPr algn="ctr"/>
                      <a:r>
                        <a:rPr lang="en-US" sz="1400" dirty="0"/>
                        <a:t>95</a:t>
                      </a:r>
                    </a:p>
                  </a:txBody>
                  <a:tcPr anchor="ctr">
                    <a:solidFill>
                      <a:srgbClr val="8C0B23">
                        <a:alpha val="40000"/>
                      </a:srgbClr>
                    </a:solidFill>
                  </a:tcPr>
                </a:tc>
                <a:tc>
                  <a:txBody>
                    <a:bodyPr/>
                    <a:lstStyle/>
                    <a:p>
                      <a:pPr algn="ctr"/>
                      <a:r>
                        <a:rPr lang="en-US" sz="1400" dirty="0"/>
                        <a:t>299,422</a:t>
                      </a:r>
                    </a:p>
                  </a:txBody>
                  <a:tcPr anchor="ctr">
                    <a:solidFill>
                      <a:srgbClr val="8C0B23">
                        <a:alpha val="40000"/>
                      </a:srgbClr>
                    </a:solidFill>
                  </a:tcPr>
                </a:tc>
                <a:tc>
                  <a:txBody>
                    <a:bodyPr/>
                    <a:lstStyle/>
                    <a:p>
                      <a:pPr algn="ctr"/>
                      <a:r>
                        <a:rPr lang="en-US" sz="1400" dirty="0"/>
                        <a:t>3:05</a:t>
                      </a:r>
                    </a:p>
                  </a:txBody>
                  <a:tcPr anchor="ctr">
                    <a:solidFill>
                      <a:srgbClr val="8C0B23">
                        <a:alpha val="40000"/>
                      </a:srgbClr>
                    </a:solidFill>
                  </a:tcPr>
                </a:tc>
                <a:extLst>
                  <a:ext uri="{0D108BD9-81ED-4DB2-BD59-A6C34878D82A}">
                    <a16:rowId xmlns:a16="http://schemas.microsoft.com/office/drawing/2014/main" val="1310538581"/>
                  </a:ext>
                </a:extLst>
              </a:tr>
              <a:tr h="254502">
                <a:tc>
                  <a:txBody>
                    <a:bodyPr/>
                    <a:lstStyle/>
                    <a:p>
                      <a:pPr algn="ctr"/>
                      <a:r>
                        <a:rPr lang="en-US" sz="1400" dirty="0"/>
                        <a:t>Q4</a:t>
                      </a:r>
                    </a:p>
                  </a:txBody>
                  <a:tcPr anchor="ctr">
                    <a:solidFill>
                      <a:srgbClr val="8C0B23">
                        <a:alpha val="20000"/>
                      </a:srgbClr>
                    </a:solidFill>
                  </a:tcPr>
                </a:tc>
                <a:tc>
                  <a:txBody>
                    <a:bodyPr/>
                    <a:lstStyle/>
                    <a:p>
                      <a:pPr algn="ctr"/>
                      <a:r>
                        <a:rPr lang="en-US" sz="1400" dirty="0"/>
                        <a:t>80</a:t>
                      </a:r>
                    </a:p>
                  </a:txBody>
                  <a:tcPr anchor="ctr">
                    <a:solidFill>
                      <a:srgbClr val="8C0B23">
                        <a:alpha val="20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t>270,814</a:t>
                      </a:r>
                    </a:p>
                  </a:txBody>
                  <a:tcPr anchor="ctr">
                    <a:solidFill>
                      <a:srgbClr val="8C0B23">
                        <a:alpha val="20000"/>
                      </a:srgbClr>
                    </a:solidFill>
                  </a:tcPr>
                </a:tc>
                <a:tc>
                  <a:txBody>
                    <a:bodyPr/>
                    <a:lstStyle/>
                    <a:p>
                      <a:pPr algn="ctr"/>
                      <a:r>
                        <a:rPr lang="en-US" sz="1400" dirty="0"/>
                        <a:t>3:46</a:t>
                      </a:r>
                    </a:p>
                  </a:txBody>
                  <a:tcPr anchor="ctr">
                    <a:solidFill>
                      <a:srgbClr val="8C0B23">
                        <a:alpha val="20000"/>
                      </a:srgbClr>
                    </a:solidFill>
                  </a:tcPr>
                </a:tc>
                <a:extLst>
                  <a:ext uri="{0D108BD9-81ED-4DB2-BD59-A6C34878D82A}">
                    <a16:rowId xmlns:a16="http://schemas.microsoft.com/office/drawing/2014/main" val="2662627938"/>
                  </a:ext>
                </a:extLst>
              </a:tr>
              <a:tr h="254502">
                <a:tc>
                  <a:txBody>
                    <a:bodyPr/>
                    <a:lstStyle/>
                    <a:p>
                      <a:pPr algn="ctr"/>
                      <a:r>
                        <a:rPr lang="en-US" sz="1400" b="1" dirty="0" smtClean="0">
                          <a:solidFill>
                            <a:schemeClr val="bg1"/>
                          </a:solidFill>
                        </a:rPr>
                        <a:t>Total</a:t>
                      </a:r>
                      <a:endParaRPr lang="en-US" sz="1400" b="1" dirty="0">
                        <a:solidFill>
                          <a:schemeClr val="bg1"/>
                        </a:solidFill>
                      </a:endParaRPr>
                    </a:p>
                  </a:txBody>
                  <a:tcPr anchor="ctr">
                    <a:solidFill>
                      <a:srgbClr val="8C0B23"/>
                    </a:solidFill>
                  </a:tcPr>
                </a:tc>
                <a:tc>
                  <a:txBody>
                    <a:bodyPr/>
                    <a:lstStyle/>
                    <a:p>
                      <a:pPr algn="ctr"/>
                      <a:r>
                        <a:rPr lang="en-US" sz="1400" b="1" dirty="0" smtClean="0">
                          <a:solidFill>
                            <a:schemeClr val="bg1"/>
                          </a:solidFill>
                        </a:rPr>
                        <a:t>355</a:t>
                      </a:r>
                      <a:endParaRPr lang="en-US" sz="1400" b="1" dirty="0">
                        <a:solidFill>
                          <a:schemeClr val="bg1"/>
                        </a:solidFill>
                      </a:endParaRPr>
                    </a:p>
                  </a:txBody>
                  <a:tcPr anchor="ctr">
                    <a:solidFill>
                      <a:srgbClr val="8C0B23"/>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smtClean="0">
                          <a:solidFill>
                            <a:schemeClr val="bg1"/>
                          </a:solidFill>
                        </a:rPr>
                        <a:t>1,273,089</a:t>
                      </a:r>
                      <a:endParaRPr lang="en-US" sz="1400" b="1" dirty="0">
                        <a:solidFill>
                          <a:schemeClr val="bg1"/>
                        </a:solidFill>
                      </a:endParaRPr>
                    </a:p>
                  </a:txBody>
                  <a:tcPr anchor="ctr">
                    <a:solidFill>
                      <a:srgbClr val="8C0B23"/>
                    </a:solidFill>
                  </a:tcPr>
                </a:tc>
                <a:tc>
                  <a:txBody>
                    <a:bodyPr/>
                    <a:lstStyle/>
                    <a:p>
                      <a:pPr algn="ctr"/>
                      <a:r>
                        <a:rPr lang="en-US" sz="1400" b="1" dirty="0" smtClean="0">
                          <a:solidFill>
                            <a:schemeClr val="bg1"/>
                          </a:solidFill>
                        </a:rPr>
                        <a:t>3:34.5</a:t>
                      </a:r>
                      <a:endParaRPr lang="en-US" sz="1400" b="1" dirty="0">
                        <a:solidFill>
                          <a:schemeClr val="bg1"/>
                        </a:solidFill>
                      </a:endParaRPr>
                    </a:p>
                  </a:txBody>
                  <a:tcPr anchor="ctr">
                    <a:solidFill>
                      <a:srgbClr val="8C0B23"/>
                    </a:solidFill>
                  </a:tcPr>
                </a:tc>
                <a:extLst>
                  <a:ext uri="{0D108BD9-81ED-4DB2-BD59-A6C34878D82A}">
                    <a16:rowId xmlns:a16="http://schemas.microsoft.com/office/drawing/2014/main" val="127725234"/>
                  </a:ext>
                </a:extLst>
              </a:tr>
            </a:tbl>
          </a:graphicData>
        </a:graphic>
      </p:graphicFrame>
      <p:graphicFrame>
        <p:nvGraphicFramePr>
          <p:cNvPr id="6" name="Table 5">
            <a:extLst>
              <a:ext uri="{FF2B5EF4-FFF2-40B4-BE49-F238E27FC236}">
                <a16:creationId xmlns:a16="http://schemas.microsoft.com/office/drawing/2014/main" id="{085C001F-6B57-B942-9036-B056C429E035}"/>
              </a:ext>
            </a:extLst>
          </p:cNvPr>
          <p:cNvGraphicFramePr>
            <a:graphicFrameLocks noGrp="1"/>
          </p:cNvGraphicFramePr>
          <p:nvPr/>
        </p:nvGraphicFramePr>
        <p:xfrm>
          <a:off x="6866109" y="537327"/>
          <a:ext cx="4610629" cy="914400"/>
        </p:xfrm>
        <a:graphic>
          <a:graphicData uri="http://schemas.openxmlformats.org/drawingml/2006/table">
            <a:tbl>
              <a:tblPr firstRow="1" bandRow="1">
                <a:tableStyleId>{5C22544A-7EE6-4342-B048-85BDC9FD1C3A}</a:tableStyleId>
              </a:tblPr>
              <a:tblGrid>
                <a:gridCol w="2287850">
                  <a:extLst>
                    <a:ext uri="{9D8B030D-6E8A-4147-A177-3AD203B41FA5}">
                      <a16:colId xmlns:a16="http://schemas.microsoft.com/office/drawing/2014/main" val="3480551338"/>
                    </a:ext>
                  </a:extLst>
                </a:gridCol>
                <a:gridCol w="2322779">
                  <a:extLst>
                    <a:ext uri="{9D8B030D-6E8A-4147-A177-3AD203B41FA5}">
                      <a16:colId xmlns:a16="http://schemas.microsoft.com/office/drawing/2014/main" val="494374462"/>
                    </a:ext>
                  </a:extLst>
                </a:gridCol>
              </a:tblGrid>
              <a:tr h="206385">
                <a:tc gridSpan="2">
                  <a:txBody>
                    <a:bodyPr/>
                    <a:lstStyle/>
                    <a:p>
                      <a:pPr algn="l"/>
                      <a:r>
                        <a:rPr lang="en-US" sz="1400" dirty="0"/>
                        <a:t>SPANISH WEB STATS – For Year 2021</a:t>
                      </a:r>
                    </a:p>
                  </a:txBody>
                  <a:tcPr anchor="ctr">
                    <a:solidFill>
                      <a:srgbClr val="8C0B23"/>
                    </a:solidFill>
                  </a:tcPr>
                </a:tc>
                <a:tc hMerge="1">
                  <a:txBody>
                    <a:bodyPr/>
                    <a:lstStyle/>
                    <a:p>
                      <a:pPr algn="ctr"/>
                      <a:endParaRPr lang="en-US" dirty="0"/>
                    </a:p>
                  </a:txBody>
                  <a:tcPr anchor="ctr">
                    <a:solidFill>
                      <a:srgbClr val="8C0B23"/>
                    </a:solidFill>
                  </a:tcPr>
                </a:tc>
                <a:extLst>
                  <a:ext uri="{0D108BD9-81ED-4DB2-BD59-A6C34878D82A}">
                    <a16:rowId xmlns:a16="http://schemas.microsoft.com/office/drawing/2014/main" val="2193786127"/>
                  </a:ext>
                </a:extLst>
              </a:tr>
              <a:tr h="176431">
                <a:tc>
                  <a:txBody>
                    <a:bodyPr/>
                    <a:lstStyle/>
                    <a:p>
                      <a:pPr algn="ctr"/>
                      <a:r>
                        <a:rPr lang="en-US" sz="1400" dirty="0">
                          <a:solidFill>
                            <a:schemeClr val="bg1"/>
                          </a:solidFill>
                        </a:rPr>
                        <a:t>Number of Stories</a:t>
                      </a:r>
                    </a:p>
                  </a:txBody>
                  <a:tcPr anchor="ctr">
                    <a:solidFill>
                      <a:srgbClr val="8C0B23"/>
                    </a:solidFill>
                  </a:tcPr>
                </a:tc>
                <a:tc>
                  <a:txBody>
                    <a:bodyPr/>
                    <a:lstStyle/>
                    <a:p>
                      <a:pPr algn="ctr"/>
                      <a:r>
                        <a:rPr lang="en-US" sz="1400" dirty="0">
                          <a:solidFill>
                            <a:schemeClr val="bg1"/>
                          </a:solidFill>
                        </a:rPr>
                        <a:t>Total</a:t>
                      </a:r>
                      <a:r>
                        <a:rPr lang="en-US" sz="1400" baseline="0" dirty="0">
                          <a:solidFill>
                            <a:schemeClr val="bg1"/>
                          </a:solidFill>
                        </a:rPr>
                        <a:t> Page Views</a:t>
                      </a:r>
                      <a:endParaRPr lang="en-US" sz="1400" dirty="0">
                        <a:solidFill>
                          <a:schemeClr val="bg1"/>
                        </a:solidFill>
                      </a:endParaRPr>
                    </a:p>
                  </a:txBody>
                  <a:tcPr anchor="ctr">
                    <a:solidFill>
                      <a:srgbClr val="8C0B23"/>
                    </a:solidFill>
                  </a:tcPr>
                </a:tc>
                <a:extLst>
                  <a:ext uri="{0D108BD9-81ED-4DB2-BD59-A6C34878D82A}">
                    <a16:rowId xmlns:a16="http://schemas.microsoft.com/office/drawing/2014/main" val="3984396680"/>
                  </a:ext>
                </a:extLst>
              </a:tr>
              <a:tr h="176431">
                <a:tc>
                  <a:txBody>
                    <a:bodyPr/>
                    <a:lstStyle/>
                    <a:p>
                      <a:pPr algn="ctr"/>
                      <a:r>
                        <a:rPr lang="en-US" sz="1400" dirty="0"/>
                        <a:t>199</a:t>
                      </a:r>
                    </a:p>
                  </a:txBody>
                  <a:tcPr anchor="ctr">
                    <a:solidFill>
                      <a:srgbClr val="8C0B23">
                        <a:alpha val="40000"/>
                      </a:srgbClr>
                    </a:solidFill>
                  </a:tcPr>
                </a:tc>
                <a:tc>
                  <a:txBody>
                    <a:bodyPr/>
                    <a:lstStyle/>
                    <a:p>
                      <a:pPr algn="ctr"/>
                      <a:r>
                        <a:rPr lang="en-US" sz="1400" dirty="0"/>
                        <a:t>266,228</a:t>
                      </a:r>
                    </a:p>
                  </a:txBody>
                  <a:tcPr anchor="ctr">
                    <a:solidFill>
                      <a:srgbClr val="8C0B23">
                        <a:alpha val="40000"/>
                      </a:srgbClr>
                    </a:solidFill>
                  </a:tcPr>
                </a:tc>
                <a:extLst>
                  <a:ext uri="{0D108BD9-81ED-4DB2-BD59-A6C34878D82A}">
                    <a16:rowId xmlns:a16="http://schemas.microsoft.com/office/drawing/2014/main" val="4169188740"/>
                  </a:ext>
                </a:extLst>
              </a:tr>
            </a:tbl>
          </a:graphicData>
        </a:graphic>
      </p:graphicFrame>
      <p:graphicFrame>
        <p:nvGraphicFramePr>
          <p:cNvPr id="7" name="Table 6">
            <a:extLst>
              <a:ext uri="{FF2B5EF4-FFF2-40B4-BE49-F238E27FC236}">
                <a16:creationId xmlns:a16="http://schemas.microsoft.com/office/drawing/2014/main" id="{A6A55366-4EFB-7041-B129-09A160065E39}"/>
              </a:ext>
            </a:extLst>
          </p:cNvPr>
          <p:cNvGraphicFramePr>
            <a:graphicFrameLocks noGrp="1"/>
          </p:cNvGraphicFramePr>
          <p:nvPr/>
        </p:nvGraphicFramePr>
        <p:xfrm>
          <a:off x="6866109" y="1636804"/>
          <a:ext cx="4610629" cy="914400"/>
        </p:xfrm>
        <a:graphic>
          <a:graphicData uri="http://schemas.openxmlformats.org/drawingml/2006/table">
            <a:tbl>
              <a:tblPr firstRow="1" bandRow="1">
                <a:tableStyleId>{5C22544A-7EE6-4342-B048-85BDC9FD1C3A}</a:tableStyleId>
              </a:tblPr>
              <a:tblGrid>
                <a:gridCol w="2287850">
                  <a:extLst>
                    <a:ext uri="{9D8B030D-6E8A-4147-A177-3AD203B41FA5}">
                      <a16:colId xmlns:a16="http://schemas.microsoft.com/office/drawing/2014/main" val="3480551338"/>
                    </a:ext>
                  </a:extLst>
                </a:gridCol>
                <a:gridCol w="2322779">
                  <a:extLst>
                    <a:ext uri="{9D8B030D-6E8A-4147-A177-3AD203B41FA5}">
                      <a16:colId xmlns:a16="http://schemas.microsoft.com/office/drawing/2014/main" val="494374462"/>
                    </a:ext>
                  </a:extLst>
                </a:gridCol>
              </a:tblGrid>
              <a:tr h="254502">
                <a:tc gridSpan="2">
                  <a:txBody>
                    <a:bodyPr/>
                    <a:lstStyle/>
                    <a:p>
                      <a:pPr algn="l"/>
                      <a:r>
                        <a:rPr lang="en-US" sz="1400" dirty="0"/>
                        <a:t>KOREAN WEB STATS – For Year 2021</a:t>
                      </a:r>
                    </a:p>
                  </a:txBody>
                  <a:tcPr anchor="ctr">
                    <a:solidFill>
                      <a:srgbClr val="8C0B23"/>
                    </a:solidFill>
                  </a:tcPr>
                </a:tc>
                <a:tc hMerge="1">
                  <a:txBody>
                    <a:bodyPr/>
                    <a:lstStyle/>
                    <a:p>
                      <a:pPr algn="ctr"/>
                      <a:endParaRPr lang="en-US" dirty="0"/>
                    </a:p>
                  </a:txBody>
                  <a:tcPr anchor="ctr">
                    <a:solidFill>
                      <a:srgbClr val="8C0B23"/>
                    </a:solidFill>
                  </a:tcPr>
                </a:tc>
                <a:extLst>
                  <a:ext uri="{0D108BD9-81ED-4DB2-BD59-A6C34878D82A}">
                    <a16:rowId xmlns:a16="http://schemas.microsoft.com/office/drawing/2014/main" val="2193786127"/>
                  </a:ext>
                </a:extLst>
              </a:tr>
              <a:tr h="254502">
                <a:tc>
                  <a:txBody>
                    <a:bodyPr/>
                    <a:lstStyle/>
                    <a:p>
                      <a:pPr algn="ctr"/>
                      <a:r>
                        <a:rPr lang="en-US" sz="1400" dirty="0">
                          <a:solidFill>
                            <a:schemeClr val="bg1"/>
                          </a:solidFill>
                        </a:rPr>
                        <a:t>Number of Stories</a:t>
                      </a:r>
                    </a:p>
                  </a:txBody>
                  <a:tcPr anchor="ctr">
                    <a:solidFill>
                      <a:srgbClr val="8C0B23"/>
                    </a:solidFill>
                  </a:tcPr>
                </a:tc>
                <a:tc>
                  <a:txBody>
                    <a:bodyPr/>
                    <a:lstStyle/>
                    <a:p>
                      <a:pPr algn="ctr"/>
                      <a:r>
                        <a:rPr lang="en-US" sz="1400" dirty="0">
                          <a:solidFill>
                            <a:schemeClr val="bg1"/>
                          </a:solidFill>
                        </a:rPr>
                        <a:t>Total</a:t>
                      </a:r>
                      <a:r>
                        <a:rPr lang="en-US" sz="1400" baseline="0" dirty="0">
                          <a:solidFill>
                            <a:schemeClr val="bg1"/>
                          </a:solidFill>
                        </a:rPr>
                        <a:t> Page Views</a:t>
                      </a:r>
                      <a:endParaRPr lang="en-US" sz="1400" dirty="0">
                        <a:solidFill>
                          <a:schemeClr val="bg1"/>
                        </a:solidFill>
                      </a:endParaRPr>
                    </a:p>
                  </a:txBody>
                  <a:tcPr anchor="ctr">
                    <a:solidFill>
                      <a:srgbClr val="8C0B23"/>
                    </a:solidFill>
                  </a:tcPr>
                </a:tc>
                <a:extLst>
                  <a:ext uri="{0D108BD9-81ED-4DB2-BD59-A6C34878D82A}">
                    <a16:rowId xmlns:a16="http://schemas.microsoft.com/office/drawing/2014/main" val="3984396680"/>
                  </a:ext>
                </a:extLst>
              </a:tr>
              <a:tr h="254502">
                <a:tc>
                  <a:txBody>
                    <a:bodyPr/>
                    <a:lstStyle/>
                    <a:p>
                      <a:pPr algn="ctr"/>
                      <a:r>
                        <a:rPr lang="en-US" sz="1400" dirty="0"/>
                        <a:t>164</a:t>
                      </a:r>
                    </a:p>
                  </a:txBody>
                  <a:tcPr anchor="ctr">
                    <a:solidFill>
                      <a:srgbClr val="8C0B23">
                        <a:alpha val="40000"/>
                      </a:srgbClr>
                    </a:solidFill>
                  </a:tcPr>
                </a:tc>
                <a:tc>
                  <a:txBody>
                    <a:bodyPr/>
                    <a:lstStyle/>
                    <a:p>
                      <a:pPr algn="ctr"/>
                      <a:r>
                        <a:rPr lang="en-US" sz="1400" dirty="0"/>
                        <a:t>186,549</a:t>
                      </a:r>
                    </a:p>
                  </a:txBody>
                  <a:tcPr anchor="ctr">
                    <a:solidFill>
                      <a:srgbClr val="8C0B23">
                        <a:alpha val="40000"/>
                      </a:srgbClr>
                    </a:solidFill>
                  </a:tcPr>
                </a:tc>
                <a:extLst>
                  <a:ext uri="{0D108BD9-81ED-4DB2-BD59-A6C34878D82A}">
                    <a16:rowId xmlns:a16="http://schemas.microsoft.com/office/drawing/2014/main" val="4169188740"/>
                  </a:ext>
                </a:extLst>
              </a:tr>
            </a:tbl>
          </a:graphicData>
        </a:graphic>
      </p:graphicFrame>
      <p:graphicFrame>
        <p:nvGraphicFramePr>
          <p:cNvPr id="8" name="Table 7">
            <a:extLst>
              <a:ext uri="{FF2B5EF4-FFF2-40B4-BE49-F238E27FC236}">
                <a16:creationId xmlns:a16="http://schemas.microsoft.com/office/drawing/2014/main" id="{87FE99A4-BB77-AB48-8E41-DE3428EC7CEC}"/>
              </a:ext>
            </a:extLst>
          </p:cNvPr>
          <p:cNvGraphicFramePr>
            <a:graphicFrameLocks noGrp="1"/>
          </p:cNvGraphicFramePr>
          <p:nvPr/>
        </p:nvGraphicFramePr>
        <p:xfrm>
          <a:off x="6866108" y="2736281"/>
          <a:ext cx="4610629" cy="914400"/>
        </p:xfrm>
        <a:graphic>
          <a:graphicData uri="http://schemas.openxmlformats.org/drawingml/2006/table">
            <a:tbl>
              <a:tblPr firstRow="1" bandRow="1">
                <a:tableStyleId>{5C22544A-7EE6-4342-B048-85BDC9FD1C3A}</a:tableStyleId>
              </a:tblPr>
              <a:tblGrid>
                <a:gridCol w="2287850">
                  <a:extLst>
                    <a:ext uri="{9D8B030D-6E8A-4147-A177-3AD203B41FA5}">
                      <a16:colId xmlns:a16="http://schemas.microsoft.com/office/drawing/2014/main" val="3480551338"/>
                    </a:ext>
                  </a:extLst>
                </a:gridCol>
                <a:gridCol w="2322779">
                  <a:extLst>
                    <a:ext uri="{9D8B030D-6E8A-4147-A177-3AD203B41FA5}">
                      <a16:colId xmlns:a16="http://schemas.microsoft.com/office/drawing/2014/main" val="494374462"/>
                    </a:ext>
                  </a:extLst>
                </a:gridCol>
              </a:tblGrid>
              <a:tr h="254502">
                <a:tc gridSpan="2">
                  <a:txBody>
                    <a:bodyPr/>
                    <a:lstStyle/>
                    <a:p>
                      <a:pPr algn="l"/>
                      <a:r>
                        <a:rPr lang="en-US" sz="1400" dirty="0"/>
                        <a:t>PORTUGUESE WEB STATS – For Year 2021</a:t>
                      </a:r>
                    </a:p>
                  </a:txBody>
                  <a:tcPr anchor="ctr">
                    <a:solidFill>
                      <a:srgbClr val="8C0B23"/>
                    </a:solidFill>
                  </a:tcPr>
                </a:tc>
                <a:tc hMerge="1">
                  <a:txBody>
                    <a:bodyPr/>
                    <a:lstStyle/>
                    <a:p>
                      <a:pPr algn="ctr"/>
                      <a:endParaRPr lang="en-US" dirty="0"/>
                    </a:p>
                  </a:txBody>
                  <a:tcPr anchor="ctr">
                    <a:solidFill>
                      <a:srgbClr val="8C0B23"/>
                    </a:solidFill>
                  </a:tcPr>
                </a:tc>
                <a:extLst>
                  <a:ext uri="{0D108BD9-81ED-4DB2-BD59-A6C34878D82A}">
                    <a16:rowId xmlns:a16="http://schemas.microsoft.com/office/drawing/2014/main" val="2193786127"/>
                  </a:ext>
                </a:extLst>
              </a:tr>
              <a:tr h="254502">
                <a:tc>
                  <a:txBody>
                    <a:bodyPr/>
                    <a:lstStyle/>
                    <a:p>
                      <a:pPr algn="ctr"/>
                      <a:r>
                        <a:rPr lang="en-US" sz="1400" dirty="0">
                          <a:solidFill>
                            <a:schemeClr val="bg1"/>
                          </a:solidFill>
                        </a:rPr>
                        <a:t>Number of Stories</a:t>
                      </a:r>
                    </a:p>
                  </a:txBody>
                  <a:tcPr anchor="ctr">
                    <a:solidFill>
                      <a:srgbClr val="8C0B23"/>
                    </a:solidFill>
                  </a:tcPr>
                </a:tc>
                <a:tc>
                  <a:txBody>
                    <a:bodyPr/>
                    <a:lstStyle/>
                    <a:p>
                      <a:pPr algn="ctr"/>
                      <a:r>
                        <a:rPr lang="en-US" sz="1400" dirty="0">
                          <a:solidFill>
                            <a:schemeClr val="bg1"/>
                          </a:solidFill>
                        </a:rPr>
                        <a:t>Total</a:t>
                      </a:r>
                      <a:r>
                        <a:rPr lang="en-US" sz="1400" baseline="0" dirty="0">
                          <a:solidFill>
                            <a:schemeClr val="bg1"/>
                          </a:solidFill>
                        </a:rPr>
                        <a:t> Page Views</a:t>
                      </a:r>
                      <a:endParaRPr lang="en-US" sz="1400" dirty="0">
                        <a:solidFill>
                          <a:schemeClr val="bg1"/>
                        </a:solidFill>
                      </a:endParaRPr>
                    </a:p>
                  </a:txBody>
                  <a:tcPr anchor="ctr">
                    <a:solidFill>
                      <a:srgbClr val="8C0B23"/>
                    </a:solidFill>
                  </a:tcPr>
                </a:tc>
                <a:extLst>
                  <a:ext uri="{0D108BD9-81ED-4DB2-BD59-A6C34878D82A}">
                    <a16:rowId xmlns:a16="http://schemas.microsoft.com/office/drawing/2014/main" val="3984396680"/>
                  </a:ext>
                </a:extLst>
              </a:tr>
              <a:tr h="254502">
                <a:tc>
                  <a:txBody>
                    <a:bodyPr/>
                    <a:lstStyle/>
                    <a:p>
                      <a:pPr algn="ctr"/>
                      <a:r>
                        <a:rPr lang="en-US" sz="1400" dirty="0"/>
                        <a:t>140</a:t>
                      </a:r>
                    </a:p>
                  </a:txBody>
                  <a:tcPr anchor="ctr">
                    <a:solidFill>
                      <a:srgbClr val="8C0B23">
                        <a:alpha val="40000"/>
                      </a:srgbClr>
                    </a:solidFill>
                  </a:tcPr>
                </a:tc>
                <a:tc>
                  <a:txBody>
                    <a:bodyPr/>
                    <a:lstStyle/>
                    <a:p>
                      <a:pPr algn="ctr"/>
                      <a:r>
                        <a:rPr lang="en-US" sz="1400" dirty="0"/>
                        <a:t>34,181</a:t>
                      </a:r>
                    </a:p>
                  </a:txBody>
                  <a:tcPr anchor="ctr">
                    <a:solidFill>
                      <a:srgbClr val="8C0B23">
                        <a:alpha val="40000"/>
                      </a:srgbClr>
                    </a:solidFill>
                  </a:tcPr>
                </a:tc>
                <a:extLst>
                  <a:ext uri="{0D108BD9-81ED-4DB2-BD59-A6C34878D82A}">
                    <a16:rowId xmlns:a16="http://schemas.microsoft.com/office/drawing/2014/main" val="4169188740"/>
                  </a:ext>
                </a:extLst>
              </a:tr>
            </a:tbl>
          </a:graphicData>
        </a:graphic>
      </p:graphicFrame>
      <p:graphicFrame>
        <p:nvGraphicFramePr>
          <p:cNvPr id="9" name="Table 8">
            <a:extLst>
              <a:ext uri="{FF2B5EF4-FFF2-40B4-BE49-F238E27FC236}">
                <a16:creationId xmlns:a16="http://schemas.microsoft.com/office/drawing/2014/main" id="{AF6BD992-9F74-CC4B-9644-1026F4F10DBC}"/>
              </a:ext>
            </a:extLst>
          </p:cNvPr>
          <p:cNvGraphicFramePr>
            <a:graphicFrameLocks noGrp="1"/>
          </p:cNvGraphicFramePr>
          <p:nvPr/>
        </p:nvGraphicFramePr>
        <p:xfrm>
          <a:off x="6866108" y="3835758"/>
          <a:ext cx="4610629" cy="1066800"/>
        </p:xfrm>
        <a:graphic>
          <a:graphicData uri="http://schemas.openxmlformats.org/drawingml/2006/table">
            <a:tbl>
              <a:tblPr firstRow="1" bandRow="1">
                <a:tableStyleId>{5C22544A-7EE6-4342-B048-85BDC9FD1C3A}</a:tableStyleId>
              </a:tblPr>
              <a:tblGrid>
                <a:gridCol w="2287850">
                  <a:extLst>
                    <a:ext uri="{9D8B030D-6E8A-4147-A177-3AD203B41FA5}">
                      <a16:colId xmlns:a16="http://schemas.microsoft.com/office/drawing/2014/main" val="3480551338"/>
                    </a:ext>
                  </a:extLst>
                </a:gridCol>
                <a:gridCol w="2322779">
                  <a:extLst>
                    <a:ext uri="{9D8B030D-6E8A-4147-A177-3AD203B41FA5}">
                      <a16:colId xmlns:a16="http://schemas.microsoft.com/office/drawing/2014/main" val="494374462"/>
                    </a:ext>
                  </a:extLst>
                </a:gridCol>
              </a:tblGrid>
              <a:tr h="254502">
                <a:tc gridSpan="2">
                  <a:txBody>
                    <a:bodyPr/>
                    <a:lstStyle/>
                    <a:p>
                      <a:pPr algn="l"/>
                      <a:r>
                        <a:rPr lang="en-US" sz="1400" dirty="0"/>
                        <a:t>FRENCH WEB STATS – For Year 2021 </a:t>
                      </a:r>
                      <a:br>
                        <a:rPr lang="en-US" sz="1400" dirty="0"/>
                      </a:br>
                      <a:r>
                        <a:rPr lang="en-US" sz="1000" i="1" dirty="0"/>
                        <a:t>(increased emphasis during second half of year)</a:t>
                      </a:r>
                      <a:endParaRPr lang="en-US" sz="1400" i="1" dirty="0"/>
                    </a:p>
                  </a:txBody>
                  <a:tcPr anchor="ctr">
                    <a:solidFill>
                      <a:srgbClr val="8C0B23"/>
                    </a:solidFill>
                  </a:tcPr>
                </a:tc>
                <a:tc hMerge="1">
                  <a:txBody>
                    <a:bodyPr/>
                    <a:lstStyle/>
                    <a:p>
                      <a:pPr algn="ctr"/>
                      <a:endParaRPr lang="en-US" dirty="0"/>
                    </a:p>
                  </a:txBody>
                  <a:tcPr anchor="ctr">
                    <a:solidFill>
                      <a:srgbClr val="8C0B23"/>
                    </a:solidFill>
                  </a:tcPr>
                </a:tc>
                <a:extLst>
                  <a:ext uri="{0D108BD9-81ED-4DB2-BD59-A6C34878D82A}">
                    <a16:rowId xmlns:a16="http://schemas.microsoft.com/office/drawing/2014/main" val="2193786127"/>
                  </a:ext>
                </a:extLst>
              </a:tr>
              <a:tr h="254502">
                <a:tc>
                  <a:txBody>
                    <a:bodyPr/>
                    <a:lstStyle/>
                    <a:p>
                      <a:pPr algn="ctr"/>
                      <a:r>
                        <a:rPr lang="en-US" sz="1400" dirty="0">
                          <a:solidFill>
                            <a:schemeClr val="bg1"/>
                          </a:solidFill>
                        </a:rPr>
                        <a:t>Number of Stories</a:t>
                      </a:r>
                    </a:p>
                  </a:txBody>
                  <a:tcPr anchor="ctr">
                    <a:solidFill>
                      <a:srgbClr val="8C0B23"/>
                    </a:solidFill>
                  </a:tcPr>
                </a:tc>
                <a:tc>
                  <a:txBody>
                    <a:bodyPr/>
                    <a:lstStyle/>
                    <a:p>
                      <a:pPr algn="ctr"/>
                      <a:r>
                        <a:rPr lang="en-US" sz="1400" dirty="0">
                          <a:solidFill>
                            <a:schemeClr val="bg1"/>
                          </a:solidFill>
                        </a:rPr>
                        <a:t>Total</a:t>
                      </a:r>
                      <a:r>
                        <a:rPr lang="en-US" sz="1400" baseline="0" dirty="0">
                          <a:solidFill>
                            <a:schemeClr val="bg1"/>
                          </a:solidFill>
                        </a:rPr>
                        <a:t> Page Views</a:t>
                      </a:r>
                      <a:endParaRPr lang="en-US" sz="1400" dirty="0">
                        <a:solidFill>
                          <a:schemeClr val="bg1"/>
                        </a:solidFill>
                      </a:endParaRPr>
                    </a:p>
                  </a:txBody>
                  <a:tcPr anchor="ctr">
                    <a:solidFill>
                      <a:srgbClr val="8C0B23"/>
                    </a:solidFill>
                  </a:tcPr>
                </a:tc>
                <a:extLst>
                  <a:ext uri="{0D108BD9-81ED-4DB2-BD59-A6C34878D82A}">
                    <a16:rowId xmlns:a16="http://schemas.microsoft.com/office/drawing/2014/main" val="3984396680"/>
                  </a:ext>
                </a:extLst>
              </a:tr>
              <a:tr h="254502">
                <a:tc>
                  <a:txBody>
                    <a:bodyPr/>
                    <a:lstStyle/>
                    <a:p>
                      <a:pPr algn="ctr"/>
                      <a:r>
                        <a:rPr lang="en-US" sz="1400" dirty="0"/>
                        <a:t>29</a:t>
                      </a:r>
                    </a:p>
                  </a:txBody>
                  <a:tcPr anchor="ctr">
                    <a:solidFill>
                      <a:srgbClr val="8C0B23">
                        <a:alpha val="40000"/>
                      </a:srgbClr>
                    </a:solidFill>
                  </a:tcPr>
                </a:tc>
                <a:tc>
                  <a:txBody>
                    <a:bodyPr/>
                    <a:lstStyle/>
                    <a:p>
                      <a:pPr algn="ctr"/>
                      <a:r>
                        <a:rPr lang="en-US" sz="1400" dirty="0"/>
                        <a:t>11,509</a:t>
                      </a:r>
                    </a:p>
                  </a:txBody>
                  <a:tcPr anchor="ctr">
                    <a:solidFill>
                      <a:srgbClr val="8C0B23">
                        <a:alpha val="40000"/>
                      </a:srgbClr>
                    </a:solidFill>
                  </a:tcPr>
                </a:tc>
                <a:extLst>
                  <a:ext uri="{0D108BD9-81ED-4DB2-BD59-A6C34878D82A}">
                    <a16:rowId xmlns:a16="http://schemas.microsoft.com/office/drawing/2014/main" val="4169188740"/>
                  </a:ext>
                </a:extLst>
              </a:tr>
            </a:tbl>
          </a:graphicData>
        </a:graphic>
      </p:graphicFrame>
      <p:sp>
        <p:nvSpPr>
          <p:cNvPr id="2" name="TextBox 1"/>
          <p:cNvSpPr txBox="1"/>
          <p:nvPr/>
        </p:nvSpPr>
        <p:spPr>
          <a:xfrm>
            <a:off x="744370" y="2931913"/>
            <a:ext cx="4610630" cy="2800767"/>
          </a:xfrm>
          <a:prstGeom prst="rect">
            <a:avLst/>
          </a:prstGeom>
          <a:noFill/>
        </p:spPr>
        <p:txBody>
          <a:bodyPr wrap="square" rtlCol="0">
            <a:spAutoFit/>
          </a:bodyPr>
          <a:lstStyle/>
          <a:p>
            <a:r>
              <a:rPr lang="en-US" sz="1600" dirty="0" smtClean="0"/>
              <a:t>Four multimedia feature stories utilizing Adobe Spark garnered 40,000 </a:t>
            </a:r>
            <a:r>
              <a:rPr lang="en-US" sz="1600" dirty="0"/>
              <a:t>page </a:t>
            </a:r>
            <a:r>
              <a:rPr lang="en-US" sz="1600" dirty="0" smtClean="0"/>
              <a:t>views. </a:t>
            </a:r>
          </a:p>
          <a:p>
            <a:endParaRPr lang="en-US" sz="1600" dirty="0"/>
          </a:p>
          <a:p>
            <a:r>
              <a:rPr lang="en-US" sz="1600" dirty="0" smtClean="0"/>
              <a:t>Priority coverage areas (all languages):</a:t>
            </a:r>
          </a:p>
          <a:p>
            <a:r>
              <a:rPr lang="en-US" sz="1600" dirty="0" smtClean="0"/>
              <a:t>Breaking </a:t>
            </a:r>
            <a:r>
              <a:rPr lang="en-US" sz="1600" dirty="0"/>
              <a:t>news/features: 430</a:t>
            </a:r>
          </a:p>
          <a:p>
            <a:r>
              <a:rPr lang="en-US" sz="1600" dirty="0"/>
              <a:t>Future of the church: 181</a:t>
            </a:r>
          </a:p>
          <a:p>
            <a:r>
              <a:rPr lang="en-US" sz="1600" dirty="0"/>
              <a:t>Ministry amid the pandemic: 123</a:t>
            </a:r>
          </a:p>
          <a:p>
            <a:r>
              <a:rPr lang="en-US" sz="1600" dirty="0"/>
              <a:t>Response to racism: 97</a:t>
            </a:r>
          </a:p>
          <a:p>
            <a:endParaRPr lang="en-US" sz="1600" dirty="0" smtClean="0"/>
          </a:p>
          <a:p>
            <a:endParaRPr lang="en-US" sz="1600" dirty="0"/>
          </a:p>
          <a:p>
            <a:endParaRPr lang="en-US" sz="1600" dirty="0"/>
          </a:p>
        </p:txBody>
      </p:sp>
    </p:spTree>
    <p:extLst>
      <p:ext uri="{BB962C8B-B14F-4D97-AF65-F5344CB8AC3E}">
        <p14:creationId xmlns:p14="http://schemas.microsoft.com/office/powerpoint/2010/main" val="1722969294"/>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4256314" y="5366657"/>
            <a:ext cx="7064829" cy="1001486"/>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ext Placeholder 3"/>
          <p:cNvSpPr>
            <a:spLocks noGrp="1"/>
          </p:cNvSpPr>
          <p:nvPr>
            <p:ph type="body" sz="quarter" idx="12"/>
          </p:nvPr>
        </p:nvSpPr>
        <p:spPr/>
        <p:txBody>
          <a:bodyPr/>
          <a:lstStyle/>
          <a:p>
            <a:pPr lvl="0"/>
            <a:r>
              <a:rPr lang="en-US" sz="2000" dirty="0"/>
              <a:t>Engage people with the story of God’s work in the world through The United Methodist Church. </a:t>
            </a:r>
          </a:p>
        </p:txBody>
      </p:sp>
      <p:sp>
        <p:nvSpPr>
          <p:cNvPr id="5" name="Text Placeholder 4"/>
          <p:cNvSpPr>
            <a:spLocks noGrp="1"/>
          </p:cNvSpPr>
          <p:nvPr>
            <p:ph type="body" sz="quarter" idx="13"/>
          </p:nvPr>
        </p:nvSpPr>
        <p:spPr/>
        <p:txBody>
          <a:bodyPr/>
          <a:lstStyle/>
          <a:p>
            <a:pPr lvl="0"/>
            <a:r>
              <a:rPr lang="en-US" sz="2000" dirty="0"/>
              <a:t>Equip The United Methodist Church at all levels to become effective communicators. </a:t>
            </a:r>
          </a:p>
        </p:txBody>
      </p:sp>
      <p:sp>
        <p:nvSpPr>
          <p:cNvPr id="7" name="Text Placeholder 6"/>
          <p:cNvSpPr>
            <a:spLocks noGrp="1"/>
          </p:cNvSpPr>
          <p:nvPr>
            <p:ph type="body" sz="quarter" idx="15"/>
          </p:nvPr>
        </p:nvSpPr>
        <p:spPr/>
        <p:txBody>
          <a:bodyPr/>
          <a:lstStyle/>
          <a:p>
            <a:pPr lvl="0"/>
            <a:r>
              <a:rPr lang="en-US" sz="2000" dirty="0"/>
              <a:t>Nurture our people and demonstrate good stewardship of our resources</a:t>
            </a:r>
            <a:r>
              <a:rPr lang="en-US" dirty="0"/>
              <a:t>.</a:t>
            </a:r>
          </a:p>
        </p:txBody>
      </p:sp>
      <p:sp>
        <p:nvSpPr>
          <p:cNvPr id="8" name="Text Placeholder 7"/>
          <p:cNvSpPr>
            <a:spLocks noGrp="1"/>
          </p:cNvSpPr>
          <p:nvPr>
            <p:ph type="body" sz="quarter" idx="16"/>
          </p:nvPr>
        </p:nvSpPr>
        <p:spPr/>
        <p:txBody>
          <a:bodyPr/>
          <a:lstStyle/>
          <a:p>
            <a:pPr lvl="0"/>
            <a:r>
              <a:rPr lang="en-US" sz="2000" dirty="0"/>
              <a:t>Claim our role as the strategic communications and marketing agency for the global United Methodist Church by building communication networks and infrastructure. </a:t>
            </a:r>
          </a:p>
        </p:txBody>
      </p:sp>
      <p:sp>
        <p:nvSpPr>
          <p:cNvPr id="13" name="Title 12"/>
          <p:cNvSpPr>
            <a:spLocks noGrp="1"/>
          </p:cNvSpPr>
          <p:nvPr>
            <p:ph type="title" idx="4294967295"/>
          </p:nvPr>
        </p:nvSpPr>
        <p:spPr>
          <a:xfrm>
            <a:off x="4735286" y="5529943"/>
            <a:ext cx="9144000" cy="838200"/>
          </a:xfrm>
        </p:spPr>
        <p:txBody>
          <a:bodyPr>
            <a:normAutofit/>
          </a:bodyPr>
          <a:lstStyle/>
          <a:p>
            <a:r>
              <a:rPr lang="en-US" sz="5400" dirty="0" smtClean="0">
                <a:solidFill>
                  <a:schemeClr val="bg1"/>
                </a:solidFill>
                <a:latin typeface="+mn-lt"/>
              </a:rPr>
              <a:t>Organizational Goals</a:t>
            </a:r>
            <a:endParaRPr lang="en-US" sz="5400" dirty="0">
              <a:solidFill>
                <a:schemeClr val="bg1"/>
              </a:solidFill>
              <a:latin typeface="+mn-lt"/>
            </a:endParaRPr>
          </a:p>
        </p:txBody>
      </p:sp>
      <p:pic>
        <p:nvPicPr>
          <p:cNvPr id="16" name="Picture 1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5657" y="-16129"/>
            <a:ext cx="4107656" cy="6858000"/>
          </a:xfrm>
          <a:prstGeom prst="rect">
            <a:avLst/>
          </a:prstGeom>
        </p:spPr>
      </p:pic>
    </p:spTree>
    <p:extLst>
      <p:ext uri="{BB962C8B-B14F-4D97-AF65-F5344CB8AC3E}">
        <p14:creationId xmlns:p14="http://schemas.microsoft.com/office/powerpoint/2010/main" val="452952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6575199" y="561068"/>
            <a:ext cx="5164137" cy="5565775"/>
          </a:xfrm>
        </p:spPr>
        <p:txBody>
          <a:bodyPr>
            <a:normAutofit fontScale="92500" lnSpcReduction="10000"/>
          </a:bodyPr>
          <a:lstStyle/>
          <a:p>
            <a:pPr marL="457200" indent="-457200">
              <a:buFont typeface="Arial" panose="020B0604020202020204" pitchFamily="34" charset="0"/>
              <a:buChar char="•"/>
            </a:pPr>
            <a:r>
              <a:rPr lang="en-US" sz="2000" dirty="0"/>
              <a:t>Responded to over </a:t>
            </a:r>
            <a:r>
              <a:rPr lang="en-US" sz="2000" b="1" dirty="0"/>
              <a:t>10,000</a:t>
            </a:r>
            <a:r>
              <a:rPr lang="en-US" sz="2000" dirty="0"/>
              <a:t> requests:</a:t>
            </a:r>
          </a:p>
          <a:p>
            <a:pPr marL="1143000" lvl="1" indent="-457200">
              <a:buFont typeface="Courier New" panose="02070309020205020404" pitchFamily="49" charset="0"/>
              <a:buChar char="o"/>
            </a:pPr>
            <a:r>
              <a:rPr lang="en-US" sz="2000" b="1" dirty="0"/>
              <a:t>8,233</a:t>
            </a:r>
            <a:r>
              <a:rPr lang="en-US" sz="2000" dirty="0"/>
              <a:t> emails</a:t>
            </a:r>
          </a:p>
          <a:p>
            <a:pPr marL="1143000" lvl="1" indent="-457200">
              <a:buFont typeface="Courier New" panose="02070309020205020404" pitchFamily="49" charset="0"/>
              <a:buChar char="o"/>
            </a:pPr>
            <a:r>
              <a:rPr lang="en-US" sz="2000" b="1" dirty="0"/>
              <a:t>3,013</a:t>
            </a:r>
            <a:r>
              <a:rPr lang="en-US" sz="2000" dirty="0"/>
              <a:t> live chat requests</a:t>
            </a:r>
          </a:p>
          <a:p>
            <a:pPr marL="1143000" lvl="1" indent="-457200">
              <a:buFont typeface="Courier New" panose="02070309020205020404" pitchFamily="49" charset="0"/>
              <a:buChar char="o"/>
            </a:pPr>
            <a:r>
              <a:rPr lang="en-US" sz="2000" b="1" dirty="0"/>
              <a:t>69</a:t>
            </a:r>
            <a:r>
              <a:rPr lang="en-US" sz="2000" dirty="0"/>
              <a:t> phone calls</a:t>
            </a:r>
            <a:br>
              <a:rPr lang="en-US" sz="2000" dirty="0"/>
            </a:br>
            <a:endParaRPr lang="en-US" sz="2000" dirty="0"/>
          </a:p>
          <a:p>
            <a:pPr marL="457200" indent="-457200">
              <a:buFont typeface="Arial" panose="020B0604020202020204" pitchFamily="34" charset="0"/>
              <a:buChar char="•"/>
            </a:pPr>
            <a:r>
              <a:rPr lang="en-US" sz="2000" dirty="0"/>
              <a:t>Produced eight-part series on death &amp; resurrection, which resulted in the highest-viewed content on </a:t>
            </a:r>
            <a:r>
              <a:rPr lang="en-US" sz="2000" dirty="0" smtClean="0"/>
              <a:t>UM News </a:t>
            </a:r>
            <a:r>
              <a:rPr lang="en-US" sz="2000" dirty="0"/>
              <a:t>for the entirety of 2021</a:t>
            </a:r>
            <a:br>
              <a:rPr lang="en-US" sz="2000" dirty="0"/>
            </a:br>
            <a:endParaRPr lang="en-US" sz="2000" dirty="0"/>
          </a:p>
          <a:p>
            <a:pPr marL="457200" indent="-457200">
              <a:buFont typeface="Arial" panose="020B0604020202020204" pitchFamily="34" charset="0"/>
              <a:buChar char="•"/>
            </a:pPr>
            <a:r>
              <a:rPr lang="en-US" sz="2000" dirty="0"/>
              <a:t>Introduced new series: Pioneers in Methodism – includes oft-forgotten Methodism figures in history including Black women and Korean clergy</a:t>
            </a:r>
            <a:br>
              <a:rPr lang="en-US" sz="2000" dirty="0"/>
            </a:br>
            <a:endParaRPr lang="en-US" sz="2000" dirty="0"/>
          </a:p>
          <a:p>
            <a:pPr marL="457200" indent="-457200">
              <a:buFont typeface="Arial" panose="020B0604020202020204" pitchFamily="34" charset="0"/>
              <a:buChar char="•"/>
            </a:pPr>
            <a:r>
              <a:rPr lang="en-US" sz="2000" dirty="0"/>
              <a:t>Most-viewed Ask the UMC </a:t>
            </a:r>
            <a:r>
              <a:rPr lang="en-US" sz="2000" dirty="0" smtClean="0"/>
              <a:t>FAQs </a:t>
            </a:r>
            <a:r>
              <a:rPr lang="en-US" sz="2000" dirty="0"/>
              <a:t>for 2021:</a:t>
            </a:r>
          </a:p>
          <a:p>
            <a:pPr marL="1143000" lvl="1" indent="-457200">
              <a:buFont typeface="Courier New" panose="02070309020205020404" pitchFamily="49" charset="0"/>
              <a:buChar char="o"/>
            </a:pPr>
            <a:r>
              <a:rPr lang="en-US" sz="2000" dirty="0"/>
              <a:t>What is </a:t>
            </a:r>
            <a:r>
              <a:rPr lang="en-US" sz="2000" dirty="0" smtClean="0"/>
              <a:t>Lent </a:t>
            </a:r>
            <a:r>
              <a:rPr lang="en-US" sz="2000" dirty="0"/>
              <a:t>and why does it last 40 days?</a:t>
            </a:r>
          </a:p>
          <a:p>
            <a:pPr marL="1143000" lvl="1" indent="-457200">
              <a:buFont typeface="Courier New" panose="02070309020205020404" pitchFamily="49" charset="0"/>
              <a:buChar char="o"/>
            </a:pPr>
            <a:r>
              <a:rPr lang="en-US" sz="2000" dirty="0"/>
              <a:t>What happens after a person dies?</a:t>
            </a:r>
          </a:p>
          <a:p>
            <a:pPr marL="1143000" lvl="1" indent="-457200">
              <a:buFont typeface="Courier New" panose="02070309020205020404" pitchFamily="49" charset="0"/>
              <a:buChar char="o"/>
            </a:pPr>
            <a:r>
              <a:rPr lang="en-US" sz="2000" dirty="0"/>
              <a:t>What is </a:t>
            </a:r>
            <a:r>
              <a:rPr lang="en-US" sz="2000" dirty="0" smtClean="0"/>
              <a:t>Pentecost?</a:t>
            </a:r>
            <a:endParaRPr lang="en-US" sz="2000" dirty="0"/>
          </a:p>
        </p:txBody>
      </p:sp>
      <p:sp>
        <p:nvSpPr>
          <p:cNvPr id="9" name="Text Placeholder 1">
            <a:extLst>
              <a:ext uri="{FF2B5EF4-FFF2-40B4-BE49-F238E27FC236}">
                <a16:creationId xmlns:a16="http://schemas.microsoft.com/office/drawing/2014/main" id="{74771F2F-CA70-6047-BAED-0BF200227B83}"/>
              </a:ext>
            </a:extLst>
          </p:cNvPr>
          <p:cNvSpPr txBox="1">
            <a:spLocks/>
          </p:cNvSpPr>
          <p:nvPr/>
        </p:nvSpPr>
        <p:spPr>
          <a:xfrm>
            <a:off x="2966017" y="3618087"/>
            <a:ext cx="6191250" cy="1291371"/>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800" kern="1200" baseline="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5400" b="1" dirty="0"/>
              <a:t>Ask the UMC</a:t>
            </a:r>
          </a:p>
          <a:p>
            <a:endParaRPr lang="en-US" dirty="0"/>
          </a:p>
        </p:txBody>
      </p:sp>
    </p:spTree>
    <p:extLst>
      <p:ext uri="{BB962C8B-B14F-4D97-AF65-F5344CB8AC3E}">
        <p14:creationId xmlns:p14="http://schemas.microsoft.com/office/powerpoint/2010/main" val="1170658627"/>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2"/>
          </p:nvPr>
        </p:nvSpPr>
        <p:spPr>
          <a:xfrm>
            <a:off x="4382194" y="0"/>
            <a:ext cx="7690064" cy="981075"/>
          </a:xfrm>
        </p:spPr>
        <p:txBody>
          <a:bodyPr/>
          <a:lstStyle/>
          <a:p>
            <a:r>
              <a:rPr lang="en-US" sz="5400" dirty="0" smtClean="0"/>
              <a:t>Technology and</a:t>
            </a:r>
          </a:p>
          <a:p>
            <a:r>
              <a:rPr lang="en-US" sz="5400" dirty="0" smtClean="0"/>
              <a:t>Customer Experience</a:t>
            </a:r>
            <a:endParaRPr lang="en-US" sz="5400" dirty="0"/>
          </a:p>
        </p:txBody>
      </p:sp>
      <p:sp>
        <p:nvSpPr>
          <p:cNvPr id="6" name="TextBox 5"/>
          <p:cNvSpPr txBox="1"/>
          <p:nvPr/>
        </p:nvSpPr>
        <p:spPr>
          <a:xfrm>
            <a:off x="255121" y="981075"/>
            <a:ext cx="3682538" cy="4924425"/>
          </a:xfrm>
          <a:prstGeom prst="rect">
            <a:avLst/>
          </a:prstGeom>
          <a:noFill/>
        </p:spPr>
        <p:txBody>
          <a:bodyPr wrap="square" rtlCol="0">
            <a:spAutoFit/>
          </a:bodyPr>
          <a:lstStyle/>
          <a:p>
            <a:pPr marL="285750" indent="-285750">
              <a:buFont typeface="Arial" panose="020B0604020202020204" pitchFamily="34" charset="0"/>
              <a:buChar char="•"/>
            </a:pPr>
            <a:r>
              <a:rPr lang="en-US" sz="1600" dirty="0" smtClean="0"/>
              <a:t>Mapping issues affecting the </a:t>
            </a:r>
            <a:r>
              <a:rPr lang="en-US" sz="1600" dirty="0"/>
              <a:t>Find-A-Church and My Portal </a:t>
            </a:r>
            <a:r>
              <a:rPr lang="en-US" sz="1600" dirty="0" smtClean="0"/>
              <a:t>services were resolved. </a:t>
            </a:r>
            <a:r>
              <a:rPr lang="en-US" sz="1600" dirty="0"/>
              <a:t>This included manually finding missing physical addresses for nearly </a:t>
            </a:r>
            <a:r>
              <a:rPr lang="en-US" sz="1600" b="1" dirty="0"/>
              <a:t>500</a:t>
            </a:r>
            <a:r>
              <a:rPr lang="en-US" sz="1600" dirty="0"/>
              <a:t> </a:t>
            </a:r>
            <a:r>
              <a:rPr lang="en-US" sz="1600" dirty="0" smtClean="0"/>
              <a:t>churches.</a:t>
            </a:r>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r>
              <a:rPr lang="en-US" sz="1600" dirty="0" smtClean="0"/>
              <a:t>Introduction </a:t>
            </a:r>
            <a:r>
              <a:rPr lang="en-US" sz="1600" dirty="0"/>
              <a:t>of the Crisp online chat tool </a:t>
            </a:r>
            <a:r>
              <a:rPr lang="en-US" sz="1600" dirty="0" smtClean="0"/>
              <a:t>enabled </a:t>
            </a:r>
            <a:r>
              <a:rPr lang="en-US" sz="1600" dirty="0"/>
              <a:t>web visitors to make inquiries via UMC.org, ResourceUMC.org, </a:t>
            </a:r>
            <a:r>
              <a:rPr lang="en-US" sz="1600" dirty="0" smtClean="0"/>
              <a:t>UMNews.org </a:t>
            </a:r>
            <a:r>
              <a:rPr lang="en-US" sz="1600" dirty="0"/>
              <a:t>and </a:t>
            </a:r>
            <a:r>
              <a:rPr lang="en-US" sz="1600" dirty="0" smtClean="0"/>
              <a:t>UMChurches.org, thus increasing inquiries </a:t>
            </a:r>
            <a:r>
              <a:rPr lang="en-US" sz="1600" dirty="0"/>
              <a:t>by </a:t>
            </a:r>
            <a:r>
              <a:rPr lang="en-US" sz="1600" dirty="0" smtClean="0"/>
              <a:t>more than </a:t>
            </a:r>
            <a:r>
              <a:rPr lang="en-US" sz="1600" b="1" dirty="0"/>
              <a:t>400</a:t>
            </a:r>
            <a:r>
              <a:rPr lang="en-US" sz="1600" b="1" dirty="0" smtClean="0"/>
              <a:t>%.</a:t>
            </a:r>
          </a:p>
          <a:p>
            <a:pPr marL="285750" indent="-285750">
              <a:buFont typeface="Arial" panose="020B0604020202020204" pitchFamily="34" charset="0"/>
              <a:buChar char="•"/>
            </a:pPr>
            <a:endParaRPr lang="en-US" sz="1600" b="1" dirty="0"/>
          </a:p>
          <a:p>
            <a:pPr marL="285750" indent="-285750">
              <a:buFont typeface="Arial" panose="020B0604020202020204" pitchFamily="34" charset="0"/>
              <a:buChar char="•"/>
            </a:pPr>
            <a:r>
              <a:rPr lang="en-US" sz="1600" dirty="0" smtClean="0"/>
              <a:t>The Web Ministry Team </a:t>
            </a:r>
            <a:r>
              <a:rPr lang="en-US" sz="1600" dirty="0"/>
              <a:t>partnered with the General Commission on </a:t>
            </a:r>
            <a:r>
              <a:rPr lang="en-US" sz="1600" dirty="0" smtClean="0"/>
              <a:t>the Status </a:t>
            </a:r>
            <a:r>
              <a:rPr lang="en-US" sz="1600" dirty="0"/>
              <a:t>and Role of Women to relaunch the </a:t>
            </a:r>
            <a:r>
              <a:rPr lang="en-US" sz="1600" dirty="0" smtClean="0"/>
              <a:t>UM Sexual </a:t>
            </a:r>
            <a:r>
              <a:rPr lang="en-US" sz="1600" dirty="0"/>
              <a:t>Ethics </a:t>
            </a:r>
            <a:r>
              <a:rPr lang="en-US" sz="1600" dirty="0" smtClean="0"/>
              <a:t>website and </a:t>
            </a:r>
            <a:r>
              <a:rPr lang="en-US" sz="1600" dirty="0"/>
              <a:t>began work on their agency site.</a:t>
            </a:r>
          </a:p>
          <a:p>
            <a:endParaRPr lang="en-US" sz="1600" dirty="0"/>
          </a:p>
        </p:txBody>
      </p:sp>
      <p:sp>
        <p:nvSpPr>
          <p:cNvPr id="7" name="TextBox 6"/>
          <p:cNvSpPr txBox="1"/>
          <p:nvPr/>
        </p:nvSpPr>
        <p:spPr>
          <a:xfrm>
            <a:off x="6074228" y="1997430"/>
            <a:ext cx="4680857" cy="3139321"/>
          </a:xfrm>
          <a:prstGeom prst="rect">
            <a:avLst/>
          </a:prstGeom>
          <a:noFill/>
        </p:spPr>
        <p:txBody>
          <a:bodyPr wrap="square" rtlCol="0">
            <a:spAutoFit/>
          </a:bodyPr>
          <a:lstStyle/>
          <a:p>
            <a:r>
              <a:rPr lang="en-US" dirty="0"/>
              <a:t>UMCom launched its My Portal, which helps people get the most relevant information.  </a:t>
            </a:r>
            <a:r>
              <a:rPr lang="en-US" dirty="0" smtClean="0"/>
              <a:t>Church </a:t>
            </a:r>
            <a:r>
              <a:rPr lang="en-US" dirty="0"/>
              <a:t>leaders, staff, volunteers and lay-leaders can update their contact information, job roles, interests, newsletter subscriptions and connections to local churches and other UMC agencies and entities. Users updated 70 clergy roles and around </a:t>
            </a:r>
            <a:r>
              <a:rPr lang="en-US" dirty="0" smtClean="0"/>
              <a:t>Christmas, </a:t>
            </a:r>
            <a:r>
              <a:rPr lang="en-US" dirty="0"/>
              <a:t>the site received</a:t>
            </a:r>
            <a:r>
              <a:rPr lang="en-US" b="1" dirty="0"/>
              <a:t> 273,000+ </a:t>
            </a:r>
            <a:r>
              <a:rPr lang="en-US" dirty="0"/>
              <a:t>page </a:t>
            </a:r>
            <a:r>
              <a:rPr lang="en-US" dirty="0" smtClean="0"/>
              <a:t>views</a:t>
            </a:r>
            <a:r>
              <a:rPr lang="en-US" b="1" dirty="0" smtClean="0"/>
              <a:t>, </a:t>
            </a:r>
            <a:r>
              <a:rPr lang="en-US" dirty="0" smtClean="0"/>
              <a:t>spending </a:t>
            </a:r>
            <a:r>
              <a:rPr lang="en-US" dirty="0"/>
              <a:t>an average time of </a:t>
            </a:r>
            <a:r>
              <a:rPr lang="en-US" b="1" dirty="0"/>
              <a:t>1.20</a:t>
            </a:r>
            <a:r>
              <a:rPr lang="en-US" dirty="0"/>
              <a:t> on page</a:t>
            </a:r>
            <a:r>
              <a:rPr lang="en-US" dirty="0" smtClean="0"/>
              <a:t>.</a:t>
            </a:r>
            <a:endParaRPr lang="en-US" dirty="0"/>
          </a:p>
          <a:p>
            <a:endParaRPr lang="en-US" dirty="0"/>
          </a:p>
        </p:txBody>
      </p:sp>
    </p:spTree>
    <p:extLst>
      <p:ext uri="{BB962C8B-B14F-4D97-AF65-F5344CB8AC3E}">
        <p14:creationId xmlns:p14="http://schemas.microsoft.com/office/powerpoint/2010/main" val="1545268462"/>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p:txBody>
          <a:bodyPr/>
          <a:lstStyle/>
          <a:p>
            <a:r>
              <a:rPr lang="en-US" sz="5400" dirty="0" smtClean="0">
                <a:solidFill>
                  <a:srgbClr val="025159"/>
                </a:solidFill>
              </a:rPr>
              <a:t>Technology</a:t>
            </a:r>
            <a:endParaRPr lang="en-US" sz="5400" dirty="0">
              <a:solidFill>
                <a:srgbClr val="025159"/>
              </a:solidFill>
            </a:endParaRPr>
          </a:p>
        </p:txBody>
      </p:sp>
      <p:pic>
        <p:nvPicPr>
          <p:cNvPr id="8" name="Picture Placeholder 7"/>
          <p:cNvPicPr>
            <a:picLocks noGrp="1" noChangeAspect="1"/>
          </p:cNvPicPr>
          <p:nvPr>
            <p:ph type="pic" sz="quarter" idx="12"/>
          </p:nvPr>
        </p:nvPicPr>
        <p:blipFill>
          <a:blip r:embed="rId2">
            <a:extLst>
              <a:ext uri="{28A0092B-C50C-407E-A947-70E740481C1C}">
                <a14:useLocalDpi xmlns:a14="http://schemas.microsoft.com/office/drawing/2010/main" val="0"/>
              </a:ext>
            </a:extLst>
          </a:blip>
          <a:srcRect t="9509" b="9509"/>
          <a:stretch>
            <a:fillRect/>
          </a:stretch>
        </p:blipFill>
        <p:spPr>
          <a:xfrm>
            <a:off x="579665" y="850447"/>
            <a:ext cx="4657724" cy="3771900"/>
          </a:xfrm>
        </p:spPr>
      </p:pic>
      <p:sp>
        <p:nvSpPr>
          <p:cNvPr id="4" name="Rectangle 3"/>
          <p:cNvSpPr/>
          <p:nvPr/>
        </p:nvSpPr>
        <p:spPr>
          <a:xfrm>
            <a:off x="5474154" y="1260022"/>
            <a:ext cx="6096000" cy="4524315"/>
          </a:xfrm>
          <a:prstGeom prst="rect">
            <a:avLst/>
          </a:prstGeom>
        </p:spPr>
        <p:txBody>
          <a:bodyPr>
            <a:spAutoFit/>
          </a:bodyPr>
          <a:lstStyle/>
          <a:p>
            <a:pPr marL="285750" indent="-285750">
              <a:buFont typeface="Arial" panose="020B0604020202020204" pitchFamily="34" charset="0"/>
              <a:buChar char="•"/>
            </a:pPr>
            <a:r>
              <a:rPr lang="en-US" dirty="0"/>
              <a:t>ResourceUMC.org now provides search capabilities for information on </a:t>
            </a:r>
            <a:r>
              <a:rPr lang="en-US" dirty="0" smtClean="0"/>
              <a:t>Judicial Council </a:t>
            </a:r>
            <a:r>
              <a:rPr lang="en-US" dirty="0"/>
              <a:t>decisions.</a:t>
            </a:r>
            <a:r>
              <a:rPr lang="en-US" dirty="0" smtClean="0"/>
              <a:t>.</a:t>
            </a:r>
          </a:p>
          <a:p>
            <a:endParaRPr lang="en-US" dirty="0"/>
          </a:p>
          <a:p>
            <a:pPr marL="285750" indent="-285750">
              <a:buFont typeface="Arial" panose="020B0604020202020204" pitchFamily="34" charset="0"/>
              <a:buChar char="•"/>
            </a:pPr>
            <a:r>
              <a:rPr lang="en-US" dirty="0"/>
              <a:t>W</a:t>
            </a:r>
            <a:r>
              <a:rPr lang="en-US" dirty="0" smtClean="0"/>
              <a:t>eb </a:t>
            </a:r>
            <a:r>
              <a:rPr lang="en-US" dirty="0"/>
              <a:t>hosting services saw an increase of sales by </a:t>
            </a:r>
            <a:r>
              <a:rPr lang="en-US" b="1" dirty="0"/>
              <a:t>$7,931.67</a:t>
            </a:r>
            <a:r>
              <a:rPr lang="en-US" dirty="0"/>
              <a:t>. We improved communication about and the workflow for delivering secured sites. By providing SSL for all clients, we kept their internet connection secure and safeguarded sensitive data.</a:t>
            </a:r>
          </a:p>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r>
              <a:rPr lang="en-US" dirty="0" smtClean="0"/>
              <a:t>A </a:t>
            </a:r>
            <a:r>
              <a:rPr lang="en-US" dirty="0"/>
              <a:t>PowerBI</a:t>
            </a:r>
            <a:r>
              <a:rPr lang="en-US" dirty="0"/>
              <a:t> metrics dashboard relaunch equips UMCom staff to track engagements with our content and services.</a:t>
            </a:r>
          </a:p>
          <a:p>
            <a:endParaRPr lang="en-US" dirty="0"/>
          </a:p>
          <a:p>
            <a:r>
              <a:rPr lang="en-US" dirty="0"/>
              <a:t> </a:t>
            </a:r>
          </a:p>
          <a:p>
            <a:r>
              <a:rPr lang="en-US" dirty="0"/>
              <a:t> </a:t>
            </a:r>
          </a:p>
          <a:p>
            <a:r>
              <a:rPr lang="en-US" dirty="0"/>
              <a:t> </a:t>
            </a:r>
          </a:p>
          <a:p>
            <a:endParaRPr lang="en-US" dirty="0"/>
          </a:p>
        </p:txBody>
      </p:sp>
    </p:spTree>
    <p:extLst>
      <p:ext uri="{BB962C8B-B14F-4D97-AF65-F5344CB8AC3E}">
        <p14:creationId xmlns:p14="http://schemas.microsoft.com/office/powerpoint/2010/main" val="2412263535"/>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211287" y="6026219"/>
            <a:ext cx="7781768" cy="722313"/>
          </a:xfrm>
        </p:spPr>
        <p:txBody>
          <a:bodyPr>
            <a:normAutofit/>
          </a:bodyPr>
          <a:lstStyle/>
          <a:p>
            <a:r>
              <a:rPr lang="en-US" b="0" dirty="0" smtClean="0">
                <a:solidFill>
                  <a:srgbClr val="8C0B23"/>
                </a:solidFill>
              </a:rPr>
              <a:t>Global Communications Technology</a:t>
            </a:r>
            <a:endParaRPr lang="en-US" b="0" dirty="0">
              <a:solidFill>
                <a:srgbClr val="8C0B23"/>
              </a:solidFill>
            </a:endParaRPr>
          </a:p>
        </p:txBody>
      </p:sp>
      <p:graphicFrame>
        <p:nvGraphicFramePr>
          <p:cNvPr id="5" name="Content Placeholder 6"/>
          <p:cNvGraphicFramePr>
            <a:graphicFrameLocks/>
          </p:cNvGraphicFramePr>
          <p:nvPr>
            <p:extLst>
              <p:ext uri="{D42A27DB-BD31-4B8C-83A1-F6EECF244321}">
                <p14:modId xmlns:p14="http://schemas.microsoft.com/office/powerpoint/2010/main" val="2835744798"/>
              </p:ext>
            </p:extLst>
          </p:nvPr>
        </p:nvGraphicFramePr>
        <p:xfrm>
          <a:off x="247427" y="-12804"/>
          <a:ext cx="11296872" cy="519545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7" name="Content Placeholder 4"/>
          <p:cNvGraphicFramePr>
            <a:graphicFrameLocks/>
          </p:cNvGraphicFramePr>
          <p:nvPr>
            <p:extLst>
              <p:ext uri="{D42A27DB-BD31-4B8C-83A1-F6EECF244321}">
                <p14:modId xmlns:p14="http://schemas.microsoft.com/office/powerpoint/2010/main" val="2368507288"/>
              </p:ext>
            </p:extLst>
          </p:nvPr>
        </p:nvGraphicFramePr>
        <p:xfrm>
          <a:off x="828675" y="2665613"/>
          <a:ext cx="4743449" cy="1820550"/>
        </p:xfrm>
        <a:graphic>
          <a:graphicData uri="http://schemas.openxmlformats.org/drawingml/2006/table">
            <a:tbl>
              <a:tblPr firstRow="1" bandRow="1">
                <a:tableStyleId>{5C22544A-7EE6-4342-B048-85BDC9FD1C3A}</a:tableStyleId>
              </a:tblPr>
              <a:tblGrid>
                <a:gridCol w="1333500">
                  <a:extLst>
                    <a:ext uri="{9D8B030D-6E8A-4147-A177-3AD203B41FA5}">
                      <a16:colId xmlns:a16="http://schemas.microsoft.com/office/drawing/2014/main" val="3138015763"/>
                    </a:ext>
                  </a:extLst>
                </a:gridCol>
                <a:gridCol w="1072988">
                  <a:extLst>
                    <a:ext uri="{9D8B030D-6E8A-4147-A177-3AD203B41FA5}">
                      <a16:colId xmlns:a16="http://schemas.microsoft.com/office/drawing/2014/main" val="1080155344"/>
                    </a:ext>
                  </a:extLst>
                </a:gridCol>
                <a:gridCol w="1232062">
                  <a:extLst>
                    <a:ext uri="{9D8B030D-6E8A-4147-A177-3AD203B41FA5}">
                      <a16:colId xmlns:a16="http://schemas.microsoft.com/office/drawing/2014/main" val="2692850777"/>
                    </a:ext>
                  </a:extLst>
                </a:gridCol>
                <a:gridCol w="1104899">
                  <a:extLst>
                    <a:ext uri="{9D8B030D-6E8A-4147-A177-3AD203B41FA5}">
                      <a16:colId xmlns:a16="http://schemas.microsoft.com/office/drawing/2014/main" val="3458267214"/>
                    </a:ext>
                  </a:extLst>
                </a:gridCol>
              </a:tblGrid>
              <a:tr h="971077">
                <a:tc>
                  <a:txBody>
                    <a:bodyPr/>
                    <a:lstStyle/>
                    <a:p>
                      <a:pPr algn="l"/>
                      <a:r>
                        <a:rPr lang="en-US" sz="1600" dirty="0" smtClean="0"/>
                        <a:t>UMConnect</a:t>
                      </a:r>
                      <a:endParaRPr lang="en-US" sz="1600" dirty="0"/>
                    </a:p>
                  </a:txBody>
                  <a:tcPr marL="157525" marR="157525" anchor="ctr">
                    <a:solidFill>
                      <a:srgbClr val="025159"/>
                    </a:solidFill>
                  </a:tcPr>
                </a:tc>
                <a:tc>
                  <a:txBody>
                    <a:bodyPr/>
                    <a:lstStyle/>
                    <a:p>
                      <a:pPr algn="ctr"/>
                      <a:r>
                        <a:rPr lang="en-US" sz="1400" dirty="0" smtClean="0"/>
                        <a:t>2021</a:t>
                      </a:r>
                      <a:br>
                        <a:rPr lang="en-US" sz="1400" dirty="0" smtClean="0"/>
                      </a:br>
                      <a:r>
                        <a:rPr lang="en-US" sz="1400" dirty="0" smtClean="0"/>
                        <a:t>Messages</a:t>
                      </a:r>
                      <a:endParaRPr lang="en-US" sz="1400" dirty="0"/>
                    </a:p>
                  </a:txBody>
                  <a:tcPr marL="157525" marR="157525" anchor="ctr">
                    <a:solidFill>
                      <a:srgbClr val="025159"/>
                    </a:solidFill>
                  </a:tcPr>
                </a:tc>
                <a:tc>
                  <a:txBody>
                    <a:bodyPr/>
                    <a:lstStyle/>
                    <a:p>
                      <a:pPr algn="ctr"/>
                      <a:r>
                        <a:rPr lang="en-US" sz="1400" dirty="0" smtClean="0"/>
                        <a:t>2020 Messages</a:t>
                      </a:r>
                      <a:endParaRPr lang="en-US" sz="1400" dirty="0"/>
                    </a:p>
                  </a:txBody>
                  <a:tcPr marL="157525" marR="157525" anchor="ctr">
                    <a:solidFill>
                      <a:srgbClr val="025159"/>
                    </a:solidFill>
                  </a:tcPr>
                </a:tc>
                <a:tc>
                  <a:txBody>
                    <a:bodyPr/>
                    <a:lstStyle/>
                    <a:p>
                      <a:pPr algn="ctr"/>
                      <a:r>
                        <a:rPr lang="en-US" sz="1400" dirty="0" smtClean="0"/>
                        <a:t>Increase from </a:t>
                      </a:r>
                      <a:br>
                        <a:rPr lang="en-US" sz="1400" dirty="0" smtClean="0"/>
                      </a:br>
                      <a:r>
                        <a:rPr lang="en-US" sz="1400" dirty="0" smtClean="0"/>
                        <a:t>Prior</a:t>
                      </a:r>
                      <a:r>
                        <a:rPr lang="en-US" sz="1400" baseline="0" dirty="0" smtClean="0"/>
                        <a:t> Year</a:t>
                      </a:r>
                      <a:endParaRPr lang="en-US" sz="1400" dirty="0"/>
                    </a:p>
                  </a:txBody>
                  <a:tcPr marL="157525" marR="157525" anchor="ctr">
                    <a:solidFill>
                      <a:srgbClr val="025159"/>
                    </a:solidFill>
                  </a:tcPr>
                </a:tc>
                <a:extLst>
                  <a:ext uri="{0D108BD9-81ED-4DB2-BD59-A6C34878D82A}">
                    <a16:rowId xmlns:a16="http://schemas.microsoft.com/office/drawing/2014/main" val="2298996086"/>
                  </a:ext>
                </a:extLst>
              </a:tr>
              <a:tr h="849473">
                <a:tc>
                  <a:txBody>
                    <a:bodyPr/>
                    <a:lstStyle/>
                    <a:p>
                      <a:pPr algn="l"/>
                      <a:r>
                        <a:rPr lang="en-US" sz="1400" b="0" dirty="0" smtClean="0">
                          <a:solidFill>
                            <a:schemeClr val="bg1"/>
                          </a:solidFill>
                        </a:rPr>
                        <a:t>Total sent &amp; received messages</a:t>
                      </a:r>
                      <a:endParaRPr lang="en-US" sz="1400" b="0" dirty="0">
                        <a:solidFill>
                          <a:schemeClr val="bg1"/>
                        </a:solidFill>
                      </a:endParaRPr>
                    </a:p>
                  </a:txBody>
                  <a:tcPr marL="157525" marR="157525" anchor="ctr">
                    <a:solidFill>
                      <a:srgbClr val="025159">
                        <a:alpha val="40000"/>
                      </a:srgbClr>
                    </a:solidFill>
                  </a:tcPr>
                </a:tc>
                <a:tc>
                  <a:txBody>
                    <a:bodyPr/>
                    <a:lstStyle/>
                    <a:p>
                      <a:pPr algn="ctr"/>
                      <a:r>
                        <a:rPr lang="en-US" sz="1400" dirty="0" smtClean="0">
                          <a:solidFill>
                            <a:schemeClr val="bg1"/>
                          </a:solidFill>
                        </a:rPr>
                        <a:t>900,241</a:t>
                      </a:r>
                      <a:endParaRPr lang="en-US" sz="1400" dirty="0">
                        <a:solidFill>
                          <a:schemeClr val="bg1"/>
                        </a:solidFill>
                      </a:endParaRPr>
                    </a:p>
                  </a:txBody>
                  <a:tcPr marL="157525" marR="157525" anchor="ctr">
                    <a:solidFill>
                      <a:srgbClr val="025159">
                        <a:alpha val="40000"/>
                      </a:srgbClr>
                    </a:solidFill>
                  </a:tcPr>
                </a:tc>
                <a:tc>
                  <a:txBody>
                    <a:bodyPr/>
                    <a:lstStyle/>
                    <a:p>
                      <a:pPr algn="ctr"/>
                      <a:r>
                        <a:rPr lang="en-US" sz="1400" dirty="0" smtClean="0">
                          <a:solidFill>
                            <a:schemeClr val="bg1"/>
                          </a:solidFill>
                        </a:rPr>
                        <a:t>537,311</a:t>
                      </a:r>
                      <a:endParaRPr lang="en-US" sz="1400" dirty="0">
                        <a:solidFill>
                          <a:schemeClr val="bg1"/>
                        </a:solidFill>
                      </a:endParaRPr>
                    </a:p>
                  </a:txBody>
                  <a:tcPr marL="157525" marR="157525" anchor="ctr">
                    <a:solidFill>
                      <a:srgbClr val="025159">
                        <a:alpha val="40000"/>
                      </a:srgbClr>
                    </a:solidFill>
                  </a:tcPr>
                </a:tc>
                <a:tc>
                  <a:txBody>
                    <a:bodyPr/>
                    <a:lstStyle/>
                    <a:p>
                      <a:pPr algn="ctr"/>
                      <a:r>
                        <a:rPr lang="en-US" sz="1400" dirty="0" smtClean="0">
                          <a:solidFill>
                            <a:schemeClr val="bg1"/>
                          </a:solidFill>
                        </a:rPr>
                        <a:t>362,930</a:t>
                      </a:r>
                      <a:endParaRPr lang="en-US" sz="1400" dirty="0">
                        <a:solidFill>
                          <a:schemeClr val="bg1"/>
                        </a:solidFill>
                      </a:endParaRPr>
                    </a:p>
                  </a:txBody>
                  <a:tcPr marL="157525" marR="157525" anchor="ctr">
                    <a:solidFill>
                      <a:srgbClr val="025159">
                        <a:alpha val="40000"/>
                      </a:srgbClr>
                    </a:solidFill>
                  </a:tcPr>
                </a:tc>
                <a:extLst>
                  <a:ext uri="{0D108BD9-81ED-4DB2-BD59-A6C34878D82A}">
                    <a16:rowId xmlns:a16="http://schemas.microsoft.com/office/drawing/2014/main" val="3949170944"/>
                  </a:ext>
                </a:extLst>
              </a:tr>
            </a:tbl>
          </a:graphicData>
        </a:graphic>
      </p:graphicFrame>
    </p:spTree>
    <p:extLst>
      <p:ext uri="{BB962C8B-B14F-4D97-AF65-F5344CB8AC3E}">
        <p14:creationId xmlns:p14="http://schemas.microsoft.com/office/powerpoint/2010/main" val="2848006351"/>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1543050" y="5381625"/>
            <a:ext cx="6543675" cy="1085850"/>
          </a:xfrm>
        </p:spPr>
        <p:txBody>
          <a:bodyPr/>
          <a:lstStyle/>
          <a:p>
            <a:r>
              <a:rPr lang="en-US" sz="4000" b="1" dirty="0"/>
              <a:t>Central Conference Relations Presence &amp; </a:t>
            </a:r>
            <a:r>
              <a:rPr lang="en-US" sz="4000" b="1" dirty="0" smtClean="0"/>
              <a:t>Support</a:t>
            </a:r>
            <a:endParaRPr lang="en-US" sz="4000" b="1" dirty="0"/>
          </a:p>
        </p:txBody>
      </p:sp>
      <p:graphicFrame>
        <p:nvGraphicFramePr>
          <p:cNvPr id="5" name="Content Placeholder 6"/>
          <p:cNvGraphicFramePr>
            <a:graphicFrameLocks/>
          </p:cNvGraphicFramePr>
          <p:nvPr>
            <p:extLst>
              <p:ext uri="{D42A27DB-BD31-4B8C-83A1-F6EECF244321}">
                <p14:modId xmlns:p14="http://schemas.microsoft.com/office/powerpoint/2010/main" val="3839585699"/>
              </p:ext>
            </p:extLst>
          </p:nvPr>
        </p:nvGraphicFramePr>
        <p:xfrm>
          <a:off x="237902" y="0"/>
          <a:ext cx="10506298" cy="519545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6" name="Picture 5"/>
          <p:cNvPicPr>
            <a:picLocks noChangeAspect="1"/>
          </p:cNvPicPr>
          <p:nvPr/>
        </p:nvPicPr>
        <p:blipFill>
          <a:blip r:embed="rId7">
            <a:grayscl/>
          </a:blip>
          <a:stretch>
            <a:fillRect/>
          </a:stretch>
        </p:blipFill>
        <p:spPr>
          <a:xfrm>
            <a:off x="7836098" y="2793239"/>
            <a:ext cx="2812851" cy="2402216"/>
          </a:xfrm>
          <a:prstGeom prst="rect">
            <a:avLst/>
          </a:prstGeom>
        </p:spPr>
      </p:pic>
    </p:spTree>
    <p:extLst>
      <p:ext uri="{BB962C8B-B14F-4D97-AF65-F5344CB8AC3E}">
        <p14:creationId xmlns:p14="http://schemas.microsoft.com/office/powerpoint/2010/main" val="253589511"/>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584093" y="1152668"/>
            <a:ext cx="5572125" cy="3549960"/>
          </a:xfrm>
        </p:spPr>
        <p:txBody>
          <a:bodyPr>
            <a:normAutofit/>
          </a:bodyPr>
          <a:lstStyle/>
          <a:p>
            <a:pPr algn="l"/>
            <a:endParaRPr lang="en-US" sz="1800" dirty="0"/>
          </a:p>
          <a:p>
            <a:pPr marL="457200" indent="-457200" algn="l">
              <a:buFont typeface="Arial" panose="020B0604020202020204" pitchFamily="34" charset="0"/>
              <a:buChar char="•"/>
            </a:pPr>
            <a:endParaRPr lang="en-US" sz="1800" dirty="0" smtClean="0"/>
          </a:p>
        </p:txBody>
      </p:sp>
      <p:sp>
        <p:nvSpPr>
          <p:cNvPr id="18" name="Text Placeholder 17"/>
          <p:cNvSpPr>
            <a:spLocks noGrp="1"/>
          </p:cNvSpPr>
          <p:nvPr>
            <p:ph type="body" sz="quarter" idx="11"/>
          </p:nvPr>
        </p:nvSpPr>
        <p:spPr>
          <a:xfrm>
            <a:off x="6156218" y="5006068"/>
            <a:ext cx="5867399" cy="666750"/>
          </a:xfrm>
        </p:spPr>
        <p:txBody>
          <a:bodyPr>
            <a:noAutofit/>
          </a:bodyPr>
          <a:lstStyle/>
          <a:p>
            <a:pPr algn="ctr"/>
            <a:r>
              <a:rPr lang="en-US" dirty="0">
                <a:solidFill>
                  <a:srgbClr val="025159"/>
                </a:solidFill>
              </a:rPr>
              <a:t>U.S. Conference Relations </a:t>
            </a:r>
            <a:endParaRPr lang="en-US" dirty="0" smtClean="0">
              <a:solidFill>
                <a:srgbClr val="025159"/>
              </a:solidFill>
            </a:endParaRPr>
          </a:p>
          <a:p>
            <a:pPr algn="ctr"/>
            <a:r>
              <a:rPr lang="en-US" dirty="0" smtClean="0">
                <a:solidFill>
                  <a:srgbClr val="025159"/>
                </a:solidFill>
              </a:rPr>
              <a:t>Presence </a:t>
            </a:r>
            <a:r>
              <a:rPr lang="en-US" dirty="0">
                <a:solidFill>
                  <a:srgbClr val="025159"/>
                </a:solidFill>
              </a:rPr>
              <a:t>&amp; Support</a:t>
            </a:r>
          </a:p>
        </p:txBody>
      </p:sp>
      <p:sp>
        <p:nvSpPr>
          <p:cNvPr id="6" name="Isosceles Triangle 5"/>
          <p:cNvSpPr/>
          <p:nvPr/>
        </p:nvSpPr>
        <p:spPr>
          <a:xfrm>
            <a:off x="6156218" y="10886"/>
            <a:ext cx="3853542" cy="2242457"/>
          </a:xfrm>
          <a:prstGeom prst="triangle">
            <a:avLst/>
          </a:prstGeom>
          <a:solidFill>
            <a:srgbClr val="025159"/>
          </a:solidFill>
          <a:ln w="25400">
            <a:solidFill>
              <a:srgbClr val="02515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3" name="Isosceles Triangle 12"/>
          <p:cNvSpPr/>
          <p:nvPr/>
        </p:nvSpPr>
        <p:spPr>
          <a:xfrm>
            <a:off x="8170075" y="2329543"/>
            <a:ext cx="3853542" cy="2242457"/>
          </a:xfrm>
          <a:prstGeom prst="triangle">
            <a:avLst/>
          </a:prstGeom>
          <a:noFill/>
          <a:ln w="25400">
            <a:solidFill>
              <a:srgbClr val="02515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4" name="Isosceles Triangle 13"/>
          <p:cNvSpPr/>
          <p:nvPr/>
        </p:nvSpPr>
        <p:spPr>
          <a:xfrm rot="10800000">
            <a:off x="8170075" y="0"/>
            <a:ext cx="3853542" cy="2242457"/>
          </a:xfrm>
          <a:prstGeom prst="triangle">
            <a:avLst/>
          </a:prstGeom>
          <a:noFill/>
          <a:ln w="25400">
            <a:solidFill>
              <a:srgbClr val="02515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5" name="Isosceles Triangle 14"/>
          <p:cNvSpPr/>
          <p:nvPr/>
        </p:nvSpPr>
        <p:spPr>
          <a:xfrm rot="10800000">
            <a:off x="6156218" y="2329543"/>
            <a:ext cx="3853542" cy="2242457"/>
          </a:xfrm>
          <a:prstGeom prst="triangle">
            <a:avLst/>
          </a:prstGeom>
          <a:solidFill>
            <a:srgbClr val="025159"/>
          </a:solidFill>
          <a:ln w="25400">
            <a:solidFill>
              <a:srgbClr val="02515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9" name="Isosceles Triangle 18"/>
          <p:cNvSpPr/>
          <p:nvPr/>
        </p:nvSpPr>
        <p:spPr>
          <a:xfrm rot="16200000">
            <a:off x="9791356" y="2027465"/>
            <a:ext cx="1235525" cy="538842"/>
          </a:xfrm>
          <a:prstGeom prst="triangle">
            <a:avLst>
              <a:gd name="adj" fmla="val 52575"/>
            </a:avLst>
          </a:prstGeom>
          <a:solidFill>
            <a:srgbClr val="025159"/>
          </a:solidFill>
          <a:ln>
            <a:solidFill>
              <a:srgbClr val="02515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0" name="Text Placeholder 1">
            <a:extLst>
              <a:ext uri="{FF2B5EF4-FFF2-40B4-BE49-F238E27FC236}">
                <a16:creationId xmlns:a16="http://schemas.microsoft.com/office/drawing/2014/main" id="{C53DBD1D-2997-4E42-A3C4-1E07F55C5DA3}"/>
              </a:ext>
            </a:extLst>
          </p:cNvPr>
          <p:cNvSpPr txBox="1">
            <a:spLocks/>
          </p:cNvSpPr>
          <p:nvPr/>
        </p:nvSpPr>
        <p:spPr>
          <a:xfrm>
            <a:off x="944327" y="561952"/>
            <a:ext cx="4851655" cy="6296048"/>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2800" kern="1200" baseline="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smtClean="0">
                <a:ln>
                  <a:noFill/>
                </a:ln>
                <a:solidFill>
                  <a:prstClr val="black"/>
                </a:solidFill>
                <a:effectLst/>
                <a:uLnTx/>
                <a:uFillTx/>
                <a:latin typeface="Calibri" panose="020F0502020204030204"/>
                <a:ea typeface="+mn-ea"/>
                <a:cs typeface="+mn-cs"/>
              </a:rPr>
              <a:t>Provided </a:t>
            </a:r>
            <a:r>
              <a:rPr kumimoji="0" lang="en-US" sz="1400" b="1" i="0" u="sng" strike="noStrike" kern="1200" cap="none" spc="0" normalizeH="0" baseline="0" noProof="0" dirty="0" smtClean="0">
                <a:ln>
                  <a:noFill/>
                </a:ln>
                <a:solidFill>
                  <a:prstClr val="black"/>
                </a:solidFill>
                <a:effectLst/>
                <a:uLnTx/>
                <a:uFillTx/>
                <a:latin typeface="Calibri" panose="020F0502020204030204"/>
                <a:ea typeface="+mn-ea"/>
                <a:cs typeface="+mn-cs"/>
              </a:rPr>
              <a:t>financial sponsorship support</a:t>
            </a:r>
            <a:r>
              <a:rPr kumimoji="0" lang="en-US" sz="1400" b="0" i="0" u="none" strike="noStrike" kern="1200" cap="none" spc="0" normalizeH="0" baseline="0" noProof="0" dirty="0" smtClean="0">
                <a:ln>
                  <a:noFill/>
                </a:ln>
                <a:solidFill>
                  <a:prstClr val="black"/>
                </a:solidFill>
                <a:effectLst/>
                <a:uLnTx/>
                <a:uFillTx/>
                <a:latin typeface="Calibri" panose="020F0502020204030204"/>
                <a:ea typeface="+mn-ea"/>
                <a:cs typeface="+mn-cs"/>
              </a:rPr>
              <a:t> to 6 annual conferences and 8 denominational wide events. </a:t>
            </a: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1143000" marR="0" lvl="1" indent="-45720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6 </a:t>
            </a:r>
            <a:r>
              <a:rPr kumimoji="0" lang="en-US" sz="1400" b="0" i="0" u="none" strike="noStrike" kern="1200" cap="none" spc="0" normalizeH="0" baseline="0" noProof="0" dirty="0" smtClean="0">
                <a:ln>
                  <a:noFill/>
                </a:ln>
                <a:solidFill>
                  <a:prstClr val="black"/>
                </a:solidFill>
                <a:effectLst/>
                <a:uLnTx/>
                <a:uFillTx/>
                <a:latin typeface="Calibri" panose="020F0502020204030204"/>
                <a:ea typeface="+mn-ea"/>
                <a:cs typeface="+mn-cs"/>
              </a:rPr>
              <a:t>annual </a:t>
            </a:r>
            <a:r>
              <a:rPr lang="en-US" sz="1400" noProof="0" dirty="0">
                <a:solidFill>
                  <a:prstClr val="black"/>
                </a:solidFill>
                <a:latin typeface="Calibri" panose="020F0502020204030204"/>
              </a:rPr>
              <a:t>c</a:t>
            </a:r>
            <a:r>
              <a:rPr kumimoji="0" lang="en-US" sz="1400" b="0" i="0" u="none" strike="noStrike" kern="1200" cap="none" spc="0" normalizeH="0" baseline="0" noProof="0" dirty="0" smtClean="0">
                <a:ln>
                  <a:noFill/>
                </a:ln>
                <a:solidFill>
                  <a:prstClr val="black"/>
                </a:solidFill>
                <a:effectLst/>
                <a:uLnTx/>
                <a:uFillTx/>
                <a:latin typeface="Calibri" panose="020F0502020204030204"/>
                <a:ea typeface="+mn-ea"/>
                <a:cs typeface="+mn-cs"/>
              </a:rPr>
              <a:t>onferences </a:t>
            </a: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1143000" marR="0" lvl="1" indent="-45720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8</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UMC </a:t>
            </a:r>
            <a:r>
              <a:rPr kumimoji="0" lang="en-US" sz="1400" b="0" i="0" u="none" strike="noStrike" kern="1200" cap="none" spc="0" normalizeH="0" baseline="0" noProof="0" dirty="0" smtClean="0">
                <a:ln>
                  <a:noFill/>
                </a:ln>
                <a:solidFill>
                  <a:prstClr val="black"/>
                </a:solidFill>
                <a:effectLst/>
                <a:uLnTx/>
                <a:uFillTx/>
                <a:latin typeface="Calibri" panose="020F0502020204030204"/>
                <a:ea typeface="+mn-ea"/>
                <a:cs typeface="+mn-cs"/>
              </a:rPr>
              <a:t>events</a:t>
            </a:r>
          </a:p>
          <a:p>
            <a:pPr marR="0" lvl="1" indent="0" algn="l" defTabSz="914400" rtl="0" eaLnBrk="1" fontAlgn="auto" latinLnBrk="0" hangingPunct="1">
              <a:lnSpc>
                <a:spcPct val="100000"/>
              </a:lnSpc>
              <a:spcBef>
                <a:spcPts val="0"/>
              </a:spcBef>
              <a:spcAft>
                <a:spcPts val="0"/>
              </a:spcAft>
              <a:buClrTx/>
              <a:buSzTx/>
              <a:buNone/>
              <a:tabLst/>
              <a:defRPr/>
            </a:pP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smtClean="0">
                <a:ln>
                  <a:noFill/>
                </a:ln>
                <a:solidFill>
                  <a:prstClr val="black"/>
                </a:solidFill>
                <a:effectLst/>
                <a:uLnTx/>
                <a:uFillTx/>
                <a:latin typeface="Calibri" panose="020F0502020204030204"/>
                <a:ea typeface="+mn-ea"/>
                <a:cs typeface="+mn-cs"/>
              </a:rPr>
              <a:t>Distributed U.S. conference </a:t>
            </a:r>
            <a:r>
              <a:rPr kumimoji="0" lang="en-US" sz="1400" b="1" i="0" u="sng" strike="noStrike" kern="1200" cap="none" spc="0" normalizeH="0" baseline="0" noProof="0" dirty="0" smtClean="0">
                <a:ln>
                  <a:noFill/>
                </a:ln>
                <a:solidFill>
                  <a:prstClr val="black"/>
                </a:solidFill>
                <a:effectLst/>
                <a:uLnTx/>
                <a:uFillTx/>
                <a:latin typeface="Calibri" panose="020F0502020204030204"/>
                <a:ea typeface="+mn-ea"/>
                <a:cs typeface="+mn-cs"/>
              </a:rPr>
              <a:t>resource </a:t>
            </a:r>
            <a:r>
              <a:rPr kumimoji="0" lang="en-US" sz="1400" b="1" i="0" u="sng" strike="noStrike" kern="1200" cap="none" spc="0" normalizeH="0" baseline="0" noProof="0" dirty="0">
                <a:ln>
                  <a:noFill/>
                </a:ln>
                <a:solidFill>
                  <a:prstClr val="black"/>
                </a:solidFill>
                <a:effectLst/>
                <a:uLnTx/>
                <a:uFillTx/>
                <a:latin typeface="Calibri" panose="020F0502020204030204"/>
                <a:ea typeface="+mn-ea"/>
                <a:cs typeface="+mn-cs"/>
              </a:rPr>
              <a:t>s</a:t>
            </a:r>
            <a:r>
              <a:rPr kumimoji="0" lang="en-US" sz="1400" b="1" i="0" u="sng" strike="noStrike" kern="1200" cap="none" spc="0" normalizeH="0" baseline="0" noProof="0" dirty="0" smtClean="0">
                <a:ln>
                  <a:noFill/>
                </a:ln>
                <a:solidFill>
                  <a:prstClr val="black"/>
                </a:solidFill>
                <a:effectLst/>
                <a:uLnTx/>
                <a:uFillTx/>
                <a:latin typeface="Calibri" panose="020F0502020204030204"/>
                <a:ea typeface="+mn-ea"/>
                <a:cs typeface="+mn-cs"/>
              </a:rPr>
              <a:t>upport </a:t>
            </a:r>
            <a:r>
              <a:rPr kumimoji="0" lang="en-US" sz="1400" b="0" i="0" u="none" strike="noStrike" kern="1200" cap="none" spc="0" normalizeH="0" baseline="0" noProof="0" dirty="0" smtClean="0">
                <a:ln>
                  <a:noFill/>
                </a:ln>
                <a:solidFill>
                  <a:prstClr val="black"/>
                </a:solidFill>
                <a:effectLst/>
                <a:uLnTx/>
                <a:uFillTx/>
                <a:latin typeface="Calibri" panose="020F0502020204030204"/>
                <a:ea typeface="+mn-ea"/>
                <a:cs typeface="+mn-cs"/>
              </a:rPr>
              <a:t>to assist local churches and annual conferences with communication needs:</a:t>
            </a: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1143000" marR="0" lvl="1" indent="-45720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6</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400" b="0" i="0" u="none" strike="noStrike" kern="1200" cap="none" spc="0" normalizeH="0" baseline="0" noProof="0" dirty="0" smtClean="0">
                <a:ln>
                  <a:noFill/>
                </a:ln>
                <a:solidFill>
                  <a:prstClr val="black"/>
                </a:solidFill>
                <a:effectLst/>
                <a:uLnTx/>
                <a:uFillTx/>
                <a:latin typeface="Calibri" panose="020F0502020204030204"/>
                <a:ea typeface="+mn-ea"/>
                <a:cs typeface="+mn-cs"/>
              </a:rPr>
              <a:t>annual </a:t>
            </a:r>
            <a:r>
              <a:rPr lang="en-US" sz="1400" dirty="0">
                <a:solidFill>
                  <a:prstClr val="black"/>
                </a:solidFill>
                <a:latin typeface="Calibri" panose="020F0502020204030204"/>
              </a:rPr>
              <a:t>c</a:t>
            </a:r>
            <a:r>
              <a:rPr kumimoji="0" lang="en-US" sz="1400" b="0" i="0" u="none" strike="noStrike" kern="1200" cap="none" spc="0" normalizeH="0" baseline="0" noProof="0" dirty="0" smtClean="0">
                <a:ln>
                  <a:noFill/>
                </a:ln>
                <a:solidFill>
                  <a:prstClr val="black"/>
                </a:solidFill>
                <a:effectLst/>
                <a:uLnTx/>
                <a:uFillTx/>
                <a:latin typeface="Calibri" panose="020F0502020204030204"/>
                <a:ea typeface="+mn-ea"/>
                <a:cs typeface="+mn-cs"/>
              </a:rPr>
              <a:t>onferences</a:t>
            </a: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1143000" marR="0" lvl="1" indent="-45720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8</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UMC </a:t>
            </a:r>
            <a:r>
              <a:rPr kumimoji="0" lang="en-US" sz="1400" b="0" i="0" u="none" strike="noStrike" kern="1200" cap="none" spc="0" normalizeH="0" baseline="0" noProof="0" dirty="0" smtClean="0">
                <a:ln>
                  <a:noFill/>
                </a:ln>
                <a:solidFill>
                  <a:prstClr val="black"/>
                </a:solidFill>
                <a:effectLst/>
                <a:uLnTx/>
                <a:uFillTx/>
                <a:latin typeface="Calibri" panose="020F0502020204030204"/>
                <a:ea typeface="+mn-ea"/>
                <a:cs typeface="+mn-cs"/>
              </a:rPr>
              <a:t>events</a:t>
            </a: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1143000" marR="0" lvl="1" indent="-45720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15</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400" b="0" i="0" u="none" strike="noStrike" kern="1200" cap="none" spc="0" normalizeH="0" baseline="0" noProof="0" dirty="0" smtClean="0">
                <a:ln>
                  <a:noFill/>
                </a:ln>
                <a:solidFill>
                  <a:prstClr val="black"/>
                </a:solidFill>
                <a:effectLst/>
                <a:uLnTx/>
                <a:uFillTx/>
                <a:latin typeface="Calibri" panose="020F0502020204030204"/>
                <a:ea typeface="+mn-ea"/>
                <a:cs typeface="+mn-cs"/>
              </a:rPr>
              <a:t>virtual </a:t>
            </a:r>
            <a:r>
              <a:rPr lang="en-US" sz="1400" dirty="0">
                <a:solidFill>
                  <a:prstClr val="black"/>
                </a:solidFill>
                <a:latin typeface="Calibri" panose="020F0502020204030204"/>
              </a:rPr>
              <a:t>a</a:t>
            </a:r>
            <a:r>
              <a:rPr kumimoji="0" lang="en-US" sz="1400" b="0" i="0" u="none" strike="noStrike" kern="1200" cap="none" spc="0" normalizeH="0" baseline="0" noProof="0" dirty="0" smtClean="0">
                <a:ln>
                  <a:noFill/>
                </a:ln>
                <a:solidFill>
                  <a:prstClr val="black"/>
                </a:solidFill>
                <a:effectLst/>
                <a:uLnTx/>
                <a:uFillTx/>
                <a:latin typeface="Calibri" panose="020F0502020204030204"/>
                <a:ea typeface="+mn-ea"/>
                <a:cs typeface="+mn-cs"/>
              </a:rPr>
              <a:t>nnual</a:t>
            </a:r>
            <a:r>
              <a:rPr kumimoji="0" lang="en-US" sz="1400" b="0" i="0" u="none" strike="noStrike" kern="1200" cap="none" spc="0" normalizeH="0" baseline="0" noProof="0" dirty="0" smtClean="0">
                <a:ln>
                  <a:noFill/>
                </a:ln>
                <a:solidFill>
                  <a:prstClr val="black"/>
                </a:solidFill>
                <a:effectLst/>
                <a:uLnTx/>
                <a:uFillTx/>
                <a:latin typeface="Calibri" panose="020F0502020204030204"/>
                <a:ea typeface="+mn-ea"/>
                <a:cs typeface="+mn-cs"/>
              </a:rPr>
              <a:t> </a:t>
            </a:r>
            <a:r>
              <a:rPr lang="en-US" sz="1400" dirty="0">
                <a:solidFill>
                  <a:prstClr val="black"/>
                </a:solidFill>
                <a:latin typeface="Calibri" panose="020F0502020204030204"/>
              </a:rPr>
              <a:t>c</a:t>
            </a:r>
            <a:r>
              <a:rPr kumimoji="0" lang="en-US" sz="1400" b="0" i="0" u="none" strike="noStrike" kern="1200" cap="none" spc="0" normalizeH="0" baseline="0" noProof="0" dirty="0" smtClean="0">
                <a:ln>
                  <a:noFill/>
                </a:ln>
                <a:solidFill>
                  <a:prstClr val="black"/>
                </a:solidFill>
                <a:effectLst/>
                <a:uLnTx/>
                <a:uFillTx/>
                <a:latin typeface="Calibri" panose="020F0502020204030204"/>
                <a:ea typeface="+mn-ea"/>
                <a:cs typeface="+mn-cs"/>
              </a:rPr>
              <a:t>onferences</a:t>
            </a: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1143000" marR="0" lvl="1" indent="-45720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7</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400" b="0" i="0" u="none" strike="noStrike" kern="1200" cap="none" spc="0" normalizeH="0" baseline="0" noProof="0" dirty="0" smtClean="0">
                <a:ln>
                  <a:noFill/>
                </a:ln>
                <a:solidFill>
                  <a:prstClr val="black"/>
                </a:solidFill>
                <a:effectLst/>
                <a:uLnTx/>
                <a:uFillTx/>
                <a:latin typeface="Calibri" panose="020F0502020204030204"/>
                <a:ea typeface="+mn-ea"/>
                <a:cs typeface="+mn-cs"/>
              </a:rPr>
              <a:t>hybrid </a:t>
            </a:r>
            <a:r>
              <a:rPr lang="en-US" sz="1400" dirty="0">
                <a:solidFill>
                  <a:prstClr val="black"/>
                </a:solidFill>
                <a:latin typeface="Calibri" panose="020F0502020204030204"/>
              </a:rPr>
              <a:t>a</a:t>
            </a:r>
            <a:r>
              <a:rPr kumimoji="0" lang="en-US" sz="1400" b="0" i="0" u="none" strike="noStrike" kern="1200" cap="none" spc="0" normalizeH="0" baseline="0" noProof="0" dirty="0" smtClean="0">
                <a:ln>
                  <a:noFill/>
                </a:ln>
                <a:solidFill>
                  <a:prstClr val="black"/>
                </a:solidFill>
                <a:effectLst/>
                <a:uLnTx/>
                <a:uFillTx/>
                <a:latin typeface="Calibri" panose="020F0502020204030204"/>
                <a:ea typeface="+mn-ea"/>
                <a:cs typeface="+mn-cs"/>
              </a:rPr>
              <a:t>nnual</a:t>
            </a:r>
            <a:r>
              <a:rPr kumimoji="0" lang="en-US" sz="1400" b="0" i="0" u="none" strike="noStrike" kern="1200" cap="none" spc="0" normalizeH="0" baseline="0" noProof="0" dirty="0" smtClean="0">
                <a:ln>
                  <a:noFill/>
                </a:ln>
                <a:solidFill>
                  <a:prstClr val="black"/>
                </a:solidFill>
                <a:effectLst/>
                <a:uLnTx/>
                <a:uFillTx/>
                <a:latin typeface="Calibri" panose="020F0502020204030204"/>
                <a:ea typeface="+mn-ea"/>
                <a:cs typeface="+mn-cs"/>
              </a:rPr>
              <a:t> </a:t>
            </a:r>
            <a:r>
              <a:rPr lang="en-US" sz="1400" dirty="0">
                <a:solidFill>
                  <a:prstClr val="black"/>
                </a:solidFill>
                <a:latin typeface="Calibri" panose="020F0502020204030204"/>
              </a:rPr>
              <a:t>c</a:t>
            </a:r>
            <a:r>
              <a:rPr kumimoji="0" lang="en-US" sz="1400" b="0" i="0" u="none" strike="noStrike" kern="1200" cap="none" spc="0" normalizeH="0" baseline="0" noProof="0" dirty="0" smtClean="0">
                <a:ln>
                  <a:noFill/>
                </a:ln>
                <a:solidFill>
                  <a:prstClr val="black"/>
                </a:solidFill>
                <a:effectLst/>
                <a:uLnTx/>
                <a:uFillTx/>
                <a:latin typeface="Calibri" panose="020F0502020204030204"/>
                <a:ea typeface="+mn-ea"/>
                <a:cs typeface="+mn-cs"/>
              </a:rPr>
              <a:t>onferences</a:t>
            </a: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1143000" marR="0" lvl="1" indent="-45720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16</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400" b="0" i="0" u="none" strike="noStrike" kern="1200" cap="none" spc="0" normalizeH="0" baseline="0" noProof="0" dirty="0" smtClean="0">
                <a:ln>
                  <a:noFill/>
                </a:ln>
                <a:solidFill>
                  <a:prstClr val="black"/>
                </a:solidFill>
                <a:effectLst/>
                <a:uLnTx/>
                <a:uFillTx/>
                <a:latin typeface="Calibri" panose="020F0502020204030204"/>
                <a:ea typeface="+mn-ea"/>
                <a:cs typeface="+mn-cs"/>
              </a:rPr>
              <a:t>virtual </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UMC </a:t>
            </a:r>
            <a:r>
              <a:rPr kumimoji="0" lang="en-US" sz="1400" b="0" i="0" u="none" strike="noStrike" kern="1200" cap="none" spc="0" normalizeH="0" baseline="0" noProof="0" dirty="0" smtClean="0">
                <a:ln>
                  <a:noFill/>
                </a:ln>
                <a:solidFill>
                  <a:prstClr val="black"/>
                </a:solidFill>
                <a:effectLst/>
                <a:uLnTx/>
                <a:uFillTx/>
                <a:latin typeface="Calibri" panose="020F0502020204030204"/>
                <a:ea typeface="+mn-ea"/>
                <a:cs typeface="+mn-cs"/>
              </a:rPr>
              <a:t>events</a:t>
            </a: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1143000" marR="0" lvl="1" indent="-45720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2 </a:t>
            </a:r>
            <a:r>
              <a:rPr kumimoji="0" lang="en-US" sz="1400" b="0" i="0" u="none" strike="noStrike" kern="1200" cap="none" spc="0" normalizeH="0" baseline="0" noProof="0" dirty="0" smtClean="0">
                <a:ln>
                  <a:noFill/>
                </a:ln>
                <a:solidFill>
                  <a:prstClr val="black"/>
                </a:solidFill>
                <a:effectLst/>
                <a:uLnTx/>
                <a:uFillTx/>
                <a:latin typeface="Calibri" panose="020F0502020204030204"/>
                <a:ea typeface="+mn-ea"/>
                <a:cs typeface="+mn-cs"/>
              </a:rPr>
              <a:t>hybrid </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UMC </a:t>
            </a:r>
            <a:r>
              <a:rPr kumimoji="0" lang="en-US" sz="1400" b="0" i="0" u="none" strike="noStrike" kern="1200" cap="none" spc="0" normalizeH="0" baseline="0" noProof="0" dirty="0" smtClean="0">
                <a:ln>
                  <a:noFill/>
                </a:ln>
                <a:solidFill>
                  <a:prstClr val="black"/>
                </a:solidFill>
                <a:effectLst/>
                <a:uLnTx/>
                <a:uFillTx/>
                <a:latin typeface="Calibri" panose="020F0502020204030204"/>
                <a:ea typeface="+mn-ea"/>
                <a:cs typeface="+mn-cs"/>
              </a:rPr>
              <a:t>events</a:t>
            </a: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1143000" marR="0" lvl="1" indent="-45720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2</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a:t>
            </a:r>
            <a:r>
              <a:rPr lang="en-US" sz="1400" dirty="0" smtClean="0">
                <a:solidFill>
                  <a:prstClr val="black"/>
                </a:solidFill>
                <a:latin typeface="Calibri" panose="020F0502020204030204"/>
              </a:rPr>
              <a:t>i</a:t>
            </a:r>
            <a:r>
              <a:rPr kumimoji="0" lang="en-US" sz="1400" b="0" i="0" u="none" strike="noStrike" kern="1200" cap="none" spc="0" normalizeH="0" baseline="0" noProof="0" dirty="0" smtClean="0">
                <a:ln>
                  <a:noFill/>
                </a:ln>
                <a:solidFill>
                  <a:prstClr val="black"/>
                </a:solidFill>
                <a:effectLst/>
                <a:uLnTx/>
                <a:uFillTx/>
                <a:latin typeface="Calibri" panose="020F0502020204030204"/>
                <a:ea typeface="+mn-ea"/>
                <a:cs typeface="+mn-cs"/>
              </a:rPr>
              <a:t>n-person </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UMC </a:t>
            </a:r>
            <a:r>
              <a:rPr kumimoji="0" lang="en-US" sz="1400" b="0" i="0" u="none" strike="noStrike" kern="1200" cap="none" spc="0" normalizeH="0" baseline="0" noProof="0" dirty="0" smtClean="0">
                <a:ln>
                  <a:noFill/>
                </a:ln>
                <a:solidFill>
                  <a:prstClr val="black"/>
                </a:solidFill>
                <a:effectLst/>
                <a:uLnTx/>
                <a:uFillTx/>
                <a:latin typeface="Calibri" panose="020F0502020204030204"/>
                <a:ea typeface="+mn-ea"/>
                <a:cs typeface="+mn-cs"/>
              </a:rPr>
              <a:t>events</a:t>
            </a:r>
          </a:p>
          <a:p>
            <a:pPr marL="1143000" marR="0" lvl="1" indent="-45720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smtClean="0">
                <a:ln>
                  <a:noFill/>
                </a:ln>
                <a:solidFill>
                  <a:prstClr val="black"/>
                </a:solidFill>
                <a:effectLst/>
                <a:uLnTx/>
                <a:uFillTx/>
                <a:latin typeface="Calibri" panose="020F0502020204030204"/>
                <a:ea typeface="+mn-ea"/>
                <a:cs typeface="+mn-cs"/>
              </a:rPr>
              <a:t>Supplied </a:t>
            </a:r>
            <a:r>
              <a:rPr kumimoji="0" lang="en-US" sz="1400" b="1" i="0" u="sng" strike="noStrike" kern="1200" cap="none" spc="0" normalizeH="0" baseline="0" noProof="0" dirty="0" smtClean="0">
                <a:ln>
                  <a:noFill/>
                </a:ln>
                <a:solidFill>
                  <a:prstClr val="black"/>
                </a:solidFill>
                <a:effectLst/>
                <a:uLnTx/>
                <a:uFillTx/>
                <a:latin typeface="Calibri" panose="020F0502020204030204"/>
                <a:ea typeface="+mn-ea"/>
                <a:cs typeface="+mn-cs"/>
              </a:rPr>
              <a:t>agency representation</a:t>
            </a:r>
            <a:r>
              <a:rPr kumimoji="0" lang="en-US" sz="1400" b="0" i="0" u="none" strike="noStrike" kern="1200" cap="none" spc="0" normalizeH="0" baseline="0" noProof="0" dirty="0" smtClean="0">
                <a:ln>
                  <a:noFill/>
                </a:ln>
                <a:solidFill>
                  <a:prstClr val="black"/>
                </a:solidFill>
                <a:effectLst/>
                <a:uLnTx/>
                <a:uFillTx/>
                <a:latin typeface="Calibri" panose="020F0502020204030204"/>
                <a:ea typeface="+mn-ea"/>
                <a:cs typeface="+mn-cs"/>
              </a:rPr>
              <a:t> to </a:t>
            </a:r>
            <a:r>
              <a:rPr kumimoji="0" lang="en-US" sz="1400" b="1" i="0" u="none" strike="noStrike" kern="1200" cap="none" spc="0" normalizeH="0" baseline="0" noProof="0" dirty="0" smtClean="0">
                <a:ln>
                  <a:noFill/>
                </a:ln>
                <a:solidFill>
                  <a:prstClr val="black"/>
                </a:solidFill>
                <a:effectLst/>
                <a:uLnTx/>
                <a:uFillTx/>
                <a:latin typeface="Calibri" panose="020F0502020204030204"/>
                <a:ea typeface="+mn-ea"/>
                <a:cs typeface="+mn-cs"/>
              </a:rPr>
              <a:t>6</a:t>
            </a:r>
            <a:r>
              <a:rPr kumimoji="0" lang="en-US" sz="1400" b="0" i="0" u="none" strike="noStrike" kern="1200" cap="none" spc="0" normalizeH="0" baseline="0" noProof="0" dirty="0" smtClean="0">
                <a:ln>
                  <a:noFill/>
                </a:ln>
                <a:solidFill>
                  <a:prstClr val="black"/>
                </a:solidFill>
                <a:effectLst/>
                <a:uLnTx/>
                <a:uFillTx/>
                <a:latin typeface="Calibri" panose="020F0502020204030204"/>
                <a:ea typeface="+mn-ea"/>
                <a:cs typeface="+mn-cs"/>
              </a:rPr>
              <a:t> UMC organizations to increase knowledge of services provided by UMCom:</a:t>
            </a: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1143000" marR="0" lvl="1" indent="-45720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Religion Communicators Council </a:t>
            </a:r>
            <a:endParaRPr kumimoji="0" lang="en-US" sz="1400" b="0" i="0" u="none" strike="noStrike" kern="1200" cap="none" spc="0" normalizeH="0" baseline="0" noProof="0" dirty="0" smtClean="0">
              <a:ln>
                <a:noFill/>
              </a:ln>
              <a:solidFill>
                <a:prstClr val="black"/>
              </a:solidFill>
              <a:effectLst/>
              <a:uLnTx/>
              <a:uFillTx/>
              <a:latin typeface="Calibri" panose="020F0502020204030204"/>
              <a:ea typeface="+mn-ea"/>
              <a:cs typeface="+mn-cs"/>
            </a:endParaRPr>
          </a:p>
          <a:p>
            <a:pPr marL="1143000" marR="0" lvl="1" indent="-45720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1400" b="0" i="0" u="none" strike="noStrike" kern="1200" cap="none" spc="0" normalizeH="0" baseline="0" noProof="0" dirty="0" smtClean="0">
                <a:ln>
                  <a:noFill/>
                </a:ln>
                <a:solidFill>
                  <a:prstClr val="black"/>
                </a:solidFill>
                <a:effectLst/>
                <a:uLnTx/>
                <a:uFillTx/>
                <a:latin typeface="Calibri" panose="020F0502020204030204"/>
                <a:ea typeface="+mn-ea"/>
                <a:cs typeface="+mn-cs"/>
              </a:rPr>
              <a:t>Southeastern </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Jurisdiction </a:t>
            </a:r>
            <a:r>
              <a:rPr kumimoji="0" lang="en-US" sz="1400" b="0" i="0" u="none" strike="noStrike" kern="1200" cap="none" spc="0" normalizeH="0" baseline="0" noProof="0" dirty="0" smtClean="0">
                <a:ln>
                  <a:noFill/>
                </a:ln>
                <a:solidFill>
                  <a:prstClr val="black"/>
                </a:solidFill>
                <a:effectLst/>
                <a:uLnTx/>
                <a:uFillTx/>
                <a:latin typeface="Calibri" panose="020F0502020204030204"/>
                <a:ea typeface="+mn-ea"/>
                <a:cs typeface="+mn-cs"/>
              </a:rPr>
              <a:t>Black Methodists </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for Church Renewal </a:t>
            </a:r>
            <a:endParaRPr kumimoji="0" lang="en-US" sz="1400" b="0" i="0" u="none" strike="noStrike" kern="1200" cap="none" spc="0" normalizeH="0" baseline="0" noProof="0" dirty="0" smtClean="0">
              <a:ln>
                <a:noFill/>
              </a:ln>
              <a:solidFill>
                <a:prstClr val="black"/>
              </a:solidFill>
              <a:effectLst/>
              <a:uLnTx/>
              <a:uFillTx/>
              <a:latin typeface="Calibri" panose="020F0502020204030204"/>
              <a:ea typeface="+mn-ea"/>
              <a:cs typeface="+mn-cs"/>
            </a:endParaRPr>
          </a:p>
          <a:p>
            <a:pPr marL="1143000" marR="0" lvl="1" indent="-45720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1400" b="0" i="0" u="none" strike="noStrike" kern="1200" cap="none" spc="0" normalizeH="0" baseline="0" noProof="0" dirty="0" smtClean="0">
                <a:ln>
                  <a:noFill/>
                </a:ln>
                <a:solidFill>
                  <a:prstClr val="black"/>
                </a:solidFill>
                <a:effectLst/>
                <a:uLnTx/>
                <a:uFillTx/>
                <a:latin typeface="Calibri" panose="020F0502020204030204"/>
                <a:ea typeface="+mn-ea"/>
                <a:cs typeface="+mn-cs"/>
              </a:rPr>
              <a:t>General </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Black </a:t>
            </a:r>
            <a:r>
              <a:rPr kumimoji="0" lang="en-US" sz="1400" b="0" i="0" u="none" strike="noStrike" kern="1200" cap="none" spc="0" normalizeH="0" baseline="0" noProof="0" dirty="0" smtClean="0">
                <a:ln>
                  <a:noFill/>
                </a:ln>
                <a:solidFill>
                  <a:prstClr val="black"/>
                </a:solidFill>
                <a:effectLst/>
                <a:uLnTx/>
                <a:uFillTx/>
                <a:latin typeface="Calibri" panose="020F0502020204030204"/>
                <a:ea typeface="+mn-ea"/>
                <a:cs typeface="+mn-cs"/>
              </a:rPr>
              <a:t>Methodists </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for Church Renewal </a:t>
            </a:r>
            <a:endParaRPr kumimoji="0" lang="en-US" sz="1400" b="0" i="0" u="none" strike="noStrike" kern="1200" cap="none" spc="0" normalizeH="0" baseline="0" noProof="0" dirty="0" smtClean="0">
              <a:ln>
                <a:noFill/>
              </a:ln>
              <a:solidFill>
                <a:prstClr val="black"/>
              </a:solidFill>
              <a:effectLst/>
              <a:uLnTx/>
              <a:uFillTx/>
              <a:latin typeface="Calibri" panose="020F0502020204030204"/>
              <a:ea typeface="+mn-ea"/>
              <a:cs typeface="+mn-cs"/>
            </a:endParaRPr>
          </a:p>
          <a:p>
            <a:pPr marL="1143000" marR="0" lvl="1" indent="-45720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1400" b="0" i="0" u="none" strike="noStrike" kern="1200" cap="none" spc="0" normalizeH="0" baseline="0" noProof="0" dirty="0" smtClean="0">
                <a:ln>
                  <a:noFill/>
                </a:ln>
                <a:solidFill>
                  <a:prstClr val="black"/>
                </a:solidFill>
                <a:effectLst/>
                <a:uLnTx/>
                <a:uFillTx/>
                <a:latin typeface="Calibri" panose="020F0502020204030204"/>
                <a:ea typeface="+mn-ea"/>
                <a:cs typeface="+mn-cs"/>
              </a:rPr>
              <a:t>Black Staff Association</a:t>
            </a:r>
          </a:p>
          <a:p>
            <a:pPr marL="1143000" marR="0" lvl="1" indent="-45720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1400" b="0" i="0" u="none" strike="noStrike" kern="1200" cap="none" spc="0" normalizeH="0" baseline="0" noProof="0" dirty="0" smtClean="0">
                <a:ln>
                  <a:noFill/>
                </a:ln>
                <a:solidFill>
                  <a:prstClr val="black"/>
                </a:solidFill>
                <a:effectLst/>
                <a:uLnTx/>
                <a:uFillTx/>
                <a:latin typeface="Calibri" panose="020F0502020204030204"/>
                <a:ea typeface="+mn-ea"/>
                <a:cs typeface="+mn-cs"/>
              </a:rPr>
              <a:t>Strengthening </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Black Churches for the 21</a:t>
            </a:r>
            <a:r>
              <a:rPr kumimoji="0" lang="en-US" sz="1400" b="0" i="0" u="none" strike="noStrike" kern="1200" cap="none" spc="0" normalizeH="0" baseline="30000" noProof="0" dirty="0">
                <a:ln>
                  <a:noFill/>
                </a:ln>
                <a:solidFill>
                  <a:prstClr val="black"/>
                </a:solidFill>
                <a:effectLst/>
                <a:uLnTx/>
                <a:uFillTx/>
                <a:latin typeface="Calibri" panose="020F0502020204030204"/>
                <a:ea typeface="+mn-ea"/>
                <a:cs typeface="+mn-cs"/>
              </a:rPr>
              <a:t>st</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400" b="0" i="0" u="none" strike="noStrike" kern="1200" cap="none" spc="0" normalizeH="0" baseline="0" noProof="0" dirty="0" smtClean="0">
                <a:ln>
                  <a:noFill/>
                </a:ln>
                <a:solidFill>
                  <a:prstClr val="black"/>
                </a:solidFill>
                <a:effectLst/>
                <a:uLnTx/>
                <a:uFillTx/>
                <a:latin typeface="Calibri" panose="020F0502020204030204"/>
                <a:ea typeface="+mn-ea"/>
                <a:cs typeface="+mn-cs"/>
              </a:rPr>
              <a:t>Century</a:t>
            </a:r>
          </a:p>
          <a:p>
            <a:pPr marL="1143000" marR="0" lvl="1" indent="-45720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1400" b="0" i="0" u="none" strike="noStrike" kern="1200" cap="none" spc="0" normalizeH="0" baseline="0" noProof="0" dirty="0" smtClean="0">
                <a:ln>
                  <a:noFill/>
                </a:ln>
                <a:solidFill>
                  <a:prstClr val="black"/>
                </a:solidFill>
                <a:effectLst/>
                <a:uLnTx/>
                <a:uFillTx/>
                <a:latin typeface="Calibri" panose="020F0502020204030204"/>
                <a:ea typeface="+mn-ea"/>
                <a:cs typeface="+mn-cs"/>
              </a:rPr>
              <a:t>Oklahoma </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Indian Missionary </a:t>
            </a:r>
            <a:r>
              <a:rPr kumimoji="0" lang="en-US" sz="1400" b="0" i="0" u="none" strike="noStrike" kern="1200" cap="none" spc="0" normalizeH="0" baseline="0" noProof="0" dirty="0" smtClean="0">
                <a:ln>
                  <a:noFill/>
                </a:ln>
                <a:solidFill>
                  <a:prstClr val="black"/>
                </a:solidFill>
                <a:effectLst/>
                <a:uLnTx/>
                <a:uFillTx/>
                <a:latin typeface="Calibri" panose="020F0502020204030204"/>
                <a:ea typeface="+mn-ea"/>
                <a:cs typeface="+mn-cs"/>
              </a:rPr>
              <a:t>Conference</a:t>
            </a: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42914936"/>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p:txBody>
          <a:bodyPr/>
          <a:lstStyle/>
          <a:p>
            <a:r>
              <a:rPr lang="en-US" sz="5400" dirty="0" smtClean="0"/>
              <a:t>Research</a:t>
            </a:r>
            <a:endParaRPr lang="en-US" sz="5400" dirty="0"/>
          </a:p>
        </p:txBody>
      </p:sp>
      <p:graphicFrame>
        <p:nvGraphicFramePr>
          <p:cNvPr id="5" name="Content Placeholder 6"/>
          <p:cNvGraphicFramePr>
            <a:graphicFrameLocks/>
          </p:cNvGraphicFramePr>
          <p:nvPr>
            <p:extLst>
              <p:ext uri="{D42A27DB-BD31-4B8C-83A1-F6EECF244321}">
                <p14:modId xmlns:p14="http://schemas.microsoft.com/office/powerpoint/2010/main" val="1049146411"/>
              </p:ext>
            </p:extLst>
          </p:nvPr>
        </p:nvGraphicFramePr>
        <p:xfrm>
          <a:off x="237902" y="0"/>
          <a:ext cx="6932919" cy="519545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TextBox 7"/>
          <p:cNvSpPr txBox="1"/>
          <p:nvPr/>
        </p:nvSpPr>
        <p:spPr>
          <a:xfrm>
            <a:off x="7303533" y="560936"/>
            <a:ext cx="4650341" cy="1323439"/>
          </a:xfrm>
          <a:prstGeom prst="rect">
            <a:avLst/>
          </a:prstGeom>
          <a:solidFill>
            <a:srgbClr val="C6C6C6">
              <a:alpha val="74118"/>
            </a:srgbClr>
          </a:solid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a:ln>
                  <a:noFill/>
                </a:ln>
                <a:solidFill>
                  <a:prstClr val="black"/>
                </a:solidFill>
                <a:effectLst/>
                <a:uLnTx/>
                <a:uFillTx/>
                <a:latin typeface="Calibri" panose="020F0502020204030204"/>
                <a:ea typeface="+mn-ea"/>
                <a:cs typeface="+mn-cs"/>
              </a:rPr>
              <a:t>Research provides the grounding for </a:t>
            </a:r>
            <a:r>
              <a:rPr kumimoji="0" lang="en-US" sz="1600" b="0" u="none" strike="noStrike" kern="1200" cap="none" spc="0" normalizeH="0" baseline="0" noProof="0" dirty="0" smtClean="0">
                <a:ln>
                  <a:noFill/>
                </a:ln>
                <a:solidFill>
                  <a:prstClr val="black"/>
                </a:solidFill>
                <a:effectLst/>
                <a:uLnTx/>
                <a:uFillTx/>
                <a:latin typeface="Calibri" panose="020F0502020204030204"/>
                <a:ea typeface="+mn-ea"/>
                <a:cs typeface="+mn-cs"/>
              </a:rPr>
              <a:t>our work at UMCom, </a:t>
            </a:r>
            <a:r>
              <a:rPr kumimoji="0" lang="en-US" sz="1600" b="0" u="none" strike="noStrike" kern="1200" cap="none" spc="0" normalizeH="0" baseline="0" noProof="0" dirty="0">
                <a:ln>
                  <a:noFill/>
                </a:ln>
                <a:solidFill>
                  <a:prstClr val="black"/>
                </a:solidFill>
                <a:effectLst/>
                <a:uLnTx/>
                <a:uFillTx/>
                <a:latin typeface="Calibri" panose="020F0502020204030204"/>
                <a:ea typeface="+mn-ea"/>
                <a:cs typeface="+mn-cs"/>
              </a:rPr>
              <a:t>allowing us to understand attitudes, behaviors, needs, motivation, media habits, audience segments and more, leading to the development of the most relevant content.  </a:t>
            </a:r>
          </a:p>
        </p:txBody>
      </p:sp>
      <p:sp>
        <p:nvSpPr>
          <p:cNvPr id="12" name="Content Placeholder 2"/>
          <p:cNvSpPr txBox="1">
            <a:spLocks/>
          </p:cNvSpPr>
          <p:nvPr/>
        </p:nvSpPr>
        <p:spPr>
          <a:xfrm>
            <a:off x="7303533" y="1935370"/>
            <a:ext cx="4888466" cy="3118110"/>
          </a:xfrm>
          <a:prstGeom prst="rect">
            <a:avLst/>
          </a:prstGeom>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Courier New" panose="02070309020205020404" pitchFamily="49" charset="0"/>
              <a:buChar char="o"/>
            </a:pPr>
            <a:r>
              <a:rPr lang="en-US" sz="1600" dirty="0" smtClean="0"/>
              <a:t>The Research Team completed </a:t>
            </a:r>
            <a:r>
              <a:rPr lang="en-US" sz="1600" b="1" dirty="0" smtClean="0"/>
              <a:t>11</a:t>
            </a:r>
            <a:r>
              <a:rPr lang="en-US" sz="1600" dirty="0" smtClean="0"/>
              <a:t> projects to inform the work of the agency.</a:t>
            </a:r>
          </a:p>
          <a:p>
            <a:pPr>
              <a:buFont typeface="Courier New" panose="02070309020205020404" pitchFamily="49" charset="0"/>
              <a:buChar char="o"/>
            </a:pPr>
            <a:r>
              <a:rPr lang="en-US" sz="1600" dirty="0" smtClean="0"/>
              <a:t>These projects employed qualitative and quantitative methodologies. </a:t>
            </a:r>
          </a:p>
          <a:p>
            <a:pPr>
              <a:buFont typeface="Courier New" panose="02070309020205020404" pitchFamily="49" charset="0"/>
              <a:buChar char="o"/>
            </a:pPr>
            <a:r>
              <a:rPr lang="en-US" sz="1600" dirty="0" smtClean="0"/>
              <a:t>These studies represent almost </a:t>
            </a:r>
            <a:r>
              <a:rPr lang="en-US" sz="1600" b="1" dirty="0" smtClean="0"/>
              <a:t>5,000</a:t>
            </a:r>
            <a:r>
              <a:rPr lang="en-US" sz="1600" dirty="0" smtClean="0"/>
              <a:t> interactions with our  constituents – leaders, members, seekers and UMCom staff. </a:t>
            </a:r>
          </a:p>
          <a:p>
            <a:pPr>
              <a:buFont typeface="Courier New" panose="02070309020205020404" pitchFamily="49" charset="0"/>
              <a:buChar char="o"/>
            </a:pPr>
            <a:r>
              <a:rPr lang="en-US" sz="1600" dirty="0" smtClean="0"/>
              <a:t>UMCom Research collaborated and consulted on six projects for church leadership entities.</a:t>
            </a:r>
            <a:endParaRPr lang="en-US" sz="1600" dirty="0"/>
          </a:p>
        </p:txBody>
      </p:sp>
    </p:spTree>
    <p:extLst>
      <p:ext uri="{BB962C8B-B14F-4D97-AF65-F5344CB8AC3E}">
        <p14:creationId xmlns:p14="http://schemas.microsoft.com/office/powerpoint/2010/main" val="1529141596"/>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6350429" y="494441"/>
            <a:ext cx="5572125" cy="5459186"/>
          </a:xfrm>
        </p:spPr>
        <p:txBody>
          <a:bodyPr>
            <a:normAutofit fontScale="85000" lnSpcReduction="20000"/>
          </a:bodyPr>
          <a:lstStyle/>
          <a:p>
            <a:pPr marL="457200" indent="-457200" algn="l">
              <a:buFont typeface="Arial" panose="020B0604020202020204" pitchFamily="34" charset="0"/>
              <a:buChar char="•"/>
            </a:pPr>
            <a:r>
              <a:rPr lang="en-US" sz="2200" dirty="0" smtClean="0"/>
              <a:t>Currently, </a:t>
            </a:r>
            <a:r>
              <a:rPr lang="en-US" sz="2200" b="1" dirty="0" smtClean="0"/>
              <a:t>90</a:t>
            </a:r>
            <a:r>
              <a:rPr lang="en-US" sz="2200" b="1" dirty="0"/>
              <a:t>%</a:t>
            </a:r>
            <a:r>
              <a:rPr lang="en-US" sz="2200" dirty="0"/>
              <a:t> of our staff </a:t>
            </a:r>
            <a:r>
              <a:rPr lang="en-US" sz="2200" dirty="0" smtClean="0"/>
              <a:t>are regularly </a:t>
            </a:r>
            <a:r>
              <a:rPr lang="en-US" sz="2200" dirty="0"/>
              <a:t>working from home</a:t>
            </a:r>
            <a:r>
              <a:rPr lang="en-US" sz="2200" dirty="0" smtClean="0"/>
              <a:t>.</a:t>
            </a:r>
          </a:p>
          <a:p>
            <a:pPr marL="457200" indent="-457200" algn="l">
              <a:buFont typeface="Arial" panose="020B0604020202020204" pitchFamily="34" charset="0"/>
              <a:buChar char="•"/>
            </a:pPr>
            <a:r>
              <a:rPr lang="en-US" sz="2200" dirty="0" smtClean="0"/>
              <a:t>Our retention rate is above average. </a:t>
            </a:r>
            <a:r>
              <a:rPr lang="en-US" sz="2200" b="1" dirty="0" smtClean="0"/>
              <a:t>Five</a:t>
            </a:r>
            <a:r>
              <a:rPr lang="en-US" sz="2200" dirty="0" smtClean="0"/>
              <a:t> staff members retired in 2021, and we had three new hires. </a:t>
            </a:r>
            <a:endParaRPr lang="en-US" sz="2200" dirty="0"/>
          </a:p>
          <a:p>
            <a:pPr marL="457200" indent="-457200" algn="l">
              <a:buFont typeface="Arial" panose="020B0604020202020204" pitchFamily="34" charset="0"/>
              <a:buChar char="•"/>
            </a:pPr>
            <a:r>
              <a:rPr lang="en-US" sz="2200" dirty="0"/>
              <a:t>S</a:t>
            </a:r>
            <a:r>
              <a:rPr lang="en-US" sz="2200" dirty="0" smtClean="0"/>
              <a:t>upervisors </a:t>
            </a:r>
            <a:r>
              <a:rPr lang="en-US" sz="2200" dirty="0"/>
              <a:t>participated in and completed a full year of Rapid Learning modules</a:t>
            </a:r>
            <a:r>
              <a:rPr lang="en-US" sz="2200" dirty="0" smtClean="0"/>
              <a:t>.</a:t>
            </a:r>
          </a:p>
          <a:p>
            <a:pPr marL="457200" indent="-457200" algn="l">
              <a:buFont typeface="Arial" panose="020B0604020202020204" pitchFamily="34" charset="0"/>
              <a:buChar char="•"/>
            </a:pPr>
            <a:r>
              <a:rPr lang="en-US" sz="2200" dirty="0"/>
              <a:t>S</a:t>
            </a:r>
            <a:r>
              <a:rPr lang="en-US" sz="2200" dirty="0" smtClean="0"/>
              <a:t>taff </a:t>
            </a:r>
            <a:r>
              <a:rPr lang="en-US" sz="2200" dirty="0"/>
              <a:t>participated </a:t>
            </a:r>
            <a:r>
              <a:rPr lang="en-US" sz="2200" dirty="0" smtClean="0"/>
              <a:t>in</a:t>
            </a:r>
            <a:r>
              <a:rPr lang="en-US" sz="2200" dirty="0"/>
              <a:t> </a:t>
            </a:r>
            <a:r>
              <a:rPr lang="en-US" sz="2200" b="1" dirty="0" smtClean="0"/>
              <a:t>107+</a:t>
            </a:r>
            <a:r>
              <a:rPr lang="en-US" sz="2200" dirty="0"/>
              <a:t> trainings using </a:t>
            </a:r>
            <a:r>
              <a:rPr lang="en-US" sz="2200" dirty="0" smtClean="0"/>
              <a:t>LinkedIn </a:t>
            </a:r>
            <a:r>
              <a:rPr lang="en-US" sz="2200" dirty="0"/>
              <a:t>Learning </a:t>
            </a:r>
            <a:r>
              <a:rPr lang="en-US" sz="2200" dirty="0" smtClean="0"/>
              <a:t>modules and were offered </a:t>
            </a:r>
            <a:r>
              <a:rPr lang="en-US" sz="2200" b="1" dirty="0" smtClean="0"/>
              <a:t>$2,500 </a:t>
            </a:r>
            <a:r>
              <a:rPr lang="en-US" sz="2200" dirty="0" smtClean="0"/>
              <a:t>in continuing education funds.</a:t>
            </a:r>
          </a:p>
          <a:p>
            <a:pPr marL="457200" indent="-457200" algn="l">
              <a:buFont typeface="Arial" panose="020B0604020202020204" pitchFamily="34" charset="0"/>
              <a:buChar char="•"/>
            </a:pPr>
            <a:r>
              <a:rPr lang="en-US" sz="2200" b="1" dirty="0" smtClean="0"/>
              <a:t>Sixty</a:t>
            </a:r>
            <a:r>
              <a:rPr lang="en-US" sz="2200" dirty="0" smtClean="0"/>
              <a:t> staff participated </a:t>
            </a:r>
            <a:r>
              <a:rPr lang="en-US" sz="2200" dirty="0"/>
              <a:t>in the wellness initiative</a:t>
            </a:r>
            <a:r>
              <a:rPr lang="en-US" sz="2200" dirty="0" smtClean="0"/>
              <a:t>.</a:t>
            </a:r>
          </a:p>
          <a:p>
            <a:pPr marL="457200" indent="-457200" algn="l">
              <a:buFont typeface="Arial" panose="020B0604020202020204" pitchFamily="34" charset="0"/>
              <a:buChar char="•"/>
            </a:pPr>
            <a:r>
              <a:rPr lang="en-US" sz="2200" b="1" dirty="0" smtClean="0"/>
              <a:t>100% </a:t>
            </a:r>
            <a:r>
              <a:rPr lang="en-US" sz="2200" dirty="0" smtClean="0"/>
              <a:t>of staff completed open enrollment on time.</a:t>
            </a:r>
          </a:p>
          <a:p>
            <a:pPr marL="457200" indent="-457200" algn="l">
              <a:buFont typeface="Arial" panose="020B0604020202020204" pitchFamily="34" charset="0"/>
              <a:buChar char="•"/>
            </a:pPr>
            <a:r>
              <a:rPr lang="en-US" sz="2200" dirty="0" smtClean="0"/>
              <a:t>Outreach efforts:</a:t>
            </a:r>
          </a:p>
          <a:p>
            <a:pPr marL="1143000" lvl="1" indent="-457200">
              <a:buFont typeface="Courier New" panose="02070309020205020404" pitchFamily="49" charset="0"/>
              <a:buChar char="o"/>
            </a:pPr>
            <a:r>
              <a:rPr lang="en-US" sz="2200" dirty="0"/>
              <a:t>In observance of National Give Something Away Day staff provided donations to assist Open Table Nashville and </a:t>
            </a:r>
            <a:r>
              <a:rPr lang="en-US" sz="2200" dirty="0"/>
              <a:t>Glencliff</a:t>
            </a:r>
            <a:r>
              <a:rPr lang="en-US" sz="2200" dirty="0"/>
              <a:t> UMC to assist homeless communities during the summer heat</a:t>
            </a:r>
            <a:r>
              <a:rPr lang="en-US" sz="2200" dirty="0" smtClean="0"/>
              <a:t>.</a:t>
            </a:r>
          </a:p>
          <a:p>
            <a:pPr marL="1143000" lvl="1" indent="-457200">
              <a:buFont typeface="Courier New" panose="02070309020205020404" pitchFamily="49" charset="0"/>
              <a:buChar char="o"/>
            </a:pPr>
            <a:r>
              <a:rPr lang="en-US" sz="2200" dirty="0" smtClean="0"/>
              <a:t>At Christmas, gifts </a:t>
            </a:r>
            <a:r>
              <a:rPr lang="en-US" sz="2200" dirty="0"/>
              <a:t>were </a:t>
            </a:r>
            <a:r>
              <a:rPr lang="en-US" sz="2200" dirty="0" smtClean="0"/>
              <a:t>donated to encourage the children in care at </a:t>
            </a:r>
            <a:r>
              <a:rPr lang="en-US" sz="2200" dirty="0"/>
              <a:t>Monroe </a:t>
            </a:r>
            <a:r>
              <a:rPr lang="en-US" sz="2200" dirty="0" smtClean="0"/>
              <a:t>Carell, </a:t>
            </a:r>
            <a:r>
              <a:rPr lang="en-US" sz="2200" dirty="0"/>
              <a:t>Jr. Children's </a:t>
            </a:r>
            <a:r>
              <a:rPr lang="en-US" sz="2200" dirty="0" smtClean="0"/>
              <a:t>Hospital at Vanderbilt.</a:t>
            </a:r>
            <a:endParaRPr lang="en-US" sz="2200" dirty="0"/>
          </a:p>
          <a:p>
            <a:pPr marL="457200" indent="-457200" algn="l">
              <a:buFont typeface="Arial" panose="020B0604020202020204" pitchFamily="34" charset="0"/>
              <a:buChar char="•"/>
            </a:pPr>
            <a:endParaRPr lang="en-US" sz="1800" dirty="0"/>
          </a:p>
          <a:p>
            <a:pPr marL="457200" indent="-457200" algn="l">
              <a:buFont typeface="Arial" panose="020B0604020202020204" pitchFamily="34" charset="0"/>
              <a:buChar char="•"/>
            </a:pPr>
            <a:endParaRPr lang="en-US" sz="1800" dirty="0" smtClean="0"/>
          </a:p>
        </p:txBody>
      </p:sp>
      <p:sp>
        <p:nvSpPr>
          <p:cNvPr id="18" name="Text Placeholder 17"/>
          <p:cNvSpPr>
            <a:spLocks noGrp="1"/>
          </p:cNvSpPr>
          <p:nvPr>
            <p:ph type="body" sz="quarter" idx="11"/>
          </p:nvPr>
        </p:nvSpPr>
        <p:spPr>
          <a:xfrm>
            <a:off x="4769279" y="5963653"/>
            <a:ext cx="5172075" cy="666750"/>
          </a:xfrm>
        </p:spPr>
        <p:txBody>
          <a:bodyPr>
            <a:noAutofit/>
          </a:bodyPr>
          <a:lstStyle/>
          <a:p>
            <a:pPr algn="l"/>
            <a:r>
              <a:rPr lang="en-US" sz="5400" dirty="0" smtClean="0"/>
              <a:t>Human Relations</a:t>
            </a:r>
            <a:endParaRPr lang="en-US" sz="5400" dirty="0"/>
          </a:p>
        </p:txBody>
      </p:sp>
      <p:sp>
        <p:nvSpPr>
          <p:cNvPr id="6" name="Isosceles Triangle 5"/>
          <p:cNvSpPr/>
          <p:nvPr/>
        </p:nvSpPr>
        <p:spPr>
          <a:xfrm>
            <a:off x="76201" y="21772"/>
            <a:ext cx="3853542" cy="2242457"/>
          </a:xfrm>
          <a:prstGeom prst="triangle">
            <a:avLst/>
          </a:prstGeom>
          <a:blipFill>
            <a:blip r:embed="rId2">
              <a:extLst>
                <a:ext uri="{BEBA8EAE-BF5A-486C-A8C5-ECC9F3942E4B}">
                  <a14:imgProps xmlns:a14="http://schemas.microsoft.com/office/drawing/2010/main">
                    <a14:imgLayer r:embed="rId3">
                      <a14:imgEffect>
                        <a14:saturation sat="0"/>
                      </a14:imgEffect>
                    </a14:imgLayer>
                  </a14:imgProps>
                </a:ext>
              </a:extLst>
            </a:blip>
            <a:stretch>
              <a:fillRect/>
            </a:stretch>
          </a:blipFill>
          <a:ln w="254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Isosceles Triangle 12"/>
          <p:cNvSpPr/>
          <p:nvPr/>
        </p:nvSpPr>
        <p:spPr>
          <a:xfrm>
            <a:off x="2090058" y="2340429"/>
            <a:ext cx="3853542" cy="2242457"/>
          </a:xfrm>
          <a:prstGeom prst="triangle">
            <a:avLst/>
          </a:prstGeom>
          <a:blipFill>
            <a:blip r:embed="rId4">
              <a:extLst>
                <a:ext uri="{BEBA8EAE-BF5A-486C-A8C5-ECC9F3942E4B}">
                  <a14:imgProps xmlns:a14="http://schemas.microsoft.com/office/drawing/2010/main">
                    <a14:imgLayer r:embed="rId5">
                      <a14:imgEffect>
                        <a14:saturation sat="0"/>
                      </a14:imgEffect>
                    </a14:imgLayer>
                  </a14:imgProps>
                </a:ext>
              </a:extLst>
            </a:blip>
            <a:stretch>
              <a:fillRect/>
            </a:stretch>
          </a:blipFill>
          <a:ln w="254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Isosceles Triangle 13"/>
          <p:cNvSpPr/>
          <p:nvPr/>
        </p:nvSpPr>
        <p:spPr>
          <a:xfrm rot="10800000">
            <a:off x="2090058" y="10886"/>
            <a:ext cx="3853542" cy="2242457"/>
          </a:xfrm>
          <a:prstGeom prst="triangle">
            <a:avLst/>
          </a:prstGeom>
          <a:noFill/>
          <a:ln w="254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Isosceles Triangle 14"/>
          <p:cNvSpPr/>
          <p:nvPr/>
        </p:nvSpPr>
        <p:spPr>
          <a:xfrm rot="10800000">
            <a:off x="76201" y="2340429"/>
            <a:ext cx="3853542" cy="2242457"/>
          </a:xfrm>
          <a:prstGeom prst="triangle">
            <a:avLst/>
          </a:prstGeom>
          <a:noFill/>
          <a:ln w="254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Isosceles Triangle 15"/>
          <p:cNvSpPr/>
          <p:nvPr/>
        </p:nvSpPr>
        <p:spPr>
          <a:xfrm rot="10800000">
            <a:off x="2090058" y="4637314"/>
            <a:ext cx="3853542" cy="2242457"/>
          </a:xfrm>
          <a:prstGeom prst="triangle">
            <a:avLst/>
          </a:prstGeom>
          <a:noFill/>
          <a:ln w="254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Isosceles Triangle 16"/>
          <p:cNvSpPr/>
          <p:nvPr/>
        </p:nvSpPr>
        <p:spPr>
          <a:xfrm rot="5400000">
            <a:off x="1065466" y="4313465"/>
            <a:ext cx="1235525" cy="538842"/>
          </a:xfrm>
          <a:prstGeom prst="triangle">
            <a:avLst>
              <a:gd name="adj" fmla="val 52575"/>
            </a:avLst>
          </a:prstGeom>
          <a:solidFill>
            <a:srgbClr val="8C0B23"/>
          </a:solidFill>
          <a:ln>
            <a:solidFill>
              <a:srgbClr val="8C0B2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Isosceles Triangle 18"/>
          <p:cNvSpPr/>
          <p:nvPr/>
        </p:nvSpPr>
        <p:spPr>
          <a:xfrm rot="16200000">
            <a:off x="3711339" y="2038351"/>
            <a:ext cx="1235525" cy="538842"/>
          </a:xfrm>
          <a:prstGeom prst="triangle">
            <a:avLst>
              <a:gd name="adj" fmla="val 52575"/>
            </a:avLst>
          </a:prstGeom>
          <a:solidFill>
            <a:srgbClr val="8C0B23"/>
          </a:solidFill>
          <a:ln>
            <a:solidFill>
              <a:srgbClr val="8C0B2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117134190"/>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2867" y="393696"/>
            <a:ext cx="10058400" cy="677224"/>
          </a:xfrm>
        </p:spPr>
        <p:txBody>
          <a:bodyPr anchor="ctr">
            <a:noAutofit/>
          </a:bodyPr>
          <a:lstStyle/>
          <a:p>
            <a:r>
              <a:rPr lang="en-US" sz="5400" dirty="0">
                <a:solidFill>
                  <a:srgbClr val="005361"/>
                </a:solidFill>
                <a:latin typeface="+mn-lt"/>
              </a:rPr>
              <a:t>Website Performance </a:t>
            </a: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3939079905"/>
              </p:ext>
            </p:extLst>
          </p:nvPr>
        </p:nvGraphicFramePr>
        <p:xfrm>
          <a:off x="369116" y="1652630"/>
          <a:ext cx="11450972" cy="2919368"/>
        </p:xfrm>
        <a:graphic>
          <a:graphicData uri="http://schemas.openxmlformats.org/drawingml/2006/table">
            <a:tbl>
              <a:tblPr firstRow="1" bandRow="1">
                <a:tableStyleId>{5C22544A-7EE6-4342-B048-85BDC9FD1C3A}</a:tableStyleId>
              </a:tblPr>
              <a:tblGrid>
                <a:gridCol w="1109968">
                  <a:extLst>
                    <a:ext uri="{9D8B030D-6E8A-4147-A177-3AD203B41FA5}">
                      <a16:colId xmlns:a16="http://schemas.microsoft.com/office/drawing/2014/main" val="3138015763"/>
                    </a:ext>
                  </a:extLst>
                </a:gridCol>
                <a:gridCol w="1087947">
                  <a:extLst>
                    <a:ext uri="{9D8B030D-6E8A-4147-A177-3AD203B41FA5}">
                      <a16:colId xmlns:a16="http://schemas.microsoft.com/office/drawing/2014/main" val="1080155344"/>
                    </a:ext>
                  </a:extLst>
                </a:gridCol>
                <a:gridCol w="1057013">
                  <a:extLst>
                    <a:ext uri="{9D8B030D-6E8A-4147-A177-3AD203B41FA5}">
                      <a16:colId xmlns:a16="http://schemas.microsoft.com/office/drawing/2014/main" val="2692850777"/>
                    </a:ext>
                  </a:extLst>
                </a:gridCol>
                <a:gridCol w="1040235">
                  <a:extLst>
                    <a:ext uri="{9D8B030D-6E8A-4147-A177-3AD203B41FA5}">
                      <a16:colId xmlns:a16="http://schemas.microsoft.com/office/drawing/2014/main" val="3458267214"/>
                    </a:ext>
                  </a:extLst>
                </a:gridCol>
                <a:gridCol w="1157681">
                  <a:extLst>
                    <a:ext uri="{9D8B030D-6E8A-4147-A177-3AD203B41FA5}">
                      <a16:colId xmlns:a16="http://schemas.microsoft.com/office/drawing/2014/main" val="1567485576"/>
                    </a:ext>
                  </a:extLst>
                </a:gridCol>
                <a:gridCol w="1107347">
                  <a:extLst>
                    <a:ext uri="{9D8B030D-6E8A-4147-A177-3AD203B41FA5}">
                      <a16:colId xmlns:a16="http://schemas.microsoft.com/office/drawing/2014/main" val="3115034957"/>
                    </a:ext>
                  </a:extLst>
                </a:gridCol>
                <a:gridCol w="1124124">
                  <a:extLst>
                    <a:ext uri="{9D8B030D-6E8A-4147-A177-3AD203B41FA5}">
                      <a16:colId xmlns:a16="http://schemas.microsoft.com/office/drawing/2014/main" val="2901485199"/>
                    </a:ext>
                  </a:extLst>
                </a:gridCol>
                <a:gridCol w="931178">
                  <a:extLst>
                    <a:ext uri="{9D8B030D-6E8A-4147-A177-3AD203B41FA5}">
                      <a16:colId xmlns:a16="http://schemas.microsoft.com/office/drawing/2014/main" val="2577535300"/>
                    </a:ext>
                  </a:extLst>
                </a:gridCol>
                <a:gridCol w="931178">
                  <a:extLst>
                    <a:ext uri="{9D8B030D-6E8A-4147-A177-3AD203B41FA5}">
                      <a16:colId xmlns:a16="http://schemas.microsoft.com/office/drawing/2014/main" val="231604054"/>
                    </a:ext>
                  </a:extLst>
                </a:gridCol>
                <a:gridCol w="939567">
                  <a:extLst>
                    <a:ext uri="{9D8B030D-6E8A-4147-A177-3AD203B41FA5}">
                      <a16:colId xmlns:a16="http://schemas.microsoft.com/office/drawing/2014/main" val="4042090129"/>
                    </a:ext>
                  </a:extLst>
                </a:gridCol>
                <a:gridCol w="964734">
                  <a:extLst>
                    <a:ext uri="{9D8B030D-6E8A-4147-A177-3AD203B41FA5}">
                      <a16:colId xmlns:a16="http://schemas.microsoft.com/office/drawing/2014/main" val="2746344964"/>
                    </a:ext>
                  </a:extLst>
                </a:gridCol>
              </a:tblGrid>
              <a:tr h="1159205">
                <a:tc>
                  <a:txBody>
                    <a:bodyPr/>
                    <a:lstStyle/>
                    <a:p>
                      <a:pPr algn="l"/>
                      <a:endParaRPr lang="en-US" sz="1600" dirty="0"/>
                    </a:p>
                  </a:txBody>
                  <a:tcPr marL="157525" marR="157525" anchor="ctr">
                    <a:solidFill>
                      <a:srgbClr val="025159"/>
                    </a:solidFill>
                  </a:tcPr>
                </a:tc>
                <a:tc>
                  <a:txBody>
                    <a:bodyPr/>
                    <a:lstStyle/>
                    <a:p>
                      <a:pPr algn="ctr"/>
                      <a:r>
                        <a:rPr lang="en-US" sz="1400" dirty="0"/>
                        <a:t>Sessions 2021</a:t>
                      </a:r>
                    </a:p>
                  </a:txBody>
                  <a:tcPr marL="157525" marR="157525" anchor="ctr">
                    <a:solidFill>
                      <a:srgbClr val="025159"/>
                    </a:solidFill>
                  </a:tcPr>
                </a:tc>
                <a:tc>
                  <a:txBody>
                    <a:bodyPr/>
                    <a:lstStyle/>
                    <a:p>
                      <a:pPr algn="ctr"/>
                      <a:r>
                        <a:rPr lang="en-US" sz="1400" dirty="0"/>
                        <a:t>Sessions 2020</a:t>
                      </a:r>
                    </a:p>
                  </a:txBody>
                  <a:tcPr marL="157525" marR="157525" anchor="ctr">
                    <a:solidFill>
                      <a:srgbClr val="025159"/>
                    </a:solidFill>
                  </a:tcPr>
                </a:tc>
                <a:tc>
                  <a:txBody>
                    <a:bodyPr/>
                    <a:lstStyle/>
                    <a:p>
                      <a:pPr algn="ctr"/>
                      <a:r>
                        <a:rPr lang="en-US" sz="1400" dirty="0"/>
                        <a:t>Change in Sessions</a:t>
                      </a:r>
                    </a:p>
                  </a:txBody>
                  <a:tcPr marL="157525" marR="157525" anchor="ctr">
                    <a:solidFill>
                      <a:srgbClr val="025159"/>
                    </a:solidFill>
                  </a:tcPr>
                </a:tc>
                <a:tc>
                  <a:txBody>
                    <a:bodyPr/>
                    <a:lstStyle/>
                    <a:p>
                      <a:pPr algn="ctr"/>
                      <a:r>
                        <a:rPr lang="en-US" sz="1400" dirty="0"/>
                        <a:t>Pageviews 2021</a:t>
                      </a:r>
                    </a:p>
                  </a:txBody>
                  <a:tcPr marL="157525" marR="157525" anchor="ctr">
                    <a:solidFill>
                      <a:srgbClr val="025159"/>
                    </a:solidFill>
                  </a:tcPr>
                </a:tc>
                <a:tc>
                  <a:txBody>
                    <a:bodyPr/>
                    <a:lstStyle/>
                    <a:p>
                      <a:pPr algn="ctr"/>
                      <a:r>
                        <a:rPr lang="en-US" sz="1400" dirty="0"/>
                        <a:t>Pageviews 2020</a:t>
                      </a:r>
                    </a:p>
                  </a:txBody>
                  <a:tcPr marL="157525" marR="157525" anchor="ctr">
                    <a:solidFill>
                      <a:srgbClr val="025159"/>
                    </a:solidFill>
                  </a:tcPr>
                </a:tc>
                <a:tc>
                  <a:txBody>
                    <a:bodyPr/>
                    <a:lstStyle/>
                    <a:p>
                      <a:pPr algn="ctr"/>
                      <a:r>
                        <a:rPr lang="en-US" sz="1400" dirty="0"/>
                        <a:t>Change in Pageviews</a:t>
                      </a:r>
                    </a:p>
                  </a:txBody>
                  <a:tcPr marL="157525" marR="157525" anchor="ctr">
                    <a:solidFill>
                      <a:srgbClr val="025159"/>
                    </a:solidFill>
                  </a:tcPr>
                </a:tc>
                <a:tc>
                  <a:txBody>
                    <a:bodyPr/>
                    <a:lstStyle/>
                    <a:p>
                      <a:pPr algn="ctr"/>
                      <a:r>
                        <a:rPr lang="en-US" sz="1400" dirty="0"/>
                        <a:t>Pages</a:t>
                      </a:r>
                      <a:r>
                        <a:rPr lang="en-US" sz="1400" baseline="0" dirty="0"/>
                        <a:t> per S</a:t>
                      </a:r>
                      <a:r>
                        <a:rPr lang="en-US" sz="1400" dirty="0"/>
                        <a:t>ession 2021</a:t>
                      </a:r>
                    </a:p>
                  </a:txBody>
                  <a:tcPr marL="157525" marR="157525" anchor="ctr">
                    <a:solidFill>
                      <a:srgbClr val="025159"/>
                    </a:solidFill>
                  </a:tcPr>
                </a:tc>
                <a:tc>
                  <a:txBody>
                    <a:bodyPr/>
                    <a:lstStyle/>
                    <a:p>
                      <a:pPr algn="ctr"/>
                      <a:r>
                        <a:rPr lang="en-US" sz="1400" dirty="0"/>
                        <a:t>Pages</a:t>
                      </a:r>
                      <a:r>
                        <a:rPr lang="en-US" sz="1400" baseline="0" dirty="0"/>
                        <a:t> Per</a:t>
                      </a:r>
                      <a:r>
                        <a:rPr lang="en-US" sz="1400" dirty="0"/>
                        <a:t> Session 2020</a:t>
                      </a:r>
                    </a:p>
                  </a:txBody>
                  <a:tcPr marL="157525" marR="157525" anchor="ctr">
                    <a:solidFill>
                      <a:srgbClr val="02515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t>Average Session 2021</a:t>
                      </a:r>
                    </a:p>
                  </a:txBody>
                  <a:tcPr marL="157525" marR="157525" anchor="ctr">
                    <a:solidFill>
                      <a:srgbClr val="02515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t>Average Session 2020</a:t>
                      </a:r>
                    </a:p>
                  </a:txBody>
                  <a:tcPr marL="157525" marR="157525" anchor="ctr">
                    <a:solidFill>
                      <a:srgbClr val="025159"/>
                    </a:solidFill>
                  </a:tcPr>
                </a:tc>
                <a:extLst>
                  <a:ext uri="{0D108BD9-81ED-4DB2-BD59-A6C34878D82A}">
                    <a16:rowId xmlns:a16="http://schemas.microsoft.com/office/drawing/2014/main" val="2298996086"/>
                  </a:ext>
                </a:extLst>
              </a:tr>
              <a:tr h="586721">
                <a:tc>
                  <a:txBody>
                    <a:bodyPr/>
                    <a:lstStyle/>
                    <a:p>
                      <a:pPr algn="l"/>
                      <a:r>
                        <a:rPr lang="en-US" sz="1400" b="0" dirty="0"/>
                        <a:t>UMC</a:t>
                      </a:r>
                    </a:p>
                  </a:txBody>
                  <a:tcPr marL="157525" marR="157525" anchor="ctr">
                    <a:solidFill>
                      <a:srgbClr val="025159">
                        <a:alpha val="40000"/>
                      </a:srgbClr>
                    </a:solidFill>
                  </a:tcPr>
                </a:tc>
                <a:tc>
                  <a:txBody>
                    <a:bodyPr/>
                    <a:lstStyle/>
                    <a:p>
                      <a:pPr algn="ctr"/>
                      <a:r>
                        <a:rPr lang="en-US" sz="1400" dirty="0">
                          <a:solidFill>
                            <a:schemeClr val="tx1"/>
                          </a:solidFill>
                        </a:rPr>
                        <a:t>5,157,203</a:t>
                      </a:r>
                    </a:p>
                  </a:txBody>
                  <a:tcPr marL="157525" marR="157525" anchor="ctr">
                    <a:solidFill>
                      <a:srgbClr val="025159">
                        <a:alpha val="40000"/>
                      </a:srgbClr>
                    </a:solidFill>
                  </a:tcPr>
                </a:tc>
                <a:tc>
                  <a:txBody>
                    <a:bodyPr/>
                    <a:lstStyle/>
                    <a:p>
                      <a:pPr algn="ctr"/>
                      <a:r>
                        <a:rPr lang="en-US" sz="1400" dirty="0">
                          <a:solidFill>
                            <a:schemeClr val="tx1"/>
                          </a:solidFill>
                        </a:rPr>
                        <a:t>4,459,719</a:t>
                      </a:r>
                    </a:p>
                  </a:txBody>
                  <a:tcPr marL="157525" marR="157525" anchor="ctr">
                    <a:solidFill>
                      <a:srgbClr val="025159">
                        <a:alpha val="40000"/>
                      </a:srgbClr>
                    </a:solidFill>
                  </a:tcPr>
                </a:tc>
                <a:tc>
                  <a:txBody>
                    <a:bodyPr/>
                    <a:lstStyle/>
                    <a:p>
                      <a:pPr algn="ctr"/>
                      <a:r>
                        <a:rPr lang="en-US" sz="1400" dirty="0">
                          <a:solidFill>
                            <a:schemeClr val="tx1"/>
                          </a:solidFill>
                        </a:rPr>
                        <a:t>15.64%</a:t>
                      </a:r>
                    </a:p>
                  </a:txBody>
                  <a:tcPr marL="157525" marR="157525" anchor="ctr">
                    <a:solidFill>
                      <a:srgbClr val="025159">
                        <a:alpha val="40000"/>
                      </a:srgbClr>
                    </a:solidFill>
                  </a:tcPr>
                </a:tc>
                <a:tc>
                  <a:txBody>
                    <a:bodyPr/>
                    <a:lstStyle/>
                    <a:p>
                      <a:pPr algn="ctr"/>
                      <a:r>
                        <a:rPr lang="en-US" sz="1400" dirty="0">
                          <a:solidFill>
                            <a:schemeClr val="tx1"/>
                          </a:solidFill>
                        </a:rPr>
                        <a:t>9,903,501</a:t>
                      </a:r>
                    </a:p>
                  </a:txBody>
                  <a:tcPr marL="157525" marR="157525" anchor="ctr">
                    <a:solidFill>
                      <a:srgbClr val="025159">
                        <a:alpha val="40000"/>
                      </a:srgbClr>
                    </a:solidFill>
                  </a:tcPr>
                </a:tc>
                <a:tc>
                  <a:txBody>
                    <a:bodyPr/>
                    <a:lstStyle/>
                    <a:p>
                      <a:pPr algn="ctr"/>
                      <a:r>
                        <a:rPr lang="en-US" sz="1400" dirty="0">
                          <a:solidFill>
                            <a:schemeClr val="tx1"/>
                          </a:solidFill>
                        </a:rPr>
                        <a:t>8,728,732</a:t>
                      </a:r>
                    </a:p>
                  </a:txBody>
                  <a:tcPr marL="157525" marR="157525" anchor="ctr">
                    <a:solidFill>
                      <a:srgbClr val="025159">
                        <a:alpha val="40000"/>
                      </a:srgbClr>
                    </a:solidFill>
                  </a:tcPr>
                </a:tc>
                <a:tc>
                  <a:txBody>
                    <a:bodyPr/>
                    <a:lstStyle/>
                    <a:p>
                      <a:pPr algn="ctr"/>
                      <a:r>
                        <a:rPr lang="en-US" sz="1400" dirty="0">
                          <a:solidFill>
                            <a:schemeClr val="tx1"/>
                          </a:solidFill>
                        </a:rPr>
                        <a:t>13.46%</a:t>
                      </a:r>
                    </a:p>
                  </a:txBody>
                  <a:tcPr marL="157525" marR="157525" anchor="ctr">
                    <a:solidFill>
                      <a:srgbClr val="025159">
                        <a:alpha val="40000"/>
                      </a:srgbClr>
                    </a:solidFill>
                  </a:tcPr>
                </a:tc>
                <a:tc>
                  <a:txBody>
                    <a:bodyPr/>
                    <a:lstStyle/>
                    <a:p>
                      <a:pPr algn="ctr"/>
                      <a:r>
                        <a:rPr lang="en-US" sz="1400" dirty="0">
                          <a:solidFill>
                            <a:schemeClr val="tx1"/>
                          </a:solidFill>
                        </a:rPr>
                        <a:t>1.92</a:t>
                      </a:r>
                    </a:p>
                  </a:txBody>
                  <a:tcPr marL="157525" marR="157525" anchor="ctr">
                    <a:solidFill>
                      <a:srgbClr val="025159">
                        <a:alpha val="40000"/>
                      </a:srgbClr>
                    </a:solidFill>
                  </a:tcPr>
                </a:tc>
                <a:tc>
                  <a:txBody>
                    <a:bodyPr/>
                    <a:lstStyle/>
                    <a:p>
                      <a:pPr algn="ctr"/>
                      <a:r>
                        <a:rPr lang="en-US" sz="1400" dirty="0">
                          <a:solidFill>
                            <a:schemeClr val="tx1"/>
                          </a:solidFill>
                        </a:rPr>
                        <a:t>1.96</a:t>
                      </a:r>
                    </a:p>
                  </a:txBody>
                  <a:tcPr marL="157525" marR="157525" anchor="ctr">
                    <a:solidFill>
                      <a:srgbClr val="025159">
                        <a:alpha val="40000"/>
                      </a:srgbClr>
                    </a:solidFill>
                  </a:tcPr>
                </a:tc>
                <a:tc>
                  <a:txBody>
                    <a:bodyPr/>
                    <a:lstStyle/>
                    <a:p>
                      <a:pPr algn="ctr"/>
                      <a:r>
                        <a:rPr lang="en-US" sz="1400" dirty="0">
                          <a:solidFill>
                            <a:schemeClr val="tx1"/>
                          </a:solidFill>
                        </a:rPr>
                        <a:t>1:24</a:t>
                      </a:r>
                    </a:p>
                  </a:txBody>
                  <a:tcPr marL="157525" marR="157525" anchor="ctr">
                    <a:solidFill>
                      <a:srgbClr val="025159">
                        <a:alpha val="40000"/>
                      </a:srgbClr>
                    </a:solidFill>
                  </a:tcPr>
                </a:tc>
                <a:tc>
                  <a:txBody>
                    <a:bodyPr/>
                    <a:lstStyle/>
                    <a:p>
                      <a:pPr algn="ctr"/>
                      <a:r>
                        <a:rPr lang="en-US" sz="1400" dirty="0">
                          <a:solidFill>
                            <a:schemeClr val="tx1"/>
                          </a:solidFill>
                        </a:rPr>
                        <a:t>1:32</a:t>
                      </a:r>
                    </a:p>
                  </a:txBody>
                  <a:tcPr marL="157525" marR="157525" anchor="ctr">
                    <a:solidFill>
                      <a:srgbClr val="025159">
                        <a:alpha val="40000"/>
                      </a:srgbClr>
                    </a:solidFill>
                  </a:tcPr>
                </a:tc>
                <a:extLst>
                  <a:ext uri="{0D108BD9-81ED-4DB2-BD59-A6C34878D82A}">
                    <a16:rowId xmlns:a16="http://schemas.microsoft.com/office/drawing/2014/main" val="3949170944"/>
                  </a:ext>
                </a:extLst>
              </a:tr>
              <a:tr h="586721">
                <a:tc>
                  <a:txBody>
                    <a:bodyPr/>
                    <a:lstStyle/>
                    <a:p>
                      <a:pPr algn="l"/>
                      <a:r>
                        <a:rPr lang="en-US" sz="1400" dirty="0"/>
                        <a:t>Resource</a:t>
                      </a:r>
                    </a:p>
                    <a:p>
                      <a:pPr algn="l"/>
                      <a:r>
                        <a:rPr lang="en-US" sz="1400" dirty="0"/>
                        <a:t>UMC</a:t>
                      </a:r>
                    </a:p>
                  </a:txBody>
                  <a:tcPr marL="157525" marR="157525" anchor="ctr">
                    <a:solidFill>
                      <a:srgbClr val="025159">
                        <a:alpha val="10000"/>
                      </a:srgbClr>
                    </a:solidFill>
                  </a:tcPr>
                </a:tc>
                <a:tc>
                  <a:txBody>
                    <a:bodyPr/>
                    <a:lstStyle/>
                    <a:p>
                      <a:pPr algn="ctr"/>
                      <a:r>
                        <a:rPr lang="en-US" sz="1400" dirty="0">
                          <a:solidFill>
                            <a:schemeClr val="tx1"/>
                          </a:solidFill>
                        </a:rPr>
                        <a:t>1,410,323</a:t>
                      </a:r>
                    </a:p>
                  </a:txBody>
                  <a:tcPr marL="157525" marR="157525" anchor="ctr">
                    <a:solidFill>
                      <a:srgbClr val="025159">
                        <a:alpha val="10000"/>
                      </a:srgbClr>
                    </a:solidFill>
                  </a:tcPr>
                </a:tc>
                <a:tc>
                  <a:txBody>
                    <a:bodyPr/>
                    <a:lstStyle/>
                    <a:p>
                      <a:pPr algn="ctr"/>
                      <a:r>
                        <a:rPr lang="en-US" sz="1400" dirty="0">
                          <a:solidFill>
                            <a:schemeClr val="tx1"/>
                          </a:solidFill>
                        </a:rPr>
                        <a:t>1,038,397</a:t>
                      </a:r>
                    </a:p>
                  </a:txBody>
                  <a:tcPr marL="157525" marR="157525" anchor="ctr">
                    <a:solidFill>
                      <a:srgbClr val="025159">
                        <a:alpha val="10000"/>
                      </a:srgbClr>
                    </a:solidFill>
                  </a:tcPr>
                </a:tc>
                <a:tc>
                  <a:txBody>
                    <a:bodyPr/>
                    <a:lstStyle/>
                    <a:p>
                      <a:pPr algn="ctr"/>
                      <a:r>
                        <a:rPr lang="en-US" sz="1400" dirty="0">
                          <a:solidFill>
                            <a:schemeClr val="tx1"/>
                          </a:solidFill>
                        </a:rPr>
                        <a:t>64.07%</a:t>
                      </a:r>
                    </a:p>
                  </a:txBody>
                  <a:tcPr marL="157525" marR="157525" anchor="ctr">
                    <a:solidFill>
                      <a:srgbClr val="025159">
                        <a:alpha val="10000"/>
                      </a:srgbClr>
                    </a:solidFill>
                  </a:tcPr>
                </a:tc>
                <a:tc>
                  <a:txBody>
                    <a:bodyPr/>
                    <a:lstStyle/>
                    <a:p>
                      <a:pPr algn="ctr"/>
                      <a:r>
                        <a:rPr lang="en-US" sz="1400" dirty="0">
                          <a:solidFill>
                            <a:schemeClr val="tx1"/>
                          </a:solidFill>
                        </a:rPr>
                        <a:t>2,296,378</a:t>
                      </a:r>
                    </a:p>
                  </a:txBody>
                  <a:tcPr marL="157525" marR="157525" anchor="ctr">
                    <a:solidFill>
                      <a:srgbClr val="025159">
                        <a:alpha val="10000"/>
                      </a:srgbClr>
                    </a:solidFill>
                  </a:tcPr>
                </a:tc>
                <a:tc>
                  <a:txBody>
                    <a:bodyPr/>
                    <a:lstStyle/>
                    <a:p>
                      <a:pPr algn="ctr"/>
                      <a:r>
                        <a:rPr lang="en-US" sz="1400" dirty="0">
                          <a:solidFill>
                            <a:schemeClr val="tx1"/>
                          </a:solidFill>
                        </a:rPr>
                        <a:t>1,519,259</a:t>
                      </a:r>
                    </a:p>
                  </a:txBody>
                  <a:tcPr marL="157525" marR="157525" anchor="ctr">
                    <a:solidFill>
                      <a:srgbClr val="025159">
                        <a:alpha val="10000"/>
                      </a:srgbClr>
                    </a:solidFill>
                  </a:tcPr>
                </a:tc>
                <a:tc>
                  <a:txBody>
                    <a:bodyPr/>
                    <a:lstStyle/>
                    <a:p>
                      <a:pPr algn="ctr"/>
                      <a:r>
                        <a:rPr lang="en-US" sz="1400" dirty="0">
                          <a:solidFill>
                            <a:schemeClr val="tx1"/>
                          </a:solidFill>
                        </a:rPr>
                        <a:t>51.15%</a:t>
                      </a:r>
                    </a:p>
                  </a:txBody>
                  <a:tcPr marL="157525" marR="157525" anchor="ctr">
                    <a:solidFill>
                      <a:srgbClr val="025159">
                        <a:alpha val="10000"/>
                      </a:srgbClr>
                    </a:solidFill>
                  </a:tcPr>
                </a:tc>
                <a:tc>
                  <a:txBody>
                    <a:bodyPr/>
                    <a:lstStyle/>
                    <a:p>
                      <a:pPr algn="ctr"/>
                      <a:r>
                        <a:rPr lang="en-US" sz="1400" dirty="0">
                          <a:solidFill>
                            <a:schemeClr val="tx1"/>
                          </a:solidFill>
                        </a:rPr>
                        <a:t>1.35</a:t>
                      </a:r>
                    </a:p>
                  </a:txBody>
                  <a:tcPr marL="157525" marR="157525" anchor="ctr">
                    <a:solidFill>
                      <a:srgbClr val="025159">
                        <a:alpha val="10000"/>
                      </a:srgbClr>
                    </a:solidFill>
                  </a:tcPr>
                </a:tc>
                <a:tc>
                  <a:txBody>
                    <a:bodyPr/>
                    <a:lstStyle/>
                    <a:p>
                      <a:pPr algn="ctr"/>
                      <a:r>
                        <a:rPr lang="en-US" sz="1400" dirty="0">
                          <a:solidFill>
                            <a:schemeClr val="tx1"/>
                          </a:solidFill>
                        </a:rPr>
                        <a:t>1.46</a:t>
                      </a:r>
                    </a:p>
                  </a:txBody>
                  <a:tcPr marL="157525" marR="157525" anchor="ctr">
                    <a:solidFill>
                      <a:srgbClr val="025159">
                        <a:alpha val="10000"/>
                      </a:srgbClr>
                    </a:solidFill>
                  </a:tcPr>
                </a:tc>
                <a:tc>
                  <a:txBody>
                    <a:bodyPr/>
                    <a:lstStyle/>
                    <a:p>
                      <a:pPr algn="ctr"/>
                      <a:r>
                        <a:rPr lang="en-US" sz="1400" dirty="0">
                          <a:solidFill>
                            <a:schemeClr val="tx1"/>
                          </a:solidFill>
                        </a:rPr>
                        <a:t>0:55</a:t>
                      </a:r>
                    </a:p>
                  </a:txBody>
                  <a:tcPr marL="157525" marR="157525" anchor="ctr">
                    <a:solidFill>
                      <a:srgbClr val="025159">
                        <a:alpha val="10000"/>
                      </a:srgbClr>
                    </a:solidFill>
                  </a:tcPr>
                </a:tc>
                <a:tc>
                  <a:txBody>
                    <a:bodyPr/>
                    <a:lstStyle/>
                    <a:p>
                      <a:pPr algn="ctr"/>
                      <a:r>
                        <a:rPr lang="en-US" sz="1400" dirty="0" smtClean="0">
                          <a:solidFill>
                            <a:schemeClr val="tx1"/>
                          </a:solidFill>
                        </a:rPr>
                        <a:t>1:25</a:t>
                      </a:r>
                    </a:p>
                  </a:txBody>
                  <a:tcPr marL="157525" marR="157525" anchor="ctr">
                    <a:solidFill>
                      <a:srgbClr val="025159">
                        <a:alpha val="10000"/>
                      </a:srgbClr>
                    </a:solidFill>
                  </a:tcPr>
                </a:tc>
                <a:extLst>
                  <a:ext uri="{0D108BD9-81ED-4DB2-BD59-A6C34878D82A}">
                    <a16:rowId xmlns:a16="http://schemas.microsoft.com/office/drawing/2014/main" val="3900103503"/>
                  </a:ext>
                </a:extLst>
              </a:tr>
              <a:tr h="586721">
                <a:tc>
                  <a:txBody>
                    <a:bodyPr/>
                    <a:lstStyle/>
                    <a:p>
                      <a:pPr algn="l"/>
                      <a:r>
                        <a:rPr lang="en-US" sz="1400" dirty="0" smtClean="0">
                          <a:solidFill>
                            <a:schemeClr val="tx1"/>
                          </a:solidFill>
                        </a:rPr>
                        <a:t>UM</a:t>
                      </a:r>
                      <a:r>
                        <a:rPr lang="en-US" sz="1400" baseline="0" dirty="0" smtClean="0">
                          <a:solidFill>
                            <a:schemeClr val="tx1"/>
                          </a:solidFill>
                        </a:rPr>
                        <a:t> </a:t>
                      </a:r>
                      <a:r>
                        <a:rPr lang="en-US" sz="1400" dirty="0" smtClean="0">
                          <a:solidFill>
                            <a:schemeClr val="tx1"/>
                          </a:solidFill>
                        </a:rPr>
                        <a:t>News</a:t>
                      </a:r>
                      <a:endParaRPr lang="en-US" sz="1400" dirty="0">
                        <a:solidFill>
                          <a:schemeClr val="tx1"/>
                        </a:solidFill>
                      </a:endParaRPr>
                    </a:p>
                  </a:txBody>
                  <a:tcPr marL="157525" marR="157525" anchor="ctr">
                    <a:solidFill>
                      <a:srgbClr val="025159">
                        <a:alpha val="10000"/>
                      </a:srgbClr>
                    </a:solidFill>
                  </a:tcPr>
                </a:tc>
                <a:tc>
                  <a:txBody>
                    <a:bodyPr/>
                    <a:lstStyle/>
                    <a:p>
                      <a:pPr algn="ctr"/>
                      <a:r>
                        <a:rPr lang="en-US" sz="1400" dirty="0">
                          <a:solidFill>
                            <a:schemeClr val="tx1"/>
                          </a:solidFill>
                        </a:rPr>
                        <a:t>1,764,223</a:t>
                      </a:r>
                    </a:p>
                  </a:txBody>
                  <a:tcPr marL="157525" marR="157525" anchor="ctr">
                    <a:solidFill>
                      <a:srgbClr val="025159">
                        <a:alpha val="10000"/>
                      </a:srgbClr>
                    </a:solidFill>
                  </a:tcPr>
                </a:tc>
                <a:tc>
                  <a:txBody>
                    <a:bodyPr/>
                    <a:lstStyle/>
                    <a:p>
                      <a:pPr algn="ctr"/>
                      <a:r>
                        <a:rPr lang="en-US" sz="1400" dirty="0">
                          <a:solidFill>
                            <a:schemeClr val="tx1"/>
                          </a:solidFill>
                        </a:rPr>
                        <a:t>2,616,288</a:t>
                      </a:r>
                    </a:p>
                  </a:txBody>
                  <a:tcPr marL="157525" marR="157525" anchor="ctr">
                    <a:solidFill>
                      <a:srgbClr val="025159">
                        <a:alpha val="10000"/>
                      </a:srgbClr>
                    </a:solidFill>
                  </a:tcPr>
                </a:tc>
                <a:tc>
                  <a:txBody>
                    <a:bodyPr/>
                    <a:lstStyle/>
                    <a:p>
                      <a:pPr algn="ctr"/>
                      <a:r>
                        <a:rPr lang="en-US" sz="1400" dirty="0">
                          <a:solidFill>
                            <a:schemeClr val="tx1"/>
                          </a:solidFill>
                        </a:rPr>
                        <a:t>-32.57%</a:t>
                      </a:r>
                    </a:p>
                  </a:txBody>
                  <a:tcPr marL="157525" marR="157525" anchor="ctr">
                    <a:solidFill>
                      <a:srgbClr val="025159">
                        <a:alpha val="10000"/>
                      </a:srgbClr>
                    </a:solidFill>
                  </a:tcPr>
                </a:tc>
                <a:tc>
                  <a:txBody>
                    <a:bodyPr/>
                    <a:lstStyle/>
                    <a:p>
                      <a:pPr algn="ctr"/>
                      <a:r>
                        <a:rPr lang="en-US" sz="1400" dirty="0">
                          <a:solidFill>
                            <a:schemeClr val="tx1"/>
                          </a:solidFill>
                        </a:rPr>
                        <a:t>2,432,319</a:t>
                      </a:r>
                    </a:p>
                  </a:txBody>
                  <a:tcPr marL="157525" marR="157525" anchor="ctr">
                    <a:solidFill>
                      <a:srgbClr val="025159">
                        <a:alpha val="10000"/>
                      </a:srgbClr>
                    </a:solidFill>
                  </a:tcPr>
                </a:tc>
                <a:tc>
                  <a:txBody>
                    <a:bodyPr/>
                    <a:lstStyle/>
                    <a:p>
                      <a:pPr algn="ctr"/>
                      <a:r>
                        <a:rPr lang="en-US" sz="1400" dirty="0">
                          <a:solidFill>
                            <a:schemeClr val="tx1"/>
                          </a:solidFill>
                        </a:rPr>
                        <a:t>3,515,365</a:t>
                      </a:r>
                    </a:p>
                  </a:txBody>
                  <a:tcPr marL="157525" marR="157525" anchor="ctr">
                    <a:solidFill>
                      <a:srgbClr val="025159">
                        <a:alpha val="10000"/>
                      </a:srgbClr>
                    </a:solidFill>
                  </a:tcPr>
                </a:tc>
                <a:tc>
                  <a:txBody>
                    <a:bodyPr/>
                    <a:lstStyle/>
                    <a:p>
                      <a:pPr algn="ctr"/>
                      <a:r>
                        <a:rPr lang="en-US" sz="1400" dirty="0">
                          <a:solidFill>
                            <a:schemeClr val="tx1"/>
                          </a:solidFill>
                        </a:rPr>
                        <a:t>-30.81%</a:t>
                      </a:r>
                    </a:p>
                  </a:txBody>
                  <a:tcPr marL="157525" marR="157525" anchor="ctr">
                    <a:solidFill>
                      <a:srgbClr val="025159">
                        <a:alpha val="10000"/>
                      </a:srgbClr>
                    </a:solidFill>
                  </a:tcPr>
                </a:tc>
                <a:tc>
                  <a:txBody>
                    <a:bodyPr/>
                    <a:lstStyle/>
                    <a:p>
                      <a:pPr algn="ctr"/>
                      <a:r>
                        <a:rPr lang="en-US" sz="1400" dirty="0">
                          <a:solidFill>
                            <a:schemeClr val="tx1"/>
                          </a:solidFill>
                        </a:rPr>
                        <a:t>1.38</a:t>
                      </a:r>
                    </a:p>
                  </a:txBody>
                  <a:tcPr marL="157525" marR="157525" anchor="ctr">
                    <a:solidFill>
                      <a:srgbClr val="025159">
                        <a:alpha val="10000"/>
                      </a:srgbClr>
                    </a:solidFill>
                  </a:tcPr>
                </a:tc>
                <a:tc>
                  <a:txBody>
                    <a:bodyPr/>
                    <a:lstStyle/>
                    <a:p>
                      <a:pPr algn="ctr"/>
                      <a:r>
                        <a:rPr lang="en-US" sz="1400" dirty="0">
                          <a:solidFill>
                            <a:schemeClr val="tx1"/>
                          </a:solidFill>
                        </a:rPr>
                        <a:t>1.34</a:t>
                      </a:r>
                    </a:p>
                  </a:txBody>
                  <a:tcPr marL="157525" marR="157525" anchor="ctr">
                    <a:solidFill>
                      <a:srgbClr val="025159">
                        <a:alpha val="10000"/>
                      </a:srgbClr>
                    </a:solidFill>
                  </a:tcPr>
                </a:tc>
                <a:tc>
                  <a:txBody>
                    <a:bodyPr/>
                    <a:lstStyle/>
                    <a:p>
                      <a:pPr algn="ctr"/>
                      <a:r>
                        <a:rPr lang="en-US" sz="1400" dirty="0">
                          <a:solidFill>
                            <a:schemeClr val="tx1"/>
                          </a:solidFill>
                        </a:rPr>
                        <a:t>1:23</a:t>
                      </a:r>
                    </a:p>
                  </a:txBody>
                  <a:tcPr marL="157525" marR="157525" anchor="ctr">
                    <a:solidFill>
                      <a:srgbClr val="025159">
                        <a:alpha val="10000"/>
                      </a:srgbClr>
                    </a:solidFill>
                  </a:tcPr>
                </a:tc>
                <a:tc>
                  <a:txBody>
                    <a:bodyPr/>
                    <a:lstStyle/>
                    <a:p>
                      <a:pPr algn="ctr"/>
                      <a:r>
                        <a:rPr lang="en-US" sz="1400" dirty="0">
                          <a:solidFill>
                            <a:schemeClr val="tx1"/>
                          </a:solidFill>
                        </a:rPr>
                        <a:t>1:17</a:t>
                      </a:r>
                    </a:p>
                  </a:txBody>
                  <a:tcPr marL="157525" marR="157525" anchor="ctr">
                    <a:solidFill>
                      <a:srgbClr val="025159">
                        <a:alpha val="10000"/>
                      </a:srgbClr>
                    </a:solidFill>
                  </a:tcPr>
                </a:tc>
                <a:extLst>
                  <a:ext uri="{0D108BD9-81ED-4DB2-BD59-A6C34878D82A}">
                    <a16:rowId xmlns:a16="http://schemas.microsoft.com/office/drawing/2014/main" val="4027112292"/>
                  </a:ext>
                </a:extLst>
              </a:tr>
            </a:tbl>
          </a:graphicData>
        </a:graphic>
      </p:graphicFrame>
      <p:sp>
        <p:nvSpPr>
          <p:cNvPr id="4" name="TextBox 3"/>
          <p:cNvSpPr txBox="1"/>
          <p:nvPr/>
        </p:nvSpPr>
        <p:spPr>
          <a:xfrm>
            <a:off x="819160" y="6447478"/>
            <a:ext cx="3689087" cy="307777"/>
          </a:xfrm>
          <a:prstGeom prst="rect">
            <a:avLst/>
          </a:prstGeom>
          <a:noFill/>
        </p:spPr>
        <p:txBody>
          <a:bodyPr wrap="none" rtlCol="0">
            <a:spAutoFit/>
          </a:bodyPr>
          <a:lstStyle/>
          <a:p>
            <a:r>
              <a:rPr lang="en-US" sz="1400" dirty="0">
                <a:solidFill>
                  <a:schemeClr val="bg1"/>
                </a:solidFill>
              </a:rPr>
              <a:t>*Dropped UMCom; merged with ResourceUMC.</a:t>
            </a:r>
          </a:p>
        </p:txBody>
      </p:sp>
    </p:spTree>
    <p:extLst>
      <p:ext uri="{BB962C8B-B14F-4D97-AF65-F5344CB8AC3E}">
        <p14:creationId xmlns:p14="http://schemas.microsoft.com/office/powerpoint/2010/main" val="19285688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21502" y="226655"/>
            <a:ext cx="10058400" cy="586608"/>
          </a:xfrm>
        </p:spPr>
        <p:txBody>
          <a:bodyPr anchor="ctr">
            <a:noAutofit/>
          </a:bodyPr>
          <a:lstStyle/>
          <a:p>
            <a:r>
              <a:rPr lang="en-US" sz="5400" dirty="0">
                <a:solidFill>
                  <a:srgbClr val="005361"/>
                </a:solidFill>
                <a:latin typeface="+mn-lt"/>
              </a:rPr>
              <a:t>Newsletter Performance </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392998180"/>
              </p:ext>
            </p:extLst>
          </p:nvPr>
        </p:nvGraphicFramePr>
        <p:xfrm>
          <a:off x="721502" y="1399871"/>
          <a:ext cx="10719383" cy="5090160"/>
        </p:xfrm>
        <a:graphic>
          <a:graphicData uri="http://schemas.openxmlformats.org/drawingml/2006/table">
            <a:tbl>
              <a:tblPr firstRow="1" bandRow="1">
                <a:tableStyleId>{5C22544A-7EE6-4342-B048-85BDC9FD1C3A}</a:tableStyleId>
              </a:tblPr>
              <a:tblGrid>
                <a:gridCol w="1224840">
                  <a:extLst>
                    <a:ext uri="{9D8B030D-6E8A-4147-A177-3AD203B41FA5}">
                      <a16:colId xmlns:a16="http://schemas.microsoft.com/office/drawing/2014/main" val="1120047165"/>
                    </a:ext>
                  </a:extLst>
                </a:gridCol>
                <a:gridCol w="1019328">
                  <a:extLst>
                    <a:ext uri="{9D8B030D-6E8A-4147-A177-3AD203B41FA5}">
                      <a16:colId xmlns:a16="http://schemas.microsoft.com/office/drawing/2014/main" val="3323676296"/>
                    </a:ext>
                  </a:extLst>
                </a:gridCol>
                <a:gridCol w="1109752">
                  <a:extLst>
                    <a:ext uri="{9D8B030D-6E8A-4147-A177-3AD203B41FA5}">
                      <a16:colId xmlns:a16="http://schemas.microsoft.com/office/drawing/2014/main" val="4039965571"/>
                    </a:ext>
                  </a:extLst>
                </a:gridCol>
                <a:gridCol w="1043990">
                  <a:extLst>
                    <a:ext uri="{9D8B030D-6E8A-4147-A177-3AD203B41FA5}">
                      <a16:colId xmlns:a16="http://schemas.microsoft.com/office/drawing/2014/main" val="2092205755"/>
                    </a:ext>
                  </a:extLst>
                </a:gridCol>
                <a:gridCol w="1095486">
                  <a:extLst>
                    <a:ext uri="{9D8B030D-6E8A-4147-A177-3AD203B41FA5}">
                      <a16:colId xmlns:a16="http://schemas.microsoft.com/office/drawing/2014/main" val="1590854996"/>
                    </a:ext>
                  </a:extLst>
                </a:gridCol>
                <a:gridCol w="1092864">
                  <a:extLst>
                    <a:ext uri="{9D8B030D-6E8A-4147-A177-3AD203B41FA5}">
                      <a16:colId xmlns:a16="http://schemas.microsoft.com/office/drawing/2014/main" val="3826377414"/>
                    </a:ext>
                  </a:extLst>
                </a:gridCol>
                <a:gridCol w="953978">
                  <a:extLst>
                    <a:ext uri="{9D8B030D-6E8A-4147-A177-3AD203B41FA5}">
                      <a16:colId xmlns:a16="http://schemas.microsoft.com/office/drawing/2014/main" val="1742032506"/>
                    </a:ext>
                  </a:extLst>
                </a:gridCol>
                <a:gridCol w="1064677">
                  <a:extLst>
                    <a:ext uri="{9D8B030D-6E8A-4147-A177-3AD203B41FA5}">
                      <a16:colId xmlns:a16="http://schemas.microsoft.com/office/drawing/2014/main" val="258178932"/>
                    </a:ext>
                  </a:extLst>
                </a:gridCol>
                <a:gridCol w="1057234">
                  <a:extLst>
                    <a:ext uri="{9D8B030D-6E8A-4147-A177-3AD203B41FA5}">
                      <a16:colId xmlns:a16="http://schemas.microsoft.com/office/drawing/2014/main" val="3357357062"/>
                    </a:ext>
                  </a:extLst>
                </a:gridCol>
                <a:gridCol w="1057234">
                  <a:extLst>
                    <a:ext uri="{9D8B030D-6E8A-4147-A177-3AD203B41FA5}">
                      <a16:colId xmlns:a16="http://schemas.microsoft.com/office/drawing/2014/main" val="4033424139"/>
                    </a:ext>
                  </a:extLst>
                </a:gridCol>
              </a:tblGrid>
              <a:tr h="686655">
                <a:tc>
                  <a:txBody>
                    <a:bodyPr/>
                    <a:lstStyle/>
                    <a:p>
                      <a:r>
                        <a:rPr lang="en-US" sz="1200" b="1" dirty="0">
                          <a:solidFill>
                            <a:schemeClr val="bg1"/>
                          </a:solidFill>
                        </a:rPr>
                        <a:t>Publication</a:t>
                      </a:r>
                    </a:p>
                  </a:txBody>
                  <a:tcPr marL="78590" marR="78590" anchor="ctr">
                    <a:solidFill>
                      <a:srgbClr val="025159"/>
                    </a:solidFill>
                  </a:tcPr>
                </a:tc>
                <a:tc>
                  <a:txBody>
                    <a:bodyPr/>
                    <a:lstStyle/>
                    <a:p>
                      <a:pPr algn="ctr"/>
                      <a:r>
                        <a:rPr lang="en-US" sz="1200" b="1" dirty="0">
                          <a:solidFill>
                            <a:schemeClr val="bg1"/>
                          </a:solidFill>
                        </a:rPr>
                        <a:t>2021 Subscriptions</a:t>
                      </a:r>
                    </a:p>
                  </a:txBody>
                  <a:tcPr marL="78590" marR="78590" anchor="ctr">
                    <a:solidFill>
                      <a:srgbClr val="025159"/>
                    </a:solidFill>
                  </a:tcPr>
                </a:tc>
                <a:tc>
                  <a:txBody>
                    <a:bodyPr/>
                    <a:lstStyle/>
                    <a:p>
                      <a:pPr algn="ctr"/>
                      <a:r>
                        <a:rPr lang="en-US" sz="1200" b="1" dirty="0">
                          <a:solidFill>
                            <a:schemeClr val="bg1"/>
                          </a:solidFill>
                        </a:rPr>
                        <a:t>2020</a:t>
                      </a:r>
                    </a:p>
                    <a:p>
                      <a:pPr algn="ctr"/>
                      <a:r>
                        <a:rPr lang="en-US" sz="1200" b="1" dirty="0">
                          <a:solidFill>
                            <a:schemeClr val="bg1"/>
                          </a:solidFill>
                        </a:rPr>
                        <a:t>Subscriptions</a:t>
                      </a:r>
                    </a:p>
                  </a:txBody>
                  <a:tcPr marL="78590" marR="78590" anchor="ctr">
                    <a:solidFill>
                      <a:srgbClr val="025159"/>
                    </a:solidFill>
                  </a:tcPr>
                </a:tc>
                <a:tc>
                  <a:txBody>
                    <a:bodyPr/>
                    <a:lstStyle/>
                    <a:p>
                      <a:pPr algn="ctr"/>
                      <a:r>
                        <a:rPr lang="en-US" sz="1200" b="1" dirty="0">
                          <a:solidFill>
                            <a:schemeClr val="bg1"/>
                          </a:solidFill>
                        </a:rPr>
                        <a:t>% Change Subscriptions</a:t>
                      </a:r>
                    </a:p>
                  </a:txBody>
                  <a:tcPr marL="78590" marR="78590" anchor="ctr">
                    <a:solidFill>
                      <a:srgbClr val="025159"/>
                    </a:solidFill>
                  </a:tcPr>
                </a:tc>
                <a:tc>
                  <a:txBody>
                    <a:bodyPr/>
                    <a:lstStyle/>
                    <a:p>
                      <a:pPr algn="ctr"/>
                      <a:r>
                        <a:rPr lang="en-US" sz="1200" b="1" dirty="0">
                          <a:solidFill>
                            <a:schemeClr val="bg1"/>
                          </a:solidFill>
                        </a:rPr>
                        <a:t>2021</a:t>
                      </a:r>
                      <a:r>
                        <a:rPr lang="en-US" sz="1200" b="1" baseline="0" dirty="0">
                          <a:solidFill>
                            <a:schemeClr val="bg1"/>
                          </a:solidFill>
                        </a:rPr>
                        <a:t> Open Rate</a:t>
                      </a:r>
                    </a:p>
                    <a:p>
                      <a:pPr algn="ctr"/>
                      <a:r>
                        <a:rPr lang="en-US" sz="1200" b="1" dirty="0">
                          <a:solidFill>
                            <a:schemeClr val="bg1"/>
                          </a:solidFill>
                        </a:rPr>
                        <a:t>(% of Delivered)</a:t>
                      </a:r>
                    </a:p>
                  </a:txBody>
                  <a:tcPr marL="78590" marR="78590" anchor="ctr">
                    <a:solidFill>
                      <a:srgbClr val="025159"/>
                    </a:solidFill>
                  </a:tcPr>
                </a:tc>
                <a:tc>
                  <a:txBody>
                    <a:bodyPr/>
                    <a:lstStyle/>
                    <a:p>
                      <a:pPr algn="ctr"/>
                      <a:r>
                        <a:rPr lang="en-US" sz="1200" b="1" dirty="0">
                          <a:solidFill>
                            <a:schemeClr val="bg1"/>
                          </a:solidFill>
                        </a:rPr>
                        <a:t>2020 Open Rat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solidFill>
                            <a:schemeClr val="bg1"/>
                          </a:solidFill>
                        </a:rPr>
                        <a:t>(% of Delivered)</a:t>
                      </a:r>
                    </a:p>
                  </a:txBody>
                  <a:tcPr marL="78590" marR="78590" anchor="ctr">
                    <a:solidFill>
                      <a:srgbClr val="025159"/>
                    </a:solidFill>
                  </a:tcPr>
                </a:tc>
                <a:tc>
                  <a:txBody>
                    <a:bodyPr/>
                    <a:lstStyle/>
                    <a:p>
                      <a:pPr algn="ctr"/>
                      <a:r>
                        <a:rPr lang="en-US" sz="1200" b="1" dirty="0">
                          <a:solidFill>
                            <a:schemeClr val="bg1"/>
                          </a:solidFill>
                        </a:rPr>
                        <a:t>Change in Open Rate </a:t>
                      </a:r>
                    </a:p>
                    <a:p>
                      <a:pPr algn="ctr"/>
                      <a:r>
                        <a:rPr lang="en-US" sz="1200" b="1" dirty="0">
                          <a:solidFill>
                            <a:schemeClr val="bg1"/>
                          </a:solidFill>
                        </a:rPr>
                        <a:t>(%</a:t>
                      </a:r>
                      <a:r>
                        <a:rPr lang="en-US" sz="1200" b="1" baseline="0" dirty="0">
                          <a:solidFill>
                            <a:schemeClr val="bg1"/>
                          </a:solidFill>
                        </a:rPr>
                        <a:t> points)</a:t>
                      </a:r>
                      <a:r>
                        <a:rPr lang="en-US" sz="1200" b="1" dirty="0">
                          <a:solidFill>
                            <a:schemeClr val="bg1"/>
                          </a:solidFill>
                        </a:rPr>
                        <a:t> </a:t>
                      </a:r>
                    </a:p>
                  </a:txBody>
                  <a:tcPr marL="78590" marR="78590" anchor="ctr">
                    <a:solidFill>
                      <a:srgbClr val="025159"/>
                    </a:solidFill>
                  </a:tcPr>
                </a:tc>
                <a:tc>
                  <a:txBody>
                    <a:bodyPr/>
                    <a:lstStyle/>
                    <a:p>
                      <a:pPr algn="ctr"/>
                      <a:r>
                        <a:rPr lang="en-US" sz="1200" b="1" dirty="0">
                          <a:solidFill>
                            <a:schemeClr val="bg1"/>
                          </a:solidFill>
                        </a:rPr>
                        <a:t>2021 Click Rate</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baseline="0" dirty="0">
                          <a:solidFill>
                            <a:schemeClr val="bg1"/>
                          </a:solidFill>
                        </a:rPr>
                        <a:t>(% of Opens)</a:t>
                      </a:r>
                      <a:endParaRPr lang="en-US" sz="1200" b="1" dirty="0">
                        <a:solidFill>
                          <a:schemeClr val="bg1"/>
                        </a:solidFill>
                      </a:endParaRPr>
                    </a:p>
                  </a:txBody>
                  <a:tcPr marL="78590" marR="78590" anchor="ctr">
                    <a:solidFill>
                      <a:srgbClr val="025159"/>
                    </a:solidFill>
                  </a:tcPr>
                </a:tc>
                <a:tc>
                  <a:txBody>
                    <a:bodyPr/>
                    <a:lstStyle/>
                    <a:p>
                      <a:pPr algn="ctr"/>
                      <a:r>
                        <a:rPr lang="en-US" sz="1200" b="1" dirty="0">
                          <a:solidFill>
                            <a:schemeClr val="bg1"/>
                          </a:solidFill>
                        </a:rPr>
                        <a:t>2020 Click</a:t>
                      </a:r>
                      <a:r>
                        <a:rPr lang="en-US" sz="1200" b="1" baseline="0" dirty="0">
                          <a:solidFill>
                            <a:schemeClr val="bg1"/>
                          </a:solidFill>
                        </a:rPr>
                        <a:t> Rate</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baseline="0" dirty="0">
                          <a:solidFill>
                            <a:schemeClr val="bg1"/>
                          </a:solidFill>
                        </a:rPr>
                        <a:t>(% of Opens)</a:t>
                      </a:r>
                      <a:endParaRPr lang="en-US" sz="1200" b="1" dirty="0">
                        <a:solidFill>
                          <a:schemeClr val="bg1"/>
                        </a:solidFill>
                      </a:endParaRPr>
                    </a:p>
                  </a:txBody>
                  <a:tcPr marL="78590" marR="78590" anchor="ctr">
                    <a:solidFill>
                      <a:srgbClr val="02515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solidFill>
                            <a:schemeClr val="bg1"/>
                          </a:solidFill>
                        </a:rPr>
                        <a:t>Change in Click Rate</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solidFill>
                            <a:schemeClr val="bg1"/>
                          </a:solidFill>
                        </a:rPr>
                        <a:t> (%</a:t>
                      </a:r>
                      <a:r>
                        <a:rPr lang="en-US" sz="1200" b="1" baseline="0" dirty="0">
                          <a:solidFill>
                            <a:schemeClr val="bg1"/>
                          </a:solidFill>
                        </a:rPr>
                        <a:t> points)</a:t>
                      </a:r>
                      <a:r>
                        <a:rPr lang="en-US" sz="1200" b="1" dirty="0">
                          <a:solidFill>
                            <a:schemeClr val="bg1"/>
                          </a:solidFill>
                        </a:rPr>
                        <a:t> </a:t>
                      </a:r>
                    </a:p>
                  </a:txBody>
                  <a:tcPr marL="78590" marR="78590" anchor="ctr">
                    <a:solidFill>
                      <a:srgbClr val="025159"/>
                    </a:solidFill>
                  </a:tcPr>
                </a:tc>
                <a:extLst>
                  <a:ext uri="{0D108BD9-81ED-4DB2-BD59-A6C34878D82A}">
                    <a16:rowId xmlns:a16="http://schemas.microsoft.com/office/drawing/2014/main" val="3844413074"/>
                  </a:ext>
                </a:extLst>
              </a:tr>
              <a:tr h="396243">
                <a:tc>
                  <a:txBody>
                    <a:bodyPr/>
                    <a:lstStyle/>
                    <a:p>
                      <a:r>
                        <a:rPr lang="en-US" sz="1200" b="1" dirty="0" smtClean="0">
                          <a:solidFill>
                            <a:schemeClr val="tx1"/>
                          </a:solidFill>
                        </a:rPr>
                        <a:t>UM Now</a:t>
                      </a:r>
                      <a:endParaRPr lang="en-US" sz="1200" b="1" dirty="0">
                        <a:solidFill>
                          <a:schemeClr val="tx1"/>
                        </a:solidFill>
                      </a:endParaRPr>
                    </a:p>
                  </a:txBody>
                  <a:tcPr marL="78590" marR="78590" anchor="ctr">
                    <a:solidFill>
                      <a:srgbClr val="025159">
                        <a:alpha val="40000"/>
                      </a:srgbClr>
                    </a:solidFill>
                  </a:tcPr>
                </a:tc>
                <a:tc>
                  <a:txBody>
                    <a:bodyPr/>
                    <a:lstStyle/>
                    <a:p>
                      <a:pPr algn="ctr"/>
                      <a:r>
                        <a:rPr lang="en-US" sz="1200" b="0" dirty="0">
                          <a:solidFill>
                            <a:schemeClr val="tx1"/>
                          </a:solidFill>
                        </a:rPr>
                        <a:t>106,146</a:t>
                      </a:r>
                    </a:p>
                  </a:txBody>
                  <a:tcPr marL="78590" marR="78590" anchor="ctr">
                    <a:solidFill>
                      <a:srgbClr val="025159">
                        <a:alpha val="40000"/>
                      </a:srgbClr>
                    </a:solidFill>
                  </a:tcPr>
                </a:tc>
                <a:tc>
                  <a:txBody>
                    <a:bodyPr/>
                    <a:lstStyle/>
                    <a:p>
                      <a:pPr algn="ctr"/>
                      <a:r>
                        <a:rPr lang="en-US" sz="1200" b="0" dirty="0">
                          <a:solidFill>
                            <a:schemeClr val="tx1"/>
                          </a:solidFill>
                        </a:rPr>
                        <a:t>99,496</a:t>
                      </a:r>
                    </a:p>
                  </a:txBody>
                  <a:tcPr marL="78590" marR="78590" anchor="ctr">
                    <a:solidFill>
                      <a:srgbClr val="025159">
                        <a:alpha val="40000"/>
                      </a:srgbClr>
                    </a:solidFill>
                  </a:tcPr>
                </a:tc>
                <a:tc>
                  <a:txBody>
                    <a:bodyPr/>
                    <a:lstStyle/>
                    <a:p>
                      <a:pPr algn="ctr"/>
                      <a:r>
                        <a:rPr lang="en-US" sz="1200" b="0" dirty="0">
                          <a:solidFill>
                            <a:schemeClr val="tx1"/>
                          </a:solidFill>
                        </a:rPr>
                        <a:t>6.7</a:t>
                      </a:r>
                    </a:p>
                  </a:txBody>
                  <a:tcPr marL="78590" marR="78590" anchor="ctr">
                    <a:solidFill>
                      <a:srgbClr val="025159">
                        <a:alpha val="40000"/>
                      </a:srgbClr>
                    </a:solidFill>
                  </a:tcPr>
                </a:tc>
                <a:tc>
                  <a:txBody>
                    <a:bodyPr/>
                    <a:lstStyle/>
                    <a:p>
                      <a:pPr algn="ctr"/>
                      <a:r>
                        <a:rPr lang="en-US" sz="1200" b="0" dirty="0">
                          <a:solidFill>
                            <a:schemeClr val="tx1"/>
                          </a:solidFill>
                        </a:rPr>
                        <a:t>31.7</a:t>
                      </a:r>
                    </a:p>
                  </a:txBody>
                  <a:tcPr marL="78590" marR="78590" anchor="ctr">
                    <a:solidFill>
                      <a:srgbClr val="025159">
                        <a:alpha val="40000"/>
                      </a:srgbClr>
                    </a:solidFill>
                  </a:tcPr>
                </a:tc>
                <a:tc>
                  <a:txBody>
                    <a:bodyPr/>
                    <a:lstStyle/>
                    <a:p>
                      <a:pPr algn="ctr"/>
                      <a:r>
                        <a:rPr lang="en-US" sz="1200" b="0" dirty="0">
                          <a:solidFill>
                            <a:schemeClr val="tx1"/>
                          </a:solidFill>
                        </a:rPr>
                        <a:t>34.6</a:t>
                      </a:r>
                    </a:p>
                  </a:txBody>
                  <a:tcPr marL="78590" marR="78590" anchor="ctr">
                    <a:solidFill>
                      <a:srgbClr val="025159">
                        <a:alpha val="40000"/>
                      </a:srgbClr>
                    </a:solidFill>
                  </a:tcPr>
                </a:tc>
                <a:tc>
                  <a:txBody>
                    <a:bodyPr/>
                    <a:lstStyle/>
                    <a:p>
                      <a:pPr algn="ctr"/>
                      <a:r>
                        <a:rPr lang="en-US" sz="1200" b="0" dirty="0">
                          <a:solidFill>
                            <a:schemeClr val="tx1"/>
                          </a:solidFill>
                        </a:rPr>
                        <a:t>-2.9</a:t>
                      </a:r>
                    </a:p>
                  </a:txBody>
                  <a:tcPr marL="78590" marR="78590" anchor="ctr">
                    <a:solidFill>
                      <a:srgbClr val="025159">
                        <a:alpha val="40000"/>
                      </a:srgbClr>
                    </a:solidFill>
                  </a:tcPr>
                </a:tc>
                <a:tc>
                  <a:txBody>
                    <a:bodyPr/>
                    <a:lstStyle/>
                    <a:p>
                      <a:pPr algn="ctr"/>
                      <a:r>
                        <a:rPr lang="en-US" sz="1200" b="0" dirty="0">
                          <a:solidFill>
                            <a:schemeClr val="tx1"/>
                          </a:solidFill>
                        </a:rPr>
                        <a:t>16.1</a:t>
                      </a:r>
                    </a:p>
                  </a:txBody>
                  <a:tcPr marL="78590" marR="78590" anchor="ctr">
                    <a:solidFill>
                      <a:srgbClr val="025159">
                        <a:alpha val="40000"/>
                      </a:srgbClr>
                    </a:solidFill>
                  </a:tcPr>
                </a:tc>
                <a:tc>
                  <a:txBody>
                    <a:bodyPr/>
                    <a:lstStyle/>
                    <a:p>
                      <a:pPr algn="ctr"/>
                      <a:r>
                        <a:rPr lang="en-US" sz="1200" b="0" dirty="0">
                          <a:solidFill>
                            <a:schemeClr val="tx1"/>
                          </a:solidFill>
                        </a:rPr>
                        <a:t>18.0</a:t>
                      </a:r>
                    </a:p>
                  </a:txBody>
                  <a:tcPr marL="78590" marR="78590" anchor="ctr">
                    <a:solidFill>
                      <a:srgbClr val="025159">
                        <a:alpha val="40000"/>
                      </a:srgbClr>
                    </a:solidFill>
                  </a:tcPr>
                </a:tc>
                <a:tc>
                  <a:txBody>
                    <a:bodyPr/>
                    <a:lstStyle/>
                    <a:p>
                      <a:pPr algn="ctr"/>
                      <a:r>
                        <a:rPr lang="en-US" sz="1200" b="0" dirty="0">
                          <a:solidFill>
                            <a:schemeClr val="tx1"/>
                          </a:solidFill>
                        </a:rPr>
                        <a:t>-1.9</a:t>
                      </a:r>
                    </a:p>
                  </a:txBody>
                  <a:tcPr marL="78590" marR="78590" anchor="ctr">
                    <a:solidFill>
                      <a:srgbClr val="025159">
                        <a:alpha val="40000"/>
                      </a:srgbClr>
                    </a:solidFill>
                  </a:tcPr>
                </a:tc>
                <a:extLst>
                  <a:ext uri="{0D108BD9-81ED-4DB2-BD59-A6C34878D82A}">
                    <a16:rowId xmlns:a16="http://schemas.microsoft.com/office/drawing/2014/main" val="3895670114"/>
                  </a:ext>
                </a:extLst>
              </a:tr>
              <a:tr h="396243">
                <a:tc>
                  <a:txBody>
                    <a:bodyPr/>
                    <a:lstStyle/>
                    <a:p>
                      <a:r>
                        <a:rPr lang="en-US" sz="1200" b="1" dirty="0">
                          <a:solidFill>
                            <a:schemeClr val="tx1"/>
                          </a:solidFill>
                        </a:rPr>
                        <a:t>MyCom</a:t>
                      </a:r>
                    </a:p>
                  </a:txBody>
                  <a:tcPr marL="78590" marR="78590" anchor="ctr">
                    <a:solidFill>
                      <a:srgbClr val="025159">
                        <a:alpha val="25000"/>
                      </a:srgbClr>
                    </a:solidFill>
                  </a:tcPr>
                </a:tc>
                <a:tc>
                  <a:txBody>
                    <a:bodyPr/>
                    <a:lstStyle/>
                    <a:p>
                      <a:pPr algn="ctr"/>
                      <a:r>
                        <a:rPr lang="en-US" sz="1200" b="0" dirty="0">
                          <a:solidFill>
                            <a:schemeClr val="tx1"/>
                          </a:solidFill>
                        </a:rPr>
                        <a:t>49,489</a:t>
                      </a:r>
                    </a:p>
                  </a:txBody>
                  <a:tcPr marL="78590" marR="78590" anchor="ctr">
                    <a:solidFill>
                      <a:srgbClr val="025159">
                        <a:alpha val="25000"/>
                      </a:srgbClr>
                    </a:solidFill>
                  </a:tcPr>
                </a:tc>
                <a:tc>
                  <a:txBody>
                    <a:bodyPr/>
                    <a:lstStyle/>
                    <a:p>
                      <a:pPr algn="ctr"/>
                      <a:r>
                        <a:rPr lang="en-US" sz="1200" b="0" dirty="0">
                          <a:solidFill>
                            <a:schemeClr val="tx1"/>
                          </a:solidFill>
                        </a:rPr>
                        <a:t>48,780</a:t>
                      </a:r>
                    </a:p>
                  </a:txBody>
                  <a:tcPr marL="78590" marR="78590" anchor="ctr">
                    <a:solidFill>
                      <a:srgbClr val="025159">
                        <a:alpha val="25000"/>
                      </a:srgbClr>
                    </a:solidFill>
                  </a:tcPr>
                </a:tc>
                <a:tc>
                  <a:txBody>
                    <a:bodyPr/>
                    <a:lstStyle/>
                    <a:p>
                      <a:pPr algn="ctr"/>
                      <a:r>
                        <a:rPr lang="en-US" sz="1200" b="0" dirty="0">
                          <a:solidFill>
                            <a:schemeClr val="tx1"/>
                          </a:solidFill>
                        </a:rPr>
                        <a:t>1.5</a:t>
                      </a:r>
                    </a:p>
                  </a:txBody>
                  <a:tcPr marL="78590" marR="78590" anchor="ctr">
                    <a:solidFill>
                      <a:srgbClr val="025159">
                        <a:alpha val="25000"/>
                      </a:srgbClr>
                    </a:solidFill>
                  </a:tcPr>
                </a:tc>
                <a:tc>
                  <a:txBody>
                    <a:bodyPr/>
                    <a:lstStyle/>
                    <a:p>
                      <a:pPr algn="ctr"/>
                      <a:r>
                        <a:rPr lang="en-US" sz="1200" b="0" dirty="0">
                          <a:solidFill>
                            <a:schemeClr val="tx1"/>
                          </a:solidFill>
                        </a:rPr>
                        <a:t>25.3</a:t>
                      </a:r>
                    </a:p>
                  </a:txBody>
                  <a:tcPr marL="78590" marR="78590" anchor="ctr">
                    <a:solidFill>
                      <a:srgbClr val="025159">
                        <a:alpha val="25000"/>
                      </a:srgbClr>
                    </a:solidFill>
                  </a:tcPr>
                </a:tc>
                <a:tc>
                  <a:txBody>
                    <a:bodyPr/>
                    <a:lstStyle/>
                    <a:p>
                      <a:pPr algn="ctr"/>
                      <a:r>
                        <a:rPr lang="en-US" sz="1200" b="0" dirty="0">
                          <a:solidFill>
                            <a:schemeClr val="tx1"/>
                          </a:solidFill>
                        </a:rPr>
                        <a:t>29.0</a:t>
                      </a:r>
                    </a:p>
                  </a:txBody>
                  <a:tcPr marL="78590" marR="78590" anchor="ctr">
                    <a:solidFill>
                      <a:srgbClr val="025159">
                        <a:alpha val="25000"/>
                      </a:srgbClr>
                    </a:solidFill>
                  </a:tcPr>
                </a:tc>
                <a:tc>
                  <a:txBody>
                    <a:bodyPr/>
                    <a:lstStyle/>
                    <a:p>
                      <a:pPr algn="ctr"/>
                      <a:r>
                        <a:rPr lang="en-US" sz="1200" b="0" dirty="0">
                          <a:solidFill>
                            <a:schemeClr val="tx1"/>
                          </a:solidFill>
                        </a:rPr>
                        <a:t>-3.7</a:t>
                      </a:r>
                    </a:p>
                  </a:txBody>
                  <a:tcPr marL="78590" marR="78590" anchor="ctr">
                    <a:solidFill>
                      <a:srgbClr val="025159">
                        <a:alpha val="25000"/>
                      </a:srgbClr>
                    </a:solidFill>
                  </a:tcPr>
                </a:tc>
                <a:tc>
                  <a:txBody>
                    <a:bodyPr/>
                    <a:lstStyle/>
                    <a:p>
                      <a:pPr algn="ctr"/>
                      <a:r>
                        <a:rPr lang="en-US" sz="1200" b="0" dirty="0">
                          <a:solidFill>
                            <a:schemeClr val="tx1"/>
                          </a:solidFill>
                        </a:rPr>
                        <a:t>8.6</a:t>
                      </a:r>
                    </a:p>
                  </a:txBody>
                  <a:tcPr marL="78590" marR="78590" anchor="ctr">
                    <a:solidFill>
                      <a:srgbClr val="025159">
                        <a:alpha val="25000"/>
                      </a:srgbClr>
                    </a:solidFill>
                  </a:tcPr>
                </a:tc>
                <a:tc>
                  <a:txBody>
                    <a:bodyPr/>
                    <a:lstStyle/>
                    <a:p>
                      <a:pPr algn="ctr"/>
                      <a:r>
                        <a:rPr lang="en-US" sz="1200" b="0" dirty="0">
                          <a:solidFill>
                            <a:schemeClr val="tx1"/>
                          </a:solidFill>
                        </a:rPr>
                        <a:t>12.7</a:t>
                      </a:r>
                    </a:p>
                  </a:txBody>
                  <a:tcPr marL="78590" marR="78590" anchor="ctr">
                    <a:solidFill>
                      <a:srgbClr val="025159">
                        <a:alpha val="25000"/>
                      </a:srgbClr>
                    </a:solidFill>
                  </a:tcPr>
                </a:tc>
                <a:tc>
                  <a:txBody>
                    <a:bodyPr/>
                    <a:lstStyle/>
                    <a:p>
                      <a:pPr algn="ctr"/>
                      <a:r>
                        <a:rPr lang="en-US" sz="1200" b="0" dirty="0">
                          <a:solidFill>
                            <a:schemeClr val="tx1"/>
                          </a:solidFill>
                        </a:rPr>
                        <a:t>-4.1</a:t>
                      </a:r>
                    </a:p>
                  </a:txBody>
                  <a:tcPr marL="78590" marR="78590" anchor="ctr">
                    <a:solidFill>
                      <a:srgbClr val="025159">
                        <a:alpha val="25000"/>
                      </a:srgbClr>
                    </a:solidFill>
                  </a:tcPr>
                </a:tc>
                <a:extLst>
                  <a:ext uri="{0D108BD9-81ED-4DB2-BD59-A6C34878D82A}">
                    <a16:rowId xmlns:a16="http://schemas.microsoft.com/office/drawing/2014/main" val="3694142264"/>
                  </a:ext>
                </a:extLst>
              </a:tr>
              <a:tr h="396243">
                <a:tc>
                  <a:txBody>
                    <a:bodyPr/>
                    <a:lstStyle/>
                    <a:p>
                      <a:r>
                        <a:rPr lang="en-US" sz="1200" b="1" dirty="0">
                          <a:solidFill>
                            <a:schemeClr val="tx1"/>
                          </a:solidFill>
                        </a:rPr>
                        <a:t>Weekly/Friday Digest</a:t>
                      </a:r>
                    </a:p>
                  </a:txBody>
                  <a:tcPr marL="78590" marR="78590" anchor="ctr">
                    <a:solidFill>
                      <a:srgbClr val="025159">
                        <a:alpha val="40000"/>
                      </a:srgbClr>
                    </a:solidFill>
                  </a:tcPr>
                </a:tc>
                <a:tc>
                  <a:txBody>
                    <a:bodyPr/>
                    <a:lstStyle/>
                    <a:p>
                      <a:pPr algn="ctr"/>
                      <a:r>
                        <a:rPr lang="en-US" sz="1200" b="0" dirty="0">
                          <a:solidFill>
                            <a:schemeClr val="tx1"/>
                          </a:solidFill>
                        </a:rPr>
                        <a:t>48,774</a:t>
                      </a:r>
                    </a:p>
                  </a:txBody>
                  <a:tcPr marL="78590" marR="78590" anchor="ctr">
                    <a:solidFill>
                      <a:srgbClr val="025159">
                        <a:alpha val="40000"/>
                      </a:srgbClr>
                    </a:solidFill>
                  </a:tcPr>
                </a:tc>
                <a:tc>
                  <a:txBody>
                    <a:bodyPr/>
                    <a:lstStyle/>
                    <a:p>
                      <a:pPr algn="ctr"/>
                      <a:r>
                        <a:rPr lang="en-US" sz="1200" b="0" dirty="0">
                          <a:solidFill>
                            <a:schemeClr val="tx1"/>
                          </a:solidFill>
                        </a:rPr>
                        <a:t>47,144</a:t>
                      </a:r>
                    </a:p>
                  </a:txBody>
                  <a:tcPr marL="78590" marR="78590" anchor="ctr">
                    <a:solidFill>
                      <a:srgbClr val="025159">
                        <a:alpha val="40000"/>
                      </a:srgbClr>
                    </a:solidFill>
                  </a:tcPr>
                </a:tc>
                <a:tc>
                  <a:txBody>
                    <a:bodyPr/>
                    <a:lstStyle/>
                    <a:p>
                      <a:pPr algn="ctr"/>
                      <a:r>
                        <a:rPr lang="en-US" sz="1200" b="0" dirty="0">
                          <a:solidFill>
                            <a:schemeClr val="tx1"/>
                          </a:solidFill>
                        </a:rPr>
                        <a:t>3.5</a:t>
                      </a:r>
                    </a:p>
                  </a:txBody>
                  <a:tcPr marL="78590" marR="78590" anchor="ctr">
                    <a:solidFill>
                      <a:srgbClr val="025159">
                        <a:alpha val="40000"/>
                      </a:srgbClr>
                    </a:solidFill>
                  </a:tcPr>
                </a:tc>
                <a:tc>
                  <a:txBody>
                    <a:bodyPr/>
                    <a:lstStyle/>
                    <a:p>
                      <a:pPr algn="ctr"/>
                      <a:r>
                        <a:rPr lang="en-US" sz="1200" b="0" dirty="0">
                          <a:solidFill>
                            <a:schemeClr val="tx1"/>
                          </a:solidFill>
                        </a:rPr>
                        <a:t>29.7</a:t>
                      </a:r>
                    </a:p>
                  </a:txBody>
                  <a:tcPr marL="78590" marR="78590" anchor="ctr">
                    <a:solidFill>
                      <a:srgbClr val="025159">
                        <a:alpha val="40000"/>
                      </a:srgbClr>
                    </a:solidFill>
                  </a:tcPr>
                </a:tc>
                <a:tc>
                  <a:txBody>
                    <a:bodyPr/>
                    <a:lstStyle/>
                    <a:p>
                      <a:pPr algn="ctr"/>
                      <a:r>
                        <a:rPr lang="en-US" sz="1200" b="0" dirty="0">
                          <a:solidFill>
                            <a:schemeClr val="tx1"/>
                          </a:solidFill>
                        </a:rPr>
                        <a:t>35.3</a:t>
                      </a:r>
                    </a:p>
                  </a:txBody>
                  <a:tcPr marL="78590" marR="78590" anchor="ctr">
                    <a:solidFill>
                      <a:srgbClr val="025159">
                        <a:alpha val="40000"/>
                      </a:srgbClr>
                    </a:solidFill>
                  </a:tcPr>
                </a:tc>
                <a:tc>
                  <a:txBody>
                    <a:bodyPr/>
                    <a:lstStyle/>
                    <a:p>
                      <a:pPr algn="ctr"/>
                      <a:r>
                        <a:rPr lang="en-US" sz="1200" b="0" dirty="0">
                          <a:solidFill>
                            <a:schemeClr val="tx1"/>
                          </a:solidFill>
                        </a:rPr>
                        <a:t>-5.6</a:t>
                      </a:r>
                    </a:p>
                  </a:txBody>
                  <a:tcPr marL="78590" marR="78590" anchor="ctr">
                    <a:solidFill>
                      <a:srgbClr val="025159">
                        <a:alpha val="40000"/>
                      </a:srgbClr>
                    </a:solidFill>
                  </a:tcPr>
                </a:tc>
                <a:tc>
                  <a:txBody>
                    <a:bodyPr/>
                    <a:lstStyle/>
                    <a:p>
                      <a:pPr algn="ctr"/>
                      <a:r>
                        <a:rPr lang="en-US" sz="1200" b="0" dirty="0">
                          <a:solidFill>
                            <a:schemeClr val="tx1"/>
                          </a:solidFill>
                        </a:rPr>
                        <a:t>20.2</a:t>
                      </a:r>
                    </a:p>
                  </a:txBody>
                  <a:tcPr marL="78590" marR="78590" anchor="ctr">
                    <a:solidFill>
                      <a:srgbClr val="025159">
                        <a:alpha val="40000"/>
                      </a:srgbClr>
                    </a:solidFill>
                  </a:tcPr>
                </a:tc>
                <a:tc>
                  <a:txBody>
                    <a:bodyPr/>
                    <a:lstStyle/>
                    <a:p>
                      <a:pPr algn="ctr"/>
                      <a:r>
                        <a:rPr lang="en-US" sz="1200" b="0" dirty="0">
                          <a:solidFill>
                            <a:schemeClr val="tx1"/>
                          </a:solidFill>
                        </a:rPr>
                        <a:t>18.1</a:t>
                      </a:r>
                    </a:p>
                  </a:txBody>
                  <a:tcPr marL="78590" marR="78590" anchor="ctr">
                    <a:solidFill>
                      <a:srgbClr val="025159">
                        <a:alpha val="40000"/>
                      </a:srgbClr>
                    </a:solidFill>
                  </a:tcPr>
                </a:tc>
                <a:tc>
                  <a:txBody>
                    <a:bodyPr/>
                    <a:lstStyle/>
                    <a:p>
                      <a:pPr algn="ctr"/>
                      <a:r>
                        <a:rPr lang="en-US" sz="1200" b="0" dirty="0">
                          <a:solidFill>
                            <a:schemeClr val="tx1"/>
                          </a:solidFill>
                        </a:rPr>
                        <a:t>2.1</a:t>
                      </a:r>
                    </a:p>
                  </a:txBody>
                  <a:tcPr marL="78590" marR="78590" anchor="ctr">
                    <a:solidFill>
                      <a:srgbClr val="025159">
                        <a:alpha val="40000"/>
                      </a:srgbClr>
                    </a:solidFill>
                  </a:tcPr>
                </a:tc>
                <a:extLst>
                  <a:ext uri="{0D108BD9-81ED-4DB2-BD59-A6C34878D82A}">
                    <a16:rowId xmlns:a16="http://schemas.microsoft.com/office/drawing/2014/main" val="490182322"/>
                  </a:ext>
                </a:extLst>
              </a:tr>
              <a:tr h="396243">
                <a:tc>
                  <a:txBody>
                    <a:bodyPr/>
                    <a:lstStyle/>
                    <a:p>
                      <a:r>
                        <a:rPr lang="en-US" sz="1200" b="1" dirty="0">
                          <a:solidFill>
                            <a:schemeClr val="tx1"/>
                          </a:solidFill>
                        </a:rPr>
                        <a:t>Daily Digest</a:t>
                      </a:r>
                    </a:p>
                  </a:txBody>
                  <a:tcPr marL="78590" marR="78590" anchor="ctr">
                    <a:solidFill>
                      <a:srgbClr val="025159">
                        <a:alpha val="25000"/>
                      </a:srgbClr>
                    </a:solidFill>
                  </a:tcPr>
                </a:tc>
                <a:tc>
                  <a:txBody>
                    <a:bodyPr/>
                    <a:lstStyle/>
                    <a:p>
                      <a:pPr algn="ctr"/>
                      <a:r>
                        <a:rPr lang="en-US" sz="1200" b="0" dirty="0">
                          <a:solidFill>
                            <a:schemeClr val="tx1"/>
                          </a:solidFill>
                        </a:rPr>
                        <a:t>44,793</a:t>
                      </a:r>
                    </a:p>
                  </a:txBody>
                  <a:tcPr marL="78590" marR="78590" anchor="ctr">
                    <a:solidFill>
                      <a:srgbClr val="025159">
                        <a:alpha val="25000"/>
                      </a:srgbClr>
                    </a:solidFill>
                  </a:tcPr>
                </a:tc>
                <a:tc>
                  <a:txBody>
                    <a:bodyPr/>
                    <a:lstStyle/>
                    <a:p>
                      <a:pPr algn="ctr"/>
                      <a:r>
                        <a:rPr lang="en-US" sz="1200" b="0" dirty="0">
                          <a:solidFill>
                            <a:schemeClr val="tx1"/>
                          </a:solidFill>
                        </a:rPr>
                        <a:t>42,600</a:t>
                      </a:r>
                    </a:p>
                  </a:txBody>
                  <a:tcPr marL="78590" marR="78590" anchor="ctr">
                    <a:solidFill>
                      <a:srgbClr val="025159">
                        <a:alpha val="25000"/>
                      </a:srgbClr>
                    </a:solidFill>
                  </a:tcPr>
                </a:tc>
                <a:tc>
                  <a:txBody>
                    <a:bodyPr/>
                    <a:lstStyle/>
                    <a:p>
                      <a:pPr algn="ctr"/>
                      <a:r>
                        <a:rPr lang="en-US" sz="1200" b="0" dirty="0">
                          <a:solidFill>
                            <a:schemeClr val="tx1"/>
                          </a:solidFill>
                        </a:rPr>
                        <a:t>5.1</a:t>
                      </a:r>
                    </a:p>
                  </a:txBody>
                  <a:tcPr marL="78590" marR="78590" anchor="ctr">
                    <a:solidFill>
                      <a:srgbClr val="025159">
                        <a:alpha val="25000"/>
                      </a:srgbClr>
                    </a:solidFill>
                  </a:tcPr>
                </a:tc>
                <a:tc>
                  <a:txBody>
                    <a:bodyPr/>
                    <a:lstStyle/>
                    <a:p>
                      <a:pPr algn="ctr"/>
                      <a:r>
                        <a:rPr lang="en-US" sz="1200" b="0" dirty="0">
                          <a:solidFill>
                            <a:schemeClr val="tx1"/>
                          </a:solidFill>
                        </a:rPr>
                        <a:t>37.7</a:t>
                      </a:r>
                    </a:p>
                  </a:txBody>
                  <a:tcPr marL="78590" marR="78590" anchor="ctr">
                    <a:solidFill>
                      <a:srgbClr val="025159">
                        <a:alpha val="25000"/>
                      </a:srgbClr>
                    </a:solidFill>
                  </a:tcPr>
                </a:tc>
                <a:tc>
                  <a:txBody>
                    <a:bodyPr/>
                    <a:lstStyle/>
                    <a:p>
                      <a:pPr algn="ctr"/>
                      <a:r>
                        <a:rPr lang="en-US" sz="1200" b="0" dirty="0">
                          <a:solidFill>
                            <a:schemeClr val="tx1"/>
                          </a:solidFill>
                        </a:rPr>
                        <a:t>40.4</a:t>
                      </a:r>
                    </a:p>
                  </a:txBody>
                  <a:tcPr marL="78590" marR="78590" anchor="ctr">
                    <a:solidFill>
                      <a:srgbClr val="025159">
                        <a:alpha val="25000"/>
                      </a:srgbClr>
                    </a:solidFill>
                  </a:tcPr>
                </a:tc>
                <a:tc>
                  <a:txBody>
                    <a:bodyPr/>
                    <a:lstStyle/>
                    <a:p>
                      <a:pPr algn="ctr"/>
                      <a:r>
                        <a:rPr lang="en-US" sz="1200" b="0" dirty="0">
                          <a:solidFill>
                            <a:schemeClr val="tx1"/>
                          </a:solidFill>
                        </a:rPr>
                        <a:t>-2.7</a:t>
                      </a:r>
                    </a:p>
                  </a:txBody>
                  <a:tcPr marL="78590" marR="78590" anchor="ctr">
                    <a:solidFill>
                      <a:srgbClr val="025159">
                        <a:alpha val="25000"/>
                      </a:srgbClr>
                    </a:solidFill>
                  </a:tcPr>
                </a:tc>
                <a:tc>
                  <a:txBody>
                    <a:bodyPr/>
                    <a:lstStyle/>
                    <a:p>
                      <a:pPr algn="ctr"/>
                      <a:r>
                        <a:rPr lang="en-US" sz="1200" b="0" dirty="0">
                          <a:solidFill>
                            <a:schemeClr val="tx1"/>
                          </a:solidFill>
                        </a:rPr>
                        <a:t>15.5</a:t>
                      </a:r>
                    </a:p>
                  </a:txBody>
                  <a:tcPr marL="78590" marR="78590" anchor="ctr">
                    <a:solidFill>
                      <a:srgbClr val="025159">
                        <a:alpha val="25000"/>
                      </a:srgbClr>
                    </a:solidFill>
                  </a:tcPr>
                </a:tc>
                <a:tc>
                  <a:txBody>
                    <a:bodyPr/>
                    <a:lstStyle/>
                    <a:p>
                      <a:pPr algn="ctr"/>
                      <a:r>
                        <a:rPr lang="en-US" sz="1200" b="0" dirty="0">
                          <a:solidFill>
                            <a:schemeClr val="tx1"/>
                          </a:solidFill>
                        </a:rPr>
                        <a:t>16.6</a:t>
                      </a:r>
                    </a:p>
                  </a:txBody>
                  <a:tcPr marL="78590" marR="78590" anchor="ctr">
                    <a:solidFill>
                      <a:srgbClr val="025159">
                        <a:alpha val="25000"/>
                      </a:srgbClr>
                    </a:solidFill>
                  </a:tcPr>
                </a:tc>
                <a:tc>
                  <a:txBody>
                    <a:bodyPr/>
                    <a:lstStyle/>
                    <a:p>
                      <a:pPr algn="ctr"/>
                      <a:r>
                        <a:rPr lang="en-US" sz="1200" b="0" dirty="0">
                          <a:solidFill>
                            <a:schemeClr val="tx1"/>
                          </a:solidFill>
                        </a:rPr>
                        <a:t>-1.1</a:t>
                      </a:r>
                    </a:p>
                  </a:txBody>
                  <a:tcPr marL="78590" marR="78590" anchor="ctr">
                    <a:solidFill>
                      <a:srgbClr val="025159">
                        <a:alpha val="25000"/>
                      </a:srgbClr>
                    </a:solidFill>
                  </a:tcPr>
                </a:tc>
                <a:extLst>
                  <a:ext uri="{0D108BD9-81ED-4DB2-BD59-A6C34878D82A}">
                    <a16:rowId xmlns:a16="http://schemas.microsoft.com/office/drawing/2014/main" val="3350497600"/>
                  </a:ext>
                </a:extLst>
              </a:tr>
              <a:tr h="396243">
                <a:tc>
                  <a:txBody>
                    <a:bodyPr/>
                    <a:lstStyle/>
                    <a:p>
                      <a:r>
                        <a:rPr lang="en-US" sz="1200" b="1" dirty="0">
                          <a:solidFill>
                            <a:schemeClr val="tx1"/>
                          </a:solidFill>
                        </a:rPr>
                        <a:t>COMPASS</a:t>
                      </a:r>
                    </a:p>
                  </a:txBody>
                  <a:tcPr marL="78590" marR="78590" anchor="ctr">
                    <a:solidFill>
                      <a:srgbClr val="025159">
                        <a:alpha val="40000"/>
                      </a:srgbClr>
                    </a:solidFill>
                  </a:tcPr>
                </a:tc>
                <a:tc>
                  <a:txBody>
                    <a:bodyPr/>
                    <a:lstStyle/>
                    <a:p>
                      <a:pPr algn="ctr"/>
                      <a:r>
                        <a:rPr lang="en-US" sz="1200" b="0" dirty="0">
                          <a:solidFill>
                            <a:schemeClr val="tx1"/>
                          </a:solidFill>
                        </a:rPr>
                        <a:t>22,748</a:t>
                      </a:r>
                    </a:p>
                  </a:txBody>
                  <a:tcPr marL="78590" marR="78590" anchor="ctr">
                    <a:solidFill>
                      <a:srgbClr val="025159">
                        <a:alpha val="40000"/>
                      </a:srgbClr>
                    </a:solidFill>
                  </a:tcPr>
                </a:tc>
                <a:tc>
                  <a:txBody>
                    <a:bodyPr/>
                    <a:lstStyle/>
                    <a:p>
                      <a:pPr algn="ctr"/>
                      <a:r>
                        <a:rPr lang="en-US" sz="1200" b="0" dirty="0">
                          <a:solidFill>
                            <a:schemeClr val="tx1"/>
                          </a:solidFill>
                        </a:rPr>
                        <a:t>21,496</a:t>
                      </a:r>
                    </a:p>
                  </a:txBody>
                  <a:tcPr marL="78590" marR="78590" anchor="ctr">
                    <a:solidFill>
                      <a:srgbClr val="025159">
                        <a:alpha val="40000"/>
                      </a:srgbClr>
                    </a:solidFill>
                  </a:tcPr>
                </a:tc>
                <a:tc>
                  <a:txBody>
                    <a:bodyPr/>
                    <a:lstStyle/>
                    <a:p>
                      <a:pPr algn="ctr"/>
                      <a:r>
                        <a:rPr lang="en-US" sz="1200" b="0" dirty="0">
                          <a:solidFill>
                            <a:schemeClr val="tx1"/>
                          </a:solidFill>
                        </a:rPr>
                        <a:t>5.9</a:t>
                      </a:r>
                    </a:p>
                  </a:txBody>
                  <a:tcPr marL="78590" marR="78590" anchor="ctr">
                    <a:solidFill>
                      <a:srgbClr val="025159">
                        <a:alpha val="40000"/>
                      </a:srgbClr>
                    </a:solidFill>
                  </a:tcPr>
                </a:tc>
                <a:tc>
                  <a:txBody>
                    <a:bodyPr/>
                    <a:lstStyle/>
                    <a:p>
                      <a:pPr algn="ctr"/>
                      <a:r>
                        <a:rPr lang="en-US" sz="1200" b="0" dirty="0">
                          <a:solidFill>
                            <a:schemeClr val="tx1"/>
                          </a:solidFill>
                        </a:rPr>
                        <a:t>14.4</a:t>
                      </a:r>
                    </a:p>
                  </a:txBody>
                  <a:tcPr marL="78590" marR="78590" anchor="ctr">
                    <a:solidFill>
                      <a:srgbClr val="025159">
                        <a:alpha val="40000"/>
                      </a:srgbClr>
                    </a:solidFill>
                  </a:tcPr>
                </a:tc>
                <a:tc>
                  <a:txBody>
                    <a:bodyPr/>
                    <a:lstStyle/>
                    <a:p>
                      <a:pPr algn="ctr"/>
                      <a:r>
                        <a:rPr lang="en-US" sz="1200" b="0" dirty="0">
                          <a:solidFill>
                            <a:schemeClr val="tx1"/>
                          </a:solidFill>
                        </a:rPr>
                        <a:t>18.7</a:t>
                      </a:r>
                    </a:p>
                  </a:txBody>
                  <a:tcPr marL="78590" marR="78590" anchor="ctr">
                    <a:solidFill>
                      <a:srgbClr val="025159">
                        <a:alpha val="40000"/>
                      </a:srgbClr>
                    </a:solidFill>
                  </a:tcPr>
                </a:tc>
                <a:tc>
                  <a:txBody>
                    <a:bodyPr/>
                    <a:lstStyle/>
                    <a:p>
                      <a:pPr algn="ctr"/>
                      <a:r>
                        <a:rPr lang="en-US" sz="1200" b="0" dirty="0">
                          <a:solidFill>
                            <a:schemeClr val="tx1"/>
                          </a:solidFill>
                        </a:rPr>
                        <a:t>-4.3</a:t>
                      </a:r>
                    </a:p>
                  </a:txBody>
                  <a:tcPr marL="78590" marR="78590" anchor="ctr">
                    <a:solidFill>
                      <a:srgbClr val="025159">
                        <a:alpha val="40000"/>
                      </a:srgbClr>
                    </a:solidFill>
                  </a:tcPr>
                </a:tc>
                <a:tc>
                  <a:txBody>
                    <a:bodyPr/>
                    <a:lstStyle/>
                    <a:p>
                      <a:pPr algn="ctr"/>
                      <a:r>
                        <a:rPr lang="en-US" sz="1200" b="0" dirty="0">
                          <a:solidFill>
                            <a:schemeClr val="tx1"/>
                          </a:solidFill>
                        </a:rPr>
                        <a:t>7.4</a:t>
                      </a:r>
                    </a:p>
                  </a:txBody>
                  <a:tcPr marL="78590" marR="78590" anchor="ctr">
                    <a:solidFill>
                      <a:srgbClr val="025159">
                        <a:alpha val="40000"/>
                      </a:srgbClr>
                    </a:solidFill>
                  </a:tcPr>
                </a:tc>
                <a:tc>
                  <a:txBody>
                    <a:bodyPr/>
                    <a:lstStyle/>
                    <a:p>
                      <a:pPr algn="ctr"/>
                      <a:r>
                        <a:rPr lang="en-US" sz="1200" b="0" dirty="0">
                          <a:solidFill>
                            <a:schemeClr val="tx1"/>
                          </a:solidFill>
                        </a:rPr>
                        <a:t>10.2</a:t>
                      </a:r>
                    </a:p>
                  </a:txBody>
                  <a:tcPr marL="78590" marR="78590" anchor="ctr">
                    <a:solidFill>
                      <a:srgbClr val="025159">
                        <a:alpha val="40000"/>
                      </a:srgbClr>
                    </a:solidFill>
                  </a:tcPr>
                </a:tc>
                <a:tc>
                  <a:txBody>
                    <a:bodyPr/>
                    <a:lstStyle/>
                    <a:p>
                      <a:pPr algn="ctr"/>
                      <a:r>
                        <a:rPr lang="en-US" sz="1200" b="0" dirty="0">
                          <a:solidFill>
                            <a:schemeClr val="tx1"/>
                          </a:solidFill>
                        </a:rPr>
                        <a:t>-2.8</a:t>
                      </a:r>
                    </a:p>
                  </a:txBody>
                  <a:tcPr marL="78590" marR="78590" anchor="ctr">
                    <a:solidFill>
                      <a:srgbClr val="025159">
                        <a:alpha val="40000"/>
                      </a:srgbClr>
                    </a:solidFill>
                  </a:tcPr>
                </a:tc>
                <a:extLst>
                  <a:ext uri="{0D108BD9-81ED-4DB2-BD59-A6C34878D82A}">
                    <a16:rowId xmlns:a16="http://schemas.microsoft.com/office/drawing/2014/main" val="981421266"/>
                  </a:ext>
                </a:extLst>
              </a:tr>
              <a:tr h="396243">
                <a:tc>
                  <a:txBody>
                    <a:bodyPr/>
                    <a:lstStyle/>
                    <a:p>
                      <a:r>
                        <a:rPr lang="en-US" sz="1200" b="1" dirty="0">
                          <a:solidFill>
                            <a:schemeClr val="tx1"/>
                          </a:solidFill>
                        </a:rPr>
                        <a:t>The</a:t>
                      </a:r>
                      <a:r>
                        <a:rPr lang="en-US" sz="1200" b="1" baseline="0" dirty="0">
                          <a:solidFill>
                            <a:schemeClr val="tx1"/>
                          </a:solidFill>
                        </a:rPr>
                        <a:t> Source</a:t>
                      </a:r>
                      <a:endParaRPr lang="en-US" sz="1200" b="1" dirty="0">
                        <a:solidFill>
                          <a:schemeClr val="tx1"/>
                        </a:solidFill>
                      </a:endParaRPr>
                    </a:p>
                  </a:txBody>
                  <a:tcPr marL="78590" marR="78590" anchor="ctr">
                    <a:solidFill>
                      <a:srgbClr val="025159">
                        <a:alpha val="25000"/>
                      </a:srgbClr>
                    </a:solidFill>
                  </a:tcPr>
                </a:tc>
                <a:tc>
                  <a:txBody>
                    <a:bodyPr/>
                    <a:lstStyle/>
                    <a:p>
                      <a:pPr algn="ctr"/>
                      <a:r>
                        <a:rPr lang="en-US" sz="1200" b="0" dirty="0">
                          <a:solidFill>
                            <a:schemeClr val="tx1"/>
                          </a:solidFill>
                        </a:rPr>
                        <a:t>14,255</a:t>
                      </a:r>
                    </a:p>
                  </a:txBody>
                  <a:tcPr marL="78590" marR="78590" anchor="ctr">
                    <a:solidFill>
                      <a:srgbClr val="025159">
                        <a:alpha val="25000"/>
                      </a:srgbClr>
                    </a:solidFill>
                  </a:tcPr>
                </a:tc>
                <a:tc>
                  <a:txBody>
                    <a:bodyPr/>
                    <a:lstStyle/>
                    <a:p>
                      <a:pPr algn="ctr"/>
                      <a:r>
                        <a:rPr lang="en-US" sz="1200" b="0" dirty="0">
                          <a:solidFill>
                            <a:schemeClr val="tx1"/>
                          </a:solidFill>
                        </a:rPr>
                        <a:t>13,493</a:t>
                      </a:r>
                    </a:p>
                  </a:txBody>
                  <a:tcPr marL="78590" marR="78590" anchor="ctr">
                    <a:solidFill>
                      <a:srgbClr val="025159">
                        <a:alpha val="25000"/>
                      </a:srgbClr>
                    </a:solidFill>
                  </a:tcPr>
                </a:tc>
                <a:tc>
                  <a:txBody>
                    <a:bodyPr/>
                    <a:lstStyle/>
                    <a:p>
                      <a:pPr algn="ctr"/>
                      <a:r>
                        <a:rPr lang="en-US" sz="1200" b="0" dirty="0">
                          <a:solidFill>
                            <a:schemeClr val="tx1"/>
                          </a:solidFill>
                        </a:rPr>
                        <a:t>5.6</a:t>
                      </a:r>
                    </a:p>
                  </a:txBody>
                  <a:tcPr marL="78590" marR="78590" anchor="ctr">
                    <a:solidFill>
                      <a:srgbClr val="025159">
                        <a:alpha val="25000"/>
                      </a:srgbClr>
                    </a:solidFill>
                  </a:tcPr>
                </a:tc>
                <a:tc>
                  <a:txBody>
                    <a:bodyPr/>
                    <a:lstStyle/>
                    <a:p>
                      <a:pPr algn="ctr"/>
                      <a:r>
                        <a:rPr lang="en-US" sz="1200" b="0" dirty="0">
                          <a:solidFill>
                            <a:schemeClr val="tx1"/>
                          </a:solidFill>
                        </a:rPr>
                        <a:t>42.5</a:t>
                      </a:r>
                    </a:p>
                  </a:txBody>
                  <a:tcPr marL="78590" marR="78590" anchor="ctr">
                    <a:solidFill>
                      <a:srgbClr val="025159">
                        <a:alpha val="25000"/>
                      </a:srgbClr>
                    </a:solidFill>
                  </a:tcPr>
                </a:tc>
                <a:tc>
                  <a:txBody>
                    <a:bodyPr/>
                    <a:lstStyle/>
                    <a:p>
                      <a:pPr algn="ctr"/>
                      <a:r>
                        <a:rPr lang="en-US" sz="1200" b="0" dirty="0">
                          <a:solidFill>
                            <a:schemeClr val="tx1"/>
                          </a:solidFill>
                        </a:rPr>
                        <a:t>47.6</a:t>
                      </a:r>
                    </a:p>
                  </a:txBody>
                  <a:tcPr marL="78590" marR="78590" anchor="ctr">
                    <a:solidFill>
                      <a:srgbClr val="025159">
                        <a:alpha val="25000"/>
                      </a:srgbClr>
                    </a:solidFill>
                  </a:tcPr>
                </a:tc>
                <a:tc>
                  <a:txBody>
                    <a:bodyPr/>
                    <a:lstStyle/>
                    <a:p>
                      <a:pPr algn="ctr"/>
                      <a:r>
                        <a:rPr lang="en-US" sz="1200" b="0" dirty="0">
                          <a:solidFill>
                            <a:schemeClr val="tx1"/>
                          </a:solidFill>
                        </a:rPr>
                        <a:t>-5.1</a:t>
                      </a:r>
                    </a:p>
                  </a:txBody>
                  <a:tcPr marL="78590" marR="78590" anchor="ctr">
                    <a:solidFill>
                      <a:srgbClr val="025159">
                        <a:alpha val="25000"/>
                      </a:srgbClr>
                    </a:solidFill>
                  </a:tcPr>
                </a:tc>
                <a:tc>
                  <a:txBody>
                    <a:bodyPr/>
                    <a:lstStyle/>
                    <a:p>
                      <a:pPr algn="ctr"/>
                      <a:r>
                        <a:rPr lang="en-US" sz="1200" b="0" dirty="0">
                          <a:solidFill>
                            <a:schemeClr val="tx1"/>
                          </a:solidFill>
                        </a:rPr>
                        <a:t>14.2</a:t>
                      </a:r>
                    </a:p>
                  </a:txBody>
                  <a:tcPr marL="78590" marR="78590" anchor="ctr">
                    <a:solidFill>
                      <a:srgbClr val="025159">
                        <a:alpha val="25000"/>
                      </a:srgbClr>
                    </a:solidFill>
                  </a:tcPr>
                </a:tc>
                <a:tc>
                  <a:txBody>
                    <a:bodyPr/>
                    <a:lstStyle/>
                    <a:p>
                      <a:pPr algn="ctr"/>
                      <a:r>
                        <a:rPr lang="en-US" sz="1200" b="0" dirty="0">
                          <a:solidFill>
                            <a:schemeClr val="tx1"/>
                          </a:solidFill>
                        </a:rPr>
                        <a:t>19.3</a:t>
                      </a:r>
                    </a:p>
                  </a:txBody>
                  <a:tcPr marL="78590" marR="78590" anchor="ctr">
                    <a:solidFill>
                      <a:srgbClr val="025159">
                        <a:alpha val="25000"/>
                      </a:srgbClr>
                    </a:solidFill>
                  </a:tcPr>
                </a:tc>
                <a:tc>
                  <a:txBody>
                    <a:bodyPr/>
                    <a:lstStyle/>
                    <a:p>
                      <a:pPr algn="ctr"/>
                      <a:r>
                        <a:rPr lang="en-US" sz="1200" b="0" dirty="0">
                          <a:solidFill>
                            <a:schemeClr val="tx1"/>
                          </a:solidFill>
                        </a:rPr>
                        <a:t>-5.1</a:t>
                      </a:r>
                    </a:p>
                  </a:txBody>
                  <a:tcPr marL="78590" marR="78590" anchor="ctr">
                    <a:solidFill>
                      <a:srgbClr val="025159">
                        <a:alpha val="25000"/>
                      </a:srgbClr>
                    </a:solidFill>
                  </a:tcPr>
                </a:tc>
                <a:extLst>
                  <a:ext uri="{0D108BD9-81ED-4DB2-BD59-A6C34878D82A}">
                    <a16:rowId xmlns:a16="http://schemas.microsoft.com/office/drawing/2014/main" val="703784225"/>
                  </a:ext>
                </a:extLst>
              </a:tr>
              <a:tr h="534045">
                <a:tc>
                  <a:txBody>
                    <a:bodyPr/>
                    <a:lstStyle/>
                    <a:p>
                      <a:r>
                        <a:rPr lang="en-US" sz="1200" b="1" dirty="0"/>
                        <a:t>CommunicationEssentials (Leaders)</a:t>
                      </a:r>
                    </a:p>
                  </a:txBody>
                  <a:tcPr marL="78569" marR="78569" marT="45708" marB="45708" anchor="ctr">
                    <a:solidFill>
                      <a:srgbClr val="025159">
                        <a:alpha val="40000"/>
                      </a:srgbClr>
                    </a:solidFill>
                  </a:tcPr>
                </a:tc>
                <a:tc>
                  <a:txBody>
                    <a:bodyPr/>
                    <a:lstStyle/>
                    <a:p>
                      <a:pPr algn="ctr"/>
                      <a:r>
                        <a:rPr lang="en-US" sz="1200" b="0" dirty="0">
                          <a:solidFill>
                            <a:schemeClr val="tx1"/>
                          </a:solidFill>
                        </a:rPr>
                        <a:t>NA</a:t>
                      </a:r>
                    </a:p>
                  </a:txBody>
                  <a:tcPr marL="78569" marR="78569" marT="45708" marB="45708" anchor="ctr">
                    <a:solidFill>
                      <a:srgbClr val="025159">
                        <a:alpha val="40000"/>
                      </a:srgbClr>
                    </a:solidFill>
                  </a:tcPr>
                </a:tc>
                <a:tc>
                  <a:txBody>
                    <a:bodyPr/>
                    <a:lstStyle/>
                    <a:p>
                      <a:pPr algn="ctr"/>
                      <a:r>
                        <a:rPr lang="en-US" sz="1200" b="0" dirty="0">
                          <a:solidFill>
                            <a:schemeClr val="tx1"/>
                          </a:solidFill>
                        </a:rPr>
                        <a:t>NA</a:t>
                      </a:r>
                    </a:p>
                  </a:txBody>
                  <a:tcPr marL="78569" marR="78569" marT="45708" marB="45708" anchor="ctr">
                    <a:solidFill>
                      <a:srgbClr val="025159">
                        <a:alpha val="40000"/>
                      </a:srgbClr>
                    </a:solidFill>
                  </a:tcPr>
                </a:tc>
                <a:tc>
                  <a:txBody>
                    <a:bodyPr/>
                    <a:lstStyle/>
                    <a:p>
                      <a:pPr algn="ctr"/>
                      <a:r>
                        <a:rPr lang="en-US" sz="1200" b="0" dirty="0">
                          <a:solidFill>
                            <a:schemeClr val="tx1"/>
                          </a:solidFill>
                        </a:rPr>
                        <a:t>NA</a:t>
                      </a:r>
                    </a:p>
                  </a:txBody>
                  <a:tcPr marL="78590" marR="78590" anchor="ctr">
                    <a:solidFill>
                      <a:srgbClr val="025159">
                        <a:alpha val="40000"/>
                      </a:srgbClr>
                    </a:solidFill>
                  </a:tcPr>
                </a:tc>
                <a:tc>
                  <a:txBody>
                    <a:bodyPr/>
                    <a:lstStyle/>
                    <a:p>
                      <a:pPr algn="ctr"/>
                      <a:r>
                        <a:rPr lang="en-US" sz="1200" b="0" dirty="0">
                          <a:solidFill>
                            <a:schemeClr val="tx1"/>
                          </a:solidFill>
                        </a:rPr>
                        <a:t>30.8</a:t>
                      </a:r>
                    </a:p>
                  </a:txBody>
                  <a:tcPr marL="78590" marR="78590" anchor="ctr">
                    <a:solidFill>
                      <a:srgbClr val="025159">
                        <a:alpha val="40000"/>
                      </a:srgbClr>
                    </a:solidFill>
                  </a:tcPr>
                </a:tc>
                <a:tc>
                  <a:txBody>
                    <a:bodyPr/>
                    <a:lstStyle/>
                    <a:p>
                      <a:pPr algn="ctr"/>
                      <a:r>
                        <a:rPr lang="en-US" sz="1200" b="0" dirty="0">
                          <a:solidFill>
                            <a:schemeClr val="tx1"/>
                          </a:solidFill>
                        </a:rPr>
                        <a:t>30.6</a:t>
                      </a:r>
                    </a:p>
                  </a:txBody>
                  <a:tcPr marL="78590" marR="78590" anchor="ctr">
                    <a:solidFill>
                      <a:srgbClr val="025159">
                        <a:alpha val="40000"/>
                      </a:srgbClr>
                    </a:solidFill>
                  </a:tcPr>
                </a:tc>
                <a:tc>
                  <a:txBody>
                    <a:bodyPr/>
                    <a:lstStyle/>
                    <a:p>
                      <a:pPr algn="ctr"/>
                      <a:r>
                        <a:rPr lang="en-US" sz="1200" b="0" dirty="0">
                          <a:solidFill>
                            <a:schemeClr val="tx1"/>
                          </a:solidFill>
                        </a:rPr>
                        <a:t>0.2</a:t>
                      </a:r>
                    </a:p>
                  </a:txBody>
                  <a:tcPr marL="78590" marR="78590" anchor="ctr">
                    <a:solidFill>
                      <a:srgbClr val="025159">
                        <a:alpha val="40000"/>
                      </a:srgbClr>
                    </a:solidFill>
                  </a:tcPr>
                </a:tc>
                <a:tc>
                  <a:txBody>
                    <a:bodyPr/>
                    <a:lstStyle/>
                    <a:p>
                      <a:pPr algn="ctr"/>
                      <a:r>
                        <a:rPr lang="en-US" sz="1200" b="0" dirty="0">
                          <a:solidFill>
                            <a:schemeClr val="tx1"/>
                          </a:solidFill>
                        </a:rPr>
                        <a:t>5.7</a:t>
                      </a:r>
                    </a:p>
                  </a:txBody>
                  <a:tcPr marL="78590" marR="78590" anchor="ctr">
                    <a:solidFill>
                      <a:srgbClr val="025159">
                        <a:alpha val="40000"/>
                      </a:srgbClr>
                    </a:solidFill>
                  </a:tcPr>
                </a:tc>
                <a:tc>
                  <a:txBody>
                    <a:bodyPr/>
                    <a:lstStyle/>
                    <a:p>
                      <a:pPr algn="ctr"/>
                      <a:r>
                        <a:rPr lang="en-US" sz="1200" b="0" dirty="0">
                          <a:solidFill>
                            <a:schemeClr val="tx1"/>
                          </a:solidFill>
                        </a:rPr>
                        <a:t>5.8</a:t>
                      </a:r>
                    </a:p>
                  </a:txBody>
                  <a:tcPr marL="78590" marR="78590" anchor="ctr">
                    <a:solidFill>
                      <a:srgbClr val="025159">
                        <a:alpha val="40000"/>
                      </a:srgbClr>
                    </a:solidFill>
                  </a:tcPr>
                </a:tc>
                <a:tc>
                  <a:txBody>
                    <a:bodyPr/>
                    <a:lstStyle/>
                    <a:p>
                      <a:pPr algn="ctr"/>
                      <a:r>
                        <a:rPr lang="en-US" sz="1200" b="0" dirty="0">
                          <a:solidFill>
                            <a:schemeClr val="tx1"/>
                          </a:solidFill>
                        </a:rPr>
                        <a:t>-0.1</a:t>
                      </a:r>
                    </a:p>
                  </a:txBody>
                  <a:tcPr marL="78590" marR="78590" anchor="ctr">
                    <a:solidFill>
                      <a:srgbClr val="025159">
                        <a:alpha val="40000"/>
                      </a:srgbClr>
                    </a:solidFill>
                  </a:tcPr>
                </a:tc>
                <a:extLst>
                  <a:ext uri="{0D108BD9-81ED-4DB2-BD59-A6C34878D82A}">
                    <a16:rowId xmlns:a16="http://schemas.microsoft.com/office/drawing/2014/main" val="4050402931"/>
                  </a:ext>
                </a:extLst>
              </a:tr>
              <a:tr h="396243">
                <a:tc>
                  <a:txBody>
                    <a:bodyPr/>
                    <a:lstStyle/>
                    <a:p>
                      <a:r>
                        <a:rPr lang="en-US" sz="1200" b="1" dirty="0" smtClean="0">
                          <a:solidFill>
                            <a:schemeClr val="tx1"/>
                          </a:solidFill>
                        </a:rPr>
                        <a:t>UMComtigo</a:t>
                      </a:r>
                      <a:endParaRPr lang="en-US" sz="1200" b="1" dirty="0">
                        <a:solidFill>
                          <a:schemeClr val="tx1"/>
                        </a:solidFill>
                      </a:endParaRPr>
                    </a:p>
                  </a:txBody>
                  <a:tcPr marL="78590" marR="78590" anchor="ctr">
                    <a:solidFill>
                      <a:srgbClr val="025159">
                        <a:alpha val="25000"/>
                      </a:srgbClr>
                    </a:solidFill>
                  </a:tcPr>
                </a:tc>
                <a:tc>
                  <a:txBody>
                    <a:bodyPr/>
                    <a:lstStyle/>
                    <a:p>
                      <a:pPr algn="ctr"/>
                      <a:r>
                        <a:rPr lang="en-US" sz="1200" b="0" dirty="0">
                          <a:solidFill>
                            <a:schemeClr val="tx1"/>
                          </a:solidFill>
                        </a:rPr>
                        <a:t>678</a:t>
                      </a:r>
                    </a:p>
                  </a:txBody>
                  <a:tcPr marL="78590" marR="78590" anchor="ctr">
                    <a:solidFill>
                      <a:srgbClr val="025159">
                        <a:alpha val="25000"/>
                      </a:srgbClr>
                    </a:solidFill>
                  </a:tcPr>
                </a:tc>
                <a:tc>
                  <a:txBody>
                    <a:bodyPr/>
                    <a:lstStyle/>
                    <a:p>
                      <a:pPr algn="ctr"/>
                      <a:r>
                        <a:rPr lang="en-US" sz="1200" b="0" dirty="0">
                          <a:solidFill>
                            <a:schemeClr val="tx1"/>
                          </a:solidFill>
                        </a:rPr>
                        <a:t>487</a:t>
                      </a:r>
                    </a:p>
                  </a:txBody>
                  <a:tcPr marL="78590" marR="78590" anchor="ctr">
                    <a:solidFill>
                      <a:srgbClr val="025159">
                        <a:alpha val="25000"/>
                      </a:srgbClr>
                    </a:solidFill>
                  </a:tcPr>
                </a:tc>
                <a:tc>
                  <a:txBody>
                    <a:bodyPr/>
                    <a:lstStyle/>
                    <a:p>
                      <a:pPr algn="ctr"/>
                      <a:r>
                        <a:rPr lang="en-US" sz="1200" b="0" dirty="0">
                          <a:solidFill>
                            <a:schemeClr val="tx1"/>
                          </a:solidFill>
                        </a:rPr>
                        <a:t>39.2</a:t>
                      </a:r>
                    </a:p>
                  </a:txBody>
                  <a:tcPr marL="78590" marR="78590" anchor="ctr">
                    <a:solidFill>
                      <a:srgbClr val="025159">
                        <a:alpha val="25000"/>
                      </a:srgbClr>
                    </a:solidFill>
                  </a:tcPr>
                </a:tc>
                <a:tc>
                  <a:txBody>
                    <a:bodyPr/>
                    <a:lstStyle/>
                    <a:p>
                      <a:pPr algn="ctr"/>
                      <a:r>
                        <a:rPr lang="en-US" sz="1200" b="0" dirty="0">
                          <a:solidFill>
                            <a:schemeClr val="tx1"/>
                          </a:solidFill>
                        </a:rPr>
                        <a:t>38.6</a:t>
                      </a:r>
                    </a:p>
                  </a:txBody>
                  <a:tcPr marL="78590" marR="78590" anchor="ctr">
                    <a:solidFill>
                      <a:srgbClr val="025159">
                        <a:alpha val="25000"/>
                      </a:srgbClr>
                    </a:solidFill>
                  </a:tcPr>
                </a:tc>
                <a:tc>
                  <a:txBody>
                    <a:bodyPr/>
                    <a:lstStyle/>
                    <a:p>
                      <a:pPr algn="ctr"/>
                      <a:r>
                        <a:rPr lang="en-US" sz="1200" b="0" dirty="0">
                          <a:solidFill>
                            <a:schemeClr val="tx1"/>
                          </a:solidFill>
                        </a:rPr>
                        <a:t>41.9</a:t>
                      </a:r>
                    </a:p>
                  </a:txBody>
                  <a:tcPr marL="78590" marR="78590" anchor="ctr">
                    <a:solidFill>
                      <a:srgbClr val="025159">
                        <a:alpha val="25000"/>
                      </a:srgbClr>
                    </a:solidFill>
                  </a:tcPr>
                </a:tc>
                <a:tc>
                  <a:txBody>
                    <a:bodyPr/>
                    <a:lstStyle/>
                    <a:p>
                      <a:pPr algn="ctr"/>
                      <a:r>
                        <a:rPr lang="en-US" sz="1200" b="0" dirty="0">
                          <a:solidFill>
                            <a:schemeClr val="tx1"/>
                          </a:solidFill>
                        </a:rPr>
                        <a:t>-3.3</a:t>
                      </a:r>
                    </a:p>
                  </a:txBody>
                  <a:tcPr marL="78590" marR="78590" anchor="ctr">
                    <a:solidFill>
                      <a:srgbClr val="025159">
                        <a:alpha val="25000"/>
                      </a:srgbClr>
                    </a:solidFill>
                  </a:tcPr>
                </a:tc>
                <a:tc>
                  <a:txBody>
                    <a:bodyPr/>
                    <a:lstStyle/>
                    <a:p>
                      <a:pPr algn="ctr"/>
                      <a:r>
                        <a:rPr lang="en-US" sz="1200" b="0" dirty="0">
                          <a:solidFill>
                            <a:schemeClr val="tx1"/>
                          </a:solidFill>
                        </a:rPr>
                        <a:t>21.8</a:t>
                      </a:r>
                    </a:p>
                  </a:txBody>
                  <a:tcPr marL="78590" marR="78590" anchor="ctr">
                    <a:solidFill>
                      <a:srgbClr val="025159">
                        <a:alpha val="25000"/>
                      </a:srgbClr>
                    </a:solidFill>
                  </a:tcPr>
                </a:tc>
                <a:tc>
                  <a:txBody>
                    <a:bodyPr/>
                    <a:lstStyle/>
                    <a:p>
                      <a:pPr algn="ctr"/>
                      <a:r>
                        <a:rPr lang="en-US" sz="1200" b="0" dirty="0">
                          <a:solidFill>
                            <a:schemeClr val="tx1"/>
                          </a:solidFill>
                        </a:rPr>
                        <a:t>25.6</a:t>
                      </a:r>
                    </a:p>
                  </a:txBody>
                  <a:tcPr marL="78590" marR="78590" anchor="ctr">
                    <a:solidFill>
                      <a:srgbClr val="025159">
                        <a:alpha val="25000"/>
                      </a:srgbClr>
                    </a:solidFill>
                  </a:tcPr>
                </a:tc>
                <a:tc>
                  <a:txBody>
                    <a:bodyPr/>
                    <a:lstStyle/>
                    <a:p>
                      <a:pPr algn="ctr"/>
                      <a:r>
                        <a:rPr lang="en-US" sz="1200" b="0" dirty="0">
                          <a:solidFill>
                            <a:schemeClr val="tx1"/>
                          </a:solidFill>
                        </a:rPr>
                        <a:t>-3.8</a:t>
                      </a:r>
                    </a:p>
                  </a:txBody>
                  <a:tcPr marL="78590" marR="78590" anchor="ctr">
                    <a:solidFill>
                      <a:srgbClr val="025159">
                        <a:alpha val="25000"/>
                      </a:srgbClr>
                    </a:solidFill>
                  </a:tcPr>
                </a:tc>
                <a:extLst>
                  <a:ext uri="{0D108BD9-81ED-4DB2-BD59-A6C34878D82A}">
                    <a16:rowId xmlns:a16="http://schemas.microsoft.com/office/drawing/2014/main" val="227756451"/>
                  </a:ext>
                </a:extLst>
              </a:tr>
              <a:tr h="396243">
                <a:tc>
                  <a:txBody>
                    <a:bodyPr/>
                    <a:lstStyle/>
                    <a:p>
                      <a:r>
                        <a:rPr lang="en-US" sz="1200" b="1" dirty="0"/>
                        <a:t>DuruAllimi</a:t>
                      </a:r>
                      <a:endParaRPr lang="en-US" sz="1200" b="1" dirty="0">
                        <a:solidFill>
                          <a:schemeClr val="tx1"/>
                        </a:solidFill>
                      </a:endParaRPr>
                    </a:p>
                  </a:txBody>
                  <a:tcPr marL="78590" marR="78590" anchor="ctr">
                    <a:solidFill>
                      <a:srgbClr val="025159">
                        <a:alpha val="40000"/>
                      </a:srgbClr>
                    </a:solidFill>
                  </a:tcPr>
                </a:tc>
                <a:tc>
                  <a:txBody>
                    <a:bodyPr/>
                    <a:lstStyle/>
                    <a:p>
                      <a:pPr algn="ctr"/>
                      <a:r>
                        <a:rPr lang="en-US" sz="1200" b="0" dirty="0">
                          <a:solidFill>
                            <a:schemeClr val="tx1"/>
                          </a:solidFill>
                        </a:rPr>
                        <a:t>2,035</a:t>
                      </a:r>
                    </a:p>
                  </a:txBody>
                  <a:tcPr marL="78590" marR="78590" anchor="ctr">
                    <a:solidFill>
                      <a:srgbClr val="025159">
                        <a:alpha val="40000"/>
                      </a:srgbClr>
                    </a:solidFill>
                  </a:tcPr>
                </a:tc>
                <a:tc>
                  <a:txBody>
                    <a:bodyPr/>
                    <a:lstStyle/>
                    <a:p>
                      <a:pPr algn="ctr"/>
                      <a:r>
                        <a:rPr lang="en-US" sz="1200" b="0" dirty="0">
                          <a:solidFill>
                            <a:schemeClr val="tx1"/>
                          </a:solidFill>
                        </a:rPr>
                        <a:t>1,860</a:t>
                      </a:r>
                    </a:p>
                  </a:txBody>
                  <a:tcPr marL="78590" marR="78590" anchor="ctr">
                    <a:solidFill>
                      <a:srgbClr val="025159">
                        <a:alpha val="40000"/>
                      </a:srgbClr>
                    </a:solidFill>
                  </a:tcPr>
                </a:tc>
                <a:tc>
                  <a:txBody>
                    <a:bodyPr/>
                    <a:lstStyle/>
                    <a:p>
                      <a:pPr algn="ctr"/>
                      <a:r>
                        <a:rPr lang="en-US" sz="1200" b="0" dirty="0">
                          <a:solidFill>
                            <a:schemeClr val="tx1"/>
                          </a:solidFill>
                        </a:rPr>
                        <a:t>9.4</a:t>
                      </a:r>
                    </a:p>
                  </a:txBody>
                  <a:tcPr marL="78590" marR="78590" anchor="ctr">
                    <a:solidFill>
                      <a:srgbClr val="025159">
                        <a:alpha val="40000"/>
                      </a:srgbClr>
                    </a:solidFill>
                  </a:tcPr>
                </a:tc>
                <a:tc>
                  <a:txBody>
                    <a:bodyPr/>
                    <a:lstStyle/>
                    <a:p>
                      <a:pPr algn="ctr"/>
                      <a:r>
                        <a:rPr lang="en-US" sz="1200" b="0" dirty="0">
                          <a:solidFill>
                            <a:schemeClr val="tx1"/>
                          </a:solidFill>
                        </a:rPr>
                        <a:t>46.9</a:t>
                      </a:r>
                    </a:p>
                  </a:txBody>
                  <a:tcPr marL="78590" marR="78590" anchor="ctr">
                    <a:solidFill>
                      <a:srgbClr val="025159">
                        <a:alpha val="40000"/>
                      </a:srgbClr>
                    </a:solidFill>
                  </a:tcPr>
                </a:tc>
                <a:tc>
                  <a:txBody>
                    <a:bodyPr/>
                    <a:lstStyle/>
                    <a:p>
                      <a:pPr algn="ctr"/>
                      <a:r>
                        <a:rPr lang="en-US" sz="1200" b="0" dirty="0">
                          <a:solidFill>
                            <a:schemeClr val="tx1"/>
                          </a:solidFill>
                        </a:rPr>
                        <a:t>49.9</a:t>
                      </a:r>
                    </a:p>
                  </a:txBody>
                  <a:tcPr marL="78590" marR="78590" anchor="ctr">
                    <a:solidFill>
                      <a:srgbClr val="025159">
                        <a:alpha val="40000"/>
                      </a:srgbClr>
                    </a:solidFill>
                  </a:tcPr>
                </a:tc>
                <a:tc>
                  <a:txBody>
                    <a:bodyPr/>
                    <a:lstStyle/>
                    <a:p>
                      <a:pPr algn="ctr"/>
                      <a:r>
                        <a:rPr lang="en-US" sz="1200" b="0" dirty="0">
                          <a:solidFill>
                            <a:schemeClr val="tx1"/>
                          </a:solidFill>
                        </a:rPr>
                        <a:t>-3.0</a:t>
                      </a:r>
                    </a:p>
                  </a:txBody>
                  <a:tcPr marL="78590" marR="78590" anchor="ctr">
                    <a:solidFill>
                      <a:srgbClr val="025159">
                        <a:alpha val="40000"/>
                      </a:srgbClr>
                    </a:solidFill>
                  </a:tcPr>
                </a:tc>
                <a:tc>
                  <a:txBody>
                    <a:bodyPr/>
                    <a:lstStyle/>
                    <a:p>
                      <a:pPr algn="ctr"/>
                      <a:r>
                        <a:rPr lang="en-US" sz="1200" b="0" dirty="0">
                          <a:solidFill>
                            <a:schemeClr val="tx1"/>
                          </a:solidFill>
                        </a:rPr>
                        <a:t>30.9</a:t>
                      </a:r>
                    </a:p>
                  </a:txBody>
                  <a:tcPr marL="78590" marR="78590" anchor="ctr">
                    <a:solidFill>
                      <a:srgbClr val="025159">
                        <a:alpha val="40000"/>
                      </a:srgbClr>
                    </a:solidFill>
                  </a:tcPr>
                </a:tc>
                <a:tc>
                  <a:txBody>
                    <a:bodyPr/>
                    <a:lstStyle/>
                    <a:p>
                      <a:pPr algn="ctr"/>
                      <a:r>
                        <a:rPr lang="en-US" sz="1200" b="0" dirty="0">
                          <a:solidFill>
                            <a:schemeClr val="tx1"/>
                          </a:solidFill>
                        </a:rPr>
                        <a:t>29.4</a:t>
                      </a:r>
                    </a:p>
                  </a:txBody>
                  <a:tcPr marL="78590" marR="78590" anchor="ctr">
                    <a:solidFill>
                      <a:srgbClr val="025159">
                        <a:alpha val="40000"/>
                      </a:srgbClr>
                    </a:solidFill>
                  </a:tcPr>
                </a:tc>
                <a:tc>
                  <a:txBody>
                    <a:bodyPr/>
                    <a:lstStyle/>
                    <a:p>
                      <a:pPr algn="ctr"/>
                      <a:r>
                        <a:rPr lang="en-US" sz="1200" b="0" dirty="0">
                          <a:solidFill>
                            <a:schemeClr val="tx1"/>
                          </a:solidFill>
                        </a:rPr>
                        <a:t>1.5</a:t>
                      </a:r>
                    </a:p>
                  </a:txBody>
                  <a:tcPr marL="78590" marR="78590" anchor="ctr">
                    <a:solidFill>
                      <a:srgbClr val="025159">
                        <a:alpha val="40000"/>
                      </a:srgbClr>
                    </a:solidFill>
                  </a:tcPr>
                </a:tc>
                <a:extLst>
                  <a:ext uri="{0D108BD9-81ED-4DB2-BD59-A6C34878D82A}">
                    <a16:rowId xmlns:a16="http://schemas.microsoft.com/office/drawing/2014/main" val="1285950909"/>
                  </a:ext>
                </a:extLst>
              </a:tr>
              <a:tr h="396243">
                <a:tc>
                  <a:txBody>
                    <a:bodyPr/>
                    <a:lstStyle/>
                    <a:p>
                      <a:r>
                        <a:rPr lang="en-US" sz="1200" b="1" dirty="0">
                          <a:solidFill>
                            <a:schemeClr val="bg1"/>
                          </a:solidFill>
                        </a:rPr>
                        <a:t>TOTAL</a:t>
                      </a:r>
                    </a:p>
                  </a:txBody>
                  <a:tcPr marL="78590" marR="78590" anchor="ctr">
                    <a:solidFill>
                      <a:srgbClr val="025159"/>
                    </a:solidFill>
                  </a:tcPr>
                </a:tc>
                <a:tc>
                  <a:txBody>
                    <a:bodyPr/>
                    <a:lstStyle/>
                    <a:p>
                      <a:pPr algn="ctr"/>
                      <a:r>
                        <a:rPr lang="en-US" sz="1200" b="1" dirty="0">
                          <a:solidFill>
                            <a:schemeClr val="bg1"/>
                          </a:solidFill>
                        </a:rPr>
                        <a:t>288,918</a:t>
                      </a:r>
                    </a:p>
                  </a:txBody>
                  <a:tcPr marL="78590" marR="78590" anchor="ctr">
                    <a:solidFill>
                      <a:srgbClr val="025159"/>
                    </a:solidFill>
                  </a:tcPr>
                </a:tc>
                <a:tc>
                  <a:txBody>
                    <a:bodyPr/>
                    <a:lstStyle/>
                    <a:p>
                      <a:pPr algn="ctr"/>
                      <a:r>
                        <a:rPr lang="en-US" sz="1200" b="1" dirty="0">
                          <a:solidFill>
                            <a:schemeClr val="bg1"/>
                          </a:solidFill>
                        </a:rPr>
                        <a:t>275,356</a:t>
                      </a:r>
                    </a:p>
                  </a:txBody>
                  <a:tcPr marL="78590" marR="78590" anchor="ctr">
                    <a:solidFill>
                      <a:srgbClr val="025159"/>
                    </a:solidFill>
                  </a:tcPr>
                </a:tc>
                <a:tc>
                  <a:txBody>
                    <a:bodyPr/>
                    <a:lstStyle/>
                    <a:p>
                      <a:pPr algn="ctr"/>
                      <a:r>
                        <a:rPr lang="en-US" sz="1200" b="1" dirty="0">
                          <a:solidFill>
                            <a:schemeClr val="bg1"/>
                          </a:solidFill>
                        </a:rPr>
                        <a:t>4.9</a:t>
                      </a:r>
                    </a:p>
                  </a:txBody>
                  <a:tcPr marL="78590" marR="78590" anchor="ctr">
                    <a:solidFill>
                      <a:srgbClr val="025159"/>
                    </a:solidFill>
                  </a:tcPr>
                </a:tc>
                <a:tc>
                  <a:txBody>
                    <a:bodyPr/>
                    <a:lstStyle/>
                    <a:p>
                      <a:pPr algn="ctr"/>
                      <a:r>
                        <a:rPr lang="en-US" sz="1200" b="1" dirty="0">
                          <a:solidFill>
                            <a:schemeClr val="bg1"/>
                          </a:solidFill>
                        </a:rPr>
                        <a:t>33.8</a:t>
                      </a:r>
                    </a:p>
                  </a:txBody>
                  <a:tcPr marL="78590" marR="78590" anchor="ctr">
                    <a:solidFill>
                      <a:srgbClr val="025159"/>
                    </a:solidFill>
                  </a:tcPr>
                </a:tc>
                <a:tc>
                  <a:txBody>
                    <a:bodyPr/>
                    <a:lstStyle/>
                    <a:p>
                      <a:pPr algn="ctr"/>
                      <a:r>
                        <a:rPr lang="en-US" sz="1200" b="1" dirty="0">
                          <a:solidFill>
                            <a:schemeClr val="bg1"/>
                          </a:solidFill>
                        </a:rPr>
                        <a:t>38.0</a:t>
                      </a:r>
                    </a:p>
                  </a:txBody>
                  <a:tcPr marL="78590" marR="78590" anchor="ctr">
                    <a:solidFill>
                      <a:srgbClr val="025159"/>
                    </a:solidFill>
                  </a:tcPr>
                </a:tc>
                <a:tc>
                  <a:txBody>
                    <a:bodyPr/>
                    <a:lstStyle/>
                    <a:p>
                      <a:pPr algn="ctr"/>
                      <a:r>
                        <a:rPr lang="en-US" sz="1200" b="1" dirty="0">
                          <a:solidFill>
                            <a:schemeClr val="bg1"/>
                          </a:solidFill>
                        </a:rPr>
                        <a:t>-4.2</a:t>
                      </a:r>
                    </a:p>
                  </a:txBody>
                  <a:tcPr marL="78590" marR="78590" anchor="ctr">
                    <a:solidFill>
                      <a:srgbClr val="025159"/>
                    </a:solidFill>
                  </a:tcPr>
                </a:tc>
                <a:tc>
                  <a:txBody>
                    <a:bodyPr/>
                    <a:lstStyle/>
                    <a:p>
                      <a:pPr algn="ctr"/>
                      <a:r>
                        <a:rPr lang="en-US" sz="1200" b="1" dirty="0">
                          <a:solidFill>
                            <a:schemeClr val="bg1"/>
                          </a:solidFill>
                        </a:rPr>
                        <a:t>15.8</a:t>
                      </a:r>
                    </a:p>
                  </a:txBody>
                  <a:tcPr marL="78590" marR="78590" anchor="ctr">
                    <a:solidFill>
                      <a:srgbClr val="025159"/>
                    </a:solidFill>
                  </a:tcPr>
                </a:tc>
                <a:tc>
                  <a:txBody>
                    <a:bodyPr/>
                    <a:lstStyle/>
                    <a:p>
                      <a:pPr algn="ctr"/>
                      <a:r>
                        <a:rPr lang="en-US" sz="1200" b="1" dirty="0">
                          <a:solidFill>
                            <a:schemeClr val="bg1"/>
                          </a:solidFill>
                        </a:rPr>
                        <a:t>16.6</a:t>
                      </a:r>
                    </a:p>
                  </a:txBody>
                  <a:tcPr marL="78590" marR="78590" anchor="ctr">
                    <a:solidFill>
                      <a:srgbClr val="025159"/>
                    </a:solidFill>
                  </a:tcPr>
                </a:tc>
                <a:tc>
                  <a:txBody>
                    <a:bodyPr/>
                    <a:lstStyle/>
                    <a:p>
                      <a:pPr algn="ctr"/>
                      <a:r>
                        <a:rPr lang="en-US" sz="1200" b="1" dirty="0">
                          <a:solidFill>
                            <a:schemeClr val="bg1"/>
                          </a:solidFill>
                        </a:rPr>
                        <a:t>-0.8</a:t>
                      </a:r>
                    </a:p>
                  </a:txBody>
                  <a:tcPr marL="78590" marR="78590" anchor="ctr">
                    <a:solidFill>
                      <a:srgbClr val="025159"/>
                    </a:solidFill>
                  </a:tcPr>
                </a:tc>
                <a:extLst>
                  <a:ext uri="{0D108BD9-81ED-4DB2-BD59-A6C34878D82A}">
                    <a16:rowId xmlns:a16="http://schemas.microsoft.com/office/drawing/2014/main" val="550702399"/>
                  </a:ext>
                </a:extLst>
              </a:tr>
            </a:tbl>
          </a:graphicData>
        </a:graphic>
      </p:graphicFrame>
      <p:sp>
        <p:nvSpPr>
          <p:cNvPr id="3" name="TextBox 2"/>
          <p:cNvSpPr txBox="1"/>
          <p:nvPr/>
        </p:nvSpPr>
        <p:spPr>
          <a:xfrm>
            <a:off x="721502" y="921901"/>
            <a:ext cx="8969829" cy="369332"/>
          </a:xfrm>
          <a:prstGeom prst="rect">
            <a:avLst/>
          </a:prstGeom>
          <a:noFill/>
        </p:spPr>
        <p:txBody>
          <a:bodyPr wrap="square" rtlCol="0">
            <a:spAutoFit/>
          </a:bodyPr>
          <a:lstStyle/>
          <a:p>
            <a:r>
              <a:rPr lang="en-US" dirty="0" smtClean="0"/>
              <a:t>Newsletter subscriptions increased by 4.9% in 2021.</a:t>
            </a:r>
            <a:endParaRPr lang="en-US" dirty="0"/>
          </a:p>
        </p:txBody>
      </p:sp>
    </p:spTree>
    <p:extLst>
      <p:ext uri="{BB962C8B-B14F-4D97-AF65-F5344CB8AC3E}">
        <p14:creationId xmlns:p14="http://schemas.microsoft.com/office/powerpoint/2010/main" val="113394078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1072181" y="431120"/>
            <a:ext cx="10912991" cy="592137"/>
          </a:xfrm>
        </p:spPr>
        <p:txBody>
          <a:bodyPr>
            <a:noAutofit/>
          </a:bodyPr>
          <a:lstStyle/>
          <a:p>
            <a:pPr algn="l"/>
            <a:r>
              <a:rPr lang="en-US" sz="5400" dirty="0">
                <a:solidFill>
                  <a:srgbClr val="005361"/>
                </a:solidFill>
              </a:rPr>
              <a:t>Social Media Channel Performance</a:t>
            </a:r>
          </a:p>
        </p:txBody>
      </p:sp>
      <p:graphicFrame>
        <p:nvGraphicFramePr>
          <p:cNvPr id="5" name="Content Placeholder 3"/>
          <p:cNvGraphicFramePr>
            <a:graphicFrameLocks/>
          </p:cNvGraphicFramePr>
          <p:nvPr>
            <p:extLst>
              <p:ext uri="{D42A27DB-BD31-4B8C-83A1-F6EECF244321}">
                <p14:modId xmlns:p14="http://schemas.microsoft.com/office/powerpoint/2010/main" val="1430509716"/>
              </p:ext>
            </p:extLst>
          </p:nvPr>
        </p:nvGraphicFramePr>
        <p:xfrm>
          <a:off x="1170098" y="1946587"/>
          <a:ext cx="9922498" cy="4476063"/>
        </p:xfrm>
        <a:graphic>
          <a:graphicData uri="http://schemas.openxmlformats.org/drawingml/2006/table">
            <a:tbl>
              <a:tblPr firstRow="1" bandRow="1">
                <a:tableStyleId>{93296810-A885-4BE3-A3E7-6D5BEEA58F35}</a:tableStyleId>
              </a:tblPr>
              <a:tblGrid>
                <a:gridCol w="1363377">
                  <a:extLst>
                    <a:ext uri="{9D8B030D-6E8A-4147-A177-3AD203B41FA5}">
                      <a16:colId xmlns:a16="http://schemas.microsoft.com/office/drawing/2014/main" val="3699925047"/>
                    </a:ext>
                  </a:extLst>
                </a:gridCol>
                <a:gridCol w="1057013">
                  <a:extLst>
                    <a:ext uri="{9D8B030D-6E8A-4147-A177-3AD203B41FA5}">
                      <a16:colId xmlns:a16="http://schemas.microsoft.com/office/drawing/2014/main" val="2396511864"/>
                    </a:ext>
                  </a:extLst>
                </a:gridCol>
                <a:gridCol w="1199626">
                  <a:extLst>
                    <a:ext uri="{9D8B030D-6E8A-4147-A177-3AD203B41FA5}">
                      <a16:colId xmlns:a16="http://schemas.microsoft.com/office/drawing/2014/main" val="2506308838"/>
                    </a:ext>
                  </a:extLst>
                </a:gridCol>
                <a:gridCol w="1040235">
                  <a:extLst>
                    <a:ext uri="{9D8B030D-6E8A-4147-A177-3AD203B41FA5}">
                      <a16:colId xmlns:a16="http://schemas.microsoft.com/office/drawing/2014/main" val="367025049"/>
                    </a:ext>
                  </a:extLst>
                </a:gridCol>
                <a:gridCol w="1174458">
                  <a:extLst>
                    <a:ext uri="{9D8B030D-6E8A-4147-A177-3AD203B41FA5}">
                      <a16:colId xmlns:a16="http://schemas.microsoft.com/office/drawing/2014/main" val="3396192569"/>
                    </a:ext>
                  </a:extLst>
                </a:gridCol>
                <a:gridCol w="1048624">
                  <a:extLst>
                    <a:ext uri="{9D8B030D-6E8A-4147-A177-3AD203B41FA5}">
                      <a16:colId xmlns:a16="http://schemas.microsoft.com/office/drawing/2014/main" val="2961218475"/>
                    </a:ext>
                  </a:extLst>
                </a:gridCol>
                <a:gridCol w="1140903">
                  <a:extLst>
                    <a:ext uri="{9D8B030D-6E8A-4147-A177-3AD203B41FA5}">
                      <a16:colId xmlns:a16="http://schemas.microsoft.com/office/drawing/2014/main" val="2363590346"/>
                    </a:ext>
                  </a:extLst>
                </a:gridCol>
                <a:gridCol w="1015068">
                  <a:extLst>
                    <a:ext uri="{9D8B030D-6E8A-4147-A177-3AD203B41FA5}">
                      <a16:colId xmlns:a16="http://schemas.microsoft.com/office/drawing/2014/main" val="4279325425"/>
                    </a:ext>
                  </a:extLst>
                </a:gridCol>
                <a:gridCol w="883194">
                  <a:extLst>
                    <a:ext uri="{9D8B030D-6E8A-4147-A177-3AD203B41FA5}">
                      <a16:colId xmlns:a16="http://schemas.microsoft.com/office/drawing/2014/main" val="841604078"/>
                    </a:ext>
                  </a:extLst>
                </a:gridCol>
              </a:tblGrid>
              <a:tr h="1078776">
                <a:tc>
                  <a:txBody>
                    <a:bodyPr/>
                    <a:lstStyle/>
                    <a:p>
                      <a:endParaRPr lang="en-US" sz="1400" dirty="0"/>
                    </a:p>
                  </a:txBody>
                  <a:tcPr anchor="ctr">
                    <a:solidFill>
                      <a:srgbClr val="005361"/>
                    </a:solidFill>
                  </a:tcPr>
                </a:tc>
                <a:tc>
                  <a:txBody>
                    <a:bodyPr/>
                    <a:lstStyle/>
                    <a:p>
                      <a:pPr algn="ctr"/>
                      <a:r>
                        <a:rPr lang="en-US" sz="1400" dirty="0"/>
                        <a:t>Facebook</a:t>
                      </a:r>
                      <a:r>
                        <a:rPr lang="en-US" sz="1400" baseline="0" dirty="0"/>
                        <a:t> Followers 2021</a:t>
                      </a:r>
                      <a:endParaRPr lang="en-US" sz="1400" dirty="0"/>
                    </a:p>
                  </a:txBody>
                  <a:tcPr anchor="ctr">
                    <a:solidFill>
                      <a:srgbClr val="005361"/>
                    </a:solidFill>
                  </a:tcPr>
                </a:tc>
                <a:tc>
                  <a:txBody>
                    <a:bodyPr/>
                    <a:lstStyle/>
                    <a:p>
                      <a:pPr algn="ctr"/>
                      <a:r>
                        <a:rPr lang="en-US" sz="1400" dirty="0"/>
                        <a:t>Facebook Engagement 2021</a:t>
                      </a:r>
                    </a:p>
                  </a:txBody>
                  <a:tcPr anchor="ctr">
                    <a:solidFill>
                      <a:srgbClr val="005361"/>
                    </a:solidFill>
                  </a:tcPr>
                </a:tc>
                <a:tc>
                  <a:txBody>
                    <a:bodyPr/>
                    <a:lstStyle/>
                    <a:p>
                      <a:pPr algn="ctr"/>
                      <a:r>
                        <a:rPr lang="en-US" sz="1400" dirty="0"/>
                        <a:t>Instagram Followers</a:t>
                      </a:r>
                    </a:p>
                    <a:p>
                      <a:pPr algn="ctr"/>
                      <a:r>
                        <a:rPr lang="en-US" sz="1400" dirty="0"/>
                        <a:t>2021</a:t>
                      </a:r>
                    </a:p>
                  </a:txBody>
                  <a:tcPr anchor="ctr">
                    <a:solidFill>
                      <a:srgbClr val="005361"/>
                    </a:solidFill>
                  </a:tcPr>
                </a:tc>
                <a:tc>
                  <a:txBody>
                    <a:bodyPr/>
                    <a:lstStyle/>
                    <a:p>
                      <a:pPr algn="ctr"/>
                      <a:r>
                        <a:rPr lang="en-US" sz="1400" dirty="0"/>
                        <a:t>Instagram Engagement</a:t>
                      </a:r>
                    </a:p>
                    <a:p>
                      <a:pPr algn="ctr"/>
                      <a:r>
                        <a:rPr lang="en-US" sz="1400" dirty="0"/>
                        <a:t>2021</a:t>
                      </a:r>
                    </a:p>
                    <a:p>
                      <a:pPr algn="ctr"/>
                      <a:endParaRPr lang="en-US" sz="1400" dirty="0"/>
                    </a:p>
                  </a:txBody>
                  <a:tcPr anchor="ctr">
                    <a:solidFill>
                      <a:srgbClr val="005361"/>
                    </a:solidFill>
                  </a:tcPr>
                </a:tc>
                <a:tc>
                  <a:txBody>
                    <a:bodyPr/>
                    <a:lstStyle/>
                    <a:p>
                      <a:pPr algn="ctr"/>
                      <a:r>
                        <a:rPr lang="en-US" sz="1400" dirty="0"/>
                        <a:t>Twitter Followers</a:t>
                      </a:r>
                    </a:p>
                    <a:p>
                      <a:pPr algn="ctr"/>
                      <a:r>
                        <a:rPr lang="en-US" sz="1400" dirty="0"/>
                        <a:t>2021</a:t>
                      </a:r>
                    </a:p>
                  </a:txBody>
                  <a:tcPr anchor="ctr">
                    <a:solidFill>
                      <a:srgbClr val="005361"/>
                    </a:solidFill>
                  </a:tcPr>
                </a:tc>
                <a:tc>
                  <a:txBody>
                    <a:bodyPr/>
                    <a:lstStyle/>
                    <a:p>
                      <a:pPr algn="ctr"/>
                      <a:r>
                        <a:rPr lang="en-US" sz="1400" dirty="0"/>
                        <a:t>Twitter Engagement</a:t>
                      </a:r>
                    </a:p>
                    <a:p>
                      <a:pPr algn="ctr"/>
                      <a:r>
                        <a:rPr lang="en-US" sz="1400" dirty="0"/>
                        <a:t>2021</a:t>
                      </a:r>
                    </a:p>
                  </a:txBody>
                  <a:tcPr anchor="ctr">
                    <a:solidFill>
                      <a:srgbClr val="005361"/>
                    </a:solidFill>
                  </a:tcPr>
                </a:tc>
                <a:tc>
                  <a:txBody>
                    <a:bodyPr/>
                    <a:lstStyle/>
                    <a:p>
                      <a:pPr algn="ctr"/>
                      <a:r>
                        <a:rPr lang="en-US" sz="1400" dirty="0" smtClean="0"/>
                        <a:t>You Tube Views</a:t>
                      </a:r>
                    </a:p>
                    <a:p>
                      <a:pPr algn="ctr"/>
                      <a:r>
                        <a:rPr lang="en-US" sz="1400" dirty="0" smtClean="0"/>
                        <a:t>2021</a:t>
                      </a:r>
                      <a:endParaRPr lang="en-US" sz="1400" dirty="0"/>
                    </a:p>
                  </a:txBody>
                  <a:tcPr anchor="ctr">
                    <a:solidFill>
                      <a:srgbClr val="005361"/>
                    </a:solidFill>
                  </a:tcPr>
                </a:tc>
                <a:tc>
                  <a:txBody>
                    <a:bodyPr/>
                    <a:lstStyle/>
                    <a:p>
                      <a:pPr algn="ctr"/>
                      <a:endParaRPr lang="en-US" sz="1400" dirty="0" smtClean="0"/>
                    </a:p>
                    <a:p>
                      <a:pPr algn="ctr"/>
                      <a:r>
                        <a:rPr lang="en-US" sz="1400" dirty="0" smtClean="0"/>
                        <a:t>Flickr</a:t>
                      </a:r>
                      <a:r>
                        <a:rPr lang="en-US" sz="1400" baseline="0" dirty="0" smtClean="0"/>
                        <a:t> </a:t>
                      </a:r>
                      <a:r>
                        <a:rPr lang="en-US" sz="1400" dirty="0" smtClean="0"/>
                        <a:t>Views</a:t>
                      </a:r>
                    </a:p>
                    <a:p>
                      <a:pPr algn="ctr"/>
                      <a:r>
                        <a:rPr lang="en-US" sz="1400" dirty="0" smtClean="0"/>
                        <a:t>2021</a:t>
                      </a:r>
                    </a:p>
                    <a:p>
                      <a:pPr algn="ctr"/>
                      <a:endParaRPr lang="en-US" sz="1400" dirty="0"/>
                    </a:p>
                  </a:txBody>
                  <a:tcPr anchor="ctr">
                    <a:solidFill>
                      <a:srgbClr val="005361"/>
                    </a:solidFill>
                  </a:tcPr>
                </a:tc>
                <a:extLst>
                  <a:ext uri="{0D108BD9-81ED-4DB2-BD59-A6C34878D82A}">
                    <a16:rowId xmlns:a16="http://schemas.microsoft.com/office/drawing/2014/main" val="3378951064"/>
                  </a:ext>
                </a:extLst>
              </a:tr>
              <a:tr h="559753">
                <a:tc>
                  <a:txBody>
                    <a:bodyPr/>
                    <a:lstStyle/>
                    <a:p>
                      <a:r>
                        <a:rPr lang="en-US" sz="1400" dirty="0"/>
                        <a:t>UMC</a:t>
                      </a:r>
                      <a:endParaRPr lang="en-US" sz="1400" dirty="0">
                        <a:solidFill>
                          <a:schemeClr val="tx1"/>
                        </a:solidFill>
                      </a:endParaRPr>
                    </a:p>
                  </a:txBody>
                  <a:tcPr anchor="ctr">
                    <a:solidFill>
                      <a:srgbClr val="005361">
                        <a:alpha val="40000"/>
                      </a:srgbClr>
                    </a:solidFill>
                  </a:tcPr>
                </a:tc>
                <a:tc>
                  <a:txBody>
                    <a:bodyPr/>
                    <a:lstStyle/>
                    <a:p>
                      <a:pPr algn="ctr"/>
                      <a:r>
                        <a:rPr lang="en-US" sz="1400" dirty="0"/>
                        <a:t>711,493</a:t>
                      </a:r>
                      <a:endParaRPr lang="en-US" sz="1400" b="0" dirty="0">
                        <a:solidFill>
                          <a:schemeClr val="tx1"/>
                        </a:solidFill>
                        <a:latin typeface="+mn-lt"/>
                      </a:endParaRPr>
                    </a:p>
                  </a:txBody>
                  <a:tcPr anchor="ctr">
                    <a:solidFill>
                      <a:srgbClr val="005361">
                        <a:alpha val="40000"/>
                      </a:srgbClr>
                    </a:solidFill>
                  </a:tcPr>
                </a:tc>
                <a:tc>
                  <a:txBody>
                    <a:bodyPr/>
                    <a:lstStyle/>
                    <a:p>
                      <a:pPr algn="ctr"/>
                      <a:r>
                        <a:rPr lang="en-US" sz="1400" dirty="0"/>
                        <a:t>2,877,255</a:t>
                      </a:r>
                      <a:endParaRPr lang="en-US" sz="1400" b="0" dirty="0">
                        <a:solidFill>
                          <a:schemeClr val="tx1"/>
                        </a:solidFill>
                        <a:latin typeface="+mn-lt"/>
                      </a:endParaRPr>
                    </a:p>
                  </a:txBody>
                  <a:tcPr anchor="ctr">
                    <a:solidFill>
                      <a:srgbClr val="005361">
                        <a:alpha val="40000"/>
                      </a:srgbClr>
                    </a:solidFill>
                  </a:tcPr>
                </a:tc>
                <a:tc>
                  <a:txBody>
                    <a:bodyPr/>
                    <a:lstStyle/>
                    <a:p>
                      <a:pPr algn="ctr"/>
                      <a:r>
                        <a:rPr lang="en-US" sz="1400" dirty="0"/>
                        <a:t>68,675</a:t>
                      </a:r>
                      <a:endParaRPr lang="en-US" sz="1400" b="0" dirty="0">
                        <a:latin typeface="+mn-lt"/>
                      </a:endParaRPr>
                    </a:p>
                  </a:txBody>
                  <a:tcPr anchor="ctr">
                    <a:solidFill>
                      <a:srgbClr val="005361">
                        <a:alpha val="40000"/>
                      </a:srgbClr>
                    </a:solidFill>
                  </a:tcPr>
                </a:tc>
                <a:tc>
                  <a:txBody>
                    <a:bodyPr/>
                    <a:lstStyle/>
                    <a:p>
                      <a:pPr algn="ctr"/>
                      <a:r>
                        <a:rPr lang="en-US" sz="1400" dirty="0"/>
                        <a:t>555,007</a:t>
                      </a:r>
                      <a:endParaRPr lang="en-US" sz="1400" b="0" dirty="0">
                        <a:latin typeface="+mn-lt"/>
                      </a:endParaRPr>
                    </a:p>
                  </a:txBody>
                  <a:tcPr anchor="ctr">
                    <a:solidFill>
                      <a:srgbClr val="005361">
                        <a:alpha val="40000"/>
                      </a:srgbClr>
                    </a:solidFill>
                  </a:tcPr>
                </a:tc>
                <a:tc>
                  <a:txBody>
                    <a:bodyPr/>
                    <a:lstStyle/>
                    <a:p>
                      <a:pPr algn="ctr"/>
                      <a:r>
                        <a:rPr lang="en-US" sz="1400" dirty="0"/>
                        <a:t>--</a:t>
                      </a:r>
                      <a:endParaRPr lang="en-US" sz="1400" b="0" dirty="0">
                        <a:solidFill>
                          <a:schemeClr val="tx1"/>
                        </a:solidFill>
                        <a:latin typeface="+mn-lt"/>
                      </a:endParaRPr>
                    </a:p>
                  </a:txBody>
                  <a:tcPr anchor="ctr">
                    <a:solidFill>
                      <a:srgbClr val="005361">
                        <a:alpha val="40000"/>
                      </a:srgbClr>
                    </a:solidFill>
                  </a:tcPr>
                </a:tc>
                <a:tc>
                  <a:txBody>
                    <a:bodyPr/>
                    <a:lstStyle/>
                    <a:p>
                      <a:pPr algn="ctr"/>
                      <a:r>
                        <a:rPr lang="en-US" sz="1400" dirty="0"/>
                        <a:t>--</a:t>
                      </a:r>
                      <a:endParaRPr lang="en-US" sz="1400" b="0" dirty="0">
                        <a:solidFill>
                          <a:schemeClr val="tx1"/>
                        </a:solidFill>
                        <a:latin typeface="+mn-lt"/>
                      </a:endParaRPr>
                    </a:p>
                  </a:txBody>
                  <a:tcPr anchor="ctr">
                    <a:solidFill>
                      <a:srgbClr val="005361">
                        <a:alpha val="40000"/>
                      </a:srgbClr>
                    </a:solidFill>
                  </a:tcPr>
                </a:tc>
                <a:tc>
                  <a:txBody>
                    <a:bodyPr/>
                    <a:lstStyle/>
                    <a:p>
                      <a:pPr algn="ctr"/>
                      <a:r>
                        <a:rPr lang="en-US" sz="1400" b="0" dirty="0">
                          <a:solidFill>
                            <a:schemeClr val="tx1"/>
                          </a:solidFill>
                          <a:latin typeface="+mn-lt"/>
                        </a:rPr>
                        <a:t>763,034</a:t>
                      </a:r>
                    </a:p>
                  </a:txBody>
                  <a:tcPr anchor="ctr">
                    <a:solidFill>
                      <a:srgbClr val="005361">
                        <a:alpha val="40000"/>
                      </a:srgbClr>
                    </a:solidFill>
                  </a:tcPr>
                </a:tc>
                <a:tc>
                  <a:txBody>
                    <a:bodyPr/>
                    <a:lstStyle/>
                    <a:p>
                      <a:pPr algn="ctr"/>
                      <a:r>
                        <a:rPr lang="en-US" sz="1400" b="0" dirty="0" smtClean="0">
                          <a:solidFill>
                            <a:schemeClr val="tx1"/>
                          </a:solidFill>
                          <a:latin typeface="+mn-lt"/>
                        </a:rPr>
                        <a:t>--</a:t>
                      </a:r>
                      <a:endParaRPr lang="en-US" sz="1400" b="0" dirty="0">
                        <a:solidFill>
                          <a:schemeClr val="tx1"/>
                        </a:solidFill>
                        <a:latin typeface="+mn-lt"/>
                      </a:endParaRPr>
                    </a:p>
                  </a:txBody>
                  <a:tcPr anchor="ctr">
                    <a:solidFill>
                      <a:srgbClr val="005361">
                        <a:alpha val="40000"/>
                      </a:srgbClr>
                    </a:solidFill>
                  </a:tcPr>
                </a:tc>
                <a:extLst>
                  <a:ext uri="{0D108BD9-81ED-4DB2-BD59-A6C34878D82A}">
                    <a16:rowId xmlns:a16="http://schemas.microsoft.com/office/drawing/2014/main" val="3453907600"/>
                  </a:ext>
                </a:extLst>
              </a:tr>
              <a:tr h="519058">
                <a:tc>
                  <a:txBody>
                    <a:bodyPr/>
                    <a:lstStyle/>
                    <a:p>
                      <a:r>
                        <a:rPr lang="en-US" sz="1400" dirty="0"/>
                        <a:t>UMCom</a:t>
                      </a:r>
                      <a:endParaRPr lang="en-US" sz="1400" dirty="0">
                        <a:solidFill>
                          <a:schemeClr val="tx1"/>
                        </a:solidFill>
                      </a:endParaRPr>
                    </a:p>
                  </a:txBody>
                  <a:tcPr anchor="ctr">
                    <a:solidFill>
                      <a:srgbClr val="005361">
                        <a:alpha val="15000"/>
                      </a:srgbClr>
                    </a:solidFill>
                  </a:tcPr>
                </a:tc>
                <a:tc>
                  <a:txBody>
                    <a:bodyPr/>
                    <a:lstStyle/>
                    <a:p>
                      <a:pPr algn="ctr"/>
                      <a:r>
                        <a:rPr lang="en-US" sz="1400" dirty="0"/>
                        <a:t>194,357</a:t>
                      </a:r>
                      <a:endParaRPr lang="en-US" sz="1400" b="0" dirty="0">
                        <a:solidFill>
                          <a:schemeClr val="tx1"/>
                        </a:solidFill>
                        <a:latin typeface="+mn-lt"/>
                      </a:endParaRPr>
                    </a:p>
                  </a:txBody>
                  <a:tcPr anchor="ctr">
                    <a:solidFill>
                      <a:srgbClr val="005361">
                        <a:alpha val="15000"/>
                      </a:srgbClr>
                    </a:solidFill>
                  </a:tcPr>
                </a:tc>
                <a:tc>
                  <a:txBody>
                    <a:bodyPr/>
                    <a:lstStyle/>
                    <a:p>
                      <a:pPr algn="ctr"/>
                      <a:r>
                        <a:rPr lang="en-US" sz="1400" dirty="0"/>
                        <a:t> 458,565</a:t>
                      </a:r>
                      <a:endParaRPr lang="en-US" sz="1400" b="0" dirty="0">
                        <a:solidFill>
                          <a:schemeClr val="tx1"/>
                        </a:solidFill>
                        <a:latin typeface="+mn-lt"/>
                      </a:endParaRPr>
                    </a:p>
                  </a:txBody>
                  <a:tcPr anchor="ctr">
                    <a:solidFill>
                      <a:srgbClr val="005361">
                        <a:alpha val="15000"/>
                      </a:srgbClr>
                    </a:solidFill>
                  </a:tcPr>
                </a:tc>
                <a:tc>
                  <a:txBody>
                    <a:bodyPr/>
                    <a:lstStyle/>
                    <a:p>
                      <a:pPr algn="ctr"/>
                      <a:r>
                        <a:rPr lang="en-US" sz="1400" b="0" dirty="0">
                          <a:solidFill>
                            <a:schemeClr val="tx1"/>
                          </a:solidFill>
                          <a:latin typeface="+mn-lt"/>
                        </a:rPr>
                        <a:t>2,202</a:t>
                      </a:r>
                    </a:p>
                  </a:txBody>
                  <a:tcPr anchor="ctr">
                    <a:solidFill>
                      <a:srgbClr val="005361">
                        <a:alpha val="15000"/>
                      </a:srgbClr>
                    </a:solidFill>
                  </a:tcPr>
                </a:tc>
                <a:tc>
                  <a:txBody>
                    <a:bodyPr/>
                    <a:lstStyle/>
                    <a:p>
                      <a:pPr algn="ctr"/>
                      <a:r>
                        <a:rPr lang="en-US" sz="1400" b="0" dirty="0">
                          <a:solidFill>
                            <a:schemeClr val="tx1"/>
                          </a:solidFill>
                          <a:latin typeface="+mn-lt"/>
                        </a:rPr>
                        <a:t>1,850</a:t>
                      </a:r>
                    </a:p>
                  </a:txBody>
                  <a:tcPr anchor="ctr">
                    <a:solidFill>
                      <a:srgbClr val="005361">
                        <a:alpha val="15000"/>
                      </a:srgbClr>
                    </a:solidFill>
                  </a:tcPr>
                </a:tc>
                <a:tc>
                  <a:txBody>
                    <a:bodyPr/>
                    <a:lstStyle/>
                    <a:p>
                      <a:pPr algn="ctr"/>
                      <a:r>
                        <a:rPr lang="en-US" sz="1400" dirty="0"/>
                        <a:t>--</a:t>
                      </a:r>
                      <a:endParaRPr lang="en-US" sz="1400" b="0" dirty="0">
                        <a:solidFill>
                          <a:schemeClr val="tx1"/>
                        </a:solidFill>
                        <a:latin typeface="+mn-lt"/>
                      </a:endParaRPr>
                    </a:p>
                  </a:txBody>
                  <a:tcPr anchor="ctr">
                    <a:solidFill>
                      <a:srgbClr val="005361">
                        <a:alpha val="15000"/>
                      </a:srgbClr>
                    </a:solidFill>
                  </a:tcPr>
                </a:tc>
                <a:tc>
                  <a:txBody>
                    <a:bodyPr/>
                    <a:lstStyle/>
                    <a:p>
                      <a:pPr algn="ctr"/>
                      <a:r>
                        <a:rPr lang="en-US" sz="1400" dirty="0"/>
                        <a:t>--</a:t>
                      </a:r>
                      <a:endParaRPr lang="en-US" sz="1400" b="0" dirty="0">
                        <a:solidFill>
                          <a:schemeClr val="tx1"/>
                        </a:solidFill>
                        <a:latin typeface="+mn-lt"/>
                      </a:endParaRPr>
                    </a:p>
                  </a:txBody>
                  <a:tcPr anchor="ctr">
                    <a:solidFill>
                      <a:srgbClr val="005361">
                        <a:alpha val="15000"/>
                      </a:srgbClr>
                    </a:solidFill>
                  </a:tcPr>
                </a:tc>
                <a:tc>
                  <a:txBody>
                    <a:bodyPr/>
                    <a:lstStyle/>
                    <a:p>
                      <a:pPr algn="ctr"/>
                      <a:r>
                        <a:rPr lang="en-US" sz="1400" dirty="0"/>
                        <a:t>--</a:t>
                      </a:r>
                      <a:endParaRPr lang="en-US" sz="1400" b="0" dirty="0">
                        <a:solidFill>
                          <a:schemeClr val="tx1"/>
                        </a:solidFill>
                        <a:latin typeface="+mn-lt"/>
                      </a:endParaRPr>
                    </a:p>
                  </a:txBody>
                  <a:tcPr anchor="ctr">
                    <a:solidFill>
                      <a:srgbClr val="005361">
                        <a:alpha val="15000"/>
                      </a:srgbClr>
                    </a:solidFill>
                  </a:tcPr>
                </a:tc>
                <a:tc>
                  <a:txBody>
                    <a:bodyPr/>
                    <a:lstStyle/>
                    <a:p>
                      <a:pPr algn="ctr"/>
                      <a:r>
                        <a:rPr lang="en-US" sz="1400" b="0" dirty="0" smtClean="0">
                          <a:solidFill>
                            <a:schemeClr val="tx1"/>
                          </a:solidFill>
                          <a:latin typeface="+mn-lt"/>
                        </a:rPr>
                        <a:t>--</a:t>
                      </a:r>
                      <a:endParaRPr lang="en-US" sz="1400" b="0" dirty="0">
                        <a:solidFill>
                          <a:schemeClr val="tx1"/>
                        </a:solidFill>
                        <a:latin typeface="+mn-lt"/>
                      </a:endParaRPr>
                    </a:p>
                  </a:txBody>
                  <a:tcPr anchor="ctr">
                    <a:solidFill>
                      <a:srgbClr val="005361">
                        <a:alpha val="15000"/>
                      </a:srgbClr>
                    </a:solidFill>
                  </a:tcPr>
                </a:tc>
                <a:extLst>
                  <a:ext uri="{0D108BD9-81ED-4DB2-BD59-A6C34878D82A}">
                    <a16:rowId xmlns:a16="http://schemas.microsoft.com/office/drawing/2014/main" val="3133109956"/>
                  </a:ext>
                </a:extLst>
              </a:tr>
              <a:tr h="559753">
                <a:tc>
                  <a:txBody>
                    <a:bodyPr/>
                    <a:lstStyle/>
                    <a:p>
                      <a:r>
                        <a:rPr lang="en-US" sz="1400" dirty="0" smtClean="0"/>
                        <a:t>UM News</a:t>
                      </a:r>
                      <a:endParaRPr lang="en-US" sz="1400" dirty="0">
                        <a:solidFill>
                          <a:schemeClr val="tx1"/>
                        </a:solidFill>
                      </a:endParaRPr>
                    </a:p>
                  </a:txBody>
                  <a:tcPr anchor="ctr">
                    <a:solidFill>
                      <a:srgbClr val="005361">
                        <a:alpha val="40000"/>
                      </a:srgbClr>
                    </a:solidFill>
                  </a:tcPr>
                </a:tc>
                <a:tc>
                  <a:txBody>
                    <a:bodyPr/>
                    <a:lstStyle/>
                    <a:p>
                      <a:pPr algn="ctr"/>
                      <a:r>
                        <a:rPr lang="en-US" sz="1400" dirty="0"/>
                        <a:t>224,886</a:t>
                      </a:r>
                      <a:endParaRPr lang="en-US" sz="1400" b="0" dirty="0">
                        <a:solidFill>
                          <a:schemeClr val="tx1"/>
                        </a:solidFill>
                        <a:latin typeface="+mn-lt"/>
                      </a:endParaRPr>
                    </a:p>
                  </a:txBody>
                  <a:tcPr anchor="ctr">
                    <a:solidFill>
                      <a:srgbClr val="005361">
                        <a:alpha val="40000"/>
                      </a:srgbClr>
                    </a:solidFill>
                  </a:tcPr>
                </a:tc>
                <a:tc>
                  <a:txBody>
                    <a:bodyPr/>
                    <a:lstStyle/>
                    <a:p>
                      <a:pPr algn="ctr"/>
                      <a:r>
                        <a:rPr lang="en-US" sz="1400" b="0" dirty="0">
                          <a:solidFill>
                            <a:schemeClr val="tx1"/>
                          </a:solidFill>
                          <a:latin typeface="+mn-lt"/>
                        </a:rPr>
                        <a:t>919,555</a:t>
                      </a:r>
                    </a:p>
                  </a:txBody>
                  <a:tcPr anchor="ctr">
                    <a:solidFill>
                      <a:srgbClr val="005361">
                        <a:alpha val="40000"/>
                      </a:srgbClr>
                    </a:solidFill>
                  </a:tcPr>
                </a:tc>
                <a:tc>
                  <a:txBody>
                    <a:bodyPr/>
                    <a:lstStyle/>
                    <a:p>
                      <a:pPr algn="ctr"/>
                      <a:r>
                        <a:rPr lang="en-US" sz="1400" dirty="0"/>
                        <a:t>--</a:t>
                      </a:r>
                      <a:endParaRPr lang="en-US" sz="1400" b="0" dirty="0">
                        <a:solidFill>
                          <a:schemeClr val="tx1"/>
                        </a:solidFill>
                        <a:latin typeface="+mn-lt"/>
                      </a:endParaRPr>
                    </a:p>
                  </a:txBody>
                  <a:tcPr anchor="ctr">
                    <a:solidFill>
                      <a:srgbClr val="005361">
                        <a:alpha val="40000"/>
                      </a:srgbClr>
                    </a:solidFill>
                  </a:tcPr>
                </a:tc>
                <a:tc>
                  <a:txBody>
                    <a:bodyPr/>
                    <a:lstStyle/>
                    <a:p>
                      <a:pPr algn="ctr"/>
                      <a:r>
                        <a:rPr lang="en-US" sz="1400" dirty="0"/>
                        <a:t>--</a:t>
                      </a:r>
                      <a:endParaRPr lang="en-US" sz="1400" b="0" dirty="0">
                        <a:solidFill>
                          <a:schemeClr val="tx1"/>
                        </a:solidFill>
                        <a:latin typeface="+mn-lt"/>
                      </a:endParaRPr>
                    </a:p>
                  </a:txBody>
                  <a:tcPr anchor="ctr">
                    <a:solidFill>
                      <a:srgbClr val="005361">
                        <a:alpha val="40000"/>
                      </a:srgbClr>
                    </a:solidFill>
                  </a:tcPr>
                </a:tc>
                <a:tc>
                  <a:txBody>
                    <a:bodyPr/>
                    <a:lstStyle/>
                    <a:p>
                      <a:pPr algn="ctr"/>
                      <a:r>
                        <a:rPr lang="en-US" sz="1400" b="0" dirty="0">
                          <a:solidFill>
                            <a:schemeClr val="tx1"/>
                          </a:solidFill>
                          <a:latin typeface="+mn-lt"/>
                        </a:rPr>
                        <a:t>27,681</a:t>
                      </a:r>
                    </a:p>
                  </a:txBody>
                  <a:tcPr anchor="ctr">
                    <a:solidFill>
                      <a:srgbClr val="005361">
                        <a:alpha val="40000"/>
                      </a:srgbClr>
                    </a:solidFill>
                  </a:tcPr>
                </a:tc>
                <a:tc>
                  <a:txBody>
                    <a:bodyPr/>
                    <a:lstStyle/>
                    <a:p>
                      <a:pPr algn="ctr"/>
                      <a:r>
                        <a:rPr lang="en-US" sz="1400" b="0" dirty="0">
                          <a:solidFill>
                            <a:schemeClr val="tx1"/>
                          </a:solidFill>
                          <a:latin typeface="+mn-lt"/>
                        </a:rPr>
                        <a:t>14,823</a:t>
                      </a:r>
                    </a:p>
                  </a:txBody>
                  <a:tcPr anchor="ctr">
                    <a:solidFill>
                      <a:srgbClr val="005361">
                        <a:alpha val="40000"/>
                      </a:srgbClr>
                    </a:solidFill>
                  </a:tcPr>
                </a:tc>
                <a:tc>
                  <a:txBody>
                    <a:bodyPr/>
                    <a:lstStyle/>
                    <a:p>
                      <a:pPr algn="ctr"/>
                      <a:r>
                        <a:rPr lang="en-US" sz="1400" dirty="0"/>
                        <a:t>--</a:t>
                      </a:r>
                      <a:endParaRPr lang="en-US" sz="1400" b="0" dirty="0">
                        <a:solidFill>
                          <a:schemeClr val="tx1"/>
                        </a:solidFill>
                        <a:latin typeface="+mn-lt"/>
                      </a:endParaRPr>
                    </a:p>
                  </a:txBody>
                  <a:tcPr anchor="ctr">
                    <a:solidFill>
                      <a:srgbClr val="005361">
                        <a:alpha val="40000"/>
                      </a:srgbClr>
                    </a:solidFill>
                  </a:tcPr>
                </a:tc>
                <a:tc>
                  <a:txBody>
                    <a:bodyPr/>
                    <a:lstStyle/>
                    <a:p>
                      <a:pPr algn="ctr"/>
                      <a:r>
                        <a:rPr lang="en-US" sz="1400" b="0" dirty="0" smtClean="0">
                          <a:solidFill>
                            <a:schemeClr val="tx1"/>
                          </a:solidFill>
                          <a:latin typeface="+mn-lt"/>
                        </a:rPr>
                        <a:t>436,500</a:t>
                      </a:r>
                      <a:endParaRPr lang="en-US" sz="1400" b="0" dirty="0">
                        <a:solidFill>
                          <a:schemeClr val="tx1"/>
                        </a:solidFill>
                        <a:latin typeface="+mn-lt"/>
                      </a:endParaRPr>
                    </a:p>
                  </a:txBody>
                  <a:tcPr anchor="ctr">
                    <a:solidFill>
                      <a:srgbClr val="005361">
                        <a:alpha val="40000"/>
                      </a:srgbClr>
                    </a:solidFill>
                  </a:tcPr>
                </a:tc>
                <a:extLst>
                  <a:ext uri="{0D108BD9-81ED-4DB2-BD59-A6C34878D82A}">
                    <a16:rowId xmlns:a16="http://schemas.microsoft.com/office/drawing/2014/main" val="2130522081"/>
                  </a:ext>
                </a:extLst>
              </a:tr>
              <a:tr h="559753">
                <a:tc>
                  <a:txBody>
                    <a:bodyPr/>
                    <a:lstStyle/>
                    <a:p>
                      <a:r>
                        <a:rPr lang="en-US" sz="1400" dirty="0"/>
                        <a:t>ResourceUMC</a:t>
                      </a:r>
                      <a:endParaRPr lang="en-US" sz="1400" dirty="0">
                        <a:solidFill>
                          <a:schemeClr val="tx1"/>
                        </a:solidFill>
                      </a:endParaRPr>
                    </a:p>
                  </a:txBody>
                  <a:tcPr anchor="ctr">
                    <a:solidFill>
                      <a:srgbClr val="005361">
                        <a:alpha val="15000"/>
                      </a:srgbClr>
                    </a:solidFill>
                  </a:tcPr>
                </a:tc>
                <a:tc>
                  <a:txBody>
                    <a:bodyPr/>
                    <a:lstStyle/>
                    <a:p>
                      <a:pPr algn="ctr"/>
                      <a:r>
                        <a:rPr lang="en-US" sz="1400" dirty="0"/>
                        <a:t>82,187</a:t>
                      </a:r>
                      <a:endParaRPr lang="en-US" sz="1400" b="0" dirty="0">
                        <a:solidFill>
                          <a:schemeClr val="tx1"/>
                        </a:solidFill>
                        <a:latin typeface="+mn-lt"/>
                      </a:endParaRPr>
                    </a:p>
                  </a:txBody>
                  <a:tcPr anchor="ctr">
                    <a:solidFill>
                      <a:srgbClr val="005361">
                        <a:alpha val="15000"/>
                      </a:srgbClr>
                    </a:solidFill>
                  </a:tcPr>
                </a:tc>
                <a:tc>
                  <a:txBody>
                    <a:bodyPr/>
                    <a:lstStyle/>
                    <a:p>
                      <a:pPr algn="ctr"/>
                      <a:r>
                        <a:rPr lang="en-US" sz="1400" dirty="0"/>
                        <a:t>170,490</a:t>
                      </a:r>
                      <a:endParaRPr lang="en-US" sz="1400" b="0" dirty="0">
                        <a:solidFill>
                          <a:schemeClr val="tx1"/>
                        </a:solidFill>
                        <a:latin typeface="+mn-lt"/>
                      </a:endParaRPr>
                    </a:p>
                  </a:txBody>
                  <a:tcPr anchor="ctr">
                    <a:solidFill>
                      <a:srgbClr val="005361">
                        <a:alpha val="15000"/>
                      </a:srgbClr>
                    </a:solidFill>
                  </a:tcPr>
                </a:tc>
                <a:tc>
                  <a:txBody>
                    <a:bodyPr/>
                    <a:lstStyle/>
                    <a:p>
                      <a:pPr algn="ctr"/>
                      <a:r>
                        <a:rPr lang="en-US" sz="1400" dirty="0"/>
                        <a:t>--</a:t>
                      </a:r>
                      <a:endParaRPr lang="en-US" sz="1400" b="0" dirty="0">
                        <a:solidFill>
                          <a:schemeClr val="tx1"/>
                        </a:solidFill>
                        <a:latin typeface="+mn-lt"/>
                      </a:endParaRPr>
                    </a:p>
                  </a:txBody>
                  <a:tcPr anchor="ctr">
                    <a:solidFill>
                      <a:srgbClr val="005361">
                        <a:alpha val="15000"/>
                      </a:srgbClr>
                    </a:solidFill>
                  </a:tcPr>
                </a:tc>
                <a:tc>
                  <a:txBody>
                    <a:bodyPr/>
                    <a:lstStyle/>
                    <a:p>
                      <a:pPr algn="ctr"/>
                      <a:r>
                        <a:rPr lang="en-US" sz="1400" dirty="0"/>
                        <a:t>--</a:t>
                      </a:r>
                      <a:endParaRPr lang="en-US" sz="1400" b="0" dirty="0">
                        <a:solidFill>
                          <a:schemeClr val="tx1"/>
                        </a:solidFill>
                        <a:latin typeface="+mn-lt"/>
                      </a:endParaRPr>
                    </a:p>
                  </a:txBody>
                  <a:tcPr anchor="ctr">
                    <a:solidFill>
                      <a:srgbClr val="005361">
                        <a:alpha val="15000"/>
                      </a:srgbClr>
                    </a:solidFill>
                  </a:tcPr>
                </a:tc>
                <a:tc>
                  <a:txBody>
                    <a:bodyPr/>
                    <a:lstStyle/>
                    <a:p>
                      <a:pPr algn="ctr"/>
                      <a:r>
                        <a:rPr lang="en-US" sz="1400" dirty="0"/>
                        <a:t>--</a:t>
                      </a:r>
                      <a:endParaRPr lang="en-US" sz="1400" b="0" dirty="0">
                        <a:solidFill>
                          <a:schemeClr val="tx1"/>
                        </a:solidFill>
                        <a:latin typeface="+mn-lt"/>
                      </a:endParaRPr>
                    </a:p>
                  </a:txBody>
                  <a:tcPr anchor="ctr">
                    <a:solidFill>
                      <a:srgbClr val="005361">
                        <a:alpha val="15000"/>
                      </a:srgbClr>
                    </a:solidFill>
                  </a:tcPr>
                </a:tc>
                <a:tc>
                  <a:txBody>
                    <a:bodyPr/>
                    <a:lstStyle/>
                    <a:p>
                      <a:pPr algn="ctr"/>
                      <a:r>
                        <a:rPr lang="en-US" sz="1400" b="0" dirty="0">
                          <a:solidFill>
                            <a:schemeClr val="tx1"/>
                          </a:solidFill>
                          <a:latin typeface="+mn-lt"/>
                        </a:rPr>
                        <a:t>--</a:t>
                      </a:r>
                    </a:p>
                  </a:txBody>
                  <a:tcPr anchor="ctr">
                    <a:solidFill>
                      <a:srgbClr val="005361">
                        <a:alpha val="15000"/>
                      </a:srgbClr>
                    </a:solidFill>
                  </a:tcPr>
                </a:tc>
                <a:tc>
                  <a:txBody>
                    <a:bodyPr/>
                    <a:lstStyle/>
                    <a:p>
                      <a:pPr algn="ctr"/>
                      <a:r>
                        <a:rPr lang="en-US" sz="1400" dirty="0"/>
                        <a:t>--</a:t>
                      </a:r>
                      <a:endParaRPr lang="en-US" sz="1400" b="0" dirty="0">
                        <a:solidFill>
                          <a:schemeClr val="tx1"/>
                        </a:solidFill>
                        <a:latin typeface="+mn-lt"/>
                      </a:endParaRPr>
                    </a:p>
                  </a:txBody>
                  <a:tcPr anchor="ctr">
                    <a:solidFill>
                      <a:srgbClr val="005361">
                        <a:alpha val="15000"/>
                      </a:srgbClr>
                    </a:solidFill>
                  </a:tcPr>
                </a:tc>
                <a:tc>
                  <a:txBody>
                    <a:bodyPr/>
                    <a:lstStyle/>
                    <a:p>
                      <a:pPr algn="ctr"/>
                      <a:r>
                        <a:rPr lang="en-US" sz="1400" b="0" dirty="0" smtClean="0">
                          <a:solidFill>
                            <a:schemeClr val="tx1"/>
                          </a:solidFill>
                          <a:latin typeface="+mn-lt"/>
                        </a:rPr>
                        <a:t>--</a:t>
                      </a:r>
                      <a:endParaRPr lang="en-US" sz="1400" b="0" dirty="0">
                        <a:solidFill>
                          <a:schemeClr val="tx1"/>
                        </a:solidFill>
                        <a:latin typeface="+mn-lt"/>
                      </a:endParaRPr>
                    </a:p>
                  </a:txBody>
                  <a:tcPr anchor="ctr">
                    <a:solidFill>
                      <a:srgbClr val="005361">
                        <a:alpha val="15000"/>
                      </a:srgbClr>
                    </a:solidFill>
                  </a:tcPr>
                </a:tc>
                <a:extLst>
                  <a:ext uri="{0D108BD9-81ED-4DB2-BD59-A6C34878D82A}">
                    <a16:rowId xmlns:a16="http://schemas.microsoft.com/office/drawing/2014/main" val="834679524"/>
                  </a:ext>
                </a:extLst>
              </a:tr>
              <a:tr h="559753">
                <a:tc>
                  <a:txBody>
                    <a:bodyPr/>
                    <a:lstStyle/>
                    <a:p>
                      <a:r>
                        <a:rPr lang="en-US" sz="1400" dirty="0"/>
                        <a:t>Rethink</a:t>
                      </a:r>
                      <a:r>
                        <a:rPr lang="en-US" sz="1400" baseline="0" dirty="0"/>
                        <a:t> Church</a:t>
                      </a:r>
                      <a:endParaRPr lang="en-US" sz="1400" dirty="0">
                        <a:solidFill>
                          <a:schemeClr val="tx1"/>
                        </a:solidFill>
                      </a:endParaRPr>
                    </a:p>
                  </a:txBody>
                  <a:tcPr anchor="ctr">
                    <a:solidFill>
                      <a:srgbClr val="005361">
                        <a:alpha val="40000"/>
                      </a:srgbClr>
                    </a:solidFill>
                  </a:tcPr>
                </a:tc>
                <a:tc>
                  <a:txBody>
                    <a:bodyPr/>
                    <a:lstStyle/>
                    <a:p>
                      <a:pPr algn="ctr"/>
                      <a:r>
                        <a:rPr lang="en-US" sz="1400" dirty="0"/>
                        <a:t>109,049</a:t>
                      </a:r>
                      <a:endParaRPr lang="en-US" sz="1400" b="0" dirty="0">
                        <a:solidFill>
                          <a:schemeClr val="tx1"/>
                        </a:solidFill>
                        <a:latin typeface="+mn-lt"/>
                      </a:endParaRPr>
                    </a:p>
                  </a:txBody>
                  <a:tcPr anchor="ctr">
                    <a:solidFill>
                      <a:srgbClr val="005361">
                        <a:alpha val="40000"/>
                      </a:srgbClr>
                    </a:solidFill>
                  </a:tcPr>
                </a:tc>
                <a:tc>
                  <a:txBody>
                    <a:bodyPr/>
                    <a:lstStyle/>
                    <a:p>
                      <a:pPr algn="ctr"/>
                      <a:r>
                        <a:rPr lang="en-US" sz="1400" b="0" dirty="0" smtClean="0">
                          <a:solidFill>
                            <a:schemeClr val="tx1"/>
                          </a:solidFill>
                          <a:latin typeface="+mn-lt"/>
                        </a:rPr>
                        <a:t>314,255</a:t>
                      </a:r>
                      <a:endParaRPr lang="en-US" sz="1400" b="0" dirty="0">
                        <a:solidFill>
                          <a:schemeClr val="tx1"/>
                        </a:solidFill>
                        <a:latin typeface="+mn-lt"/>
                      </a:endParaRPr>
                    </a:p>
                  </a:txBody>
                  <a:tcPr anchor="ctr">
                    <a:solidFill>
                      <a:srgbClr val="005361">
                        <a:alpha val="40000"/>
                      </a:srgbClr>
                    </a:solidFill>
                  </a:tcPr>
                </a:tc>
                <a:tc>
                  <a:txBody>
                    <a:bodyPr/>
                    <a:lstStyle/>
                    <a:p>
                      <a:pPr algn="ctr"/>
                      <a:r>
                        <a:rPr lang="en-US" sz="1400" b="0" dirty="0">
                          <a:solidFill>
                            <a:schemeClr val="tx1"/>
                          </a:solidFill>
                          <a:latin typeface="+mn-lt"/>
                        </a:rPr>
                        <a:t>12,879</a:t>
                      </a:r>
                    </a:p>
                  </a:txBody>
                  <a:tcPr anchor="ctr">
                    <a:solidFill>
                      <a:srgbClr val="005361">
                        <a:alpha val="40000"/>
                      </a:srgbClr>
                    </a:solidFill>
                  </a:tcPr>
                </a:tc>
                <a:tc>
                  <a:txBody>
                    <a:bodyPr/>
                    <a:lstStyle/>
                    <a:p>
                      <a:pPr algn="ctr"/>
                      <a:r>
                        <a:rPr lang="en-US" sz="1400" b="0" dirty="0">
                          <a:solidFill>
                            <a:schemeClr val="tx1"/>
                          </a:solidFill>
                          <a:latin typeface="+mn-lt"/>
                        </a:rPr>
                        <a:t>19,400</a:t>
                      </a:r>
                    </a:p>
                  </a:txBody>
                  <a:tcPr anchor="ctr">
                    <a:solidFill>
                      <a:srgbClr val="005361">
                        <a:alpha val="40000"/>
                      </a:srgbClr>
                    </a:solidFill>
                  </a:tcPr>
                </a:tc>
                <a:tc>
                  <a:txBody>
                    <a:bodyPr/>
                    <a:lstStyle/>
                    <a:p>
                      <a:pPr algn="ctr"/>
                      <a:r>
                        <a:rPr lang="en-US" sz="1400" b="0" dirty="0">
                          <a:solidFill>
                            <a:schemeClr val="tx1"/>
                          </a:solidFill>
                          <a:latin typeface="+mn-lt"/>
                        </a:rPr>
                        <a:t>20,032</a:t>
                      </a:r>
                    </a:p>
                  </a:txBody>
                  <a:tcPr anchor="ctr">
                    <a:solidFill>
                      <a:srgbClr val="005361">
                        <a:alpha val="40000"/>
                      </a:srgbClr>
                    </a:solidFill>
                  </a:tcPr>
                </a:tc>
                <a:tc>
                  <a:txBody>
                    <a:bodyPr/>
                    <a:lstStyle/>
                    <a:p>
                      <a:pPr algn="ctr"/>
                      <a:r>
                        <a:rPr lang="en-US" sz="1400" b="0" dirty="0">
                          <a:solidFill>
                            <a:schemeClr val="tx1"/>
                          </a:solidFill>
                          <a:latin typeface="+mn-lt"/>
                        </a:rPr>
                        <a:t>1,500</a:t>
                      </a:r>
                    </a:p>
                  </a:txBody>
                  <a:tcPr anchor="ctr">
                    <a:solidFill>
                      <a:srgbClr val="005361">
                        <a:alpha val="40000"/>
                      </a:srgbClr>
                    </a:solidFill>
                  </a:tcPr>
                </a:tc>
                <a:tc>
                  <a:txBody>
                    <a:bodyPr/>
                    <a:lstStyle/>
                    <a:p>
                      <a:pPr algn="ctr"/>
                      <a:r>
                        <a:rPr lang="en-US" sz="1400" dirty="0"/>
                        <a:t>--</a:t>
                      </a:r>
                      <a:endParaRPr lang="en-US" sz="1400" b="0" dirty="0">
                        <a:solidFill>
                          <a:schemeClr val="tx1"/>
                        </a:solidFill>
                        <a:latin typeface="+mn-lt"/>
                      </a:endParaRPr>
                    </a:p>
                  </a:txBody>
                  <a:tcPr anchor="ctr">
                    <a:solidFill>
                      <a:srgbClr val="005361">
                        <a:alpha val="40000"/>
                      </a:srgbClr>
                    </a:solidFill>
                  </a:tcPr>
                </a:tc>
                <a:tc>
                  <a:txBody>
                    <a:bodyPr/>
                    <a:lstStyle/>
                    <a:p>
                      <a:pPr algn="ctr"/>
                      <a:r>
                        <a:rPr lang="en-US" sz="1400" b="0" dirty="0" smtClean="0">
                          <a:solidFill>
                            <a:schemeClr val="tx1"/>
                          </a:solidFill>
                          <a:latin typeface="+mn-lt"/>
                        </a:rPr>
                        <a:t>--</a:t>
                      </a:r>
                      <a:endParaRPr lang="en-US" sz="1400" b="0" dirty="0">
                        <a:solidFill>
                          <a:schemeClr val="tx1"/>
                        </a:solidFill>
                        <a:latin typeface="+mn-lt"/>
                      </a:endParaRPr>
                    </a:p>
                  </a:txBody>
                  <a:tcPr anchor="ctr">
                    <a:solidFill>
                      <a:srgbClr val="005361">
                        <a:alpha val="40000"/>
                      </a:srgbClr>
                    </a:solidFill>
                  </a:tcPr>
                </a:tc>
                <a:extLst>
                  <a:ext uri="{0D108BD9-81ED-4DB2-BD59-A6C34878D82A}">
                    <a16:rowId xmlns:a16="http://schemas.microsoft.com/office/drawing/2014/main" val="1696278628"/>
                  </a:ext>
                </a:extLst>
              </a:tr>
              <a:tr h="559753">
                <a:tc>
                  <a:txBody>
                    <a:bodyPr/>
                    <a:lstStyle/>
                    <a:p>
                      <a:r>
                        <a:rPr lang="en-US" sz="1400" dirty="0"/>
                        <a:t>UMC Giving</a:t>
                      </a:r>
                      <a:endParaRPr lang="en-US" sz="1400" dirty="0">
                        <a:solidFill>
                          <a:schemeClr val="tx1"/>
                        </a:solidFill>
                      </a:endParaRPr>
                    </a:p>
                  </a:txBody>
                  <a:tcPr anchor="ctr">
                    <a:solidFill>
                      <a:srgbClr val="005361">
                        <a:alpha val="15000"/>
                      </a:srgbClr>
                    </a:solidFill>
                  </a:tcPr>
                </a:tc>
                <a:tc>
                  <a:txBody>
                    <a:bodyPr/>
                    <a:lstStyle/>
                    <a:p>
                      <a:pPr algn="ctr"/>
                      <a:r>
                        <a:rPr lang="en-US" sz="1400" dirty="0"/>
                        <a:t>118,275</a:t>
                      </a:r>
                      <a:endParaRPr lang="en-US" sz="1400" b="0" dirty="0">
                        <a:solidFill>
                          <a:schemeClr val="tx1"/>
                        </a:solidFill>
                        <a:latin typeface="+mn-lt"/>
                      </a:endParaRPr>
                    </a:p>
                  </a:txBody>
                  <a:tcPr anchor="ctr">
                    <a:solidFill>
                      <a:srgbClr val="005361">
                        <a:alpha val="15000"/>
                      </a:srgbClr>
                    </a:solidFill>
                  </a:tcPr>
                </a:tc>
                <a:tc>
                  <a:txBody>
                    <a:bodyPr/>
                    <a:lstStyle/>
                    <a:p>
                      <a:pPr algn="ctr"/>
                      <a:r>
                        <a:rPr lang="en-US" sz="1400" b="0" dirty="0">
                          <a:solidFill>
                            <a:schemeClr val="tx1"/>
                          </a:solidFill>
                          <a:latin typeface="+mn-lt"/>
                        </a:rPr>
                        <a:t>1,008,337</a:t>
                      </a:r>
                    </a:p>
                  </a:txBody>
                  <a:tcPr anchor="ctr">
                    <a:solidFill>
                      <a:srgbClr val="005361">
                        <a:alpha val="15000"/>
                      </a:srgbClr>
                    </a:solidFill>
                  </a:tcPr>
                </a:tc>
                <a:tc>
                  <a:txBody>
                    <a:bodyPr/>
                    <a:lstStyle/>
                    <a:p>
                      <a:pPr algn="ctr"/>
                      <a:r>
                        <a:rPr lang="en-US" sz="1400" b="0" dirty="0">
                          <a:solidFill>
                            <a:schemeClr val="tx1"/>
                          </a:solidFill>
                          <a:latin typeface="+mn-lt"/>
                        </a:rPr>
                        <a:t>--</a:t>
                      </a:r>
                    </a:p>
                  </a:txBody>
                  <a:tcPr anchor="ctr">
                    <a:solidFill>
                      <a:srgbClr val="005361">
                        <a:alpha val="15000"/>
                      </a:srgbClr>
                    </a:solidFill>
                  </a:tcPr>
                </a:tc>
                <a:tc>
                  <a:txBody>
                    <a:bodyPr/>
                    <a:lstStyle/>
                    <a:p>
                      <a:pPr algn="ctr"/>
                      <a:r>
                        <a:rPr lang="en-US" sz="1400" b="0" dirty="0">
                          <a:solidFill>
                            <a:schemeClr val="tx1"/>
                          </a:solidFill>
                          <a:latin typeface="+mn-lt"/>
                        </a:rPr>
                        <a:t>--</a:t>
                      </a:r>
                    </a:p>
                  </a:txBody>
                  <a:tcPr anchor="ctr">
                    <a:solidFill>
                      <a:srgbClr val="005361">
                        <a:alpha val="15000"/>
                      </a:srgbClr>
                    </a:solidFill>
                  </a:tcPr>
                </a:tc>
                <a:tc>
                  <a:txBody>
                    <a:bodyPr/>
                    <a:lstStyle/>
                    <a:p>
                      <a:pPr algn="ctr"/>
                      <a:r>
                        <a:rPr lang="en-US" sz="1400" dirty="0"/>
                        <a:t>--</a:t>
                      </a:r>
                      <a:endParaRPr lang="en-US" sz="1400" b="0" dirty="0">
                        <a:solidFill>
                          <a:schemeClr val="tx1"/>
                        </a:solidFill>
                        <a:latin typeface="+mn-lt"/>
                      </a:endParaRPr>
                    </a:p>
                  </a:txBody>
                  <a:tcPr anchor="ctr">
                    <a:solidFill>
                      <a:srgbClr val="005361">
                        <a:alpha val="15000"/>
                      </a:srgbClr>
                    </a:solidFill>
                  </a:tcPr>
                </a:tc>
                <a:tc>
                  <a:txBody>
                    <a:bodyPr/>
                    <a:lstStyle/>
                    <a:p>
                      <a:pPr algn="ctr"/>
                      <a:r>
                        <a:rPr lang="en-US" sz="1400" dirty="0"/>
                        <a:t>--</a:t>
                      </a:r>
                      <a:endParaRPr lang="en-US" sz="1400" b="0" dirty="0">
                        <a:solidFill>
                          <a:schemeClr val="tx1"/>
                        </a:solidFill>
                        <a:latin typeface="+mn-lt"/>
                      </a:endParaRPr>
                    </a:p>
                  </a:txBody>
                  <a:tcPr anchor="ctr">
                    <a:solidFill>
                      <a:srgbClr val="005361">
                        <a:alpha val="15000"/>
                      </a:srgbClr>
                    </a:solidFill>
                  </a:tcPr>
                </a:tc>
                <a:tc>
                  <a:txBody>
                    <a:bodyPr/>
                    <a:lstStyle/>
                    <a:p>
                      <a:pPr algn="ctr"/>
                      <a:r>
                        <a:rPr lang="en-US" sz="1400" dirty="0"/>
                        <a:t>--</a:t>
                      </a:r>
                      <a:endParaRPr lang="en-US" sz="1400" b="0" dirty="0">
                        <a:solidFill>
                          <a:schemeClr val="tx1"/>
                        </a:solidFill>
                        <a:latin typeface="+mn-lt"/>
                      </a:endParaRPr>
                    </a:p>
                  </a:txBody>
                  <a:tcPr anchor="ctr">
                    <a:solidFill>
                      <a:srgbClr val="005361">
                        <a:alpha val="15000"/>
                      </a:srgbClr>
                    </a:solidFill>
                  </a:tcPr>
                </a:tc>
                <a:tc>
                  <a:txBody>
                    <a:bodyPr/>
                    <a:lstStyle/>
                    <a:p>
                      <a:pPr algn="ctr"/>
                      <a:r>
                        <a:rPr lang="en-US" sz="1400" b="0" dirty="0" smtClean="0">
                          <a:solidFill>
                            <a:schemeClr val="tx1"/>
                          </a:solidFill>
                          <a:latin typeface="+mn-lt"/>
                        </a:rPr>
                        <a:t>--</a:t>
                      </a:r>
                      <a:endParaRPr lang="en-US" sz="1400" b="0" dirty="0">
                        <a:solidFill>
                          <a:schemeClr val="tx1"/>
                        </a:solidFill>
                        <a:latin typeface="+mn-lt"/>
                      </a:endParaRPr>
                    </a:p>
                  </a:txBody>
                  <a:tcPr anchor="ctr">
                    <a:solidFill>
                      <a:srgbClr val="005361">
                        <a:alpha val="15000"/>
                      </a:srgbClr>
                    </a:solidFill>
                  </a:tcPr>
                </a:tc>
                <a:extLst>
                  <a:ext uri="{0D108BD9-81ED-4DB2-BD59-A6C34878D82A}">
                    <a16:rowId xmlns:a16="http://schemas.microsoft.com/office/drawing/2014/main" val="4200408854"/>
                  </a:ext>
                </a:extLst>
              </a:tr>
            </a:tbl>
          </a:graphicData>
        </a:graphic>
      </p:graphicFrame>
      <p:sp>
        <p:nvSpPr>
          <p:cNvPr id="3" name="TextBox 2"/>
          <p:cNvSpPr txBox="1"/>
          <p:nvPr/>
        </p:nvSpPr>
        <p:spPr>
          <a:xfrm>
            <a:off x="1072180" y="1208314"/>
            <a:ext cx="10118333" cy="923330"/>
          </a:xfrm>
          <a:prstGeom prst="rect">
            <a:avLst/>
          </a:prstGeom>
          <a:noFill/>
        </p:spPr>
        <p:txBody>
          <a:bodyPr wrap="square" rtlCol="0">
            <a:spAutoFit/>
          </a:bodyPr>
          <a:lstStyle/>
          <a:p>
            <a:r>
              <a:rPr lang="en-US" dirty="0" smtClean="0"/>
              <a:t>Across all agency channels, we had 1.67 </a:t>
            </a:r>
            <a:r>
              <a:rPr lang="en-US" dirty="0"/>
              <a:t>million social media followers </a:t>
            </a:r>
            <a:r>
              <a:rPr lang="en-US" dirty="0" smtClean="0"/>
              <a:t>and 6.4 </a:t>
            </a:r>
            <a:r>
              <a:rPr lang="en-US" dirty="0"/>
              <a:t>million </a:t>
            </a:r>
            <a:r>
              <a:rPr lang="en-US" dirty="0" smtClean="0"/>
              <a:t>engagements. Here’s a sampling of the largest channels.</a:t>
            </a:r>
            <a:endParaRPr lang="en-US" dirty="0"/>
          </a:p>
          <a:p>
            <a:endParaRPr lang="en-US" dirty="0"/>
          </a:p>
        </p:txBody>
      </p:sp>
    </p:spTree>
    <p:extLst>
      <p:ext uri="{BB962C8B-B14F-4D97-AF65-F5344CB8AC3E}">
        <p14:creationId xmlns:p14="http://schemas.microsoft.com/office/powerpoint/2010/main" val="1028422412"/>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1"/>
          </p:nvPr>
        </p:nvSpPr>
        <p:spPr/>
        <p:txBody>
          <a:bodyPr/>
          <a:lstStyle/>
          <a:p>
            <a:r>
              <a:rPr lang="en-US" sz="5400" dirty="0"/>
              <a:t>Advertising &amp; Promotion</a:t>
            </a:r>
          </a:p>
        </p:txBody>
      </p:sp>
      <p:pic>
        <p:nvPicPr>
          <p:cNvPr id="3" name="Picture 2" descr="A busy street with cars and people&#10;&#10;Description automatically generated with low confidence">
            <a:extLst>
              <a:ext uri="{FF2B5EF4-FFF2-40B4-BE49-F238E27FC236}">
                <a16:creationId xmlns:a16="http://schemas.microsoft.com/office/drawing/2014/main" id="{29CDA862-3AC1-E34A-A5FD-0BF3728E0DCD}"/>
              </a:ext>
            </a:extLst>
          </p:cNvPr>
          <p:cNvPicPr>
            <a:picLocks noChangeAspect="1"/>
          </p:cNvPicPr>
          <p:nvPr/>
        </p:nvPicPr>
        <p:blipFill>
          <a:blip r:embed="rId2" cstate="print">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tretch>
            <a:fillRect/>
          </a:stretch>
        </p:blipFill>
        <p:spPr>
          <a:xfrm>
            <a:off x="363429" y="2784014"/>
            <a:ext cx="3427028" cy="2292663"/>
          </a:xfrm>
          <a:prstGeom prst="rect">
            <a:avLst/>
          </a:prstGeom>
        </p:spPr>
      </p:pic>
      <p:sp>
        <p:nvSpPr>
          <p:cNvPr id="4" name="TextBox 3">
            <a:extLst>
              <a:ext uri="{FF2B5EF4-FFF2-40B4-BE49-F238E27FC236}">
                <a16:creationId xmlns:a16="http://schemas.microsoft.com/office/drawing/2014/main" id="{0E0B65EA-56BD-484A-9214-FF097645F772}"/>
              </a:ext>
            </a:extLst>
          </p:cNvPr>
          <p:cNvSpPr txBox="1"/>
          <p:nvPr/>
        </p:nvSpPr>
        <p:spPr>
          <a:xfrm>
            <a:off x="6400800" y="373224"/>
            <a:ext cx="5467739" cy="3139321"/>
          </a:xfrm>
          <a:prstGeom prst="rect">
            <a:avLst/>
          </a:prstGeom>
          <a:noFill/>
        </p:spPr>
        <p:txBody>
          <a:bodyPr wrap="square" rtlCol="0">
            <a:spAutoFit/>
          </a:bodyPr>
          <a:lstStyle/>
          <a:p>
            <a:pPr lvl="1"/>
            <a:r>
              <a:rPr lang="en-US" dirty="0" smtClean="0"/>
              <a:t>A </a:t>
            </a:r>
            <a:r>
              <a:rPr lang="en-US" dirty="0"/>
              <a:t>new Neighborly Community national </a:t>
            </a:r>
            <a:r>
              <a:rPr lang="en-US" dirty="0" smtClean="0"/>
              <a:t>advertising campaign, including Times Square and TikTok ads,  </a:t>
            </a:r>
            <a:r>
              <a:rPr lang="en-US" dirty="0"/>
              <a:t>took a lighthearted approach to help individuals struggling with isolation and </a:t>
            </a:r>
            <a:r>
              <a:rPr lang="en-US" dirty="0" smtClean="0"/>
              <a:t>loneliness and invited them to </a:t>
            </a:r>
            <a:r>
              <a:rPr lang="en-US" dirty="0"/>
              <a:t>find meaningful connections with others through The United Methodist Church. </a:t>
            </a:r>
            <a:endParaRPr lang="en-US" dirty="0" smtClean="0"/>
          </a:p>
          <a:p>
            <a:pPr lvl="1"/>
            <a:endParaRPr lang="en-US" dirty="0"/>
          </a:p>
          <a:p>
            <a:pPr lvl="1"/>
            <a:r>
              <a:rPr lang="en-US" dirty="0" smtClean="0"/>
              <a:t>Our </a:t>
            </a:r>
            <a:r>
              <a:rPr lang="en-US" dirty="0"/>
              <a:t>disaster relief and national advertising campaigns garnered nearly </a:t>
            </a:r>
            <a:r>
              <a:rPr lang="en-US" b="1" dirty="0"/>
              <a:t>459 million impressions</a:t>
            </a:r>
            <a:r>
              <a:rPr lang="en-US" dirty="0"/>
              <a:t>. </a:t>
            </a:r>
          </a:p>
          <a:p>
            <a:pPr lvl="1"/>
            <a:endParaRPr lang="en-US" dirty="0"/>
          </a:p>
        </p:txBody>
      </p:sp>
      <p:pic>
        <p:nvPicPr>
          <p:cNvPr id="5" name="Picture Placeholder 4"/>
          <p:cNvPicPr>
            <a:picLocks noGrp="1" noChangeAspect="1"/>
          </p:cNvPicPr>
          <p:nvPr>
            <p:ph type="pic" sz="quarter" idx="12"/>
          </p:nvPr>
        </p:nvPicPr>
        <p:blipFill>
          <a:blip r:embed="rId4">
            <a:extLst>
              <a:ext uri="{BEBA8EAE-BF5A-486C-A8C5-ECC9F3942E4B}">
                <a14:imgProps xmlns:a14="http://schemas.microsoft.com/office/drawing/2010/main">
                  <a14:imgLayer r:embed="rId5">
                    <a14:imgEffect>
                      <a14:saturation sat="7000"/>
                    </a14:imgEffect>
                  </a14:imgLayer>
                </a14:imgProps>
              </a:ext>
            </a:extLst>
          </a:blip>
          <a:srcRect t="21928" b="21928"/>
          <a:stretch>
            <a:fillRect/>
          </a:stretch>
        </p:blipFill>
        <p:spPr>
          <a:xfrm>
            <a:off x="896673" y="560"/>
            <a:ext cx="3189678" cy="2583053"/>
          </a:xfrm>
          <a:prstGeom prst="rect">
            <a:avLst/>
          </a:prstGeom>
        </p:spPr>
      </p:pic>
      <p:pic>
        <p:nvPicPr>
          <p:cNvPr id="2" name="Picture 1"/>
          <p:cNvPicPr>
            <a:picLocks noChangeAspect="1"/>
          </p:cNvPicPr>
          <p:nvPr/>
        </p:nvPicPr>
        <p:blipFill>
          <a:blip r:embed="rId6">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tretch>
            <a:fillRect/>
          </a:stretch>
        </p:blipFill>
        <p:spPr>
          <a:xfrm>
            <a:off x="4607142" y="956163"/>
            <a:ext cx="2013633" cy="4004767"/>
          </a:xfrm>
          <a:prstGeom prst="rect">
            <a:avLst/>
          </a:prstGeom>
        </p:spPr>
      </p:pic>
    </p:spTree>
    <p:extLst>
      <p:ext uri="{BB962C8B-B14F-4D97-AF65-F5344CB8AC3E}">
        <p14:creationId xmlns:p14="http://schemas.microsoft.com/office/powerpoint/2010/main" val="2057096008"/>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58135" y="425335"/>
            <a:ext cx="3661709" cy="2138697"/>
          </a:xfrm>
          <a:prstGeom prst="rect">
            <a:avLst/>
          </a:prstGeom>
        </p:spPr>
      </p:pic>
      <p:sp>
        <p:nvSpPr>
          <p:cNvPr id="3" name="Text Placeholder 2"/>
          <p:cNvSpPr>
            <a:spLocks noGrp="1"/>
          </p:cNvSpPr>
          <p:nvPr>
            <p:ph type="body" sz="quarter" idx="11"/>
          </p:nvPr>
        </p:nvSpPr>
        <p:spPr>
          <a:xfrm>
            <a:off x="3819844" y="302378"/>
            <a:ext cx="7600950" cy="1552575"/>
          </a:xfrm>
        </p:spPr>
        <p:txBody>
          <a:bodyPr>
            <a:noAutofit/>
          </a:bodyPr>
          <a:lstStyle/>
          <a:p>
            <a:r>
              <a:rPr lang="en-US" sz="5400" dirty="0" smtClean="0">
                <a:solidFill>
                  <a:srgbClr val="025159"/>
                </a:solidFill>
              </a:rPr>
              <a:t>#BeUMC</a:t>
            </a:r>
            <a:endParaRPr lang="en-US" sz="5400" dirty="0">
              <a:solidFill>
                <a:srgbClr val="025159"/>
              </a:solidFill>
            </a:endParaRPr>
          </a:p>
        </p:txBody>
      </p:sp>
      <p:sp>
        <p:nvSpPr>
          <p:cNvPr id="20" name="Text Placeholder 19"/>
          <p:cNvSpPr>
            <a:spLocks noGrp="1"/>
          </p:cNvSpPr>
          <p:nvPr>
            <p:ph type="body" sz="quarter" idx="10"/>
          </p:nvPr>
        </p:nvSpPr>
        <p:spPr>
          <a:xfrm>
            <a:off x="4072368" y="1696896"/>
            <a:ext cx="3804052" cy="1891271"/>
          </a:xfrm>
        </p:spPr>
        <p:txBody>
          <a:bodyPr>
            <a:noAutofit/>
          </a:bodyPr>
          <a:lstStyle/>
          <a:p>
            <a:pPr fontAlgn="b">
              <a:lnSpc>
                <a:spcPct val="120000"/>
              </a:lnSpc>
              <a:spcBef>
                <a:spcPts val="0"/>
              </a:spcBef>
            </a:pPr>
            <a:r>
              <a:rPr lang="en-US" sz="1400" dirty="0" smtClean="0"/>
              <a:t>Monthly themes:  </a:t>
            </a:r>
            <a:r>
              <a:rPr lang="en-US" sz="1400" dirty="0"/>
              <a:t>faithful, missional, committed, spirit-filled, deeply rooted, connected, resilient, justice-seeking and </a:t>
            </a:r>
            <a:r>
              <a:rPr lang="en-US" sz="1400" dirty="0" smtClean="0"/>
              <a:t>diverse</a:t>
            </a:r>
          </a:p>
          <a:p>
            <a:pPr fontAlgn="b">
              <a:lnSpc>
                <a:spcPct val="120000"/>
              </a:lnSpc>
              <a:spcBef>
                <a:spcPts val="0"/>
              </a:spcBef>
            </a:pPr>
            <a:endParaRPr lang="en-US" sz="1400" dirty="0" smtClean="0"/>
          </a:p>
          <a:p>
            <a:pPr fontAlgn="b">
              <a:lnSpc>
                <a:spcPct val="120000"/>
              </a:lnSpc>
              <a:spcBef>
                <a:spcPts val="0"/>
              </a:spcBef>
            </a:pPr>
            <a:r>
              <a:rPr lang="en-US" sz="1400" dirty="0" smtClean="0"/>
              <a:t>The words </a:t>
            </a:r>
            <a:r>
              <a:rPr lang="en-US" sz="1400" dirty="0"/>
              <a:t>reflect </a:t>
            </a:r>
            <a:r>
              <a:rPr lang="en-US" sz="1400" dirty="0" smtClean="0"/>
              <a:t>the </a:t>
            </a:r>
            <a:r>
              <a:rPr lang="en-US" sz="1400" dirty="0"/>
              <a:t>denomination’s faith, heritage, values, history, diversity, connection and global footprint. </a:t>
            </a:r>
          </a:p>
        </p:txBody>
      </p:sp>
      <p:sp>
        <p:nvSpPr>
          <p:cNvPr id="2" name="Text Placeholder 1"/>
          <p:cNvSpPr>
            <a:spLocks noGrp="1"/>
          </p:cNvSpPr>
          <p:nvPr>
            <p:ph type="body" sz="quarter" idx="4294967295"/>
          </p:nvPr>
        </p:nvSpPr>
        <p:spPr>
          <a:xfrm>
            <a:off x="285226" y="3872340"/>
            <a:ext cx="11610363" cy="2047875"/>
          </a:xfrm>
          <a:prstGeom prst="rect">
            <a:avLst/>
          </a:prstGeom>
        </p:spPr>
        <p:txBody>
          <a:bodyPr>
            <a:normAutofit fontScale="85000" lnSpcReduction="20000"/>
          </a:bodyPr>
          <a:lstStyle/>
          <a:p>
            <a:pPr marL="0" indent="0">
              <a:lnSpc>
                <a:spcPct val="120000"/>
              </a:lnSpc>
              <a:spcBef>
                <a:spcPts val="0"/>
              </a:spcBef>
              <a:buNone/>
            </a:pPr>
            <a:r>
              <a:rPr lang="en-US" sz="1800" dirty="0">
                <a:solidFill>
                  <a:schemeClr val="bg1"/>
                </a:solidFill>
              </a:rPr>
              <a:t>B</a:t>
            </a:r>
            <a:r>
              <a:rPr lang="en-US" sz="1800" dirty="0" smtClean="0">
                <a:solidFill>
                  <a:schemeClr val="bg1"/>
                </a:solidFill>
              </a:rPr>
              <a:t>uilding </a:t>
            </a:r>
            <a:r>
              <a:rPr lang="en-US" sz="1800" dirty="0">
                <a:solidFill>
                  <a:schemeClr val="bg1"/>
                </a:solidFill>
              </a:rPr>
              <a:t>on the People of God </a:t>
            </a:r>
            <a:r>
              <a:rPr lang="en-US" sz="1800" dirty="0" smtClean="0">
                <a:solidFill>
                  <a:schemeClr val="bg1"/>
                </a:solidFill>
              </a:rPr>
              <a:t>campaign, a #BeUMC call-to-action hashtag  was introduced to invite members </a:t>
            </a:r>
            <a:r>
              <a:rPr lang="en-US" sz="1800" dirty="0">
                <a:solidFill>
                  <a:schemeClr val="bg1"/>
                </a:solidFill>
              </a:rPr>
              <a:t>to embody the church’s values, embrace its aspirations and remain with The United Methodist Church even in difficult times</a:t>
            </a:r>
            <a:r>
              <a:rPr lang="en-US" sz="1800" dirty="0" smtClean="0">
                <a:solidFill>
                  <a:schemeClr val="bg1"/>
                </a:solidFill>
              </a:rPr>
              <a:t>. </a:t>
            </a:r>
            <a:r>
              <a:rPr lang="en-US" sz="1800" dirty="0">
                <a:solidFill>
                  <a:schemeClr val="bg1"/>
                </a:solidFill>
              </a:rPr>
              <a:t>The </a:t>
            </a:r>
            <a:r>
              <a:rPr lang="en-US" sz="1800" dirty="0" smtClean="0">
                <a:solidFill>
                  <a:schemeClr val="bg1"/>
                </a:solidFill>
              </a:rPr>
              <a:t>grassroots campaign celebrates </a:t>
            </a:r>
            <a:r>
              <a:rPr lang="en-US" sz="1800" dirty="0">
                <a:solidFill>
                  <a:schemeClr val="bg1"/>
                </a:solidFill>
              </a:rPr>
              <a:t>key attributes that are important to United Methodists and </a:t>
            </a:r>
            <a:r>
              <a:rPr lang="en-US" sz="1800" dirty="0" smtClean="0">
                <a:solidFill>
                  <a:schemeClr val="bg1"/>
                </a:solidFill>
              </a:rPr>
              <a:t>served </a:t>
            </a:r>
            <a:r>
              <a:rPr lang="en-US" sz="1800" dirty="0">
                <a:solidFill>
                  <a:schemeClr val="bg1"/>
                </a:solidFill>
              </a:rPr>
              <a:t>as a reminder of how they are living out their </a:t>
            </a:r>
            <a:r>
              <a:rPr lang="en-US" sz="1800" dirty="0" smtClean="0">
                <a:solidFill>
                  <a:schemeClr val="bg1"/>
                </a:solidFill>
              </a:rPr>
              <a:t>faith.</a:t>
            </a:r>
          </a:p>
          <a:p>
            <a:pPr marL="0" indent="0">
              <a:lnSpc>
                <a:spcPct val="120000"/>
              </a:lnSpc>
              <a:spcBef>
                <a:spcPts val="0"/>
              </a:spcBef>
              <a:buNone/>
            </a:pPr>
            <a:endParaRPr lang="en-US" sz="1800" dirty="0">
              <a:solidFill>
                <a:schemeClr val="bg1"/>
              </a:solidFill>
            </a:endParaRPr>
          </a:p>
          <a:p>
            <a:pPr marL="0" indent="0">
              <a:lnSpc>
                <a:spcPct val="120000"/>
              </a:lnSpc>
              <a:spcBef>
                <a:spcPts val="0"/>
              </a:spcBef>
              <a:buNone/>
            </a:pPr>
            <a:r>
              <a:rPr lang="en-US" sz="1800" dirty="0">
                <a:solidFill>
                  <a:schemeClr val="bg1"/>
                </a:solidFill>
              </a:rPr>
              <a:t>Starting in </a:t>
            </a:r>
            <a:r>
              <a:rPr lang="en-US" sz="1800" dirty="0" smtClean="0">
                <a:solidFill>
                  <a:schemeClr val="bg1"/>
                </a:solidFill>
              </a:rPr>
              <a:t>July 2021, </a:t>
            </a:r>
            <a:r>
              <a:rPr lang="en-US" sz="1800" dirty="0">
                <a:solidFill>
                  <a:schemeClr val="bg1"/>
                </a:solidFill>
              </a:rPr>
              <a:t>#BeUMC appeared </a:t>
            </a:r>
            <a:r>
              <a:rPr lang="en-US" sz="1800" dirty="0" smtClean="0">
                <a:solidFill>
                  <a:schemeClr val="bg1"/>
                </a:solidFill>
              </a:rPr>
              <a:t>on </a:t>
            </a:r>
            <a:r>
              <a:rPr lang="en-US" sz="1800" dirty="0">
                <a:solidFill>
                  <a:schemeClr val="bg1"/>
                </a:solidFill>
              </a:rPr>
              <a:t>denominational </a:t>
            </a:r>
            <a:r>
              <a:rPr lang="en-US" sz="1800" dirty="0" smtClean="0">
                <a:solidFill>
                  <a:schemeClr val="bg1"/>
                </a:solidFill>
              </a:rPr>
              <a:t>advertising. Local </a:t>
            </a:r>
            <a:r>
              <a:rPr lang="en-US" sz="1800" dirty="0">
                <a:solidFill>
                  <a:schemeClr val="bg1"/>
                </a:solidFill>
              </a:rPr>
              <a:t>churches, annual conferences and other United Methodist organizations were provided a collection of r</a:t>
            </a:r>
            <a:r>
              <a:rPr lang="en-US" sz="1800" dirty="0" smtClean="0">
                <a:solidFill>
                  <a:schemeClr val="bg1"/>
                </a:solidFill>
              </a:rPr>
              <a:t>eady-to-use graphics and videos </a:t>
            </a:r>
            <a:r>
              <a:rPr lang="en-US" sz="1800" dirty="0">
                <a:solidFill>
                  <a:schemeClr val="bg1"/>
                </a:solidFill>
              </a:rPr>
              <a:t>for use on their websites and social media channels. Churches and members were also encouraged to incorporate the hashtag as they shared their stories of faith in their own social media posts</a:t>
            </a:r>
            <a:r>
              <a:rPr lang="en-US" sz="1800" dirty="0" smtClean="0">
                <a:solidFill>
                  <a:schemeClr val="bg1"/>
                </a:solidFill>
              </a:rPr>
              <a:t>. All campaign components were </a:t>
            </a:r>
            <a:r>
              <a:rPr lang="en-US" sz="1800" dirty="0">
                <a:solidFill>
                  <a:schemeClr val="bg1"/>
                </a:solidFill>
              </a:rPr>
              <a:t>designed to be customized according to context and used at all levels of the denomination.</a:t>
            </a:r>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28944" y="1610686"/>
            <a:ext cx="4063056" cy="2063693"/>
          </a:xfrm>
          <a:prstGeom prst="rect">
            <a:avLst/>
          </a:prstGeom>
        </p:spPr>
      </p:pic>
    </p:spTree>
    <p:extLst>
      <p:ext uri="{BB962C8B-B14F-4D97-AF65-F5344CB8AC3E}">
        <p14:creationId xmlns:p14="http://schemas.microsoft.com/office/powerpoint/2010/main" val="4163867913"/>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6857411" y="677902"/>
            <a:ext cx="4772025" cy="4569011"/>
          </a:xfrm>
        </p:spPr>
        <p:txBody>
          <a:bodyPr>
            <a:normAutofit fontScale="77500" lnSpcReduction="20000"/>
          </a:bodyPr>
          <a:lstStyle/>
          <a:p>
            <a:r>
              <a:rPr lang="en-US" sz="3100" dirty="0" smtClean="0"/>
              <a:t>Highlights</a:t>
            </a:r>
          </a:p>
          <a:p>
            <a:endParaRPr lang="en-US" sz="3100" dirty="0"/>
          </a:p>
          <a:p>
            <a:pPr marL="457200" indent="-457200">
              <a:lnSpc>
                <a:spcPct val="120000"/>
              </a:lnSpc>
              <a:spcBef>
                <a:spcPts val="0"/>
              </a:spcBef>
              <a:buFont typeface="Arial" panose="020B0604020202020204" pitchFamily="34" charset="0"/>
              <a:buChar char="•"/>
            </a:pPr>
            <a:r>
              <a:rPr lang="en-US" sz="2600" b="1" dirty="0"/>
              <a:t>76%</a:t>
            </a:r>
            <a:r>
              <a:rPr lang="en-US" sz="2600" dirty="0"/>
              <a:t> increase in download activity over 2020 in pastor and leader kit resources</a:t>
            </a:r>
          </a:p>
          <a:p>
            <a:pPr marL="1143000" lvl="1" indent="-457200">
              <a:lnSpc>
                <a:spcPct val="120000"/>
              </a:lnSpc>
              <a:spcBef>
                <a:spcPts val="0"/>
              </a:spcBef>
              <a:buFont typeface="Courier New" panose="02070309020205020404" pitchFamily="49" charset="0"/>
              <a:buChar char="o"/>
            </a:pPr>
            <a:r>
              <a:rPr lang="en-US" sz="2600" dirty="0"/>
              <a:t>54K in 2020 vs </a:t>
            </a:r>
            <a:r>
              <a:rPr lang="en-US" sz="2600" b="1" dirty="0"/>
              <a:t>96K</a:t>
            </a:r>
            <a:r>
              <a:rPr lang="en-US" sz="2600" dirty="0"/>
              <a:t> in 2021</a:t>
            </a:r>
          </a:p>
          <a:p>
            <a:pPr marL="457200" indent="-457200">
              <a:lnSpc>
                <a:spcPct val="120000"/>
              </a:lnSpc>
              <a:spcBef>
                <a:spcPts val="0"/>
              </a:spcBef>
              <a:buFont typeface="Arial" panose="020B0604020202020204" pitchFamily="34" charset="0"/>
              <a:buChar char="•"/>
            </a:pPr>
            <a:r>
              <a:rPr lang="en-US" sz="2600" b="1" dirty="0"/>
              <a:t>33%</a:t>
            </a:r>
            <a:r>
              <a:rPr lang="en-US" sz="2600" dirty="0"/>
              <a:t> increase in overall Special Sunday giving over 2020</a:t>
            </a:r>
          </a:p>
          <a:p>
            <a:pPr marL="1143000" lvl="1" indent="-457200">
              <a:lnSpc>
                <a:spcPct val="120000"/>
              </a:lnSpc>
              <a:spcBef>
                <a:spcPts val="0"/>
              </a:spcBef>
              <a:buFont typeface="Courier New" panose="02070309020205020404" pitchFamily="49" charset="0"/>
              <a:buChar char="o"/>
            </a:pPr>
            <a:r>
              <a:rPr lang="en-US" sz="2600" dirty="0"/>
              <a:t>2.4M in 2020 vs </a:t>
            </a:r>
            <a:r>
              <a:rPr lang="en-US" sz="2600" b="1" dirty="0"/>
              <a:t>3.3M</a:t>
            </a:r>
            <a:r>
              <a:rPr lang="en-US" sz="2600" dirty="0"/>
              <a:t> in 2021. Our efforts, alongside the efforts of the affiliated UM agencies has assisted in this increase due to amplified promotion plans</a:t>
            </a:r>
          </a:p>
          <a:p>
            <a:pPr marL="457200" indent="-457200">
              <a:lnSpc>
                <a:spcPct val="120000"/>
              </a:lnSpc>
              <a:spcBef>
                <a:spcPts val="0"/>
              </a:spcBef>
              <a:buFont typeface="Arial" panose="020B0604020202020204" pitchFamily="34" charset="0"/>
              <a:buChar char="•"/>
            </a:pPr>
            <a:r>
              <a:rPr lang="en-US" sz="2600" b="1" dirty="0"/>
              <a:t>2%</a:t>
            </a:r>
            <a:r>
              <a:rPr lang="en-US" sz="2600" dirty="0"/>
              <a:t> </a:t>
            </a:r>
            <a:r>
              <a:rPr lang="en-US" sz="2600" dirty="0" smtClean="0"/>
              <a:t>conversion </a:t>
            </a:r>
            <a:r>
              <a:rPr lang="en-US" sz="2600" dirty="0"/>
              <a:t>rate on overall promotion of funds in 2021 </a:t>
            </a:r>
          </a:p>
          <a:p>
            <a:endParaRPr lang="en-US" dirty="0"/>
          </a:p>
        </p:txBody>
      </p:sp>
      <p:sp>
        <p:nvSpPr>
          <p:cNvPr id="6" name="Text Placeholder 5"/>
          <p:cNvSpPr>
            <a:spLocks noGrp="1"/>
          </p:cNvSpPr>
          <p:nvPr>
            <p:ph type="body" sz="quarter" idx="11"/>
          </p:nvPr>
        </p:nvSpPr>
        <p:spPr/>
        <p:txBody>
          <a:bodyPr/>
          <a:lstStyle/>
          <a:p>
            <a:r>
              <a:rPr lang="en-US" sz="5400" dirty="0"/>
              <a:t>Connectional Giving</a:t>
            </a:r>
          </a:p>
        </p:txBody>
      </p:sp>
      <p:graphicFrame>
        <p:nvGraphicFramePr>
          <p:cNvPr id="8" name="Table 7"/>
          <p:cNvGraphicFramePr>
            <a:graphicFrameLocks noGrp="1"/>
          </p:cNvGraphicFramePr>
          <p:nvPr>
            <p:extLst/>
          </p:nvPr>
        </p:nvGraphicFramePr>
        <p:xfrm>
          <a:off x="657652" y="687041"/>
          <a:ext cx="5031542" cy="3656743"/>
        </p:xfrm>
        <a:graphic>
          <a:graphicData uri="http://schemas.openxmlformats.org/drawingml/2006/table">
            <a:tbl>
              <a:tblPr firstRow="1" bandRow="1">
                <a:tableStyleId>{5C22544A-7EE6-4342-B048-85BDC9FD1C3A}</a:tableStyleId>
              </a:tblPr>
              <a:tblGrid>
                <a:gridCol w="2131017">
                  <a:extLst>
                    <a:ext uri="{9D8B030D-6E8A-4147-A177-3AD203B41FA5}">
                      <a16:colId xmlns:a16="http://schemas.microsoft.com/office/drawing/2014/main" val="1234858104"/>
                    </a:ext>
                  </a:extLst>
                </a:gridCol>
                <a:gridCol w="1003067">
                  <a:extLst>
                    <a:ext uri="{9D8B030D-6E8A-4147-A177-3AD203B41FA5}">
                      <a16:colId xmlns:a16="http://schemas.microsoft.com/office/drawing/2014/main" val="4046316012"/>
                    </a:ext>
                  </a:extLst>
                </a:gridCol>
                <a:gridCol w="908861">
                  <a:extLst>
                    <a:ext uri="{9D8B030D-6E8A-4147-A177-3AD203B41FA5}">
                      <a16:colId xmlns:a16="http://schemas.microsoft.com/office/drawing/2014/main" val="571089022"/>
                    </a:ext>
                  </a:extLst>
                </a:gridCol>
                <a:gridCol w="988597">
                  <a:extLst>
                    <a:ext uri="{9D8B030D-6E8A-4147-A177-3AD203B41FA5}">
                      <a16:colId xmlns:a16="http://schemas.microsoft.com/office/drawing/2014/main" val="2675997397"/>
                    </a:ext>
                  </a:extLst>
                </a:gridCol>
              </a:tblGrid>
              <a:tr h="276921">
                <a:tc>
                  <a:txBody>
                    <a:bodyPr/>
                    <a:lstStyle/>
                    <a:p>
                      <a:endParaRPr lang="en-US" sz="1400" dirty="0"/>
                    </a:p>
                  </a:txBody>
                  <a:tcPr marL="67987" marR="67987" marT="33993" marB="33993">
                    <a:solidFill>
                      <a:srgbClr val="8C0B23"/>
                    </a:solidFill>
                  </a:tcPr>
                </a:tc>
                <a:tc>
                  <a:txBody>
                    <a:bodyPr/>
                    <a:lstStyle/>
                    <a:p>
                      <a:pPr algn="ctr"/>
                      <a:r>
                        <a:rPr lang="en-US" sz="1400" dirty="0"/>
                        <a:t>Downloads</a:t>
                      </a:r>
                    </a:p>
                  </a:txBody>
                  <a:tcPr marL="67987" marR="67987" marT="33993" marB="33993">
                    <a:solidFill>
                      <a:srgbClr val="8C0B23"/>
                    </a:solidFill>
                  </a:tcPr>
                </a:tc>
                <a:tc>
                  <a:txBody>
                    <a:bodyPr/>
                    <a:lstStyle/>
                    <a:p>
                      <a:pPr algn="ctr"/>
                      <a:r>
                        <a:rPr lang="en-US" sz="1400" dirty="0"/>
                        <a:t>Page views</a:t>
                      </a:r>
                    </a:p>
                  </a:txBody>
                  <a:tcPr marL="67987" marR="67987" marT="33993" marB="33993">
                    <a:solidFill>
                      <a:srgbClr val="8C0B23"/>
                    </a:solidFill>
                  </a:tcPr>
                </a:tc>
                <a:tc>
                  <a:txBody>
                    <a:bodyPr/>
                    <a:lstStyle/>
                    <a:p>
                      <a:r>
                        <a:rPr lang="en-US" sz="1400" dirty="0"/>
                        <a:t>Conversion</a:t>
                      </a:r>
                    </a:p>
                  </a:txBody>
                  <a:tcPr marL="67987" marR="67987" marT="33993" marB="33993">
                    <a:solidFill>
                      <a:srgbClr val="8C0B23"/>
                    </a:solidFill>
                  </a:tcPr>
                </a:tc>
                <a:extLst>
                  <a:ext uri="{0D108BD9-81ED-4DB2-BD59-A6C34878D82A}">
                    <a16:rowId xmlns:a16="http://schemas.microsoft.com/office/drawing/2014/main" val="334302965"/>
                  </a:ext>
                </a:extLst>
              </a:tr>
              <a:tr h="276921">
                <a:tc>
                  <a:txBody>
                    <a:bodyPr/>
                    <a:lstStyle/>
                    <a:p>
                      <a:r>
                        <a:rPr lang="en-US" sz="1400" dirty="0"/>
                        <a:t>Human Relations Day</a:t>
                      </a:r>
                    </a:p>
                  </a:txBody>
                  <a:tcPr marL="67987" marR="67987" marT="33993" marB="33993">
                    <a:solidFill>
                      <a:srgbClr val="8C0B23">
                        <a:alpha val="40000"/>
                      </a:srgbClr>
                    </a:solidFill>
                  </a:tcPr>
                </a:tc>
                <a:tc>
                  <a:txBody>
                    <a:bodyPr/>
                    <a:lstStyle/>
                    <a:p>
                      <a:pPr algn="l" fontAlgn="b"/>
                      <a:r>
                        <a:rPr lang="en-US" sz="1400" b="0" i="0" u="none" strike="noStrike" dirty="0">
                          <a:effectLst/>
                          <a:latin typeface="+mn-lt"/>
                          <a:ea typeface="Adobe Fan Heiti Std B" panose="020B0700000000000000" pitchFamily="34" charset="-128"/>
                        </a:rPr>
                        <a:t>        15,637 </a:t>
                      </a:r>
                    </a:p>
                  </a:txBody>
                  <a:tcPr marL="0" marR="0" marT="0" marB="0" anchor="b">
                    <a:solidFill>
                      <a:srgbClr val="8C0B23">
                        <a:alpha val="40000"/>
                      </a:srgbClr>
                    </a:solidFill>
                  </a:tcPr>
                </a:tc>
                <a:tc>
                  <a:txBody>
                    <a:bodyPr/>
                    <a:lstStyle/>
                    <a:p>
                      <a:pPr algn="l" fontAlgn="b"/>
                      <a:r>
                        <a:rPr lang="en-US" sz="1400" b="0" i="0" u="none" strike="noStrike" dirty="0">
                          <a:effectLst/>
                          <a:latin typeface="+mn-lt"/>
                        </a:rPr>
                        <a:t>      128,060 </a:t>
                      </a:r>
                    </a:p>
                  </a:txBody>
                  <a:tcPr marL="0" marR="0" marT="0" marB="0" anchor="b">
                    <a:solidFill>
                      <a:srgbClr val="8C0B23">
                        <a:alpha val="40000"/>
                      </a:srgbClr>
                    </a:solidFill>
                  </a:tcPr>
                </a:tc>
                <a:tc>
                  <a:txBody>
                    <a:bodyPr/>
                    <a:lstStyle/>
                    <a:p>
                      <a:pPr algn="ctr" fontAlgn="b"/>
                      <a:r>
                        <a:rPr lang="en-US" sz="1400" b="0" i="0" u="none" strike="noStrike" dirty="0">
                          <a:effectLst/>
                          <a:latin typeface="+mn-lt"/>
                        </a:rPr>
                        <a:t>12%</a:t>
                      </a:r>
                    </a:p>
                  </a:txBody>
                  <a:tcPr marL="0" marR="0" marT="0" marB="0" anchor="b">
                    <a:solidFill>
                      <a:srgbClr val="8C0B23">
                        <a:alpha val="40000"/>
                      </a:srgbClr>
                    </a:solidFill>
                  </a:tcPr>
                </a:tc>
                <a:extLst>
                  <a:ext uri="{0D108BD9-81ED-4DB2-BD59-A6C34878D82A}">
                    <a16:rowId xmlns:a16="http://schemas.microsoft.com/office/drawing/2014/main" val="520114664"/>
                  </a:ext>
                </a:extLst>
              </a:tr>
              <a:tr h="276921">
                <a:tc>
                  <a:txBody>
                    <a:bodyPr/>
                    <a:lstStyle/>
                    <a:p>
                      <a:r>
                        <a:rPr lang="en-US" sz="1400" dirty="0"/>
                        <a:t>UMCOR Sunday</a:t>
                      </a:r>
                    </a:p>
                  </a:txBody>
                  <a:tcPr marL="67987" marR="67987" marT="33993" marB="33993">
                    <a:solidFill>
                      <a:srgbClr val="8C0B23">
                        <a:alpha val="20000"/>
                      </a:srgbClr>
                    </a:solidFill>
                  </a:tcPr>
                </a:tc>
                <a:tc>
                  <a:txBody>
                    <a:bodyPr/>
                    <a:lstStyle/>
                    <a:p>
                      <a:pPr algn="l" fontAlgn="b"/>
                      <a:r>
                        <a:rPr lang="en-US" sz="1400" b="0" i="0" u="none" strike="noStrike" dirty="0">
                          <a:effectLst/>
                          <a:latin typeface="+mn-lt"/>
                          <a:ea typeface="Adobe Fan Heiti Std B" panose="020B0700000000000000" pitchFamily="34" charset="-128"/>
                        </a:rPr>
                        <a:t>        10,699 </a:t>
                      </a:r>
                    </a:p>
                  </a:txBody>
                  <a:tcPr marL="0" marR="0" marT="0" marB="0" anchor="b">
                    <a:solidFill>
                      <a:srgbClr val="8C0B23">
                        <a:alpha val="20000"/>
                      </a:srgbClr>
                    </a:solidFill>
                  </a:tcPr>
                </a:tc>
                <a:tc>
                  <a:txBody>
                    <a:bodyPr/>
                    <a:lstStyle/>
                    <a:p>
                      <a:pPr algn="l" fontAlgn="b"/>
                      <a:r>
                        <a:rPr lang="en-US" sz="1400" b="0" i="0" u="none" strike="noStrike" dirty="0">
                          <a:effectLst/>
                          <a:latin typeface="+mn-lt"/>
                        </a:rPr>
                        <a:t>      173,222 </a:t>
                      </a:r>
                    </a:p>
                  </a:txBody>
                  <a:tcPr marL="0" marR="0" marT="0" marB="0" anchor="b">
                    <a:solidFill>
                      <a:srgbClr val="8C0B23">
                        <a:alpha val="20000"/>
                      </a:srgbClr>
                    </a:solidFill>
                  </a:tcPr>
                </a:tc>
                <a:tc>
                  <a:txBody>
                    <a:bodyPr/>
                    <a:lstStyle/>
                    <a:p>
                      <a:pPr algn="ctr" fontAlgn="b"/>
                      <a:r>
                        <a:rPr lang="en-US" sz="1400" b="0" i="0" u="none" strike="noStrike" dirty="0">
                          <a:effectLst/>
                          <a:latin typeface="+mn-lt"/>
                        </a:rPr>
                        <a:t>6%</a:t>
                      </a:r>
                    </a:p>
                  </a:txBody>
                  <a:tcPr marL="0" marR="0" marT="0" marB="0" anchor="b">
                    <a:solidFill>
                      <a:srgbClr val="8C0B23">
                        <a:alpha val="20000"/>
                      </a:srgbClr>
                    </a:solidFill>
                  </a:tcPr>
                </a:tc>
                <a:extLst>
                  <a:ext uri="{0D108BD9-81ED-4DB2-BD59-A6C34878D82A}">
                    <a16:rowId xmlns:a16="http://schemas.microsoft.com/office/drawing/2014/main" val="2434431964"/>
                  </a:ext>
                </a:extLst>
              </a:tr>
              <a:tr h="323846">
                <a:tc>
                  <a:txBody>
                    <a:bodyPr/>
                    <a:lstStyle/>
                    <a:p>
                      <a:r>
                        <a:rPr lang="en-US" sz="1400" dirty="0"/>
                        <a:t>Native American Ministries</a:t>
                      </a:r>
                    </a:p>
                  </a:txBody>
                  <a:tcPr marL="67987" marR="67987" marT="33993" marB="33993">
                    <a:solidFill>
                      <a:srgbClr val="8C0B23">
                        <a:alpha val="40000"/>
                      </a:srgbClr>
                    </a:solidFill>
                  </a:tcPr>
                </a:tc>
                <a:tc>
                  <a:txBody>
                    <a:bodyPr/>
                    <a:lstStyle/>
                    <a:p>
                      <a:pPr algn="l" fontAlgn="b"/>
                      <a:r>
                        <a:rPr lang="en-US" sz="1400" b="0" i="0" u="none" strike="noStrike" dirty="0">
                          <a:effectLst/>
                          <a:latin typeface="+mn-lt"/>
                          <a:ea typeface="Adobe Fan Heiti Std B" panose="020B0700000000000000" pitchFamily="34" charset="-128"/>
                        </a:rPr>
                        <a:t>        11,113 </a:t>
                      </a:r>
                    </a:p>
                  </a:txBody>
                  <a:tcPr marL="0" marR="0" marT="0" marB="0" anchor="b">
                    <a:solidFill>
                      <a:srgbClr val="8C0B23">
                        <a:alpha val="40000"/>
                      </a:srgbClr>
                    </a:solidFill>
                  </a:tcPr>
                </a:tc>
                <a:tc>
                  <a:txBody>
                    <a:bodyPr/>
                    <a:lstStyle/>
                    <a:p>
                      <a:pPr algn="l" fontAlgn="b"/>
                      <a:r>
                        <a:rPr lang="en-US" sz="1400" b="0" i="0" u="none" strike="noStrike" dirty="0">
                          <a:effectLst/>
                          <a:latin typeface="+mn-lt"/>
                        </a:rPr>
                        <a:t>      155,487 </a:t>
                      </a:r>
                    </a:p>
                  </a:txBody>
                  <a:tcPr marL="0" marR="0" marT="0" marB="0" anchor="b">
                    <a:solidFill>
                      <a:srgbClr val="8C0B23">
                        <a:alpha val="40000"/>
                      </a:srgbClr>
                    </a:solidFill>
                  </a:tcPr>
                </a:tc>
                <a:tc>
                  <a:txBody>
                    <a:bodyPr/>
                    <a:lstStyle/>
                    <a:p>
                      <a:pPr algn="ctr" fontAlgn="b"/>
                      <a:r>
                        <a:rPr lang="en-US" sz="1400" b="0" i="0" u="none" strike="noStrike" dirty="0">
                          <a:effectLst/>
                          <a:latin typeface="+mn-lt"/>
                        </a:rPr>
                        <a:t>7%</a:t>
                      </a:r>
                    </a:p>
                  </a:txBody>
                  <a:tcPr marL="0" marR="0" marT="0" marB="0" anchor="b">
                    <a:solidFill>
                      <a:srgbClr val="8C0B23">
                        <a:alpha val="40000"/>
                      </a:srgbClr>
                    </a:solidFill>
                  </a:tcPr>
                </a:tc>
                <a:extLst>
                  <a:ext uri="{0D108BD9-81ED-4DB2-BD59-A6C34878D82A}">
                    <a16:rowId xmlns:a16="http://schemas.microsoft.com/office/drawing/2014/main" val="1243083028"/>
                  </a:ext>
                </a:extLst>
              </a:tr>
              <a:tr h="306077">
                <a:tc>
                  <a:txBody>
                    <a:bodyPr/>
                    <a:lstStyle/>
                    <a:p>
                      <a:r>
                        <a:rPr lang="en-US" sz="1400" dirty="0"/>
                        <a:t>Peace with Justice Sunday</a:t>
                      </a:r>
                    </a:p>
                  </a:txBody>
                  <a:tcPr marL="67987" marR="67987" marT="33993" marB="33993">
                    <a:solidFill>
                      <a:srgbClr val="8C0B23">
                        <a:alpha val="20000"/>
                      </a:srgbClr>
                    </a:solidFill>
                  </a:tcPr>
                </a:tc>
                <a:tc>
                  <a:txBody>
                    <a:bodyPr/>
                    <a:lstStyle/>
                    <a:p>
                      <a:pPr algn="l" fontAlgn="b"/>
                      <a:r>
                        <a:rPr lang="en-US" sz="1400" b="0" i="0" u="none" strike="noStrike" dirty="0">
                          <a:effectLst/>
                          <a:latin typeface="+mn-lt"/>
                          <a:ea typeface="Adobe Fan Heiti Std B" panose="020B0700000000000000" pitchFamily="34" charset="-128"/>
                        </a:rPr>
                        <a:t>          2,944 </a:t>
                      </a:r>
                    </a:p>
                  </a:txBody>
                  <a:tcPr marL="0" marR="0" marT="0" marB="0" anchor="b">
                    <a:solidFill>
                      <a:srgbClr val="8C0B23">
                        <a:alpha val="20000"/>
                      </a:srgbClr>
                    </a:solidFill>
                  </a:tcPr>
                </a:tc>
                <a:tc>
                  <a:txBody>
                    <a:bodyPr/>
                    <a:lstStyle/>
                    <a:p>
                      <a:pPr algn="l" fontAlgn="b"/>
                      <a:r>
                        <a:rPr lang="en-US" sz="1400" b="0" i="0" u="none" strike="noStrike" dirty="0">
                          <a:effectLst/>
                          <a:latin typeface="+mn-lt"/>
                        </a:rPr>
                        <a:t>        71,682 </a:t>
                      </a:r>
                    </a:p>
                  </a:txBody>
                  <a:tcPr marL="0" marR="0" marT="0" marB="0" anchor="b">
                    <a:solidFill>
                      <a:srgbClr val="8C0B23">
                        <a:alpha val="20000"/>
                      </a:srgbClr>
                    </a:solidFill>
                  </a:tcPr>
                </a:tc>
                <a:tc>
                  <a:txBody>
                    <a:bodyPr/>
                    <a:lstStyle/>
                    <a:p>
                      <a:pPr algn="ctr" fontAlgn="b"/>
                      <a:r>
                        <a:rPr lang="en-US" sz="1400" b="0" i="0" u="none" strike="noStrike" dirty="0">
                          <a:effectLst/>
                          <a:latin typeface="+mn-lt"/>
                        </a:rPr>
                        <a:t>4%</a:t>
                      </a:r>
                    </a:p>
                  </a:txBody>
                  <a:tcPr marL="0" marR="0" marT="0" marB="0" anchor="b">
                    <a:solidFill>
                      <a:srgbClr val="8C0B23">
                        <a:alpha val="20000"/>
                      </a:srgbClr>
                    </a:solidFill>
                  </a:tcPr>
                </a:tc>
                <a:extLst>
                  <a:ext uri="{0D108BD9-81ED-4DB2-BD59-A6C34878D82A}">
                    <a16:rowId xmlns:a16="http://schemas.microsoft.com/office/drawing/2014/main" val="1101021484"/>
                  </a:ext>
                </a:extLst>
              </a:tr>
              <a:tr h="276921">
                <a:tc>
                  <a:txBody>
                    <a:bodyPr/>
                    <a:lstStyle/>
                    <a:p>
                      <a:r>
                        <a:rPr lang="en-US" sz="1400" dirty="0"/>
                        <a:t>World Communion Day</a:t>
                      </a:r>
                    </a:p>
                  </a:txBody>
                  <a:tcPr marL="67987" marR="67987" marT="33993" marB="33993">
                    <a:solidFill>
                      <a:srgbClr val="8C0B23">
                        <a:alpha val="40000"/>
                      </a:srgbClr>
                    </a:solidFill>
                  </a:tcPr>
                </a:tc>
                <a:tc>
                  <a:txBody>
                    <a:bodyPr/>
                    <a:lstStyle/>
                    <a:p>
                      <a:pPr algn="l" fontAlgn="b"/>
                      <a:r>
                        <a:rPr lang="en-US" sz="1400" b="0" i="0" u="none" strike="noStrike" dirty="0">
                          <a:effectLst/>
                          <a:latin typeface="+mn-lt"/>
                          <a:ea typeface="Adobe Fan Heiti Std B" panose="020B0700000000000000" pitchFamily="34" charset="-128"/>
                        </a:rPr>
                        <a:t>        58,065 </a:t>
                      </a:r>
                    </a:p>
                  </a:txBody>
                  <a:tcPr marL="0" marR="0" marT="0" marB="0" anchor="b">
                    <a:solidFill>
                      <a:srgbClr val="8C0B23">
                        <a:alpha val="40000"/>
                      </a:srgbClr>
                    </a:solidFill>
                  </a:tcPr>
                </a:tc>
                <a:tc>
                  <a:txBody>
                    <a:bodyPr/>
                    <a:lstStyle/>
                    <a:p>
                      <a:pPr algn="l" fontAlgn="b"/>
                      <a:r>
                        <a:rPr lang="en-US" sz="1400" b="0" i="0" u="none" strike="noStrike" dirty="0">
                          <a:effectLst/>
                          <a:latin typeface="+mn-lt"/>
                        </a:rPr>
                        <a:t>      129,562 </a:t>
                      </a:r>
                    </a:p>
                  </a:txBody>
                  <a:tcPr marL="0" marR="0" marT="0" marB="0" anchor="b">
                    <a:solidFill>
                      <a:srgbClr val="8C0B23">
                        <a:alpha val="40000"/>
                      </a:srgbClr>
                    </a:solidFill>
                  </a:tcPr>
                </a:tc>
                <a:tc>
                  <a:txBody>
                    <a:bodyPr/>
                    <a:lstStyle/>
                    <a:p>
                      <a:pPr algn="ctr" fontAlgn="b"/>
                      <a:r>
                        <a:rPr lang="en-US" sz="1400" b="0" i="0" u="none" strike="noStrike" dirty="0">
                          <a:effectLst/>
                          <a:latin typeface="+mn-lt"/>
                        </a:rPr>
                        <a:t>45%</a:t>
                      </a:r>
                    </a:p>
                  </a:txBody>
                  <a:tcPr marL="0" marR="0" marT="0" marB="0" anchor="b">
                    <a:solidFill>
                      <a:srgbClr val="8C0B23">
                        <a:alpha val="40000"/>
                      </a:srgbClr>
                    </a:solidFill>
                  </a:tcPr>
                </a:tc>
                <a:extLst>
                  <a:ext uri="{0D108BD9-81ED-4DB2-BD59-A6C34878D82A}">
                    <a16:rowId xmlns:a16="http://schemas.microsoft.com/office/drawing/2014/main" val="3021918449"/>
                  </a:ext>
                </a:extLst>
              </a:tr>
              <a:tr h="185203">
                <a:tc>
                  <a:txBody>
                    <a:bodyPr/>
                    <a:lstStyle/>
                    <a:p>
                      <a:r>
                        <a:rPr lang="en-US" sz="1400" dirty="0"/>
                        <a:t>UM Student Day</a:t>
                      </a:r>
                    </a:p>
                  </a:txBody>
                  <a:tcPr marL="67987" marR="67987" marT="33993" marB="33993">
                    <a:solidFill>
                      <a:srgbClr val="8C0B23">
                        <a:alpha val="20000"/>
                      </a:srgbClr>
                    </a:solidFill>
                  </a:tcPr>
                </a:tc>
                <a:tc>
                  <a:txBody>
                    <a:bodyPr/>
                    <a:lstStyle/>
                    <a:p>
                      <a:pPr algn="l" fontAlgn="b"/>
                      <a:r>
                        <a:rPr lang="en-US" sz="1400" b="0" i="0" u="none" strike="noStrike" dirty="0">
                          <a:effectLst/>
                          <a:latin typeface="+mn-lt"/>
                          <a:ea typeface="Adobe Fan Heiti Std B" panose="020B0700000000000000" pitchFamily="34" charset="-128"/>
                        </a:rPr>
                        <a:t>          5,582 </a:t>
                      </a:r>
                    </a:p>
                  </a:txBody>
                  <a:tcPr marL="0" marR="0" marT="0" marB="0" anchor="b">
                    <a:solidFill>
                      <a:srgbClr val="8C0B23">
                        <a:alpha val="20000"/>
                      </a:srgbClr>
                    </a:solidFill>
                  </a:tcPr>
                </a:tc>
                <a:tc>
                  <a:txBody>
                    <a:bodyPr/>
                    <a:lstStyle/>
                    <a:p>
                      <a:pPr algn="l" fontAlgn="b"/>
                      <a:r>
                        <a:rPr lang="en-US" sz="1400" b="0" i="0" u="none" strike="noStrike" dirty="0">
                          <a:effectLst/>
                          <a:latin typeface="+mn-lt"/>
                        </a:rPr>
                        <a:t>        30,147 </a:t>
                      </a:r>
                    </a:p>
                  </a:txBody>
                  <a:tcPr marL="0" marR="0" marT="0" marB="0" anchor="b">
                    <a:solidFill>
                      <a:srgbClr val="8C0B23">
                        <a:alpha val="20000"/>
                      </a:srgbClr>
                    </a:solidFill>
                  </a:tcPr>
                </a:tc>
                <a:tc>
                  <a:txBody>
                    <a:bodyPr/>
                    <a:lstStyle/>
                    <a:p>
                      <a:pPr algn="ctr" fontAlgn="b"/>
                      <a:r>
                        <a:rPr lang="en-US" sz="1400" b="0" i="0" u="none" strike="noStrike" dirty="0">
                          <a:effectLst/>
                          <a:latin typeface="+mn-lt"/>
                        </a:rPr>
                        <a:t>19%</a:t>
                      </a:r>
                    </a:p>
                  </a:txBody>
                  <a:tcPr marL="0" marR="0" marT="0" marB="0" anchor="b">
                    <a:solidFill>
                      <a:srgbClr val="8C0B23">
                        <a:alpha val="20000"/>
                      </a:srgbClr>
                    </a:solidFill>
                  </a:tcPr>
                </a:tc>
                <a:extLst>
                  <a:ext uri="{0D108BD9-81ED-4DB2-BD59-A6C34878D82A}">
                    <a16:rowId xmlns:a16="http://schemas.microsoft.com/office/drawing/2014/main" val="1422454584"/>
                  </a:ext>
                </a:extLst>
              </a:tr>
              <a:tr h="276921">
                <a:tc>
                  <a:txBody>
                    <a:bodyPr/>
                    <a:lstStyle/>
                    <a:p>
                      <a:r>
                        <a:rPr lang="en-US" sz="1400" b="1" dirty="0" smtClean="0"/>
                        <a:t>Total</a:t>
                      </a:r>
                      <a:endParaRPr lang="en-US" sz="1400" dirty="0"/>
                    </a:p>
                  </a:txBody>
                  <a:tcPr marL="67987" marR="67987" marT="33993" marB="33993">
                    <a:solidFill>
                      <a:srgbClr val="8C0B23">
                        <a:alpha val="40000"/>
                      </a:srgbClr>
                    </a:solidFill>
                  </a:tcPr>
                </a:tc>
                <a:tc>
                  <a:txBody>
                    <a:bodyPr/>
                    <a:lstStyle/>
                    <a:p>
                      <a:pPr algn="l" fontAlgn="b"/>
                      <a:r>
                        <a:rPr lang="en-US" sz="1400" b="0" i="0" u="none" strike="noStrike" dirty="0">
                          <a:effectLst/>
                          <a:latin typeface="+mn-lt"/>
                          <a:ea typeface="Adobe Fan Heiti Std B" panose="020B0700000000000000" pitchFamily="34" charset="-128"/>
                        </a:rPr>
                        <a:t>      </a:t>
                      </a:r>
                      <a:r>
                        <a:rPr lang="en-US" sz="1400" b="1" i="0" u="none" strike="noStrike" dirty="0">
                          <a:effectLst/>
                          <a:latin typeface="+mn-lt"/>
                          <a:ea typeface="Adobe Fan Heiti Std B" panose="020B0700000000000000" pitchFamily="34" charset="-128"/>
                        </a:rPr>
                        <a:t>104,040</a:t>
                      </a:r>
                      <a:r>
                        <a:rPr lang="en-US" sz="1400" b="0" i="0" u="none" strike="noStrike" dirty="0">
                          <a:effectLst/>
                          <a:latin typeface="+mn-lt"/>
                          <a:ea typeface="Adobe Fan Heiti Std B" panose="020B0700000000000000" pitchFamily="34" charset="-128"/>
                        </a:rPr>
                        <a:t> </a:t>
                      </a:r>
                    </a:p>
                  </a:txBody>
                  <a:tcPr marL="0" marR="0" marT="0" marB="0" anchor="b">
                    <a:solidFill>
                      <a:srgbClr val="8C0B23">
                        <a:alpha val="40000"/>
                      </a:srgbClr>
                    </a:solidFill>
                  </a:tcPr>
                </a:tc>
                <a:tc>
                  <a:txBody>
                    <a:bodyPr/>
                    <a:lstStyle/>
                    <a:p>
                      <a:pPr algn="l" fontAlgn="b"/>
                      <a:r>
                        <a:rPr lang="en-US" sz="1400" b="1" i="0" u="none" strike="noStrike" dirty="0">
                          <a:effectLst/>
                          <a:latin typeface="+mn-lt"/>
                        </a:rPr>
                        <a:t>      688,160 </a:t>
                      </a:r>
                    </a:p>
                  </a:txBody>
                  <a:tcPr marL="0" marR="0" marT="0" marB="0" anchor="b">
                    <a:solidFill>
                      <a:srgbClr val="8C0B23">
                        <a:alpha val="40000"/>
                      </a:srgbClr>
                    </a:solidFill>
                  </a:tcPr>
                </a:tc>
                <a:tc>
                  <a:txBody>
                    <a:bodyPr/>
                    <a:lstStyle/>
                    <a:p>
                      <a:pPr algn="ctr" fontAlgn="b"/>
                      <a:r>
                        <a:rPr lang="en-US" sz="1400" b="1" i="0" u="none" strike="noStrike" dirty="0">
                          <a:effectLst/>
                          <a:latin typeface="+mn-lt"/>
                        </a:rPr>
                        <a:t>15%</a:t>
                      </a:r>
                    </a:p>
                  </a:txBody>
                  <a:tcPr marL="0" marR="0" marT="0" marB="0" anchor="b">
                    <a:solidFill>
                      <a:srgbClr val="8C0B23">
                        <a:alpha val="40000"/>
                      </a:srgbClr>
                    </a:solidFill>
                  </a:tcPr>
                </a:tc>
                <a:extLst>
                  <a:ext uri="{0D108BD9-81ED-4DB2-BD59-A6C34878D82A}">
                    <a16:rowId xmlns:a16="http://schemas.microsoft.com/office/drawing/2014/main" val="109035999"/>
                  </a:ext>
                </a:extLst>
              </a:tr>
              <a:tr h="276921">
                <a:tc>
                  <a:txBody>
                    <a:bodyPr/>
                    <a:lstStyle/>
                    <a:p>
                      <a:r>
                        <a:rPr lang="en-US" sz="1400" dirty="0"/>
                        <a:t>Special Sundays</a:t>
                      </a:r>
                    </a:p>
                  </a:txBody>
                  <a:tcPr marL="67987" marR="67987" marT="33993" marB="33993">
                    <a:solidFill>
                      <a:srgbClr val="8C0B23">
                        <a:alpha val="20000"/>
                      </a:srgbClr>
                    </a:solidFill>
                  </a:tcPr>
                </a:tc>
                <a:tc>
                  <a:txBody>
                    <a:bodyPr/>
                    <a:lstStyle/>
                    <a:p>
                      <a:pPr algn="l" fontAlgn="b"/>
                      <a:r>
                        <a:rPr lang="en-US" sz="1400" b="0" i="0" u="none" strike="noStrike" dirty="0">
                          <a:effectLst/>
                          <a:latin typeface="+mn-lt"/>
                        </a:rPr>
                        <a:t>      109,753 </a:t>
                      </a:r>
                    </a:p>
                  </a:txBody>
                  <a:tcPr marL="0" marR="0" marT="0" marB="0" anchor="b">
                    <a:solidFill>
                      <a:srgbClr val="8C0B23">
                        <a:alpha val="20000"/>
                      </a:srgbClr>
                    </a:solidFill>
                  </a:tcPr>
                </a:tc>
                <a:tc>
                  <a:txBody>
                    <a:bodyPr/>
                    <a:lstStyle/>
                    <a:p>
                      <a:pPr algn="l" fontAlgn="b"/>
                      <a:r>
                        <a:rPr lang="en-US" sz="1400" b="0" i="0" u="none" strike="noStrike" dirty="0">
                          <a:effectLst/>
                          <a:latin typeface="+mn-lt"/>
                        </a:rPr>
                        <a:t>      826,177 </a:t>
                      </a:r>
                    </a:p>
                  </a:txBody>
                  <a:tcPr marL="0" marR="0" marT="0" marB="0" anchor="b">
                    <a:solidFill>
                      <a:srgbClr val="8C0B23">
                        <a:alpha val="20000"/>
                      </a:srgbClr>
                    </a:solidFill>
                  </a:tcPr>
                </a:tc>
                <a:tc>
                  <a:txBody>
                    <a:bodyPr/>
                    <a:lstStyle/>
                    <a:p>
                      <a:pPr algn="ctr" fontAlgn="b"/>
                      <a:r>
                        <a:rPr lang="en-US" sz="1400" b="0" i="0" u="none" strike="noStrike" dirty="0">
                          <a:effectLst/>
                          <a:latin typeface="+mn-lt"/>
                        </a:rPr>
                        <a:t>13.3%</a:t>
                      </a:r>
                    </a:p>
                  </a:txBody>
                  <a:tcPr marL="0" marR="0" marT="0" marB="0" anchor="b">
                    <a:solidFill>
                      <a:srgbClr val="8C0B23">
                        <a:alpha val="20000"/>
                      </a:srgbClr>
                    </a:solidFill>
                  </a:tcPr>
                </a:tc>
                <a:extLst>
                  <a:ext uri="{0D108BD9-81ED-4DB2-BD59-A6C34878D82A}">
                    <a16:rowId xmlns:a16="http://schemas.microsoft.com/office/drawing/2014/main" val="3031329868"/>
                  </a:ext>
                </a:extLst>
              </a:tr>
              <a:tr h="276921">
                <a:tc>
                  <a:txBody>
                    <a:bodyPr/>
                    <a:lstStyle/>
                    <a:p>
                      <a:r>
                        <a:rPr lang="en-US" sz="1400" dirty="0"/>
                        <a:t>Promotion of Giving</a:t>
                      </a:r>
                    </a:p>
                  </a:txBody>
                  <a:tcPr marL="67987" marR="67987" marT="33993" marB="33993">
                    <a:solidFill>
                      <a:srgbClr val="8C0B23">
                        <a:alpha val="40000"/>
                      </a:srgbClr>
                    </a:solidFill>
                  </a:tcPr>
                </a:tc>
                <a:tc>
                  <a:txBody>
                    <a:bodyPr/>
                    <a:lstStyle/>
                    <a:p>
                      <a:pPr algn="l" fontAlgn="b"/>
                      <a:r>
                        <a:rPr lang="en-US" sz="1400" b="0" i="0" u="none" strike="noStrike" dirty="0">
                          <a:effectLst/>
                          <a:latin typeface="+mn-lt"/>
                        </a:rPr>
                        <a:t>        21,752 </a:t>
                      </a:r>
                    </a:p>
                  </a:txBody>
                  <a:tcPr marL="0" marR="0" marT="0" marB="0" anchor="b">
                    <a:solidFill>
                      <a:srgbClr val="8C0B23">
                        <a:alpha val="40000"/>
                      </a:srgbClr>
                    </a:solidFill>
                  </a:tcPr>
                </a:tc>
                <a:tc>
                  <a:txBody>
                    <a:bodyPr/>
                    <a:lstStyle/>
                    <a:p>
                      <a:pPr algn="l" fontAlgn="b"/>
                      <a:r>
                        <a:rPr lang="en-US" sz="1400" b="0" i="0" u="none" strike="noStrike" dirty="0">
                          <a:effectLst/>
                          <a:latin typeface="+mn-lt"/>
                        </a:rPr>
                        <a:t>   6,588,426 </a:t>
                      </a:r>
                    </a:p>
                  </a:txBody>
                  <a:tcPr marL="0" marR="0" marT="0" marB="0" anchor="b">
                    <a:solidFill>
                      <a:srgbClr val="8C0B23">
                        <a:alpha val="40000"/>
                      </a:srgbClr>
                    </a:solidFill>
                  </a:tcPr>
                </a:tc>
                <a:tc>
                  <a:txBody>
                    <a:bodyPr/>
                    <a:lstStyle/>
                    <a:p>
                      <a:pPr algn="ctr" fontAlgn="b"/>
                      <a:r>
                        <a:rPr lang="en-US" sz="1400" b="0" i="0" u="none" strike="noStrike" dirty="0">
                          <a:effectLst/>
                          <a:latin typeface="+mn-lt"/>
                        </a:rPr>
                        <a:t>0.3%</a:t>
                      </a:r>
                    </a:p>
                  </a:txBody>
                  <a:tcPr marL="0" marR="0" marT="0" marB="0" anchor="b">
                    <a:solidFill>
                      <a:srgbClr val="8C0B23">
                        <a:alpha val="40000"/>
                      </a:srgbClr>
                    </a:solidFill>
                  </a:tcPr>
                </a:tc>
                <a:extLst>
                  <a:ext uri="{0D108BD9-81ED-4DB2-BD59-A6C34878D82A}">
                    <a16:rowId xmlns:a16="http://schemas.microsoft.com/office/drawing/2014/main" val="1230328912"/>
                  </a:ext>
                </a:extLst>
              </a:tr>
              <a:tr h="276921">
                <a:tc>
                  <a:txBody>
                    <a:bodyPr/>
                    <a:lstStyle/>
                    <a:p>
                      <a:r>
                        <a:rPr lang="en-US" sz="1400" dirty="0"/>
                        <a:t>Advance</a:t>
                      </a:r>
                    </a:p>
                  </a:txBody>
                  <a:tcPr marL="67987" marR="67987" marT="33993" marB="33993">
                    <a:solidFill>
                      <a:srgbClr val="8C0B23">
                        <a:alpha val="20000"/>
                      </a:srgbClr>
                    </a:solidFill>
                  </a:tcPr>
                </a:tc>
                <a:tc>
                  <a:txBody>
                    <a:bodyPr/>
                    <a:lstStyle/>
                    <a:p>
                      <a:pPr algn="l" fontAlgn="b"/>
                      <a:r>
                        <a:rPr lang="en-US" sz="1400" b="0" i="0" u="none" strike="noStrike" dirty="0">
                          <a:effectLst/>
                          <a:latin typeface="+mn-lt"/>
                        </a:rPr>
                        <a:t>          4,256 </a:t>
                      </a:r>
                    </a:p>
                  </a:txBody>
                  <a:tcPr marL="0" marR="0" marT="0" marB="0" anchor="b">
                    <a:solidFill>
                      <a:srgbClr val="8C0B23">
                        <a:alpha val="20000"/>
                      </a:srgbClr>
                    </a:solidFill>
                  </a:tcPr>
                </a:tc>
                <a:tc>
                  <a:txBody>
                    <a:bodyPr/>
                    <a:lstStyle/>
                    <a:p>
                      <a:pPr algn="l" fontAlgn="b"/>
                      <a:r>
                        <a:rPr lang="en-US" sz="1400" b="0" i="0" u="none" strike="noStrike" dirty="0">
                          <a:effectLst/>
                          <a:latin typeface="+mn-lt"/>
                        </a:rPr>
                        <a:t>      628,504 </a:t>
                      </a:r>
                    </a:p>
                  </a:txBody>
                  <a:tcPr marL="0" marR="0" marT="0" marB="0" anchor="b">
                    <a:solidFill>
                      <a:srgbClr val="8C0B23">
                        <a:alpha val="20000"/>
                      </a:srgbClr>
                    </a:solidFill>
                  </a:tcPr>
                </a:tc>
                <a:tc>
                  <a:txBody>
                    <a:bodyPr/>
                    <a:lstStyle/>
                    <a:p>
                      <a:pPr algn="ctr" fontAlgn="b"/>
                      <a:r>
                        <a:rPr lang="en-US" sz="1400" b="0" i="0" u="none" strike="noStrike" dirty="0">
                          <a:effectLst/>
                          <a:latin typeface="+mn-lt"/>
                        </a:rPr>
                        <a:t>0.7%</a:t>
                      </a:r>
                    </a:p>
                  </a:txBody>
                  <a:tcPr marL="0" marR="0" marT="0" marB="0" anchor="b">
                    <a:solidFill>
                      <a:srgbClr val="8C0B23">
                        <a:alpha val="20000"/>
                      </a:srgbClr>
                    </a:solidFill>
                  </a:tcPr>
                </a:tc>
                <a:extLst>
                  <a:ext uri="{0D108BD9-81ED-4DB2-BD59-A6C34878D82A}">
                    <a16:rowId xmlns:a16="http://schemas.microsoft.com/office/drawing/2014/main" val="2044210"/>
                  </a:ext>
                </a:extLst>
              </a:tr>
              <a:tr h="276921">
                <a:tc>
                  <a:txBody>
                    <a:bodyPr/>
                    <a:lstStyle/>
                    <a:p>
                      <a:r>
                        <a:rPr lang="en-US" sz="1400" b="1" dirty="0"/>
                        <a:t>Total</a:t>
                      </a:r>
                    </a:p>
                  </a:txBody>
                  <a:tcPr marL="67987" marR="67987" marT="33993" marB="33993">
                    <a:solidFill>
                      <a:srgbClr val="8C0B23">
                        <a:alpha val="40000"/>
                      </a:srgbClr>
                    </a:solidFill>
                  </a:tcPr>
                </a:tc>
                <a:tc>
                  <a:txBody>
                    <a:bodyPr/>
                    <a:lstStyle/>
                    <a:p>
                      <a:pPr algn="l" fontAlgn="b"/>
                      <a:r>
                        <a:rPr lang="en-US" sz="1400" b="1" i="0" u="none" strike="noStrike" dirty="0">
                          <a:effectLst/>
                          <a:latin typeface="+mn-lt"/>
                        </a:rPr>
                        <a:t>      135,761 </a:t>
                      </a:r>
                    </a:p>
                  </a:txBody>
                  <a:tcPr marL="0" marR="0" marT="0" marB="0" anchor="b">
                    <a:solidFill>
                      <a:srgbClr val="8C0B23">
                        <a:alpha val="40000"/>
                      </a:srgbClr>
                    </a:solidFill>
                  </a:tcPr>
                </a:tc>
                <a:tc>
                  <a:txBody>
                    <a:bodyPr/>
                    <a:lstStyle/>
                    <a:p>
                      <a:pPr algn="l" fontAlgn="b"/>
                      <a:r>
                        <a:rPr lang="en-US" sz="1400" b="1" i="0" u="none" strike="noStrike" dirty="0">
                          <a:effectLst/>
                          <a:latin typeface="+mn-lt"/>
                        </a:rPr>
                        <a:t>   8,043,107 </a:t>
                      </a:r>
                    </a:p>
                  </a:txBody>
                  <a:tcPr marL="0" marR="0" marT="0" marB="0" anchor="b">
                    <a:solidFill>
                      <a:srgbClr val="8C0B23">
                        <a:alpha val="40000"/>
                      </a:srgbClr>
                    </a:solidFill>
                  </a:tcPr>
                </a:tc>
                <a:tc>
                  <a:txBody>
                    <a:bodyPr/>
                    <a:lstStyle/>
                    <a:p>
                      <a:pPr algn="ctr" fontAlgn="b"/>
                      <a:r>
                        <a:rPr lang="en-US" sz="1400" b="1" i="0" u="none" strike="noStrike" dirty="0">
                          <a:effectLst/>
                          <a:latin typeface="+mn-lt"/>
                        </a:rPr>
                        <a:t>2%</a:t>
                      </a:r>
                    </a:p>
                  </a:txBody>
                  <a:tcPr marL="0" marR="0" marT="0" marB="0" anchor="b">
                    <a:solidFill>
                      <a:srgbClr val="8C0B23">
                        <a:alpha val="40000"/>
                      </a:srgbClr>
                    </a:solidFill>
                  </a:tcPr>
                </a:tc>
                <a:extLst>
                  <a:ext uri="{0D108BD9-81ED-4DB2-BD59-A6C34878D82A}">
                    <a16:rowId xmlns:a16="http://schemas.microsoft.com/office/drawing/2014/main" val="1846379750"/>
                  </a:ext>
                </a:extLst>
              </a:tr>
            </a:tbl>
          </a:graphicData>
        </a:graphic>
      </p:graphicFrame>
    </p:spTree>
    <p:extLst>
      <p:ext uri="{BB962C8B-B14F-4D97-AF65-F5344CB8AC3E}">
        <p14:creationId xmlns:p14="http://schemas.microsoft.com/office/powerpoint/2010/main" val="2648318608"/>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015ACCB7-FA74-6140-A533-3B1309220A65}"/>
              </a:ext>
            </a:extLst>
          </p:cNvPr>
          <p:cNvSpPr/>
          <p:nvPr/>
        </p:nvSpPr>
        <p:spPr>
          <a:xfrm>
            <a:off x="0" y="6160"/>
            <a:ext cx="3756991" cy="6851839"/>
          </a:xfrm>
          <a:prstGeom prst="rect">
            <a:avLst/>
          </a:prstGeom>
          <a:solidFill>
            <a:srgbClr val="8C0B23"/>
          </a:solidFill>
          <a:ln>
            <a:solidFill>
              <a:srgbClr val="8C0B2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ext Placeholder 1">
            <a:extLst>
              <a:ext uri="{FF2B5EF4-FFF2-40B4-BE49-F238E27FC236}">
                <a16:creationId xmlns:a16="http://schemas.microsoft.com/office/drawing/2014/main" id="{83C4CD42-39FD-7742-A4BE-F7864C50901A}"/>
              </a:ext>
            </a:extLst>
          </p:cNvPr>
          <p:cNvSpPr>
            <a:spLocks noGrp="1"/>
          </p:cNvSpPr>
          <p:nvPr>
            <p:ph type="body" sz="quarter" idx="10"/>
          </p:nvPr>
        </p:nvSpPr>
        <p:spPr>
          <a:xfrm>
            <a:off x="145798" y="190832"/>
            <a:ext cx="3079911" cy="1598211"/>
          </a:xfrm>
        </p:spPr>
        <p:txBody>
          <a:bodyPr>
            <a:normAutofit/>
          </a:bodyPr>
          <a:lstStyle/>
          <a:p>
            <a:r>
              <a:rPr lang="en-US" b="1" dirty="0" smtClean="0"/>
              <a:t>Local</a:t>
            </a:r>
            <a:r>
              <a:rPr lang="en-US" b="1" dirty="0"/>
              <a:t/>
            </a:r>
            <a:br>
              <a:rPr lang="en-US" b="1" dirty="0"/>
            </a:br>
            <a:r>
              <a:rPr lang="en-US" b="1" dirty="0" smtClean="0"/>
              <a:t>Church Services</a:t>
            </a:r>
            <a:endParaRPr lang="en-US" b="1" dirty="0"/>
          </a:p>
        </p:txBody>
      </p:sp>
      <p:sp>
        <p:nvSpPr>
          <p:cNvPr id="3" name="Text Placeholder 2">
            <a:extLst>
              <a:ext uri="{FF2B5EF4-FFF2-40B4-BE49-F238E27FC236}">
                <a16:creationId xmlns:a16="http://schemas.microsoft.com/office/drawing/2014/main" id="{3FE236CE-1736-5D46-887D-286F0BDB6300}"/>
              </a:ext>
            </a:extLst>
          </p:cNvPr>
          <p:cNvSpPr>
            <a:spLocks noGrp="1"/>
          </p:cNvSpPr>
          <p:nvPr>
            <p:ph type="body" sz="quarter" idx="11"/>
          </p:nvPr>
        </p:nvSpPr>
        <p:spPr>
          <a:xfrm>
            <a:off x="238540" y="3170584"/>
            <a:ext cx="3319670" cy="3496584"/>
          </a:xfrm>
          <a:noFill/>
        </p:spPr>
        <p:txBody>
          <a:bodyPr/>
          <a:lstStyle/>
          <a:p>
            <a:pPr algn="just"/>
            <a:r>
              <a:rPr lang="en-US" sz="1100" i="1" dirty="0"/>
              <a:t>“I just want to extend a huge thank you for everything the Local Church Services Team has done for us and the denomination. When the pandemic hit and we had to close the church. I asked numerous individuals about recording equipment and didn’t get any help so we were looking at what our options were. I am thanking God for how you all help the small churches.”                       - </a:t>
            </a:r>
            <a:r>
              <a:rPr lang="en-US" sz="1100" b="1" dirty="0"/>
              <a:t>Dennis Kiser, Pastor, Union Chapel UMC</a:t>
            </a:r>
          </a:p>
          <a:p>
            <a:pPr algn="just"/>
            <a:r>
              <a:rPr lang="en-US" sz="1100" i="1" dirty="0"/>
              <a:t>"The Local Church team is so inventive and has an edge-cutting approach in their delivery and training which made my experience wonderful.”         	               </a:t>
            </a:r>
            <a:r>
              <a:rPr lang="en-US" sz="1100" dirty="0"/>
              <a:t>- </a:t>
            </a:r>
            <a:r>
              <a:rPr lang="en-US" sz="1100" b="1" dirty="0"/>
              <a:t>Rev. Dr. Johnson, Pastor, Beaumont UMC</a:t>
            </a:r>
          </a:p>
          <a:p>
            <a:pPr algn="just"/>
            <a:r>
              <a:rPr lang="en-US" sz="1100" i="1" dirty="0"/>
              <a:t>“We are so thankful for your help and guidance. I appreciate your help so much and look forward to seeing how these social media ads make a difference in what we’re doing here in Sahuarita.   I don’t know what we would have done without your help!” 	            -</a:t>
            </a:r>
            <a:r>
              <a:rPr lang="en-US" sz="1050" i="1" dirty="0"/>
              <a:t> </a:t>
            </a:r>
            <a:r>
              <a:rPr lang="en-US" sz="1050" b="1" dirty="0"/>
              <a:t>Sandy Johnson, Senior Pastor, Santa Cruz Valley UMC</a:t>
            </a:r>
          </a:p>
        </p:txBody>
      </p:sp>
      <p:sp>
        <p:nvSpPr>
          <p:cNvPr id="4" name="Text Placeholder 3">
            <a:extLst>
              <a:ext uri="{FF2B5EF4-FFF2-40B4-BE49-F238E27FC236}">
                <a16:creationId xmlns:a16="http://schemas.microsoft.com/office/drawing/2014/main" id="{4828D807-3449-8949-8DBA-A9A931F30889}"/>
              </a:ext>
            </a:extLst>
          </p:cNvPr>
          <p:cNvSpPr>
            <a:spLocks noGrp="1"/>
          </p:cNvSpPr>
          <p:nvPr>
            <p:ph type="body" sz="quarter" idx="12"/>
          </p:nvPr>
        </p:nvSpPr>
        <p:spPr>
          <a:xfrm>
            <a:off x="4611757" y="528985"/>
            <a:ext cx="6895994" cy="5742606"/>
          </a:xfrm>
        </p:spPr>
        <p:txBody>
          <a:bodyPr/>
          <a:lstStyle/>
          <a:p>
            <a:pPr lvl="1"/>
            <a:r>
              <a:rPr lang="en-US" sz="1600" b="1" dirty="0" smtClean="0"/>
              <a:t>1,900+</a:t>
            </a:r>
            <a:r>
              <a:rPr lang="en-US" sz="1600" dirty="0" smtClean="0"/>
              <a:t> UMC </a:t>
            </a:r>
            <a:r>
              <a:rPr lang="en-US" sz="1600" dirty="0"/>
              <a:t>churches received marketing coaching, implementation support, and resource assistance. </a:t>
            </a:r>
            <a:endParaRPr lang="en-US" sz="1600" dirty="0" smtClean="0"/>
          </a:p>
          <a:p>
            <a:pPr lvl="1"/>
            <a:r>
              <a:rPr lang="en-US" sz="1600" b="1" dirty="0" smtClean="0"/>
              <a:t>2,951+</a:t>
            </a:r>
            <a:r>
              <a:rPr lang="en-US" sz="1600" dirty="0" smtClean="0"/>
              <a:t> services were provided in 2021 to the 1,900+ local churches.</a:t>
            </a:r>
          </a:p>
          <a:p>
            <a:pPr lvl="1"/>
            <a:r>
              <a:rPr lang="en-US" sz="1600" dirty="0" smtClean="0"/>
              <a:t>Services provided include the </a:t>
            </a:r>
            <a:r>
              <a:rPr lang="en-US" sz="1600" dirty="0"/>
              <a:t>following: </a:t>
            </a:r>
            <a:r>
              <a:rPr lang="en-US" sz="1600" dirty="0" smtClean="0"/>
              <a:t>comprehensive </a:t>
            </a:r>
            <a:r>
              <a:rPr lang="en-US" sz="1600" dirty="0"/>
              <a:t>m</a:t>
            </a:r>
            <a:r>
              <a:rPr lang="en-US" sz="1600" dirty="0" smtClean="0"/>
              <a:t>arketing </a:t>
            </a:r>
            <a:r>
              <a:rPr lang="en-US" sz="1600" dirty="0"/>
              <a:t>a</a:t>
            </a:r>
            <a:r>
              <a:rPr lang="en-US" sz="1600" dirty="0" smtClean="0"/>
              <a:t>udits</a:t>
            </a:r>
            <a:r>
              <a:rPr lang="en-US" sz="1600" dirty="0"/>
              <a:t>, </a:t>
            </a:r>
            <a:r>
              <a:rPr lang="en-US" sz="1600" dirty="0" smtClean="0"/>
              <a:t>social </a:t>
            </a:r>
            <a:r>
              <a:rPr lang="en-US" sz="1600" dirty="0"/>
              <a:t>m</a:t>
            </a:r>
            <a:r>
              <a:rPr lang="en-US" sz="1600" dirty="0" smtClean="0"/>
              <a:t>edia </a:t>
            </a:r>
            <a:r>
              <a:rPr lang="en-US" sz="1600" dirty="0"/>
              <a:t>s</a:t>
            </a:r>
            <a:r>
              <a:rPr lang="en-US" sz="1600" dirty="0" smtClean="0"/>
              <a:t>trategy </a:t>
            </a:r>
            <a:r>
              <a:rPr lang="en-US" sz="1600" dirty="0"/>
              <a:t>+ </a:t>
            </a:r>
            <a:r>
              <a:rPr lang="en-US" sz="1600" dirty="0" smtClean="0"/>
              <a:t>social </a:t>
            </a:r>
            <a:r>
              <a:rPr lang="en-US" sz="1600" dirty="0"/>
              <a:t>a</a:t>
            </a:r>
            <a:r>
              <a:rPr lang="en-US" sz="1600" dirty="0" smtClean="0"/>
              <a:t>d </a:t>
            </a:r>
            <a:r>
              <a:rPr lang="en-US" sz="1600" dirty="0"/>
              <a:t>p</a:t>
            </a:r>
            <a:r>
              <a:rPr lang="en-US" sz="1600" dirty="0" smtClean="0"/>
              <a:t>lacements</a:t>
            </a:r>
            <a:r>
              <a:rPr lang="en-US" sz="1600" dirty="0"/>
              <a:t>, </a:t>
            </a:r>
            <a:r>
              <a:rPr lang="en-US" sz="1600" dirty="0" smtClean="0"/>
              <a:t>website design/building </a:t>
            </a:r>
            <a:r>
              <a:rPr lang="en-US" sz="1600" dirty="0"/>
              <a:t>+ SEO,  c</a:t>
            </a:r>
            <a:r>
              <a:rPr lang="en-US" sz="1600" dirty="0" smtClean="0"/>
              <a:t>ustom </a:t>
            </a:r>
            <a:r>
              <a:rPr lang="en-US" sz="1600" dirty="0"/>
              <a:t>l</a:t>
            </a:r>
            <a:r>
              <a:rPr lang="en-US" sz="1600" dirty="0" smtClean="0"/>
              <a:t>ogo </a:t>
            </a:r>
            <a:r>
              <a:rPr lang="en-US" sz="1600" dirty="0"/>
              <a:t>+ </a:t>
            </a:r>
            <a:r>
              <a:rPr lang="en-US" sz="1600" dirty="0" smtClean="0"/>
              <a:t>brand </a:t>
            </a:r>
            <a:r>
              <a:rPr lang="en-US" sz="1600" dirty="0"/>
              <a:t>d</a:t>
            </a:r>
            <a:r>
              <a:rPr lang="en-US" sz="1600" dirty="0" smtClean="0"/>
              <a:t>evelopment</a:t>
            </a:r>
            <a:r>
              <a:rPr lang="en-US" sz="1600" dirty="0"/>
              <a:t>, </a:t>
            </a:r>
            <a:r>
              <a:rPr lang="en-US" sz="1600" dirty="0" smtClean="0"/>
              <a:t>letterhead</a:t>
            </a:r>
            <a:r>
              <a:rPr lang="en-US" sz="1600" dirty="0"/>
              <a:t>, </a:t>
            </a:r>
            <a:r>
              <a:rPr lang="en-US" sz="1600" dirty="0" smtClean="0"/>
              <a:t>business </a:t>
            </a:r>
            <a:r>
              <a:rPr lang="en-US" sz="1600" dirty="0"/>
              <a:t>c</a:t>
            </a:r>
            <a:r>
              <a:rPr lang="en-US" sz="1600" dirty="0" smtClean="0"/>
              <a:t>ard</a:t>
            </a:r>
            <a:r>
              <a:rPr lang="en-US" sz="1600" dirty="0"/>
              <a:t>, and </a:t>
            </a:r>
            <a:r>
              <a:rPr lang="en-US" sz="1600" dirty="0" smtClean="0"/>
              <a:t>brochure </a:t>
            </a:r>
            <a:r>
              <a:rPr lang="en-US" sz="1600" dirty="0"/>
              <a:t>d</a:t>
            </a:r>
            <a:r>
              <a:rPr lang="en-US" sz="1600" dirty="0" smtClean="0"/>
              <a:t>esign</a:t>
            </a:r>
            <a:r>
              <a:rPr lang="en-US" sz="1600" dirty="0"/>
              <a:t>, </a:t>
            </a:r>
            <a:r>
              <a:rPr lang="en-US" sz="1600" dirty="0" smtClean="0"/>
              <a:t>customized </a:t>
            </a:r>
            <a:r>
              <a:rPr lang="en-US" sz="1600" dirty="0"/>
              <a:t>p</a:t>
            </a:r>
            <a:r>
              <a:rPr lang="en-US" sz="1600" dirty="0" smtClean="0"/>
              <a:t>romotional </a:t>
            </a:r>
            <a:r>
              <a:rPr lang="en-US" sz="1600" dirty="0"/>
              <a:t>m</a:t>
            </a:r>
            <a:r>
              <a:rPr lang="en-US" sz="1600" dirty="0" smtClean="0"/>
              <a:t>aterials</a:t>
            </a:r>
            <a:r>
              <a:rPr lang="en-US" sz="1600" dirty="0"/>
              <a:t>, and Zoom </a:t>
            </a:r>
            <a:r>
              <a:rPr lang="en-US" sz="1600" dirty="0" smtClean="0"/>
              <a:t>grants.</a:t>
            </a:r>
            <a:endParaRPr lang="en-US" sz="1600" dirty="0"/>
          </a:p>
          <a:p>
            <a:pPr lvl="1"/>
            <a:r>
              <a:rPr lang="en-US" sz="1600" dirty="0" smtClean="0"/>
              <a:t>We </a:t>
            </a:r>
            <a:r>
              <a:rPr lang="en-US" sz="1600" dirty="0"/>
              <a:t>provided </a:t>
            </a:r>
            <a:r>
              <a:rPr lang="en-US" sz="1600" dirty="0" smtClean="0"/>
              <a:t>Zoom grants </a:t>
            </a:r>
            <a:r>
              <a:rPr lang="en-US" sz="1600" dirty="0"/>
              <a:t>to </a:t>
            </a:r>
            <a:r>
              <a:rPr lang="en-US" sz="1600" b="1" dirty="0"/>
              <a:t>430+</a:t>
            </a:r>
            <a:r>
              <a:rPr lang="en-US" sz="1600" dirty="0"/>
              <a:t> churches for continued access to reach their congregations and communities throughout 2021 for worship and events for online and hybrid models</a:t>
            </a:r>
            <a:r>
              <a:rPr lang="en-US" sz="1600" dirty="0" smtClean="0"/>
              <a:t>.</a:t>
            </a:r>
            <a:endParaRPr lang="en-US" sz="1600" dirty="0"/>
          </a:p>
          <a:p>
            <a:pPr lvl="1"/>
            <a:r>
              <a:rPr lang="en-US" sz="1600" b="1" dirty="0" smtClean="0"/>
              <a:t>300</a:t>
            </a:r>
            <a:r>
              <a:rPr lang="en-US" sz="1600" dirty="0" smtClean="0"/>
              <a:t> </a:t>
            </a:r>
            <a:r>
              <a:rPr lang="en-US" sz="1600" dirty="0"/>
              <a:t>churches </a:t>
            </a:r>
            <a:r>
              <a:rPr lang="en-US" sz="1600" dirty="0" smtClean="0"/>
              <a:t>were resourced with </a:t>
            </a:r>
            <a:r>
              <a:rPr lang="en-US" sz="1600" dirty="0"/>
              <a:t>UMC branded “Love Your Neighbor” masks to continue keeping one another safe while gathering for in person worship services and </a:t>
            </a:r>
            <a:r>
              <a:rPr lang="en-US" sz="1600" dirty="0" smtClean="0"/>
              <a:t>events</a:t>
            </a:r>
            <a:endParaRPr lang="en-US" sz="1600" dirty="0"/>
          </a:p>
          <a:p>
            <a:pPr lvl="1"/>
            <a:r>
              <a:rPr lang="en-US" sz="1600" dirty="0" smtClean="0"/>
              <a:t>A live </a:t>
            </a:r>
            <a:r>
              <a:rPr lang="en-US" sz="1600" dirty="0"/>
              <a:t>Q&amp;A </a:t>
            </a:r>
            <a:r>
              <a:rPr lang="en-US" sz="1600" dirty="0" smtClean="0"/>
              <a:t>for Social </a:t>
            </a:r>
            <a:r>
              <a:rPr lang="en-US" sz="1600" dirty="0"/>
              <a:t>Media </a:t>
            </a:r>
            <a:r>
              <a:rPr lang="en-US" sz="1600" dirty="0" smtClean="0"/>
              <a:t>Day provided local churches an opportunity to learn and ask questions of our social media experts.</a:t>
            </a:r>
            <a:endParaRPr lang="en-US" sz="1600" dirty="0"/>
          </a:p>
          <a:p>
            <a:pPr lvl="1"/>
            <a:r>
              <a:rPr lang="en-US" sz="1600" dirty="0" smtClean="0"/>
              <a:t>The Local Church Services team provides website </a:t>
            </a:r>
            <a:r>
              <a:rPr lang="en-US" sz="1600" dirty="0"/>
              <a:t>development support for churches in the Philippines and built </a:t>
            </a:r>
            <a:r>
              <a:rPr lang="en-US" sz="1600" b="1" dirty="0"/>
              <a:t>14</a:t>
            </a:r>
            <a:r>
              <a:rPr lang="en-US" sz="1600" dirty="0"/>
              <a:t> local church sites </a:t>
            </a:r>
            <a:r>
              <a:rPr lang="en-US" sz="1600" dirty="0" smtClean="0"/>
              <a:t>in </a:t>
            </a:r>
            <a:r>
              <a:rPr lang="en-US" sz="1600" dirty="0"/>
              <a:t>2021. </a:t>
            </a:r>
          </a:p>
          <a:p>
            <a:pPr lvl="1"/>
            <a:r>
              <a:rPr lang="en-US" sz="1600" dirty="0" smtClean="0"/>
              <a:t>The team developed MyCom </a:t>
            </a:r>
            <a:r>
              <a:rPr lang="en-US" sz="1600" dirty="0"/>
              <a:t>articles, </a:t>
            </a:r>
            <a:r>
              <a:rPr lang="en-US" sz="1600" dirty="0" smtClean="0"/>
              <a:t>marketing </a:t>
            </a:r>
            <a:r>
              <a:rPr lang="en-US" sz="1600" dirty="0"/>
              <a:t>h</a:t>
            </a:r>
            <a:r>
              <a:rPr lang="en-US" sz="1600" dirty="0" smtClean="0"/>
              <a:t>ow-to </a:t>
            </a:r>
            <a:r>
              <a:rPr lang="en-US" sz="1600" dirty="0"/>
              <a:t>guides, webinars, training videos and podcasts to teach and coach local churches in the areas of marketing and outreach promotion.</a:t>
            </a:r>
          </a:p>
          <a:p>
            <a:pPr lvl="1"/>
            <a:endParaRPr lang="en-US" sz="1300" dirty="0"/>
          </a:p>
        </p:txBody>
      </p:sp>
      <p:sp>
        <p:nvSpPr>
          <p:cNvPr id="13" name="TextBox 12">
            <a:extLst>
              <a:ext uri="{FF2B5EF4-FFF2-40B4-BE49-F238E27FC236}">
                <a16:creationId xmlns:a16="http://schemas.microsoft.com/office/drawing/2014/main" id="{6D12D9AB-991D-E147-9EAC-9E30643DA344}"/>
              </a:ext>
            </a:extLst>
          </p:cNvPr>
          <p:cNvSpPr txBox="1"/>
          <p:nvPr/>
        </p:nvSpPr>
        <p:spPr>
          <a:xfrm>
            <a:off x="238540" y="2707081"/>
            <a:ext cx="2325757" cy="369332"/>
          </a:xfrm>
          <a:prstGeom prst="rect">
            <a:avLst/>
          </a:prstGeom>
          <a:noFill/>
        </p:spPr>
        <p:txBody>
          <a:bodyPr wrap="square">
            <a:spAutoFit/>
          </a:bodyPr>
          <a:lstStyle/>
          <a:p>
            <a:r>
              <a:rPr lang="en-US" b="1" dirty="0">
                <a:solidFill>
                  <a:schemeClr val="bg1"/>
                </a:solidFill>
              </a:rPr>
              <a:t>TESTIMONIALS</a:t>
            </a:r>
            <a:endParaRPr lang="en-US" dirty="0">
              <a:solidFill>
                <a:schemeClr val="bg1"/>
              </a:solidFill>
            </a:endParaRPr>
          </a:p>
        </p:txBody>
      </p:sp>
      <p:sp>
        <p:nvSpPr>
          <p:cNvPr id="14" name="Rectangle 13">
            <a:extLst>
              <a:ext uri="{FF2B5EF4-FFF2-40B4-BE49-F238E27FC236}">
                <a16:creationId xmlns:a16="http://schemas.microsoft.com/office/drawing/2014/main" id="{9BCB107A-FB5A-6B49-90D2-78C5902333E0}"/>
              </a:ext>
            </a:extLst>
          </p:cNvPr>
          <p:cNvSpPr/>
          <p:nvPr/>
        </p:nvSpPr>
        <p:spPr>
          <a:xfrm>
            <a:off x="4253947" y="528985"/>
            <a:ext cx="646043" cy="5742606"/>
          </a:xfrm>
          <a:prstGeom prst="rect">
            <a:avLst/>
          </a:prstGeom>
          <a:solidFill>
            <a:srgbClr val="8C0B23"/>
          </a:solidFill>
          <a:ln>
            <a:solidFill>
              <a:srgbClr val="8C0B2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17">
            <a:extLst>
              <a:ext uri="{FF2B5EF4-FFF2-40B4-BE49-F238E27FC236}">
                <a16:creationId xmlns:a16="http://schemas.microsoft.com/office/drawing/2014/main" id="{26A81823-23CB-D041-8DC1-365BF5656BDC}"/>
              </a:ext>
            </a:extLst>
          </p:cNvPr>
          <p:cNvSpPr/>
          <p:nvPr/>
        </p:nvSpPr>
        <p:spPr>
          <a:xfrm rot="5400000">
            <a:off x="1011738" y="2388559"/>
            <a:ext cx="55789" cy="1419310"/>
          </a:xfrm>
          <a:prstGeom prst="rect">
            <a:avLst/>
          </a:prstGeom>
          <a:solidFill>
            <a:schemeClr val="bg1"/>
          </a:solidFill>
          <a:ln>
            <a:solidFill>
              <a:srgbClr val="8C0B2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01393389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heme/theme1.xml><?xml version="1.0" encoding="utf-8"?>
<a:theme xmlns:a="http://schemas.openxmlformats.org/drawingml/2006/main" name="Office Theme">
  <a:themeElements>
    <a:clrScheme name="UMCom Color Suite">
      <a:dk1>
        <a:sysClr val="windowText" lastClr="000000"/>
      </a:dk1>
      <a:lt1>
        <a:sysClr val="window" lastClr="FFFFFF"/>
      </a:lt1>
      <a:dk2>
        <a:srgbClr val="403949"/>
      </a:dk2>
      <a:lt2>
        <a:srgbClr val="E7E6E6"/>
      </a:lt2>
      <a:accent1>
        <a:srgbClr val="EF373E"/>
      </a:accent1>
      <a:accent2>
        <a:srgbClr val="00A6C2"/>
      </a:accent2>
      <a:accent3>
        <a:srgbClr val="A5A5A5"/>
      </a:accent3>
      <a:accent4>
        <a:srgbClr val="FFC000"/>
      </a:accent4>
      <a:accent5>
        <a:srgbClr val="EF373E"/>
      </a:accent5>
      <a:accent6>
        <a:srgbClr val="00A6C2"/>
      </a:accent6>
      <a:hlink>
        <a:srgbClr val="0563C1"/>
      </a:hlink>
      <a:folHlink>
        <a:srgbClr val="6F637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3463</TotalTime>
  <Words>3690</Words>
  <Application>Microsoft Office PowerPoint</Application>
  <PresentationFormat>Widescreen</PresentationFormat>
  <Paragraphs>660</Paragraphs>
  <Slides>27</Slides>
  <Notes>5</Notes>
  <HiddenSlides>0</HiddenSlides>
  <MMClips>0</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27</vt:i4>
      </vt:variant>
    </vt:vector>
  </HeadingPairs>
  <TitlesOfParts>
    <vt:vector size="35" baseType="lpstr">
      <vt:lpstr>Adobe Fan Heiti Std B</vt:lpstr>
      <vt:lpstr>Arial Unicode MS</vt:lpstr>
      <vt:lpstr>Arial</vt:lpstr>
      <vt:lpstr>Calibri</vt:lpstr>
      <vt:lpstr>Calibri Light</vt:lpstr>
      <vt:lpstr>Courier New</vt:lpstr>
      <vt:lpstr>Times New Roman</vt:lpstr>
      <vt:lpstr>Office Theme</vt:lpstr>
      <vt:lpstr>PowerPoint Presentation</vt:lpstr>
      <vt:lpstr>Organizational Goals</vt:lpstr>
      <vt:lpstr>Website Performance </vt:lpstr>
      <vt:lpstr>Newsletter Performance </vt:lpstr>
      <vt:lpstr>PowerPoint Presentation</vt:lpstr>
      <vt:lpstr>PowerPoint Presentation</vt:lpstr>
      <vt:lpstr>PowerPoint Presentation</vt:lpstr>
      <vt:lpstr>PowerPoint Presentation</vt:lpstr>
      <vt:lpstr>PowerPoint Presentation</vt:lpstr>
      <vt:lpstr>Local Church Services Marketing</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loane, Bridget</dc:creator>
  <cp:lastModifiedBy>Degnan, Diane</cp:lastModifiedBy>
  <cp:revision>258</cp:revision>
  <dcterms:created xsi:type="dcterms:W3CDTF">2020-03-30T13:12:58Z</dcterms:created>
  <dcterms:modified xsi:type="dcterms:W3CDTF">2022-03-23T15:22:37Z</dcterms:modified>
</cp:coreProperties>
</file>